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8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7" r:id="rId4"/>
  </p:sldMasterIdLst>
  <p:notesMasterIdLst>
    <p:notesMasterId r:id="rId33"/>
  </p:notesMasterIdLst>
  <p:handoutMasterIdLst>
    <p:handoutMasterId r:id="rId34"/>
  </p:handoutMasterIdLst>
  <p:sldIdLst>
    <p:sldId id="271" r:id="rId5"/>
    <p:sldId id="298" r:id="rId6"/>
    <p:sldId id="270" r:id="rId7"/>
    <p:sldId id="292" r:id="rId8"/>
    <p:sldId id="4839" r:id="rId9"/>
    <p:sldId id="284" r:id="rId10"/>
    <p:sldId id="262" r:id="rId11"/>
    <p:sldId id="4857" r:id="rId12"/>
    <p:sldId id="291" r:id="rId13"/>
    <p:sldId id="4846" r:id="rId14"/>
    <p:sldId id="4847" r:id="rId15"/>
    <p:sldId id="4848" r:id="rId16"/>
    <p:sldId id="4858" r:id="rId17"/>
    <p:sldId id="4840" r:id="rId18"/>
    <p:sldId id="4841" r:id="rId19"/>
    <p:sldId id="4849" r:id="rId20"/>
    <p:sldId id="4850" r:id="rId21"/>
    <p:sldId id="286" r:id="rId22"/>
    <p:sldId id="4851" r:id="rId23"/>
    <p:sldId id="4859" r:id="rId24"/>
    <p:sldId id="4842" r:id="rId25"/>
    <p:sldId id="4843" r:id="rId26"/>
    <p:sldId id="4855" r:id="rId27"/>
    <p:sldId id="4856" r:id="rId28"/>
    <p:sldId id="4860" r:id="rId29"/>
    <p:sldId id="303" r:id="rId30"/>
    <p:sldId id="311" r:id="rId31"/>
    <p:sldId id="314" r:id="rId32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ubert  Fancon [Chillibreeze]" initials="HF[" lastIdx="1" clrIdx="0">
    <p:extLst>
      <p:ext uri="{19B8F6BF-5375-455C-9EA6-DF929625EA0E}">
        <p15:presenceInfo xmlns:p15="http://schemas.microsoft.com/office/powerpoint/2012/main" userId="S::hubert.fancon@chillibreeze.com::f6971298-3964-4f98-a322-bc87736beb77" providerId="AD"/>
      </p:ext>
    </p:extLst>
  </p:cmAuthor>
  <p:cmAuthor id="2" name="Vaishakh E K. Krishnan" initials="VEKK" lastIdx="1" clrIdx="1">
    <p:extLst>
      <p:ext uri="{19B8F6BF-5375-455C-9EA6-DF929625EA0E}">
        <p15:presenceInfo xmlns:p15="http://schemas.microsoft.com/office/powerpoint/2012/main" userId="Vaishakh E K. Krishn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2F38"/>
    <a:srgbClr val="212A32"/>
    <a:srgbClr val="303E48"/>
    <a:srgbClr val="0040AA"/>
    <a:srgbClr val="2189D7"/>
    <a:srgbClr val="7F9FD4"/>
    <a:srgbClr val="CDCFD1"/>
    <a:srgbClr val="92979B"/>
    <a:srgbClr val="FFFFFF"/>
    <a:srgbClr val="7F9F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271E2F4-24F3-4ADD-85BC-5B77D021F9DA}" v="1" dt="2020-06-22T15:07:12.2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4" autoAdjust="0"/>
    <p:restoredTop sz="66783" autoAdjust="0"/>
  </p:normalViewPr>
  <p:slideViewPr>
    <p:cSldViewPr snapToGrid="0">
      <p:cViewPr varScale="1">
        <p:scale>
          <a:sx n="103" d="100"/>
          <a:sy n="103" d="100"/>
        </p:scale>
        <p:origin x="144" y="1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42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gs" Target="tags/tag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seph Hobbs" userId="17e3ce08-814d-44bb-8c75-291ff0a23321" providerId="ADAL" clId="{DD63DABA-E61E-49EF-9404-286B0E864EF6}"/>
    <pc:docChg chg="custSel addSld delSld modSld">
      <pc:chgData name="Joseph Hobbs" userId="17e3ce08-814d-44bb-8c75-291ff0a23321" providerId="ADAL" clId="{DD63DABA-E61E-49EF-9404-286B0E864EF6}" dt="2019-11-08T14:55:04.789" v="456" actId="20577"/>
      <pc:docMkLst>
        <pc:docMk/>
      </pc:docMkLst>
      <pc:sldChg chg="addSp delSp modSp">
        <pc:chgData name="Joseph Hobbs" userId="17e3ce08-814d-44bb-8c75-291ff0a23321" providerId="ADAL" clId="{DD63DABA-E61E-49EF-9404-286B0E864EF6}" dt="2019-11-06T22:10:13.585" v="164" actId="14100"/>
        <pc:sldMkLst>
          <pc:docMk/>
          <pc:sldMk cId="87539352" sldId="311"/>
        </pc:sldMkLst>
        <pc:spChg chg="add del mod">
          <ac:chgData name="Joseph Hobbs" userId="17e3ce08-814d-44bb-8c75-291ff0a23321" providerId="ADAL" clId="{DD63DABA-E61E-49EF-9404-286B0E864EF6}" dt="2019-11-06T22:09:06.779" v="18" actId="478"/>
          <ac:spMkLst>
            <pc:docMk/>
            <pc:sldMk cId="87539352" sldId="311"/>
            <ac:spMk id="3" creationId="{4A8B8204-8C28-4F94-A248-CBB9CEBB6C1A}"/>
          </ac:spMkLst>
        </pc:spChg>
        <pc:spChg chg="mod">
          <ac:chgData name="Joseph Hobbs" userId="17e3ce08-814d-44bb-8c75-291ff0a23321" providerId="ADAL" clId="{DD63DABA-E61E-49EF-9404-286B0E864EF6}" dt="2019-11-06T22:08:52.010" v="11" actId="20577"/>
          <ac:spMkLst>
            <pc:docMk/>
            <pc:sldMk cId="87539352" sldId="311"/>
            <ac:spMk id="4" creationId="{E7ACC295-228A-4111-A301-41A1C098607D}"/>
          </ac:spMkLst>
        </pc:spChg>
        <pc:spChg chg="del mod">
          <ac:chgData name="Joseph Hobbs" userId="17e3ce08-814d-44bb-8c75-291ff0a23321" providerId="ADAL" clId="{DD63DABA-E61E-49EF-9404-286B0E864EF6}" dt="2019-11-06T22:09:04.304" v="17" actId="478"/>
          <ac:spMkLst>
            <pc:docMk/>
            <pc:sldMk cId="87539352" sldId="311"/>
            <ac:spMk id="5" creationId="{985AF54C-5567-459A-9EA1-83B490805E90}"/>
          </ac:spMkLst>
        </pc:spChg>
        <pc:spChg chg="mod">
          <ac:chgData name="Joseph Hobbs" userId="17e3ce08-814d-44bb-8c75-291ff0a23321" providerId="ADAL" clId="{DD63DABA-E61E-49EF-9404-286B0E864EF6}" dt="2019-11-06T22:10:13.585" v="164" actId="14100"/>
          <ac:spMkLst>
            <pc:docMk/>
            <pc:sldMk cId="87539352" sldId="311"/>
            <ac:spMk id="26" creationId="{7FE5E06D-08FA-4061-8AFF-471F590CDF4E}"/>
          </ac:spMkLst>
        </pc:spChg>
        <pc:spChg chg="del">
          <ac:chgData name="Joseph Hobbs" userId="17e3ce08-814d-44bb-8c75-291ff0a23321" providerId="ADAL" clId="{DD63DABA-E61E-49EF-9404-286B0E864EF6}" dt="2019-11-06T22:09:02.442" v="16" actId="478"/>
          <ac:spMkLst>
            <pc:docMk/>
            <pc:sldMk cId="87539352" sldId="311"/>
            <ac:spMk id="35" creationId="{3C28071E-E518-4254-82EE-BAC286A6E5EA}"/>
          </ac:spMkLst>
        </pc:spChg>
      </pc:sldChg>
      <pc:sldChg chg="modNotesTx">
        <pc:chgData name="Joseph Hobbs" userId="17e3ce08-814d-44bb-8c75-291ff0a23321" providerId="ADAL" clId="{DD63DABA-E61E-49EF-9404-286B0E864EF6}" dt="2019-11-08T14:51:18.228" v="300" actId="20577"/>
        <pc:sldMkLst>
          <pc:docMk/>
          <pc:sldMk cId="3890079962" sldId="4849"/>
        </pc:sldMkLst>
      </pc:sldChg>
      <pc:sldChg chg="add modNotesTx">
        <pc:chgData name="Joseph Hobbs" userId="17e3ce08-814d-44bb-8c75-291ff0a23321" providerId="ADAL" clId="{DD63DABA-E61E-49EF-9404-286B0E864EF6}" dt="2019-11-08T14:54:41.396" v="390" actId="20577"/>
        <pc:sldMkLst>
          <pc:docMk/>
          <pc:sldMk cId="4140446104" sldId="4855"/>
        </pc:sldMkLst>
      </pc:sldChg>
      <pc:sldChg chg="add modNotesTx">
        <pc:chgData name="Joseph Hobbs" userId="17e3ce08-814d-44bb-8c75-291ff0a23321" providerId="ADAL" clId="{DD63DABA-E61E-49EF-9404-286B0E864EF6}" dt="2019-11-08T14:55:04.789" v="456" actId="20577"/>
        <pc:sldMkLst>
          <pc:docMk/>
          <pc:sldMk cId="3425743365" sldId="4856"/>
        </pc:sldMkLst>
      </pc:sldChg>
    </pc:docChg>
  </pc:docChgLst>
  <pc:docChgLst>
    <pc:chgData name="Joseph Hobbs" userId="17e3ce08-814d-44bb-8c75-291ff0a23321" providerId="ADAL" clId="{A6FEFF24-DCD6-4080-B3E0-D489406BABE5}"/>
    <pc:docChg chg="undo custSel addSld delSld modSld sldOrd">
      <pc:chgData name="Joseph Hobbs" userId="17e3ce08-814d-44bb-8c75-291ff0a23321" providerId="ADAL" clId="{A6FEFF24-DCD6-4080-B3E0-D489406BABE5}" dt="2020-01-06T04:45:45.025" v="2351" actId="1076"/>
      <pc:docMkLst>
        <pc:docMk/>
      </pc:docMkLst>
      <pc:sldChg chg="modNotesTx">
        <pc:chgData name="Joseph Hobbs" userId="17e3ce08-814d-44bb-8c75-291ff0a23321" providerId="ADAL" clId="{A6FEFF24-DCD6-4080-B3E0-D489406BABE5}" dt="2020-01-06T04:09:01.147" v="6" actId="20577"/>
        <pc:sldMkLst>
          <pc:docMk/>
          <pc:sldMk cId="1032930408" sldId="262"/>
        </pc:sldMkLst>
      </pc:sldChg>
      <pc:sldChg chg="addSp modSp">
        <pc:chgData name="Joseph Hobbs" userId="17e3ce08-814d-44bb-8c75-291ff0a23321" providerId="ADAL" clId="{A6FEFF24-DCD6-4080-B3E0-D489406BABE5}" dt="2020-01-06T04:21:17.893" v="986" actId="1076"/>
        <pc:sldMkLst>
          <pc:docMk/>
          <pc:sldMk cId="4049561707" sldId="291"/>
        </pc:sldMkLst>
        <pc:spChg chg="mod">
          <ac:chgData name="Joseph Hobbs" userId="17e3ce08-814d-44bb-8c75-291ff0a23321" providerId="ADAL" clId="{A6FEFF24-DCD6-4080-B3E0-D489406BABE5}" dt="2020-01-06T04:19:47.685" v="980" actId="1076"/>
          <ac:spMkLst>
            <pc:docMk/>
            <pc:sldMk cId="4049561707" sldId="291"/>
            <ac:spMk id="2" creationId="{D6403AD8-5BF8-4459-952F-C838B079D524}"/>
          </ac:spMkLst>
        </pc:spChg>
        <pc:picChg chg="add mod">
          <ac:chgData name="Joseph Hobbs" userId="17e3ce08-814d-44bb-8c75-291ff0a23321" providerId="ADAL" clId="{A6FEFF24-DCD6-4080-B3E0-D489406BABE5}" dt="2020-01-06T04:21:17.893" v="986" actId="1076"/>
          <ac:picMkLst>
            <pc:docMk/>
            <pc:sldMk cId="4049561707" sldId="291"/>
            <ac:picMk id="3" creationId="{5C33CDEF-2343-4F13-8F2F-3A3F1F93DFB8}"/>
          </ac:picMkLst>
        </pc:picChg>
      </pc:sldChg>
      <pc:sldChg chg="modSp">
        <pc:chgData name="Joseph Hobbs" userId="17e3ce08-814d-44bb-8c75-291ff0a23321" providerId="ADAL" clId="{A6FEFF24-DCD6-4080-B3E0-D489406BABE5}" dt="2020-01-06T04:41:08.541" v="2327" actId="20577"/>
        <pc:sldMkLst>
          <pc:docMk/>
          <pc:sldMk cId="87539352" sldId="311"/>
        </pc:sldMkLst>
        <pc:spChg chg="mod">
          <ac:chgData name="Joseph Hobbs" userId="17e3ce08-814d-44bb-8c75-291ff0a23321" providerId="ADAL" clId="{A6FEFF24-DCD6-4080-B3E0-D489406BABE5}" dt="2020-01-06T04:41:08.541" v="2327" actId="20577"/>
          <ac:spMkLst>
            <pc:docMk/>
            <pc:sldMk cId="87539352" sldId="311"/>
            <ac:spMk id="26" creationId="{7FE5E06D-08FA-4061-8AFF-471F590CDF4E}"/>
          </ac:spMkLst>
        </pc:spChg>
      </pc:sldChg>
      <pc:sldChg chg="modSp">
        <pc:chgData name="Joseph Hobbs" userId="17e3ce08-814d-44bb-8c75-291ff0a23321" providerId="ADAL" clId="{A6FEFF24-DCD6-4080-B3E0-D489406BABE5}" dt="2020-01-06T04:40:37.634" v="2264" actId="20577"/>
        <pc:sldMkLst>
          <pc:docMk/>
          <pc:sldMk cId="3204358949" sldId="314"/>
        </pc:sldMkLst>
        <pc:spChg chg="mod">
          <ac:chgData name="Joseph Hobbs" userId="17e3ce08-814d-44bb-8c75-291ff0a23321" providerId="ADAL" clId="{A6FEFF24-DCD6-4080-B3E0-D489406BABE5}" dt="2020-01-06T04:40:26.982" v="2244" actId="20577"/>
          <ac:spMkLst>
            <pc:docMk/>
            <pc:sldMk cId="3204358949" sldId="314"/>
            <ac:spMk id="8" creationId="{E61423E9-6258-4258-8B3C-AADA99BA0344}"/>
          </ac:spMkLst>
        </pc:spChg>
        <pc:spChg chg="mod">
          <ac:chgData name="Joseph Hobbs" userId="17e3ce08-814d-44bb-8c75-291ff0a23321" providerId="ADAL" clId="{A6FEFF24-DCD6-4080-B3E0-D489406BABE5}" dt="2020-01-06T04:40:37.634" v="2264" actId="20577"/>
          <ac:spMkLst>
            <pc:docMk/>
            <pc:sldMk cId="3204358949" sldId="314"/>
            <ac:spMk id="9" creationId="{E90B6F35-A127-4E4F-A826-B3F536F52240}"/>
          </ac:spMkLst>
        </pc:spChg>
      </pc:sldChg>
      <pc:sldChg chg="addSp modSp">
        <pc:chgData name="Joseph Hobbs" userId="17e3ce08-814d-44bb-8c75-291ff0a23321" providerId="ADAL" clId="{A6FEFF24-DCD6-4080-B3E0-D489406BABE5}" dt="2020-01-06T04:39:57" v="2212" actId="20577"/>
        <pc:sldMkLst>
          <pc:docMk/>
          <pc:sldMk cId="1643019192" sldId="4839"/>
        </pc:sldMkLst>
        <pc:spChg chg="mod">
          <ac:chgData name="Joseph Hobbs" userId="17e3ce08-814d-44bb-8c75-291ff0a23321" providerId="ADAL" clId="{A6FEFF24-DCD6-4080-B3E0-D489406BABE5}" dt="2020-01-06T04:39:57" v="2212" actId="20577"/>
          <ac:spMkLst>
            <pc:docMk/>
            <pc:sldMk cId="1643019192" sldId="4839"/>
            <ac:spMk id="11" creationId="{A33245E5-C98C-4F47-AEF5-7B4400EC09B5}"/>
          </ac:spMkLst>
        </pc:spChg>
        <pc:spChg chg="add mod">
          <ac:chgData name="Joseph Hobbs" userId="17e3ce08-814d-44bb-8c75-291ff0a23321" providerId="ADAL" clId="{A6FEFF24-DCD6-4080-B3E0-D489406BABE5}" dt="2020-01-06T04:39:40.712" v="2207" actId="20577"/>
          <ac:spMkLst>
            <pc:docMk/>
            <pc:sldMk cId="1643019192" sldId="4839"/>
            <ac:spMk id="14" creationId="{34E1E3E1-ACCA-4862-9A2C-985BF9A7F343}"/>
          </ac:spMkLst>
        </pc:spChg>
      </pc:sldChg>
      <pc:sldChg chg="ord">
        <pc:chgData name="Joseph Hobbs" userId="17e3ce08-814d-44bb-8c75-291ff0a23321" providerId="ADAL" clId="{A6FEFF24-DCD6-4080-B3E0-D489406BABE5}" dt="2020-01-06T04:25:22.106" v="1108"/>
        <pc:sldMkLst>
          <pc:docMk/>
          <pc:sldMk cId="3159587435" sldId="4840"/>
        </pc:sldMkLst>
      </pc:sldChg>
      <pc:sldChg chg="addSp modSp modNotesTx">
        <pc:chgData name="Joseph Hobbs" userId="17e3ce08-814d-44bb-8c75-291ff0a23321" providerId="ADAL" clId="{A6FEFF24-DCD6-4080-B3E0-D489406BABE5}" dt="2020-01-06T04:44:57.370" v="2345" actId="1076"/>
        <pc:sldMkLst>
          <pc:docMk/>
          <pc:sldMk cId="3568589235" sldId="4841"/>
        </pc:sldMkLst>
        <pc:spChg chg="mod">
          <ac:chgData name="Joseph Hobbs" userId="17e3ce08-814d-44bb-8c75-291ff0a23321" providerId="ADAL" clId="{A6FEFF24-DCD6-4080-B3E0-D489406BABE5}" dt="2020-01-06T04:44:42.954" v="2342" actId="1076"/>
          <ac:spMkLst>
            <pc:docMk/>
            <pc:sldMk cId="3568589235" sldId="4841"/>
            <ac:spMk id="2" creationId="{D6403AD8-5BF8-4459-952F-C838B079D524}"/>
          </ac:spMkLst>
        </pc:spChg>
        <pc:picChg chg="add mod">
          <ac:chgData name="Joseph Hobbs" userId="17e3ce08-814d-44bb-8c75-291ff0a23321" providerId="ADAL" clId="{A6FEFF24-DCD6-4080-B3E0-D489406BABE5}" dt="2020-01-06T04:44:57.370" v="2345" actId="1076"/>
          <ac:picMkLst>
            <pc:docMk/>
            <pc:sldMk cId="3568589235" sldId="4841"/>
            <ac:picMk id="3" creationId="{8990C91E-B75C-4222-9AA7-7C8D99A7F36B}"/>
          </ac:picMkLst>
        </pc:picChg>
      </pc:sldChg>
      <pc:sldChg chg="delSp modSp ord">
        <pc:chgData name="Joseph Hobbs" userId="17e3ce08-814d-44bb-8c75-291ff0a23321" providerId="ADAL" clId="{A6FEFF24-DCD6-4080-B3E0-D489406BABE5}" dt="2020-01-06T04:32:24.335" v="1642"/>
        <pc:sldMkLst>
          <pc:docMk/>
          <pc:sldMk cId="167526255" sldId="4842"/>
        </pc:sldMkLst>
        <pc:spChg chg="mod">
          <ac:chgData name="Joseph Hobbs" userId="17e3ce08-814d-44bb-8c75-291ff0a23321" providerId="ADAL" clId="{A6FEFF24-DCD6-4080-B3E0-D489406BABE5}" dt="2020-01-06T04:29:59.559" v="1458" actId="1076"/>
          <ac:spMkLst>
            <pc:docMk/>
            <pc:sldMk cId="167526255" sldId="4842"/>
            <ac:spMk id="4" creationId="{E72489C1-4519-4DB8-873D-7490ED475935}"/>
          </ac:spMkLst>
        </pc:spChg>
        <pc:spChg chg="mod">
          <ac:chgData name="Joseph Hobbs" userId="17e3ce08-814d-44bb-8c75-291ff0a23321" providerId="ADAL" clId="{A6FEFF24-DCD6-4080-B3E0-D489406BABE5}" dt="2020-01-06T04:32:04.891" v="1640" actId="207"/>
          <ac:spMkLst>
            <pc:docMk/>
            <pc:sldMk cId="167526255" sldId="4842"/>
            <ac:spMk id="5" creationId="{4C609626-90A4-409D-B024-0B4B1DE879D3}"/>
          </ac:spMkLst>
        </pc:spChg>
        <pc:spChg chg="mod">
          <ac:chgData name="Joseph Hobbs" userId="17e3ce08-814d-44bb-8c75-291ff0a23321" providerId="ADAL" clId="{A6FEFF24-DCD6-4080-B3E0-D489406BABE5}" dt="2020-01-06T04:30:35.484" v="1560" actId="313"/>
          <ac:spMkLst>
            <pc:docMk/>
            <pc:sldMk cId="167526255" sldId="4842"/>
            <ac:spMk id="23" creationId="{A2D7C06E-B6DB-4FA5-B774-1D41EC6853E5}"/>
          </ac:spMkLst>
        </pc:spChg>
        <pc:spChg chg="mod">
          <ac:chgData name="Joseph Hobbs" userId="17e3ce08-814d-44bb-8c75-291ff0a23321" providerId="ADAL" clId="{A6FEFF24-DCD6-4080-B3E0-D489406BABE5}" dt="2020-01-06T04:31:09.236" v="1599" actId="20577"/>
          <ac:spMkLst>
            <pc:docMk/>
            <pc:sldMk cId="167526255" sldId="4842"/>
            <ac:spMk id="25" creationId="{77F105DE-86F2-4299-BB3B-197903146FD1}"/>
          </ac:spMkLst>
        </pc:spChg>
        <pc:spChg chg="mod">
          <ac:chgData name="Joseph Hobbs" userId="17e3ce08-814d-44bb-8c75-291ff0a23321" providerId="ADAL" clId="{A6FEFF24-DCD6-4080-B3E0-D489406BABE5}" dt="2020-01-06T04:29:42.567" v="1420" actId="20577"/>
          <ac:spMkLst>
            <pc:docMk/>
            <pc:sldMk cId="167526255" sldId="4842"/>
            <ac:spMk id="27" creationId="{798252B5-AC21-4501-A442-02293CB1779B}"/>
          </ac:spMkLst>
        </pc:spChg>
        <pc:spChg chg="mod">
          <ac:chgData name="Joseph Hobbs" userId="17e3ce08-814d-44bb-8c75-291ff0a23321" providerId="ADAL" clId="{A6FEFF24-DCD6-4080-B3E0-D489406BABE5}" dt="2020-01-06T04:31:58.199" v="1639" actId="20577"/>
          <ac:spMkLst>
            <pc:docMk/>
            <pc:sldMk cId="167526255" sldId="4842"/>
            <ac:spMk id="36" creationId="{3487597E-6D1B-421B-8205-27A353E95DE4}"/>
          </ac:spMkLst>
        </pc:spChg>
        <pc:grpChg chg="mod">
          <ac:chgData name="Joseph Hobbs" userId="17e3ce08-814d-44bb-8c75-291ff0a23321" providerId="ADAL" clId="{A6FEFF24-DCD6-4080-B3E0-D489406BABE5}" dt="2020-01-06T04:31:32.599" v="1602" actId="1076"/>
          <ac:grpSpMkLst>
            <pc:docMk/>
            <pc:sldMk cId="167526255" sldId="4842"/>
            <ac:grpSpMk id="28" creationId="{6F095F18-90DF-443C-B5EE-7FA42A99D577}"/>
          </ac:grpSpMkLst>
        </pc:grpChg>
        <pc:grpChg chg="mod">
          <ac:chgData name="Joseph Hobbs" userId="17e3ce08-814d-44bb-8c75-291ff0a23321" providerId="ADAL" clId="{A6FEFF24-DCD6-4080-B3E0-D489406BABE5}" dt="2020-01-06T04:31:36.579" v="1603" actId="1076"/>
          <ac:grpSpMkLst>
            <pc:docMk/>
            <pc:sldMk cId="167526255" sldId="4842"/>
            <ac:grpSpMk id="30" creationId="{177041AE-2B11-40A1-ACF6-173210D1E2E6}"/>
          </ac:grpSpMkLst>
        </pc:grpChg>
        <pc:grpChg chg="mod">
          <ac:chgData name="Joseph Hobbs" userId="17e3ce08-814d-44bb-8c75-291ff0a23321" providerId="ADAL" clId="{A6FEFF24-DCD6-4080-B3E0-D489406BABE5}" dt="2020-01-06T04:31:28.235" v="1601" actId="1076"/>
          <ac:grpSpMkLst>
            <pc:docMk/>
            <pc:sldMk cId="167526255" sldId="4842"/>
            <ac:grpSpMk id="31" creationId="{86877EFF-14B4-4B0D-BF8C-52161B8BD84D}"/>
          </ac:grpSpMkLst>
        </pc:grpChg>
        <pc:grpChg chg="del">
          <ac:chgData name="Joseph Hobbs" userId="17e3ce08-814d-44bb-8c75-291ff0a23321" providerId="ADAL" clId="{A6FEFF24-DCD6-4080-B3E0-D489406BABE5}" dt="2020-01-06T04:31:20.279" v="1600" actId="478"/>
          <ac:grpSpMkLst>
            <pc:docMk/>
            <pc:sldMk cId="167526255" sldId="4842"/>
            <ac:grpSpMk id="37" creationId="{6B1BE40D-446C-4B34-B275-A741AE3300E0}"/>
          </ac:grpSpMkLst>
        </pc:grpChg>
      </pc:sldChg>
      <pc:sldChg chg="addSp modSp">
        <pc:chgData name="Joseph Hobbs" userId="17e3ce08-814d-44bb-8c75-291ff0a23321" providerId="ADAL" clId="{A6FEFF24-DCD6-4080-B3E0-D489406BABE5}" dt="2020-01-06T04:42:55.535" v="2336" actId="1076"/>
        <pc:sldMkLst>
          <pc:docMk/>
          <pc:sldMk cId="2204042059" sldId="4843"/>
        </pc:sldMkLst>
        <pc:spChg chg="mod">
          <ac:chgData name="Joseph Hobbs" userId="17e3ce08-814d-44bb-8c75-291ff0a23321" providerId="ADAL" clId="{A6FEFF24-DCD6-4080-B3E0-D489406BABE5}" dt="2020-01-06T04:42:38.094" v="2332" actId="1076"/>
          <ac:spMkLst>
            <pc:docMk/>
            <pc:sldMk cId="2204042059" sldId="4843"/>
            <ac:spMk id="2" creationId="{D6403AD8-5BF8-4459-952F-C838B079D524}"/>
          </ac:spMkLst>
        </pc:spChg>
        <pc:picChg chg="add mod">
          <ac:chgData name="Joseph Hobbs" userId="17e3ce08-814d-44bb-8c75-291ff0a23321" providerId="ADAL" clId="{A6FEFF24-DCD6-4080-B3E0-D489406BABE5}" dt="2020-01-06T04:42:55.535" v="2336" actId="1076"/>
          <ac:picMkLst>
            <pc:docMk/>
            <pc:sldMk cId="2204042059" sldId="4843"/>
            <ac:picMk id="3" creationId="{4C7E1A3A-4FC8-466E-9692-08DDD41A95AA}"/>
          </ac:picMkLst>
        </pc:picChg>
      </pc:sldChg>
      <pc:sldChg chg="addSp modSp">
        <pc:chgData name="Joseph Hobbs" userId="17e3ce08-814d-44bb-8c75-291ff0a23321" providerId="ADAL" clId="{A6FEFF24-DCD6-4080-B3E0-D489406BABE5}" dt="2020-01-06T04:23:46.094" v="993" actId="1076"/>
        <pc:sldMkLst>
          <pc:docMk/>
          <pc:sldMk cId="1854967483" sldId="4847"/>
        </pc:sldMkLst>
        <pc:spChg chg="mod">
          <ac:chgData name="Joseph Hobbs" userId="17e3ce08-814d-44bb-8c75-291ff0a23321" providerId="ADAL" clId="{A6FEFF24-DCD6-4080-B3E0-D489406BABE5}" dt="2020-01-06T04:23:19.849" v="987" actId="1076"/>
          <ac:spMkLst>
            <pc:docMk/>
            <pc:sldMk cId="1854967483" sldId="4847"/>
            <ac:spMk id="2" creationId="{D6403AD8-5BF8-4459-952F-C838B079D524}"/>
          </ac:spMkLst>
        </pc:spChg>
        <pc:picChg chg="add mod">
          <ac:chgData name="Joseph Hobbs" userId="17e3ce08-814d-44bb-8c75-291ff0a23321" providerId="ADAL" clId="{A6FEFF24-DCD6-4080-B3E0-D489406BABE5}" dt="2020-01-06T04:23:46.094" v="993" actId="1076"/>
          <ac:picMkLst>
            <pc:docMk/>
            <pc:sldMk cId="1854967483" sldId="4847"/>
            <ac:picMk id="3" creationId="{F3953F29-87F3-4779-981A-B3F14B4622B1}"/>
          </ac:picMkLst>
        </pc:picChg>
      </pc:sldChg>
      <pc:sldChg chg="modNotesTx">
        <pc:chgData name="Joseph Hobbs" userId="17e3ce08-814d-44bb-8c75-291ff0a23321" providerId="ADAL" clId="{A6FEFF24-DCD6-4080-B3E0-D489406BABE5}" dt="2020-01-06T04:25:59.515" v="1231" actId="20577"/>
        <pc:sldMkLst>
          <pc:docMk/>
          <pc:sldMk cId="1164563337" sldId="4848"/>
        </pc:sldMkLst>
      </pc:sldChg>
      <pc:sldChg chg="addSp modSp">
        <pc:chgData name="Joseph Hobbs" userId="17e3ce08-814d-44bb-8c75-291ff0a23321" providerId="ADAL" clId="{A6FEFF24-DCD6-4080-B3E0-D489406BABE5}" dt="2020-01-06T04:45:45.025" v="2351" actId="1076"/>
        <pc:sldMkLst>
          <pc:docMk/>
          <pc:sldMk cId="3664404626" sldId="4850"/>
        </pc:sldMkLst>
        <pc:spChg chg="mod">
          <ac:chgData name="Joseph Hobbs" userId="17e3ce08-814d-44bb-8c75-291ff0a23321" providerId="ADAL" clId="{A6FEFF24-DCD6-4080-B3E0-D489406BABE5}" dt="2020-01-06T04:45:28.065" v="2346" actId="1076"/>
          <ac:spMkLst>
            <pc:docMk/>
            <pc:sldMk cId="3664404626" sldId="4850"/>
            <ac:spMk id="2" creationId="{D6403AD8-5BF8-4459-952F-C838B079D524}"/>
          </ac:spMkLst>
        </pc:spChg>
        <pc:picChg chg="add mod">
          <ac:chgData name="Joseph Hobbs" userId="17e3ce08-814d-44bb-8c75-291ff0a23321" providerId="ADAL" clId="{A6FEFF24-DCD6-4080-B3E0-D489406BABE5}" dt="2020-01-06T04:45:45.025" v="2351" actId="1076"/>
          <ac:picMkLst>
            <pc:docMk/>
            <pc:sldMk cId="3664404626" sldId="4850"/>
            <ac:picMk id="3" creationId="{BA5A3402-E2CA-4EAE-9E46-398CFF40047E}"/>
          </ac:picMkLst>
        </pc:picChg>
      </pc:sldChg>
      <pc:sldChg chg="del">
        <pc:chgData name="Joseph Hobbs" userId="17e3ce08-814d-44bb-8c75-291ff0a23321" providerId="ADAL" clId="{A6FEFF24-DCD6-4080-B3E0-D489406BABE5}" dt="2020-01-06T04:19:39.827" v="978" actId="2696"/>
        <pc:sldMkLst>
          <pc:docMk/>
          <pc:sldMk cId="459081782" sldId="4852"/>
        </pc:sldMkLst>
      </pc:sldChg>
      <pc:sldChg chg="del">
        <pc:chgData name="Joseph Hobbs" userId="17e3ce08-814d-44bb-8c75-291ff0a23321" providerId="ADAL" clId="{A6FEFF24-DCD6-4080-B3E0-D489406BABE5}" dt="2020-01-06T04:24:24.383" v="995" actId="2696"/>
        <pc:sldMkLst>
          <pc:docMk/>
          <pc:sldMk cId="981864295" sldId="4853"/>
        </pc:sldMkLst>
      </pc:sldChg>
      <pc:sldChg chg="del">
        <pc:chgData name="Joseph Hobbs" userId="17e3ce08-814d-44bb-8c75-291ff0a23321" providerId="ADAL" clId="{A6FEFF24-DCD6-4080-B3E0-D489406BABE5}" dt="2020-01-06T04:32:38.503" v="1643" actId="2696"/>
        <pc:sldMkLst>
          <pc:docMk/>
          <pc:sldMk cId="2195543082" sldId="4854"/>
        </pc:sldMkLst>
      </pc:sldChg>
      <pc:sldChg chg="addSp modSp">
        <pc:chgData name="Joseph Hobbs" userId="17e3ce08-814d-44bb-8c75-291ff0a23321" providerId="ADAL" clId="{A6FEFF24-DCD6-4080-B3E0-D489406BABE5}" dt="2020-01-06T04:43:32.847" v="2341" actId="1076"/>
        <pc:sldMkLst>
          <pc:docMk/>
          <pc:sldMk cId="3425743365" sldId="4856"/>
        </pc:sldMkLst>
        <pc:spChg chg="mod">
          <ac:chgData name="Joseph Hobbs" userId="17e3ce08-814d-44bb-8c75-291ff0a23321" providerId="ADAL" clId="{A6FEFF24-DCD6-4080-B3E0-D489406BABE5}" dt="2020-01-06T04:43:19.861" v="2337" actId="1076"/>
          <ac:spMkLst>
            <pc:docMk/>
            <pc:sldMk cId="3425743365" sldId="4856"/>
            <ac:spMk id="2" creationId="{D6403AD8-5BF8-4459-952F-C838B079D524}"/>
          </ac:spMkLst>
        </pc:spChg>
        <pc:picChg chg="add mod">
          <ac:chgData name="Joseph Hobbs" userId="17e3ce08-814d-44bb-8c75-291ff0a23321" providerId="ADAL" clId="{A6FEFF24-DCD6-4080-B3E0-D489406BABE5}" dt="2020-01-06T04:43:32.847" v="2341" actId="1076"/>
          <ac:picMkLst>
            <pc:docMk/>
            <pc:sldMk cId="3425743365" sldId="4856"/>
            <ac:picMk id="3" creationId="{2E561511-DBD9-4A86-9202-250F9E20D2A0}"/>
          </ac:picMkLst>
        </pc:picChg>
      </pc:sldChg>
      <pc:sldChg chg="delSp modSp add ord modNotesTx">
        <pc:chgData name="Joseph Hobbs" userId="17e3ce08-814d-44bb-8c75-291ff0a23321" providerId="ADAL" clId="{A6FEFF24-DCD6-4080-B3E0-D489406BABE5}" dt="2020-01-06T04:19:31.375" v="977" actId="20577"/>
        <pc:sldMkLst>
          <pc:docMk/>
          <pc:sldMk cId="966279417" sldId="4857"/>
        </pc:sldMkLst>
        <pc:spChg chg="mod">
          <ac:chgData name="Joseph Hobbs" userId="17e3ce08-814d-44bb-8c75-291ff0a23321" providerId="ADAL" clId="{A6FEFF24-DCD6-4080-B3E0-D489406BABE5}" dt="2020-01-06T04:10:01.139" v="18" actId="20577"/>
          <ac:spMkLst>
            <pc:docMk/>
            <pc:sldMk cId="966279417" sldId="4857"/>
            <ac:spMk id="4" creationId="{21431A36-F2B8-43F4-8DE3-7813FB0EC785}"/>
          </ac:spMkLst>
        </pc:spChg>
        <pc:spChg chg="mod">
          <ac:chgData name="Joseph Hobbs" userId="17e3ce08-814d-44bb-8c75-291ff0a23321" providerId="ADAL" clId="{A6FEFF24-DCD6-4080-B3E0-D489406BABE5}" dt="2020-01-06T04:16:33.740" v="592" actId="20577"/>
          <ac:spMkLst>
            <pc:docMk/>
            <pc:sldMk cId="966279417" sldId="4857"/>
            <ac:spMk id="7" creationId="{FB8B8549-C968-42D7-A739-025B20DA35B1}"/>
          </ac:spMkLst>
        </pc:spChg>
        <pc:spChg chg="del">
          <ac:chgData name="Joseph Hobbs" userId="17e3ce08-814d-44bb-8c75-291ff0a23321" providerId="ADAL" clId="{A6FEFF24-DCD6-4080-B3E0-D489406BABE5}" dt="2020-01-06T04:10:25.444" v="49" actId="478"/>
          <ac:spMkLst>
            <pc:docMk/>
            <pc:sldMk cId="966279417" sldId="4857"/>
            <ac:spMk id="14" creationId="{C18D95F5-7F35-4381-B2AC-681A3E46BAF3}"/>
          </ac:spMkLst>
        </pc:spChg>
        <pc:spChg chg="del">
          <ac:chgData name="Joseph Hobbs" userId="17e3ce08-814d-44bb-8c75-291ff0a23321" providerId="ADAL" clId="{A6FEFF24-DCD6-4080-B3E0-D489406BABE5}" dt="2020-01-06T04:10:22.979" v="48" actId="478"/>
          <ac:spMkLst>
            <pc:docMk/>
            <pc:sldMk cId="966279417" sldId="4857"/>
            <ac:spMk id="15" creationId="{9D567B29-538D-41A7-A93B-C29557D99ED0}"/>
          </ac:spMkLst>
        </pc:spChg>
        <pc:spChg chg="del">
          <ac:chgData name="Joseph Hobbs" userId="17e3ce08-814d-44bb-8c75-291ff0a23321" providerId="ADAL" clId="{A6FEFF24-DCD6-4080-B3E0-D489406BABE5}" dt="2020-01-06T04:10:18.954" v="47" actId="478"/>
          <ac:spMkLst>
            <pc:docMk/>
            <pc:sldMk cId="966279417" sldId="4857"/>
            <ac:spMk id="16" creationId="{A1500DD8-2F98-4560-BD7F-543B9BF3AEB9}"/>
          </ac:spMkLst>
        </pc:spChg>
        <pc:spChg chg="del">
          <ac:chgData name="Joseph Hobbs" userId="17e3ce08-814d-44bb-8c75-291ff0a23321" providerId="ADAL" clId="{A6FEFF24-DCD6-4080-B3E0-D489406BABE5}" dt="2020-01-06T04:10:28.811" v="51" actId="478"/>
          <ac:spMkLst>
            <pc:docMk/>
            <pc:sldMk cId="966279417" sldId="4857"/>
            <ac:spMk id="17" creationId="{A226A5A0-23CC-420C-9BB9-1B32CE91FBA1}"/>
          </ac:spMkLst>
        </pc:spChg>
        <pc:spChg chg="del">
          <ac:chgData name="Joseph Hobbs" userId="17e3ce08-814d-44bb-8c75-291ff0a23321" providerId="ADAL" clId="{A6FEFF24-DCD6-4080-B3E0-D489406BABE5}" dt="2020-01-06T04:10:26.882" v="50" actId="478"/>
          <ac:spMkLst>
            <pc:docMk/>
            <pc:sldMk cId="966279417" sldId="4857"/>
            <ac:spMk id="18" creationId="{9D9AAD03-1076-4430-A636-670998826778}"/>
          </ac:spMkLst>
        </pc:spChg>
        <pc:spChg chg="del">
          <ac:chgData name="Joseph Hobbs" userId="17e3ce08-814d-44bb-8c75-291ff0a23321" providerId="ADAL" clId="{A6FEFF24-DCD6-4080-B3E0-D489406BABE5}" dt="2020-01-06T04:10:35.939" v="53" actId="478"/>
          <ac:spMkLst>
            <pc:docMk/>
            <pc:sldMk cId="966279417" sldId="4857"/>
            <ac:spMk id="23" creationId="{7658E495-7B3E-40AE-B141-5D91EF1C4D72}"/>
          </ac:spMkLst>
        </pc:spChg>
        <pc:spChg chg="del">
          <ac:chgData name="Joseph Hobbs" userId="17e3ce08-814d-44bb-8c75-291ff0a23321" providerId="ADAL" clId="{A6FEFF24-DCD6-4080-B3E0-D489406BABE5}" dt="2020-01-06T04:10:31.395" v="52" actId="478"/>
          <ac:spMkLst>
            <pc:docMk/>
            <pc:sldMk cId="966279417" sldId="4857"/>
            <ac:spMk id="28" creationId="{80B8F0BD-9997-4891-896B-0BCB92A280C0}"/>
          </ac:spMkLst>
        </pc:spChg>
        <pc:picChg chg="del">
          <ac:chgData name="Joseph Hobbs" userId="17e3ce08-814d-44bb-8c75-291ff0a23321" providerId="ADAL" clId="{A6FEFF24-DCD6-4080-B3E0-D489406BABE5}" dt="2020-01-06T04:10:38.494" v="54" actId="478"/>
          <ac:picMkLst>
            <pc:docMk/>
            <pc:sldMk cId="966279417" sldId="4857"/>
            <ac:picMk id="21" creationId="{61BA3076-6EBD-402E-A1B0-AEC2F52CCD50}"/>
          </ac:picMkLst>
        </pc:picChg>
      </pc:sldChg>
      <pc:sldChg chg="add modNotesTx">
        <pc:chgData name="Joseph Hobbs" userId="17e3ce08-814d-44bb-8c75-291ff0a23321" providerId="ADAL" clId="{A6FEFF24-DCD6-4080-B3E0-D489406BABE5}" dt="2020-01-06T04:25:45.673" v="1228" actId="20577"/>
        <pc:sldMkLst>
          <pc:docMk/>
          <pc:sldMk cId="2321504896" sldId="4858"/>
        </pc:sldMkLst>
      </pc:sldChg>
      <pc:sldChg chg="add modNotesTx">
        <pc:chgData name="Joseph Hobbs" userId="17e3ce08-814d-44bb-8c75-291ff0a23321" providerId="ADAL" clId="{A6FEFF24-DCD6-4080-B3E0-D489406BABE5}" dt="2020-01-06T04:33:10.443" v="1761" actId="20577"/>
        <pc:sldMkLst>
          <pc:docMk/>
          <pc:sldMk cId="3975945890" sldId="4859"/>
        </pc:sldMkLst>
      </pc:sldChg>
      <pc:sldChg chg="addSp delSp modSp add modNotesTx">
        <pc:chgData name="Joseph Hobbs" userId="17e3ce08-814d-44bb-8c75-291ff0a23321" providerId="ADAL" clId="{A6FEFF24-DCD6-4080-B3E0-D489406BABE5}" dt="2020-01-06T04:41:20.317" v="2331" actId="313"/>
        <pc:sldMkLst>
          <pc:docMk/>
          <pc:sldMk cId="1855759402" sldId="4860"/>
        </pc:sldMkLst>
        <pc:spChg chg="mod">
          <ac:chgData name="Joseph Hobbs" userId="17e3ce08-814d-44bb-8c75-291ff0a23321" providerId="ADAL" clId="{A6FEFF24-DCD6-4080-B3E0-D489406BABE5}" dt="2020-01-06T04:34:04.631" v="1772" actId="20577"/>
          <ac:spMkLst>
            <pc:docMk/>
            <pc:sldMk cId="1855759402" sldId="4860"/>
            <ac:spMk id="2" creationId="{110F1F4C-E75F-4AC7-BDBB-F9F4F341556A}"/>
          </ac:spMkLst>
        </pc:spChg>
        <pc:spChg chg="mod">
          <ac:chgData name="Joseph Hobbs" userId="17e3ce08-814d-44bb-8c75-291ff0a23321" providerId="ADAL" clId="{A6FEFF24-DCD6-4080-B3E0-D489406BABE5}" dt="2020-01-06T04:34:14.455" v="1800" actId="20577"/>
          <ac:spMkLst>
            <pc:docMk/>
            <pc:sldMk cId="1855759402" sldId="4860"/>
            <ac:spMk id="31" creationId="{A5A5E503-F21A-49D4-B447-C887D4CAA195}"/>
          </ac:spMkLst>
        </pc:spChg>
        <pc:spChg chg="mod">
          <ac:chgData name="Joseph Hobbs" userId="17e3ce08-814d-44bb-8c75-291ff0a23321" providerId="ADAL" clId="{A6FEFF24-DCD6-4080-B3E0-D489406BABE5}" dt="2020-01-06T04:41:20.317" v="2331" actId="313"/>
          <ac:spMkLst>
            <pc:docMk/>
            <pc:sldMk cId="1855759402" sldId="4860"/>
            <ac:spMk id="56" creationId="{70102F4E-96C4-4342-A000-C76E378AC190}"/>
          </ac:spMkLst>
        </pc:spChg>
        <pc:grpChg chg="add del">
          <ac:chgData name="Joseph Hobbs" userId="17e3ce08-814d-44bb-8c75-291ff0a23321" providerId="ADAL" clId="{A6FEFF24-DCD6-4080-B3E0-D489406BABE5}" dt="2020-01-06T04:36:00.040" v="2016" actId="478"/>
          <ac:grpSpMkLst>
            <pc:docMk/>
            <pc:sldMk cId="1855759402" sldId="4860"/>
            <ac:grpSpMk id="37" creationId="{FB458430-1C14-4A1C-AAA9-5FC8F50FB2E8}"/>
          </ac:grpSpMkLst>
        </pc:grpChg>
      </pc:sldChg>
    </pc:docChg>
  </pc:docChgLst>
  <pc:docChgLst>
    <pc:chgData name="Joseph Hobbs" userId="17e3ce08-814d-44bb-8c75-291ff0a23321" providerId="ADAL" clId="{7271E2F4-24F3-4ADD-85BC-5B77D021F9DA}"/>
    <pc:docChg chg="custSel modSld">
      <pc:chgData name="Joseph Hobbs" userId="17e3ce08-814d-44bb-8c75-291ff0a23321" providerId="ADAL" clId="{7271E2F4-24F3-4ADD-85BC-5B77D021F9DA}" dt="2020-06-22T15:21:19.481" v="844"/>
      <pc:docMkLst>
        <pc:docMk/>
      </pc:docMkLst>
      <pc:sldChg chg="addSp modSp mod">
        <pc:chgData name="Joseph Hobbs" userId="17e3ce08-814d-44bb-8c75-291ff0a23321" providerId="ADAL" clId="{7271E2F4-24F3-4ADD-85BC-5B77D021F9DA}" dt="2020-06-22T15:10:02.161" v="307" actId="1076"/>
        <pc:sldMkLst>
          <pc:docMk/>
          <pc:sldMk cId="4049561707" sldId="291"/>
        </pc:sldMkLst>
        <pc:spChg chg="add mod">
          <ac:chgData name="Joseph Hobbs" userId="17e3ce08-814d-44bb-8c75-291ff0a23321" providerId="ADAL" clId="{7271E2F4-24F3-4ADD-85BC-5B77D021F9DA}" dt="2020-06-22T15:09:53.323" v="306" actId="6549"/>
          <ac:spMkLst>
            <pc:docMk/>
            <pc:sldMk cId="4049561707" sldId="291"/>
            <ac:spMk id="4" creationId="{F259B2DE-F3A2-415B-8317-6BD26323F472}"/>
          </ac:spMkLst>
        </pc:spChg>
        <pc:picChg chg="mod">
          <ac:chgData name="Joseph Hobbs" userId="17e3ce08-814d-44bb-8c75-291ff0a23321" providerId="ADAL" clId="{7271E2F4-24F3-4ADD-85BC-5B77D021F9DA}" dt="2020-06-22T15:10:02.161" v="307" actId="1076"/>
          <ac:picMkLst>
            <pc:docMk/>
            <pc:sldMk cId="4049561707" sldId="291"/>
            <ac:picMk id="3" creationId="{5C33CDEF-2343-4F13-8F2F-3A3F1F93DFB8}"/>
          </ac:picMkLst>
        </pc:picChg>
      </pc:sldChg>
      <pc:sldChg chg="modSp mod">
        <pc:chgData name="Joseph Hobbs" userId="17e3ce08-814d-44bb-8c75-291ff0a23321" providerId="ADAL" clId="{7271E2F4-24F3-4ADD-85BC-5B77D021F9DA}" dt="2020-06-22T14:59:10.021" v="32" actId="20577"/>
        <pc:sldMkLst>
          <pc:docMk/>
          <pc:sldMk cId="688486512" sldId="298"/>
        </pc:sldMkLst>
        <pc:spChg chg="mod">
          <ac:chgData name="Joseph Hobbs" userId="17e3ce08-814d-44bb-8c75-291ff0a23321" providerId="ADAL" clId="{7271E2F4-24F3-4ADD-85BC-5B77D021F9DA}" dt="2020-06-22T14:59:10.021" v="32" actId="20577"/>
          <ac:spMkLst>
            <pc:docMk/>
            <pc:sldMk cId="688486512" sldId="298"/>
            <ac:spMk id="56" creationId="{70102F4E-96C4-4342-A000-C76E378AC190}"/>
          </ac:spMkLst>
        </pc:spChg>
      </pc:sldChg>
      <pc:sldChg chg="modTransition">
        <pc:chgData name="Joseph Hobbs" userId="17e3ce08-814d-44bb-8c75-291ff0a23321" providerId="ADAL" clId="{7271E2F4-24F3-4ADD-85BC-5B77D021F9DA}" dt="2020-06-22T15:21:19.481" v="844"/>
        <pc:sldMkLst>
          <pc:docMk/>
          <pc:sldMk cId="1994765946" sldId="303"/>
        </pc:sldMkLst>
      </pc:sldChg>
      <pc:sldChg chg="delSp modSp mod">
        <pc:chgData name="Joseph Hobbs" userId="17e3ce08-814d-44bb-8c75-291ff0a23321" providerId="ADAL" clId="{7271E2F4-24F3-4ADD-85BC-5B77D021F9DA}" dt="2020-06-22T15:03:20.212" v="70" actId="478"/>
        <pc:sldMkLst>
          <pc:docMk/>
          <pc:sldMk cId="1643019192" sldId="4839"/>
        </pc:sldMkLst>
        <pc:spChg chg="mod">
          <ac:chgData name="Joseph Hobbs" userId="17e3ce08-814d-44bb-8c75-291ff0a23321" providerId="ADAL" clId="{7271E2F4-24F3-4ADD-85BC-5B77D021F9DA}" dt="2020-06-22T14:59:49.148" v="40" actId="20577"/>
          <ac:spMkLst>
            <pc:docMk/>
            <pc:sldMk cId="1643019192" sldId="4839"/>
            <ac:spMk id="5" creationId="{96590F2E-6E44-4921-A81A-76E116395D1A}"/>
          </ac:spMkLst>
        </pc:spChg>
        <pc:spChg chg="mod">
          <ac:chgData name="Joseph Hobbs" userId="17e3ce08-814d-44bb-8c75-291ff0a23321" providerId="ADAL" clId="{7271E2F4-24F3-4ADD-85BC-5B77D021F9DA}" dt="2020-06-22T14:59:55.227" v="48" actId="20577"/>
          <ac:spMkLst>
            <pc:docMk/>
            <pc:sldMk cId="1643019192" sldId="4839"/>
            <ac:spMk id="7" creationId="{53FD9ABA-9576-478F-B29C-32C6789BD781}"/>
          </ac:spMkLst>
        </pc:spChg>
        <pc:spChg chg="mod">
          <ac:chgData name="Joseph Hobbs" userId="17e3ce08-814d-44bb-8c75-291ff0a23321" providerId="ADAL" clId="{7271E2F4-24F3-4ADD-85BC-5B77D021F9DA}" dt="2020-06-22T15:03:11.203" v="68" actId="20577"/>
          <ac:spMkLst>
            <pc:docMk/>
            <pc:sldMk cId="1643019192" sldId="4839"/>
            <ac:spMk id="9" creationId="{AAD0E3D4-8FF8-43B3-A3A5-12E252CBE6CE}"/>
          </ac:spMkLst>
        </pc:spChg>
        <pc:spChg chg="del">
          <ac:chgData name="Joseph Hobbs" userId="17e3ce08-814d-44bb-8c75-291ff0a23321" providerId="ADAL" clId="{7271E2F4-24F3-4ADD-85BC-5B77D021F9DA}" dt="2020-06-22T15:03:18.316" v="69" actId="478"/>
          <ac:spMkLst>
            <pc:docMk/>
            <pc:sldMk cId="1643019192" sldId="4839"/>
            <ac:spMk id="11" creationId="{A33245E5-C98C-4F47-AEF5-7B4400EC09B5}"/>
          </ac:spMkLst>
        </pc:spChg>
        <pc:spChg chg="mod">
          <ac:chgData name="Joseph Hobbs" userId="17e3ce08-814d-44bb-8c75-291ff0a23321" providerId="ADAL" clId="{7271E2F4-24F3-4ADD-85BC-5B77D021F9DA}" dt="2020-06-22T15:00:01.253" v="52" actId="20577"/>
          <ac:spMkLst>
            <pc:docMk/>
            <pc:sldMk cId="1643019192" sldId="4839"/>
            <ac:spMk id="13" creationId="{690295E0-1EA8-4A17-BF00-0067825ADDC9}"/>
          </ac:spMkLst>
        </pc:spChg>
        <pc:spChg chg="del">
          <ac:chgData name="Joseph Hobbs" userId="17e3ce08-814d-44bb-8c75-291ff0a23321" providerId="ADAL" clId="{7271E2F4-24F3-4ADD-85BC-5B77D021F9DA}" dt="2020-06-22T15:03:20.212" v="70" actId="478"/>
          <ac:spMkLst>
            <pc:docMk/>
            <pc:sldMk cId="1643019192" sldId="4839"/>
            <ac:spMk id="14" creationId="{34E1E3E1-ACCA-4862-9A2C-985BF9A7F343}"/>
          </ac:spMkLst>
        </pc:spChg>
        <pc:spChg chg="mod">
          <ac:chgData name="Joseph Hobbs" userId="17e3ce08-814d-44bb-8c75-291ff0a23321" providerId="ADAL" clId="{7271E2F4-24F3-4ADD-85BC-5B77D021F9DA}" dt="2020-06-22T15:02:32.075" v="61" actId="20577"/>
          <ac:spMkLst>
            <pc:docMk/>
            <pc:sldMk cId="1643019192" sldId="4839"/>
            <ac:spMk id="15" creationId="{421E85C0-B4C1-4CEC-BB3A-A7AF06F116FB}"/>
          </ac:spMkLst>
        </pc:spChg>
      </pc:sldChg>
      <pc:sldChg chg="addSp modSp mod">
        <pc:chgData name="Joseph Hobbs" userId="17e3ce08-814d-44bb-8c75-291ff0a23321" providerId="ADAL" clId="{7271E2F4-24F3-4ADD-85BC-5B77D021F9DA}" dt="2020-06-22T15:15:59.259" v="531" actId="1076"/>
        <pc:sldMkLst>
          <pc:docMk/>
          <pc:sldMk cId="3568589235" sldId="4841"/>
        </pc:sldMkLst>
        <pc:spChg chg="add mod">
          <ac:chgData name="Joseph Hobbs" userId="17e3ce08-814d-44bb-8c75-291ff0a23321" providerId="ADAL" clId="{7271E2F4-24F3-4ADD-85BC-5B77D021F9DA}" dt="2020-06-22T15:15:48.784" v="529" actId="20577"/>
          <ac:spMkLst>
            <pc:docMk/>
            <pc:sldMk cId="3568589235" sldId="4841"/>
            <ac:spMk id="768" creationId="{9242144E-2BD1-4DE3-829E-ED5E31D455FA}"/>
          </ac:spMkLst>
        </pc:spChg>
        <pc:picChg chg="mod">
          <ac:chgData name="Joseph Hobbs" userId="17e3ce08-814d-44bb-8c75-291ff0a23321" providerId="ADAL" clId="{7271E2F4-24F3-4ADD-85BC-5B77D021F9DA}" dt="2020-06-22T15:15:59.259" v="531" actId="1076"/>
          <ac:picMkLst>
            <pc:docMk/>
            <pc:sldMk cId="3568589235" sldId="4841"/>
            <ac:picMk id="3" creationId="{8990C91E-B75C-4222-9AA7-7C8D99A7F36B}"/>
          </ac:picMkLst>
        </pc:picChg>
      </pc:sldChg>
      <pc:sldChg chg="addSp modSp mod modNotesTx">
        <pc:chgData name="Joseph Hobbs" userId="17e3ce08-814d-44bb-8c75-291ff0a23321" providerId="ADAL" clId="{7271E2F4-24F3-4ADD-85BC-5B77D021F9DA}" dt="2020-06-22T15:19:05.630" v="773" actId="1076"/>
        <pc:sldMkLst>
          <pc:docMk/>
          <pc:sldMk cId="2204042059" sldId="4843"/>
        </pc:sldMkLst>
        <pc:spChg chg="add mod">
          <ac:chgData name="Joseph Hobbs" userId="17e3ce08-814d-44bb-8c75-291ff0a23321" providerId="ADAL" clId="{7271E2F4-24F3-4ADD-85BC-5B77D021F9DA}" dt="2020-06-22T15:19:00.223" v="772" actId="14100"/>
          <ac:spMkLst>
            <pc:docMk/>
            <pc:sldMk cId="2204042059" sldId="4843"/>
            <ac:spMk id="768" creationId="{FF9DA181-DE3E-440D-B1B8-A954603A7105}"/>
          </ac:spMkLst>
        </pc:spChg>
        <pc:picChg chg="mod">
          <ac:chgData name="Joseph Hobbs" userId="17e3ce08-814d-44bb-8c75-291ff0a23321" providerId="ADAL" clId="{7271E2F4-24F3-4ADD-85BC-5B77D021F9DA}" dt="2020-06-22T15:19:05.630" v="773" actId="1076"/>
          <ac:picMkLst>
            <pc:docMk/>
            <pc:sldMk cId="2204042059" sldId="4843"/>
            <ac:picMk id="3" creationId="{4C7E1A3A-4FC8-466E-9692-08DDD41A95AA}"/>
          </ac:picMkLst>
        </pc:picChg>
      </pc:sldChg>
      <pc:sldChg chg="addSp modSp mod">
        <pc:chgData name="Joseph Hobbs" userId="17e3ce08-814d-44bb-8c75-291ff0a23321" providerId="ADAL" clId="{7271E2F4-24F3-4ADD-85BC-5B77D021F9DA}" dt="2020-06-22T15:12:27.490" v="412" actId="1076"/>
        <pc:sldMkLst>
          <pc:docMk/>
          <pc:sldMk cId="1854967483" sldId="4847"/>
        </pc:sldMkLst>
        <pc:spChg chg="add mod">
          <ac:chgData name="Joseph Hobbs" userId="17e3ce08-814d-44bb-8c75-291ff0a23321" providerId="ADAL" clId="{7271E2F4-24F3-4ADD-85BC-5B77D021F9DA}" dt="2020-06-22T15:12:03.265" v="411" actId="20577"/>
          <ac:spMkLst>
            <pc:docMk/>
            <pc:sldMk cId="1854967483" sldId="4847"/>
            <ac:spMk id="768" creationId="{FFB8C5E1-2517-4720-989A-CA9BF992B862}"/>
          </ac:spMkLst>
        </pc:spChg>
        <pc:picChg chg="mod">
          <ac:chgData name="Joseph Hobbs" userId="17e3ce08-814d-44bb-8c75-291ff0a23321" providerId="ADAL" clId="{7271E2F4-24F3-4ADD-85BC-5B77D021F9DA}" dt="2020-06-22T15:12:27.490" v="412" actId="1076"/>
          <ac:picMkLst>
            <pc:docMk/>
            <pc:sldMk cId="1854967483" sldId="4847"/>
            <ac:picMk id="3" creationId="{F3953F29-87F3-4779-981A-B3F14B4622B1}"/>
          </ac:picMkLst>
        </pc:picChg>
      </pc:sldChg>
      <pc:sldChg chg="addSp modSp mod">
        <pc:chgData name="Joseph Hobbs" userId="17e3ce08-814d-44bb-8c75-291ff0a23321" providerId="ADAL" clId="{7271E2F4-24F3-4ADD-85BC-5B77D021F9DA}" dt="2020-06-22T15:17:28.544" v="687" actId="20577"/>
        <pc:sldMkLst>
          <pc:docMk/>
          <pc:sldMk cId="3664404626" sldId="4850"/>
        </pc:sldMkLst>
        <pc:spChg chg="add mod">
          <ac:chgData name="Joseph Hobbs" userId="17e3ce08-814d-44bb-8c75-291ff0a23321" providerId="ADAL" clId="{7271E2F4-24F3-4ADD-85BC-5B77D021F9DA}" dt="2020-06-22T15:17:28.544" v="687" actId="20577"/>
          <ac:spMkLst>
            <pc:docMk/>
            <pc:sldMk cId="3664404626" sldId="4850"/>
            <ac:spMk id="768" creationId="{5AC9F421-188D-4B18-B944-0F02BBA6084E}"/>
          </ac:spMkLst>
        </pc:spChg>
        <pc:picChg chg="mod">
          <ac:chgData name="Joseph Hobbs" userId="17e3ce08-814d-44bb-8c75-291ff0a23321" providerId="ADAL" clId="{7271E2F4-24F3-4ADD-85BC-5B77D021F9DA}" dt="2020-06-22T15:16:50.730" v="534" actId="1076"/>
          <ac:picMkLst>
            <pc:docMk/>
            <pc:sldMk cId="3664404626" sldId="4850"/>
            <ac:picMk id="3" creationId="{BA5A3402-E2CA-4EAE-9E46-398CFF40047E}"/>
          </ac:picMkLst>
        </pc:picChg>
      </pc:sldChg>
      <pc:sldChg chg="addSp modSp mod">
        <pc:chgData name="Joseph Hobbs" userId="17e3ce08-814d-44bb-8c75-291ff0a23321" providerId="ADAL" clId="{7271E2F4-24F3-4ADD-85BC-5B77D021F9DA}" dt="2020-06-22T15:20:59.402" v="843" actId="14100"/>
        <pc:sldMkLst>
          <pc:docMk/>
          <pc:sldMk cId="3425743365" sldId="4856"/>
        </pc:sldMkLst>
        <pc:spChg chg="add mod">
          <ac:chgData name="Joseph Hobbs" userId="17e3ce08-814d-44bb-8c75-291ff0a23321" providerId="ADAL" clId="{7271E2F4-24F3-4ADD-85BC-5B77D021F9DA}" dt="2020-06-22T15:20:40.760" v="840" actId="20577"/>
          <ac:spMkLst>
            <pc:docMk/>
            <pc:sldMk cId="3425743365" sldId="4856"/>
            <ac:spMk id="768" creationId="{D8BABBF0-31E3-4EE9-98AF-E5F2BA50E8CB}"/>
          </ac:spMkLst>
        </pc:spChg>
        <pc:picChg chg="mod">
          <ac:chgData name="Joseph Hobbs" userId="17e3ce08-814d-44bb-8c75-291ff0a23321" providerId="ADAL" clId="{7271E2F4-24F3-4ADD-85BC-5B77D021F9DA}" dt="2020-06-22T15:20:59.402" v="843" actId="14100"/>
          <ac:picMkLst>
            <pc:docMk/>
            <pc:sldMk cId="3425743365" sldId="4856"/>
            <ac:picMk id="3" creationId="{2E561511-DBD9-4A86-9202-250F9E20D2A0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3D139D-0E9E-4EC8-940F-CBC1D8B0B74D}" type="datetimeFigureOut">
              <a:rPr lang="en-US" smtClean="0"/>
              <a:t>6/2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47DD74-E843-4AB5-BDCA-41531D4F52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5901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3B1B9F-6137-408C-9132-957537BDFACE}" type="datetimeFigureOut">
              <a:rPr lang="en-US" smtClean="0"/>
              <a:t>6/2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291D18-4659-4470-9E79-D1AC771793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799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2535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You show the report to your boss and she loves it.</a:t>
            </a:r>
          </a:p>
          <a:p>
            <a:pPr marL="171450" indent="-171450">
              <a:buFontTx/>
              <a:buChar char="-"/>
            </a:pPr>
            <a:r>
              <a:rPr lang="en-US" dirty="0"/>
              <a:t>She sends you of to present to Kevin, one of the salespeople</a:t>
            </a:r>
          </a:p>
          <a:p>
            <a:pPr marL="171450" indent="-171450">
              <a:buFontTx/>
              <a:buChar char="-"/>
            </a:pPr>
            <a:r>
              <a:rPr lang="en-US" dirty="0"/>
              <a:t>Kevin likes it but he’s skeptical and tells you a story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e had some reports like this built on an old system but we could never trust them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Probably once a week some data table or another wouldn’t get refreshed and everything would get out of date and wouldn’t be accurate</a:t>
            </a:r>
          </a:p>
          <a:p>
            <a:pPr marL="171450" lvl="0" indent="-171450">
              <a:buFontTx/>
              <a:buChar char="-"/>
            </a:pPr>
            <a:r>
              <a:rPr lang="en-US" dirty="0"/>
              <a:t>You go back to your boss and together the two of you decide to build another report that shows data quality and freshness</a:t>
            </a:r>
          </a:p>
          <a:p>
            <a:pPr marL="171450" lvl="0" indent="-171450">
              <a:buFontTx/>
              <a:buChar char="-"/>
            </a:pPr>
            <a:r>
              <a:rPr lang="en-US" dirty="0"/>
              <a:t>It needs to show three thing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First, did Power BI itself refresh?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Second, did the SQL tables refresh?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Finally, did our source system refresh?</a:t>
            </a:r>
          </a:p>
          <a:p>
            <a:pPr marL="171450" lvl="0" indent="-171450">
              <a:buFontTx/>
              <a:buChar char="-"/>
            </a:pPr>
            <a:r>
              <a:rPr lang="en-US" dirty="0"/>
              <a:t>As you’re walking out the door your boss adds one more thing. She wants to hold the </a:t>
            </a:r>
            <a:r>
              <a:rPr lang="en-US" dirty="0" err="1"/>
              <a:t>salepeople</a:t>
            </a:r>
            <a:r>
              <a:rPr lang="en-US" dirty="0"/>
              <a:t> accountable to use the new dashboard so wants to know if any person hasn’t used the report in the last 30 day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0810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Three refresh dates (Power BI, SQL, and Source)</a:t>
            </a:r>
          </a:p>
          <a:p>
            <a:pPr marL="171450" indent="-171450">
              <a:buFontTx/>
              <a:buChar char="-"/>
            </a:pPr>
            <a:r>
              <a:rPr lang="en-US" dirty="0"/>
              <a:t>A view to see if anyone hasn’t used the report in 30 day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8844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Both your boss and Kevin are liking the new system. After a couple of weeks, your boss calls you in</a:t>
            </a:r>
          </a:p>
          <a:p>
            <a:pPr marL="171450" indent="-171450">
              <a:buFontTx/>
              <a:buChar char="-"/>
            </a:pPr>
            <a:r>
              <a:rPr lang="en-US" dirty="0"/>
              <a:t>She wants to find a way to reward her team for meeting their goals and using the new PBI report</a:t>
            </a:r>
          </a:p>
          <a:p>
            <a:pPr marL="171450" indent="-171450">
              <a:buFontTx/>
              <a:buChar char="-"/>
            </a:pPr>
            <a:r>
              <a:rPr lang="en-US" dirty="0"/>
              <a:t>She want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To be notified if a region meets their sales goal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IF they do, she wants to buy them a team lunch (which will have to be approved by finance)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She also wants to give them a shout out on Tea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9976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Going back through our process, reconsider your tools. Power BI is no longer the best tool for the job.</a:t>
            </a:r>
          </a:p>
          <a:p>
            <a:pPr marL="171450" indent="-171450">
              <a:buFontTx/>
              <a:buChar char="-"/>
            </a:pPr>
            <a:r>
              <a:rPr lang="en-US" dirty="0"/>
              <a:t>We need a tool that can provide active communication and interact with other pieces of softwa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4933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9262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Notification if a regions sales goal is met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Kick off a finance approval for a team lunch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Also need to post a message to tea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744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Your boss likes the new system and is really impressed by Power Automate</a:t>
            </a:r>
          </a:p>
          <a:p>
            <a:pPr marL="171450" indent="-171450">
              <a:buFontTx/>
              <a:buChar char="-"/>
            </a:pPr>
            <a:r>
              <a:rPr lang="en-US" dirty="0"/>
              <a:t>Unfortunately, she doesn’t spend long talking about that because Kevin called in to complain that the report was out of date</a:t>
            </a:r>
          </a:p>
          <a:p>
            <a:pPr marL="171450" indent="-171450">
              <a:buFontTx/>
              <a:buChar char="-"/>
            </a:pPr>
            <a:r>
              <a:rPr lang="en-US" dirty="0"/>
              <a:t>Your boss wants to find a way to use Power Automate to let IT know if any of the refreshes don’t happen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She also wants to log a bug in Azure DevOps so she can track progres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It would look proactive if you were able to send an email to the sales team letting them know something was wrong and you were working on it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And if we can let people automatically know when the issue is resolved, even better</a:t>
            </a:r>
          </a:p>
          <a:p>
            <a:pPr marL="1085850" lvl="2" indent="-171450">
              <a:buFontTx/>
              <a:buChar char="-"/>
            </a:pPr>
            <a:r>
              <a:rPr lang="en-US" dirty="0"/>
              <a:t>Add in PRI refreshes itself when the bug is done.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Finally, she wants to keep track of these bugs somewhere so she can review them with the IT team at the end of the y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6488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Alert IT if a refresh fails</a:t>
            </a:r>
          </a:p>
          <a:p>
            <a:pPr marL="171450" indent="-171450">
              <a:buFontTx/>
              <a:buChar char="-"/>
            </a:pPr>
            <a:r>
              <a:rPr lang="en-US" dirty="0"/>
              <a:t>Create a bug</a:t>
            </a:r>
          </a:p>
          <a:p>
            <a:pPr marL="171450" indent="-171450">
              <a:buFontTx/>
              <a:buChar char="-"/>
            </a:pPr>
            <a:r>
              <a:rPr lang="en-US" dirty="0"/>
              <a:t>Notify the sales team when the bug is caught and resolved</a:t>
            </a:r>
          </a:p>
          <a:p>
            <a:pPr marL="171450" indent="-171450">
              <a:buFontTx/>
              <a:buChar char="-"/>
            </a:pPr>
            <a:r>
              <a:rPr lang="en-US" dirty="0"/>
              <a:t>Log the bugs somewhere for later re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65245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4983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Your new system has been humming along nicely. Your boss is happy and so is Kevin.</a:t>
            </a:r>
          </a:p>
          <a:p>
            <a:pPr marL="171450" indent="-171450">
              <a:buFontTx/>
              <a:buChar char="-"/>
            </a:pPr>
            <a:r>
              <a:rPr lang="en-US" dirty="0"/>
              <a:t>After a month or so, sales are improving and your boss calls you to talk</a:t>
            </a:r>
          </a:p>
          <a:p>
            <a:pPr marL="171450" indent="-171450">
              <a:buFontTx/>
              <a:buChar char="-"/>
            </a:pPr>
            <a:r>
              <a:rPr lang="en-US" dirty="0"/>
              <a:t>She has an idea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With sales improving, she wants the ability to assign a stretch goal to a region and have them be notified of the change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She’d really like to do this directly in a Power BI report if possible, so she can see and edit the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3852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6038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Going back through our process, reconsider your tools, is Power Automate still the best tool?</a:t>
            </a:r>
          </a:p>
          <a:p>
            <a:pPr marL="171450" indent="-171450">
              <a:buFontTx/>
              <a:buChar char="-"/>
            </a:pPr>
            <a:r>
              <a:rPr lang="en-US" dirty="0"/>
              <a:t>You can technically edit underlying data, but  not in an easy fash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095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64079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Create a stretch sales goal</a:t>
            </a:r>
          </a:p>
          <a:p>
            <a:pPr marL="171450" indent="-171450">
              <a:buFontTx/>
              <a:buChar char="-"/>
            </a:pPr>
            <a:r>
              <a:rPr lang="en-US" dirty="0"/>
              <a:t>Notify the sales tea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1574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Now she wants an app where they can promote and leave praise for one another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8922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This app exists, just needs pointed at your O365 acc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77616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Discuss the Power BI and Power Apps Adoption Frameworks</a:t>
            </a:r>
          </a:p>
          <a:p>
            <a:pPr marL="171450" indent="-171450">
              <a:buFontTx/>
              <a:buChar char="-"/>
            </a:pPr>
            <a:r>
              <a:rPr lang="en-US" dirty="0"/>
              <a:t>Discuss Admin privileges and roles</a:t>
            </a:r>
          </a:p>
          <a:p>
            <a:pPr marL="171450" indent="-171450">
              <a:buFontTx/>
              <a:buChar char="-"/>
            </a:pPr>
            <a:r>
              <a:rPr lang="en-US" dirty="0"/>
              <a:t>Discuss user groups and </a:t>
            </a:r>
            <a:r>
              <a:rPr lang="en-US" dirty="0" err="1"/>
              <a:t>Co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52632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3864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Speaker introduces themselves</a:t>
            </a:r>
          </a:p>
          <a:p>
            <a:pPr marL="171450" indent="-171450">
              <a:buFontTx/>
              <a:buChar char="-"/>
            </a:pPr>
            <a:r>
              <a:rPr lang="en-US" dirty="0"/>
              <a:t>Asks participants to do the same and answer some question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“What you want to learn” should be captured on a whiteboard for review during Q&amp;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9832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A high level overview of what Power Platform 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244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2226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462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You’re a newly hired BI analyst hired to work directly for the VP of Sales</a:t>
            </a:r>
          </a:p>
          <a:p>
            <a:pPr marL="171450" indent="-171450">
              <a:buFontTx/>
              <a:buChar char="-"/>
            </a:pPr>
            <a:r>
              <a:rPr lang="en-US" dirty="0"/>
              <a:t>Day one, your new manager pulls you into her office and says,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“Bob, I’m sold on the value of being data driven but I’ll be honest, the rest of the sales team is not. Here’s what I need from you to prove this is worth the effort</a:t>
            </a:r>
          </a:p>
          <a:p>
            <a:pPr marL="1085850" lvl="2" indent="-171450">
              <a:buFontTx/>
              <a:buChar char="-"/>
            </a:pPr>
            <a:r>
              <a:rPr lang="en-US" dirty="0"/>
              <a:t>I need a report showing me which regional sales managers are doing well and which are doing poorly for Q1</a:t>
            </a:r>
          </a:p>
          <a:p>
            <a:pPr marL="1085850" lvl="2" indent="-171450">
              <a:buFontTx/>
              <a:buChar char="-"/>
            </a:pPr>
            <a:r>
              <a:rPr lang="en-US" dirty="0"/>
              <a:t>They each have a goal to have their sales be 2% higher than this month last year</a:t>
            </a:r>
          </a:p>
          <a:p>
            <a:pPr marL="1085850" lvl="2" indent="-171450">
              <a:buFontTx/>
              <a:buChar char="-"/>
            </a:pPr>
            <a:r>
              <a:rPr lang="en-US" dirty="0"/>
              <a:t>Most of my salespeople are old school. They don’t want to learn a complicated new tool, so find a way to show them something cutting edge but still simple to use</a:t>
            </a:r>
          </a:p>
          <a:p>
            <a:pPr marL="1085850" lvl="2" indent="-171450">
              <a:buFontTx/>
              <a:buChar char="-"/>
            </a:pPr>
            <a:r>
              <a:rPr lang="en-US" dirty="0"/>
              <a:t>Finally, it would be nice to see how things are trending over time and what might be the main contributors to success or failure might be</a:t>
            </a:r>
          </a:p>
          <a:p>
            <a:pPr marL="1085850" lvl="2" indent="-171450">
              <a:buFontTx/>
              <a:buChar char="-"/>
            </a:pPr>
            <a:r>
              <a:rPr lang="en-US" dirty="0"/>
              <a:t>Oh and it needs to look snappy. We’re going to put it on the big TV in the main sales offic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3114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Let’s talk through how to approach a business problem like this one. Take three steps before you begin.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First, email your boss a summary of your conversation and lay out</a:t>
            </a:r>
          </a:p>
          <a:p>
            <a:pPr marL="1085850" lvl="2" indent="-171450">
              <a:buFontTx/>
              <a:buChar char="-"/>
            </a:pPr>
            <a:r>
              <a:rPr lang="en-US" dirty="0"/>
              <a:t>Goals</a:t>
            </a:r>
          </a:p>
          <a:p>
            <a:pPr marL="1085850" lvl="2" indent="-171450">
              <a:buFontTx/>
              <a:buChar char="-"/>
            </a:pPr>
            <a:r>
              <a:rPr lang="en-US" dirty="0"/>
              <a:t>Action Items</a:t>
            </a:r>
          </a:p>
          <a:p>
            <a:pPr marL="1085850" lvl="2" indent="-171450">
              <a:buFontTx/>
              <a:buChar char="-"/>
            </a:pPr>
            <a:r>
              <a:rPr lang="en-US" dirty="0"/>
              <a:t>Deadlin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Second, ideate. What would a perfect solution look like? </a:t>
            </a:r>
          </a:p>
          <a:p>
            <a:pPr marL="1085850" lvl="2" indent="-171450">
              <a:buFontTx/>
              <a:buChar char="-"/>
            </a:pPr>
            <a:r>
              <a:rPr lang="en-US" dirty="0"/>
              <a:t>Example: the development of the Amazon warehouse robot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Third, consider your toolbox. What different ways could you solve the problem?</a:t>
            </a:r>
          </a:p>
          <a:p>
            <a:pPr marL="171450" lvl="0" indent="-171450">
              <a:buFontTx/>
              <a:buChar char="-"/>
            </a:pPr>
            <a:r>
              <a:rPr lang="en-US" dirty="0"/>
              <a:t>Then follow the Harvard School of Design model.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Rapid prototyping with minimal time invested</a:t>
            </a:r>
          </a:p>
          <a:p>
            <a:pPr marL="1085850" lvl="2" indent="-171450">
              <a:buFontTx/>
              <a:buChar char="-"/>
            </a:pPr>
            <a:r>
              <a:rPr lang="en-US" dirty="0"/>
              <a:t>Start with a napkin drawing if you have to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SCRUM/Agile/KANBAN methodologies can be useful in this scenario but don’t get too caught up in tha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5268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Regional sales data compared to a goal</a:t>
            </a:r>
          </a:p>
          <a:p>
            <a:pPr marL="171450" indent="-171450">
              <a:buFontTx/>
              <a:buChar char="-"/>
            </a:pPr>
            <a:r>
              <a:rPr lang="en-US" dirty="0"/>
              <a:t>Build a goals table that shows the current year goal that’s 2% higher than last year</a:t>
            </a:r>
          </a:p>
          <a:p>
            <a:pPr marL="171450" indent="-171450">
              <a:buFontTx/>
              <a:buChar char="-"/>
            </a:pPr>
            <a:r>
              <a:rPr lang="en-US" dirty="0"/>
              <a:t>A cutting-edge feature that’s dead easy to use</a:t>
            </a:r>
          </a:p>
          <a:p>
            <a:pPr marL="171450" indent="-171450">
              <a:buFontTx/>
              <a:buChar char="-"/>
            </a:pPr>
            <a:r>
              <a:rPr lang="en-US" dirty="0"/>
              <a:t>Trends over time</a:t>
            </a:r>
          </a:p>
          <a:p>
            <a:pPr marL="171450" indent="-171450">
              <a:buFontTx/>
              <a:buChar char="-"/>
            </a:pPr>
            <a:r>
              <a:rPr lang="en-US" dirty="0"/>
              <a:t>Contributors to success or failure</a:t>
            </a:r>
          </a:p>
          <a:p>
            <a:pPr marL="171450" indent="-171450">
              <a:buFontTx/>
              <a:buChar char="-"/>
            </a:pPr>
            <a:r>
              <a:rPr lang="en-US" dirty="0"/>
              <a:t>Snappy look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0044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Light">
    <p:bg>
      <p:bgPr>
        <a:solidFill>
          <a:schemeClr val="bg1">
            <a:alpha val="9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FBFCF6A-71E0-4CB2-A2CD-9D1D05D4506B}"/>
              </a:ext>
            </a:extLst>
          </p:cNvPr>
          <p:cNvSpPr/>
          <p:nvPr userDrawn="1"/>
        </p:nvSpPr>
        <p:spPr>
          <a:xfrm flipV="1">
            <a:off x="0" y="0"/>
            <a:ext cx="3505200" cy="6858000"/>
          </a:xfrm>
          <a:custGeom>
            <a:avLst/>
            <a:gdLst>
              <a:gd name="connsiteX0" fmla="*/ 0 w 3505200"/>
              <a:gd name="connsiteY0" fmla="*/ 0 h 6858000"/>
              <a:gd name="connsiteX1" fmla="*/ 1978706 w 3505200"/>
              <a:gd name="connsiteY1" fmla="*/ 0 h 6858000"/>
              <a:gd name="connsiteX2" fmla="*/ 3505200 w 3505200"/>
              <a:gd name="connsiteY2" fmla="*/ 6858000 h 6858000"/>
              <a:gd name="connsiteX3" fmla="*/ 0 w 350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5200" h="6858000">
                <a:moveTo>
                  <a:pt x="0" y="0"/>
                </a:moveTo>
                <a:lnTo>
                  <a:pt x="1978706" y="0"/>
                </a:lnTo>
                <a:lnTo>
                  <a:pt x="35052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64000">
                <a:srgbClr val="006FC6"/>
              </a:gs>
              <a:gs pos="96000">
                <a:schemeClr val="accent4">
                  <a:alpha val="91000"/>
                </a:schemeClr>
              </a:gs>
              <a:gs pos="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0B3A690-B3A5-4178-89C6-46FF4B6146CB}"/>
              </a:ext>
            </a:extLst>
          </p:cNvPr>
          <p:cNvGrpSpPr/>
          <p:nvPr userDrawn="1"/>
        </p:nvGrpSpPr>
        <p:grpSpPr>
          <a:xfrm>
            <a:off x="1568842" y="1529830"/>
            <a:ext cx="6750978" cy="3798340"/>
            <a:chOff x="1568842" y="1287695"/>
            <a:chExt cx="6750978" cy="379834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7E990F-7E98-4AA2-85D4-1DB1EF6784C6}"/>
                </a:ext>
              </a:extLst>
            </p:cNvPr>
            <p:cNvSpPr/>
            <p:nvPr userDrawn="1"/>
          </p:nvSpPr>
          <p:spPr>
            <a:xfrm>
              <a:off x="1568842" y="1287695"/>
              <a:ext cx="6750978" cy="3798340"/>
            </a:xfrm>
            <a:prstGeom prst="rect">
              <a:avLst/>
            </a:prstGeom>
            <a:solidFill>
              <a:schemeClr val="bg1"/>
            </a:solidFill>
            <a:ln w="25400">
              <a:noFill/>
              <a:headEnd type="triangle"/>
              <a:tailEnd type="none"/>
            </a:ln>
            <a:effectLst>
              <a:outerShdw blurRad="203200" dist="50800" dir="2400000" sx="102000" sy="102000" algn="tl" rotWithShape="0">
                <a:schemeClr val="bg1">
                  <a:lumMod val="50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9B3E32B-D281-4874-9BA9-6386028CEDDF}"/>
                </a:ext>
              </a:extLst>
            </p:cNvPr>
            <p:cNvSpPr/>
            <p:nvPr userDrawn="1"/>
          </p:nvSpPr>
          <p:spPr>
            <a:xfrm>
              <a:off x="1732669" y="1433013"/>
              <a:ext cx="6423324" cy="3507704"/>
            </a:xfrm>
            <a:prstGeom prst="rect">
              <a:avLst/>
            </a:prstGeom>
            <a:noFill/>
            <a:ln w="3175">
              <a:solidFill>
                <a:schemeClr val="accent2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79970367-21EB-4524-87D0-64F48DE91F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86357" y="2808501"/>
            <a:ext cx="5670632" cy="1219286"/>
          </a:xfrm>
        </p:spPr>
        <p:txBody>
          <a:bodyPr anchor="t" anchorCtr="0"/>
          <a:lstStyle>
            <a:lvl1pPr>
              <a:defRPr sz="4400" spc="-100" baseline="0">
                <a:solidFill>
                  <a:srgbClr val="252F38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FF8EBD2-C35F-47C1-BC90-1B66384203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86357" y="2211115"/>
            <a:ext cx="4834028" cy="397700"/>
          </a:xfrm>
          <a:noFill/>
        </p:spPr>
        <p:txBody>
          <a:bodyPr anchor="b">
            <a:noAutofit/>
          </a:bodyPr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2000" kern="1200" spc="0" baseline="0" dirty="0">
                <a:solidFill>
                  <a:srgbClr val="92979B"/>
                </a:solidFill>
                <a:latin typeface="+mj-lt"/>
                <a:ea typeface="+mn-ea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IN" dirty="0"/>
              <a:t>TEXT</a:t>
            </a:r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B47C9E8-3F27-4DFA-B981-F615553EBA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86357" y="4173105"/>
            <a:ext cx="4834028" cy="397700"/>
          </a:xfr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800" kern="1200" spc="0" baseline="0" dirty="0">
                <a:solidFill>
                  <a:srgbClr val="7F9FD0"/>
                </a:solidFill>
                <a:latin typeface="+mn-lt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</a:pPr>
            <a:r>
              <a:rPr lang="en-IN" dirty="0"/>
              <a:t>SUBTITLE</a:t>
            </a:r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03C20A-8BBF-4953-9E12-0C9789B95946}"/>
              </a:ext>
            </a:extLst>
          </p:cNvPr>
          <p:cNvGrpSpPr/>
          <p:nvPr userDrawn="1"/>
        </p:nvGrpSpPr>
        <p:grpSpPr>
          <a:xfrm>
            <a:off x="9699222" y="5716003"/>
            <a:ext cx="1465674" cy="460138"/>
            <a:chOff x="9699222" y="5716003"/>
            <a:chExt cx="1465674" cy="460138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2E6D9B1-70BC-488B-AB63-12D552B7F87C}"/>
                </a:ext>
              </a:extLst>
            </p:cNvPr>
            <p:cNvSpPr/>
            <p:nvPr/>
          </p:nvSpPr>
          <p:spPr>
            <a:xfrm>
              <a:off x="10010229" y="5716003"/>
              <a:ext cx="80972" cy="80972"/>
            </a:xfrm>
            <a:custGeom>
              <a:avLst/>
              <a:gdLst>
                <a:gd name="connsiteX0" fmla="*/ 163259 w 323850"/>
                <a:gd name="connsiteY0" fmla="*/ 7144 h 323850"/>
                <a:gd name="connsiteX1" fmla="*/ 7144 w 323850"/>
                <a:gd name="connsiteY1" fmla="*/ 163544 h 323850"/>
                <a:gd name="connsiteX2" fmla="*/ 163259 w 323850"/>
                <a:gd name="connsiteY2" fmla="*/ 319564 h 323850"/>
                <a:gd name="connsiteX3" fmla="*/ 319373 w 323850"/>
                <a:gd name="connsiteY3" fmla="*/ 163544 h 323850"/>
                <a:gd name="connsiteX4" fmla="*/ 163259 w 323850"/>
                <a:gd name="connsiteY4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323850">
                  <a:moveTo>
                    <a:pt x="163259" y="7144"/>
                  </a:moveTo>
                  <a:cubicBezTo>
                    <a:pt x="76962" y="7144"/>
                    <a:pt x="7144" y="77153"/>
                    <a:pt x="7144" y="163544"/>
                  </a:cubicBezTo>
                  <a:cubicBezTo>
                    <a:pt x="7144" y="249650"/>
                    <a:pt x="76867" y="319564"/>
                    <a:pt x="163259" y="319564"/>
                  </a:cubicBezTo>
                  <a:cubicBezTo>
                    <a:pt x="249364" y="319564"/>
                    <a:pt x="319373" y="249746"/>
                    <a:pt x="319373" y="163544"/>
                  </a:cubicBezTo>
                  <a:cubicBezTo>
                    <a:pt x="319373" y="77153"/>
                    <a:pt x="249364" y="7144"/>
                    <a:pt x="163259" y="7144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3ECA5B2-774A-4B25-9D8E-2C4A71A23CC6}"/>
                </a:ext>
              </a:extLst>
            </p:cNvPr>
            <p:cNvSpPr/>
            <p:nvPr/>
          </p:nvSpPr>
          <p:spPr>
            <a:xfrm>
              <a:off x="9699222" y="5766920"/>
              <a:ext cx="319127" cy="340560"/>
            </a:xfrm>
            <a:custGeom>
              <a:avLst/>
              <a:gdLst>
                <a:gd name="connsiteX0" fmla="*/ 1064804 w 1276350"/>
                <a:gd name="connsiteY0" fmla="*/ 460439 h 1362075"/>
                <a:gd name="connsiteX1" fmla="*/ 1259781 w 1276350"/>
                <a:gd name="connsiteY1" fmla="*/ 203741 h 1362075"/>
                <a:gd name="connsiteX2" fmla="*/ 1261876 w 1276350"/>
                <a:gd name="connsiteY2" fmla="*/ 158687 h 1362075"/>
                <a:gd name="connsiteX3" fmla="*/ 1179009 w 1276350"/>
                <a:gd name="connsiteY3" fmla="*/ 25814 h 1362075"/>
                <a:gd name="connsiteX4" fmla="*/ 1145004 w 1276350"/>
                <a:gd name="connsiteY4" fmla="*/ 7145 h 1362075"/>
                <a:gd name="connsiteX5" fmla="*/ 787531 w 1276350"/>
                <a:gd name="connsiteY5" fmla="*/ 9621 h 1362075"/>
                <a:gd name="connsiteX6" fmla="*/ 787531 w 1276350"/>
                <a:gd name="connsiteY6" fmla="*/ 9621 h 1362075"/>
                <a:gd name="connsiteX7" fmla="*/ 591507 w 1276350"/>
                <a:gd name="connsiteY7" fmla="*/ 9431 h 1362075"/>
                <a:gd name="connsiteX8" fmla="*/ 581315 w 1276350"/>
                <a:gd name="connsiteY8" fmla="*/ 38387 h 1362075"/>
                <a:gd name="connsiteX9" fmla="*/ 636274 w 1276350"/>
                <a:gd name="connsiteY9" fmla="*/ 82678 h 1362075"/>
                <a:gd name="connsiteX10" fmla="*/ 662944 w 1276350"/>
                <a:gd name="connsiteY10" fmla="*/ 94965 h 1362075"/>
                <a:gd name="connsiteX11" fmla="*/ 1003368 w 1276350"/>
                <a:gd name="connsiteY11" fmla="*/ 159068 h 1362075"/>
                <a:gd name="connsiteX12" fmla="*/ 582172 w 1276350"/>
                <a:gd name="connsiteY12" fmla="*/ 611601 h 1362075"/>
                <a:gd name="connsiteX13" fmla="*/ 27817 w 1276350"/>
                <a:gd name="connsiteY13" fmla="*/ 690373 h 1362075"/>
                <a:gd name="connsiteX14" fmla="*/ 13625 w 1276350"/>
                <a:gd name="connsiteY14" fmla="*/ 730473 h 1362075"/>
                <a:gd name="connsiteX15" fmla="*/ 67727 w 1276350"/>
                <a:gd name="connsiteY15" fmla="*/ 788576 h 1362075"/>
                <a:gd name="connsiteX16" fmla="*/ 109256 w 1276350"/>
                <a:gd name="connsiteY16" fmla="*/ 806197 h 1362075"/>
                <a:gd name="connsiteX17" fmla="*/ 644370 w 1276350"/>
                <a:gd name="connsiteY17" fmla="*/ 797434 h 1362075"/>
                <a:gd name="connsiteX18" fmla="*/ 700473 w 1276350"/>
                <a:gd name="connsiteY18" fmla="*/ 781146 h 1362075"/>
                <a:gd name="connsiteX19" fmla="*/ 828679 w 1276350"/>
                <a:gd name="connsiteY19" fmla="*/ 703041 h 1362075"/>
                <a:gd name="connsiteX20" fmla="*/ 1099284 w 1276350"/>
                <a:gd name="connsiteY20" fmla="*/ 917830 h 1362075"/>
                <a:gd name="connsiteX21" fmla="*/ 1118715 w 1276350"/>
                <a:gd name="connsiteY21" fmla="*/ 952025 h 1362075"/>
                <a:gd name="connsiteX22" fmla="*/ 1170246 w 1276350"/>
                <a:gd name="connsiteY22" fmla="*/ 1331310 h 1362075"/>
                <a:gd name="connsiteX23" fmla="*/ 1205964 w 1276350"/>
                <a:gd name="connsiteY23" fmla="*/ 1362552 h 1362075"/>
                <a:gd name="connsiteX24" fmla="*/ 1233492 w 1276350"/>
                <a:gd name="connsiteY24" fmla="*/ 1362552 h 1362075"/>
                <a:gd name="connsiteX25" fmla="*/ 1269591 w 1276350"/>
                <a:gd name="connsiteY25" fmla="*/ 1326643 h 1362075"/>
                <a:gd name="connsiteX26" fmla="*/ 1271211 w 1276350"/>
                <a:gd name="connsiteY26" fmla="*/ 905733 h 1362075"/>
                <a:gd name="connsiteX27" fmla="*/ 1251399 w 1276350"/>
                <a:gd name="connsiteY27" fmla="*/ 845440 h 1362075"/>
                <a:gd name="connsiteX28" fmla="*/ 1015274 w 1276350"/>
                <a:gd name="connsiteY28" fmla="*/ 527210 h 1362075"/>
                <a:gd name="connsiteX29" fmla="*/ 1064804 w 1276350"/>
                <a:gd name="connsiteY29" fmla="*/ 460439 h 1362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276350" h="1362075">
                  <a:moveTo>
                    <a:pt x="1064804" y="460439"/>
                  </a:moveTo>
                  <a:lnTo>
                    <a:pt x="1259781" y="203741"/>
                  </a:lnTo>
                  <a:cubicBezTo>
                    <a:pt x="1269782" y="190596"/>
                    <a:pt x="1270544" y="172689"/>
                    <a:pt x="1261876" y="158687"/>
                  </a:cubicBezTo>
                  <a:lnTo>
                    <a:pt x="1179009" y="25814"/>
                  </a:lnTo>
                  <a:cubicBezTo>
                    <a:pt x="1171674" y="14098"/>
                    <a:pt x="1158816" y="7049"/>
                    <a:pt x="1145004" y="7145"/>
                  </a:cubicBezTo>
                  <a:lnTo>
                    <a:pt x="787531" y="9621"/>
                  </a:lnTo>
                  <a:lnTo>
                    <a:pt x="787531" y="9621"/>
                  </a:lnTo>
                  <a:lnTo>
                    <a:pt x="591507" y="9431"/>
                  </a:lnTo>
                  <a:cubicBezTo>
                    <a:pt x="576171" y="9431"/>
                    <a:pt x="569313" y="28671"/>
                    <a:pt x="581315" y="38387"/>
                  </a:cubicBezTo>
                  <a:lnTo>
                    <a:pt x="636274" y="82678"/>
                  </a:lnTo>
                  <a:cubicBezTo>
                    <a:pt x="643989" y="88869"/>
                    <a:pt x="653133" y="93155"/>
                    <a:pt x="662944" y="94965"/>
                  </a:cubicBezTo>
                  <a:lnTo>
                    <a:pt x="1003368" y="159068"/>
                  </a:lnTo>
                  <a:lnTo>
                    <a:pt x="582172" y="611601"/>
                  </a:lnTo>
                  <a:lnTo>
                    <a:pt x="27817" y="690373"/>
                  </a:lnTo>
                  <a:cubicBezTo>
                    <a:pt x="8576" y="693135"/>
                    <a:pt x="385" y="716281"/>
                    <a:pt x="13625" y="730473"/>
                  </a:cubicBezTo>
                  <a:lnTo>
                    <a:pt x="67727" y="788576"/>
                  </a:lnTo>
                  <a:cubicBezTo>
                    <a:pt x="78395" y="800101"/>
                    <a:pt x="93540" y="806483"/>
                    <a:pt x="109256" y="806197"/>
                  </a:cubicBezTo>
                  <a:lnTo>
                    <a:pt x="644370" y="797434"/>
                  </a:lnTo>
                  <a:cubicBezTo>
                    <a:pt x="664182" y="797148"/>
                    <a:pt x="683518" y="791529"/>
                    <a:pt x="700473" y="781146"/>
                  </a:cubicBezTo>
                  <a:lnTo>
                    <a:pt x="828679" y="703041"/>
                  </a:lnTo>
                  <a:lnTo>
                    <a:pt x="1099284" y="917830"/>
                  </a:lnTo>
                  <a:cubicBezTo>
                    <a:pt x="1109952" y="926307"/>
                    <a:pt x="1116906" y="938499"/>
                    <a:pt x="1118715" y="952025"/>
                  </a:cubicBezTo>
                  <a:lnTo>
                    <a:pt x="1170246" y="1331310"/>
                  </a:lnTo>
                  <a:cubicBezTo>
                    <a:pt x="1172627" y="1349217"/>
                    <a:pt x="1187962" y="1362552"/>
                    <a:pt x="1205964" y="1362552"/>
                  </a:cubicBezTo>
                  <a:lnTo>
                    <a:pt x="1233492" y="1362552"/>
                  </a:lnTo>
                  <a:cubicBezTo>
                    <a:pt x="1253399" y="1362552"/>
                    <a:pt x="1269496" y="1346455"/>
                    <a:pt x="1269591" y="1326643"/>
                  </a:cubicBezTo>
                  <a:lnTo>
                    <a:pt x="1271211" y="905733"/>
                  </a:lnTo>
                  <a:cubicBezTo>
                    <a:pt x="1271306" y="884016"/>
                    <a:pt x="1264353" y="862871"/>
                    <a:pt x="1251399" y="845440"/>
                  </a:cubicBezTo>
                  <a:lnTo>
                    <a:pt x="1015274" y="527210"/>
                  </a:lnTo>
                  <a:lnTo>
                    <a:pt x="1064804" y="460439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8BBFEBF-DA14-4213-B08A-FFBD9C588A80}"/>
                </a:ext>
              </a:extLst>
            </p:cNvPr>
            <p:cNvSpPr/>
            <p:nvPr/>
          </p:nvSpPr>
          <p:spPr>
            <a:xfrm>
              <a:off x="10167744" y="5779614"/>
              <a:ext cx="192905" cy="238154"/>
            </a:xfrm>
            <a:custGeom>
              <a:avLst/>
              <a:gdLst>
                <a:gd name="connsiteX0" fmla="*/ 538163 w 771525"/>
                <a:gd name="connsiteY0" fmla="*/ 946499 h 952500"/>
                <a:gd name="connsiteX1" fmla="*/ 353663 w 771525"/>
                <a:gd name="connsiteY1" fmla="*/ 612648 h 952500"/>
                <a:gd name="connsiteX2" fmla="*/ 207169 w 771525"/>
                <a:gd name="connsiteY2" fmla="*/ 612648 h 952500"/>
                <a:gd name="connsiteX3" fmla="*/ 207169 w 771525"/>
                <a:gd name="connsiteY3" fmla="*/ 946404 h 952500"/>
                <a:gd name="connsiteX4" fmla="*/ 7144 w 771525"/>
                <a:gd name="connsiteY4" fmla="*/ 946404 h 952500"/>
                <a:gd name="connsiteX5" fmla="*/ 7144 w 771525"/>
                <a:gd name="connsiteY5" fmla="*/ 7144 h 952500"/>
                <a:gd name="connsiteX6" fmla="*/ 446532 w 771525"/>
                <a:gd name="connsiteY6" fmla="*/ 7144 h 952500"/>
                <a:gd name="connsiteX7" fmla="*/ 763429 w 771525"/>
                <a:gd name="connsiteY7" fmla="*/ 309944 h 952500"/>
                <a:gd name="connsiteX8" fmla="*/ 556451 w 771525"/>
                <a:gd name="connsiteY8" fmla="*/ 588836 h 952500"/>
                <a:gd name="connsiteX9" fmla="*/ 769144 w 771525"/>
                <a:gd name="connsiteY9" fmla="*/ 946595 h 952500"/>
                <a:gd name="connsiteX10" fmla="*/ 538163 w 771525"/>
                <a:gd name="connsiteY10" fmla="*/ 946595 h 952500"/>
                <a:gd name="connsiteX11" fmla="*/ 557879 w 771525"/>
                <a:gd name="connsiteY11" fmla="*/ 308515 h 952500"/>
                <a:gd name="connsiteX12" fmla="*/ 418433 w 771525"/>
                <a:gd name="connsiteY12" fmla="*/ 183166 h 952500"/>
                <a:gd name="connsiteX13" fmla="*/ 207169 w 771525"/>
                <a:gd name="connsiteY13" fmla="*/ 183166 h 952500"/>
                <a:gd name="connsiteX14" fmla="*/ 207169 w 771525"/>
                <a:gd name="connsiteY14" fmla="*/ 436626 h 952500"/>
                <a:gd name="connsiteX15" fmla="*/ 418433 w 771525"/>
                <a:gd name="connsiteY15" fmla="*/ 436626 h 952500"/>
                <a:gd name="connsiteX16" fmla="*/ 557879 w 771525"/>
                <a:gd name="connsiteY16" fmla="*/ 308515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71525" h="952500">
                  <a:moveTo>
                    <a:pt x="538163" y="946499"/>
                  </a:moveTo>
                  <a:lnTo>
                    <a:pt x="353663" y="612648"/>
                  </a:lnTo>
                  <a:lnTo>
                    <a:pt x="207169" y="612648"/>
                  </a:lnTo>
                  <a:lnTo>
                    <a:pt x="207169" y="946404"/>
                  </a:lnTo>
                  <a:lnTo>
                    <a:pt x="7144" y="946404"/>
                  </a:lnTo>
                  <a:lnTo>
                    <a:pt x="7144" y="7144"/>
                  </a:lnTo>
                  <a:lnTo>
                    <a:pt x="446532" y="7144"/>
                  </a:lnTo>
                  <a:cubicBezTo>
                    <a:pt x="642271" y="7144"/>
                    <a:pt x="763429" y="135255"/>
                    <a:pt x="763429" y="309944"/>
                  </a:cubicBezTo>
                  <a:cubicBezTo>
                    <a:pt x="763429" y="474726"/>
                    <a:pt x="657797" y="564833"/>
                    <a:pt x="556451" y="588836"/>
                  </a:cubicBezTo>
                  <a:lnTo>
                    <a:pt x="769144" y="946595"/>
                  </a:lnTo>
                  <a:lnTo>
                    <a:pt x="538163" y="946595"/>
                  </a:lnTo>
                  <a:close/>
                  <a:moveTo>
                    <a:pt x="557879" y="308515"/>
                  </a:moveTo>
                  <a:cubicBezTo>
                    <a:pt x="557879" y="231077"/>
                    <a:pt x="497300" y="183166"/>
                    <a:pt x="418433" y="183166"/>
                  </a:cubicBezTo>
                  <a:lnTo>
                    <a:pt x="207169" y="183166"/>
                  </a:lnTo>
                  <a:lnTo>
                    <a:pt x="207169" y="436626"/>
                  </a:lnTo>
                  <a:lnTo>
                    <a:pt x="418433" y="436626"/>
                  </a:lnTo>
                  <a:cubicBezTo>
                    <a:pt x="497300" y="436626"/>
                    <a:pt x="557879" y="388715"/>
                    <a:pt x="557879" y="308515"/>
                  </a:cubicBez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1B44E1E-A940-4B1B-ACF2-206AC1F4ABEE}"/>
                </a:ext>
              </a:extLst>
            </p:cNvPr>
            <p:cNvSpPr/>
            <p:nvPr/>
          </p:nvSpPr>
          <p:spPr>
            <a:xfrm>
              <a:off x="10394181" y="5779614"/>
              <a:ext cx="169090" cy="238154"/>
            </a:xfrm>
            <a:custGeom>
              <a:avLst/>
              <a:gdLst>
                <a:gd name="connsiteX0" fmla="*/ 7144 w 676275"/>
                <a:gd name="connsiteY0" fmla="*/ 946499 h 952500"/>
                <a:gd name="connsiteX1" fmla="*/ 7144 w 676275"/>
                <a:gd name="connsiteY1" fmla="*/ 7144 h 952500"/>
                <a:gd name="connsiteX2" fmla="*/ 671894 w 676275"/>
                <a:gd name="connsiteY2" fmla="*/ 7144 h 952500"/>
                <a:gd name="connsiteX3" fmla="*/ 671894 w 676275"/>
                <a:gd name="connsiteY3" fmla="*/ 183166 h 952500"/>
                <a:gd name="connsiteX4" fmla="*/ 207169 w 676275"/>
                <a:gd name="connsiteY4" fmla="*/ 183166 h 952500"/>
                <a:gd name="connsiteX5" fmla="*/ 207169 w 676275"/>
                <a:gd name="connsiteY5" fmla="*/ 380333 h 952500"/>
                <a:gd name="connsiteX6" fmla="*/ 662083 w 676275"/>
                <a:gd name="connsiteY6" fmla="*/ 380333 h 952500"/>
                <a:gd name="connsiteX7" fmla="*/ 662083 w 676275"/>
                <a:gd name="connsiteY7" fmla="*/ 556355 h 952500"/>
                <a:gd name="connsiteX8" fmla="*/ 207169 w 676275"/>
                <a:gd name="connsiteY8" fmla="*/ 556355 h 952500"/>
                <a:gd name="connsiteX9" fmla="*/ 207169 w 676275"/>
                <a:gd name="connsiteY9" fmla="*/ 770382 h 952500"/>
                <a:gd name="connsiteX10" fmla="*/ 671894 w 676275"/>
                <a:gd name="connsiteY10" fmla="*/ 770382 h 952500"/>
                <a:gd name="connsiteX11" fmla="*/ 671894 w 676275"/>
                <a:gd name="connsiteY11" fmla="*/ 946404 h 952500"/>
                <a:gd name="connsiteX12" fmla="*/ 7144 w 676275"/>
                <a:gd name="connsiteY12" fmla="*/ 946404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952500">
                  <a:moveTo>
                    <a:pt x="7144" y="946499"/>
                  </a:moveTo>
                  <a:lnTo>
                    <a:pt x="7144" y="7144"/>
                  </a:lnTo>
                  <a:lnTo>
                    <a:pt x="671894" y="7144"/>
                  </a:lnTo>
                  <a:lnTo>
                    <a:pt x="671894" y="183166"/>
                  </a:lnTo>
                  <a:lnTo>
                    <a:pt x="207169" y="183166"/>
                  </a:lnTo>
                  <a:lnTo>
                    <a:pt x="207169" y="380333"/>
                  </a:lnTo>
                  <a:lnTo>
                    <a:pt x="662083" y="380333"/>
                  </a:lnTo>
                  <a:lnTo>
                    <a:pt x="662083" y="556355"/>
                  </a:lnTo>
                  <a:lnTo>
                    <a:pt x="207169" y="556355"/>
                  </a:lnTo>
                  <a:lnTo>
                    <a:pt x="207169" y="770382"/>
                  </a:lnTo>
                  <a:lnTo>
                    <a:pt x="671894" y="770382"/>
                  </a:lnTo>
                  <a:lnTo>
                    <a:pt x="671894" y="946404"/>
                  </a:lnTo>
                  <a:lnTo>
                    <a:pt x="7144" y="946404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0A6F8DD-8AEF-465D-BC8B-C79FE002A874}"/>
                </a:ext>
              </a:extLst>
            </p:cNvPr>
            <p:cNvSpPr/>
            <p:nvPr/>
          </p:nvSpPr>
          <p:spPr>
            <a:xfrm>
              <a:off x="10599446" y="5779614"/>
              <a:ext cx="190523" cy="238154"/>
            </a:xfrm>
            <a:custGeom>
              <a:avLst/>
              <a:gdLst>
                <a:gd name="connsiteX0" fmla="*/ 7144 w 762000"/>
                <a:gd name="connsiteY0" fmla="*/ 946499 h 952500"/>
                <a:gd name="connsiteX1" fmla="*/ 7144 w 762000"/>
                <a:gd name="connsiteY1" fmla="*/ 7144 h 952500"/>
                <a:gd name="connsiteX2" fmla="*/ 446532 w 762000"/>
                <a:gd name="connsiteY2" fmla="*/ 7144 h 952500"/>
                <a:gd name="connsiteX3" fmla="*/ 762000 w 762000"/>
                <a:gd name="connsiteY3" fmla="*/ 309944 h 952500"/>
                <a:gd name="connsiteX4" fmla="*/ 446532 w 762000"/>
                <a:gd name="connsiteY4" fmla="*/ 611315 h 952500"/>
                <a:gd name="connsiteX5" fmla="*/ 207074 w 762000"/>
                <a:gd name="connsiteY5" fmla="*/ 611315 h 952500"/>
                <a:gd name="connsiteX6" fmla="*/ 207074 w 762000"/>
                <a:gd name="connsiteY6" fmla="*/ 946499 h 952500"/>
                <a:gd name="connsiteX7" fmla="*/ 7144 w 762000"/>
                <a:gd name="connsiteY7" fmla="*/ 946499 h 952500"/>
                <a:gd name="connsiteX8" fmla="*/ 557784 w 762000"/>
                <a:gd name="connsiteY8" fmla="*/ 309848 h 952500"/>
                <a:gd name="connsiteX9" fmla="*/ 418338 w 762000"/>
                <a:gd name="connsiteY9" fmla="*/ 183071 h 952500"/>
                <a:gd name="connsiteX10" fmla="*/ 207074 w 762000"/>
                <a:gd name="connsiteY10" fmla="*/ 183071 h 952500"/>
                <a:gd name="connsiteX11" fmla="*/ 207074 w 762000"/>
                <a:gd name="connsiteY11" fmla="*/ 435197 h 952500"/>
                <a:gd name="connsiteX12" fmla="*/ 418338 w 762000"/>
                <a:gd name="connsiteY12" fmla="*/ 435197 h 952500"/>
                <a:gd name="connsiteX13" fmla="*/ 557784 w 762000"/>
                <a:gd name="connsiteY13" fmla="*/ 309848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20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446532" y="7144"/>
                  </a:lnTo>
                  <a:cubicBezTo>
                    <a:pt x="650748" y="7144"/>
                    <a:pt x="762000" y="145161"/>
                    <a:pt x="762000" y="309944"/>
                  </a:cubicBezTo>
                  <a:cubicBezTo>
                    <a:pt x="762000" y="473297"/>
                    <a:pt x="649319" y="611315"/>
                    <a:pt x="446532" y="611315"/>
                  </a:cubicBezTo>
                  <a:lnTo>
                    <a:pt x="207074" y="611315"/>
                  </a:lnTo>
                  <a:lnTo>
                    <a:pt x="207074" y="946499"/>
                  </a:lnTo>
                  <a:lnTo>
                    <a:pt x="7144" y="946499"/>
                  </a:lnTo>
                  <a:close/>
                  <a:moveTo>
                    <a:pt x="557784" y="309848"/>
                  </a:moveTo>
                  <a:cubicBezTo>
                    <a:pt x="557784" y="230981"/>
                    <a:pt x="497205" y="183071"/>
                    <a:pt x="418338" y="183071"/>
                  </a:cubicBezTo>
                  <a:lnTo>
                    <a:pt x="207074" y="183071"/>
                  </a:lnTo>
                  <a:lnTo>
                    <a:pt x="207074" y="435197"/>
                  </a:lnTo>
                  <a:lnTo>
                    <a:pt x="418338" y="435197"/>
                  </a:lnTo>
                  <a:cubicBezTo>
                    <a:pt x="497300" y="435197"/>
                    <a:pt x="557784" y="387382"/>
                    <a:pt x="557784" y="309848"/>
                  </a:cubicBez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3A4F70-6063-4F20-8EA2-D72D144A8788}"/>
                </a:ext>
              </a:extLst>
            </p:cNvPr>
            <p:cNvSpPr/>
            <p:nvPr/>
          </p:nvSpPr>
          <p:spPr>
            <a:xfrm>
              <a:off x="10817405" y="5779614"/>
              <a:ext cx="152419" cy="238154"/>
            </a:xfrm>
            <a:custGeom>
              <a:avLst/>
              <a:gdLst>
                <a:gd name="connsiteX0" fmla="*/ 7144 w 609600"/>
                <a:gd name="connsiteY0" fmla="*/ 946499 h 952500"/>
                <a:gd name="connsiteX1" fmla="*/ 7144 w 609600"/>
                <a:gd name="connsiteY1" fmla="*/ 7144 h 952500"/>
                <a:gd name="connsiteX2" fmla="*/ 208502 w 609600"/>
                <a:gd name="connsiteY2" fmla="*/ 7144 h 952500"/>
                <a:gd name="connsiteX3" fmla="*/ 208502 w 609600"/>
                <a:gd name="connsiteY3" fmla="*/ 770477 h 952500"/>
                <a:gd name="connsiteX4" fmla="*/ 605694 w 609600"/>
                <a:gd name="connsiteY4" fmla="*/ 770477 h 952500"/>
                <a:gd name="connsiteX5" fmla="*/ 605694 w 609600"/>
                <a:gd name="connsiteY5" fmla="*/ 946499 h 952500"/>
                <a:gd name="connsiteX6" fmla="*/ 7144 w 609600"/>
                <a:gd name="connsiteY6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6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208502" y="7144"/>
                  </a:lnTo>
                  <a:lnTo>
                    <a:pt x="208502" y="770477"/>
                  </a:lnTo>
                  <a:lnTo>
                    <a:pt x="605694" y="770477"/>
                  </a:lnTo>
                  <a:lnTo>
                    <a:pt x="605694" y="946499"/>
                  </a:lnTo>
                  <a:lnTo>
                    <a:pt x="7144" y="946499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D5518-2665-4195-A8F8-3264F899BC77}"/>
                </a:ext>
              </a:extLst>
            </p:cNvPr>
            <p:cNvSpPr/>
            <p:nvPr/>
          </p:nvSpPr>
          <p:spPr>
            <a:xfrm>
              <a:off x="10931505" y="5779590"/>
              <a:ext cx="233391" cy="238154"/>
            </a:xfrm>
            <a:custGeom>
              <a:avLst/>
              <a:gdLst>
                <a:gd name="connsiteX0" fmla="*/ 367665 w 933450"/>
                <a:gd name="connsiteY0" fmla="*/ 946595 h 952500"/>
                <a:gd name="connsiteX1" fmla="*/ 367665 w 933450"/>
                <a:gd name="connsiteY1" fmla="*/ 562070 h 952500"/>
                <a:gd name="connsiteX2" fmla="*/ 7144 w 933450"/>
                <a:gd name="connsiteY2" fmla="*/ 7144 h 952500"/>
                <a:gd name="connsiteX3" fmla="*/ 235268 w 933450"/>
                <a:gd name="connsiteY3" fmla="*/ 7144 h 952500"/>
                <a:gd name="connsiteX4" fmla="*/ 467678 w 933450"/>
                <a:gd name="connsiteY4" fmla="*/ 383191 h 952500"/>
                <a:gd name="connsiteX5" fmla="*/ 700088 w 933450"/>
                <a:gd name="connsiteY5" fmla="*/ 7144 h 952500"/>
                <a:gd name="connsiteX6" fmla="*/ 926878 w 933450"/>
                <a:gd name="connsiteY6" fmla="*/ 7144 h 952500"/>
                <a:gd name="connsiteX7" fmla="*/ 567786 w 933450"/>
                <a:gd name="connsiteY7" fmla="*/ 562070 h 952500"/>
                <a:gd name="connsiteX8" fmla="*/ 567786 w 933450"/>
                <a:gd name="connsiteY8" fmla="*/ 946499 h 952500"/>
                <a:gd name="connsiteX9" fmla="*/ 367665 w 933450"/>
                <a:gd name="connsiteY9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3450" h="952500">
                  <a:moveTo>
                    <a:pt x="367665" y="946595"/>
                  </a:moveTo>
                  <a:lnTo>
                    <a:pt x="367665" y="562070"/>
                  </a:lnTo>
                  <a:lnTo>
                    <a:pt x="7144" y="7144"/>
                  </a:lnTo>
                  <a:lnTo>
                    <a:pt x="235268" y="7144"/>
                  </a:lnTo>
                  <a:lnTo>
                    <a:pt x="467678" y="383191"/>
                  </a:lnTo>
                  <a:lnTo>
                    <a:pt x="700088" y="7144"/>
                  </a:lnTo>
                  <a:lnTo>
                    <a:pt x="926878" y="7144"/>
                  </a:lnTo>
                  <a:lnTo>
                    <a:pt x="567786" y="562070"/>
                  </a:lnTo>
                  <a:lnTo>
                    <a:pt x="567786" y="946499"/>
                  </a:lnTo>
                  <a:lnTo>
                    <a:pt x="367665" y="946499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23FE072-CCB3-4607-B33F-904439777076}"/>
                </a:ext>
              </a:extLst>
            </p:cNvPr>
            <p:cNvSpPr/>
            <p:nvPr/>
          </p:nvSpPr>
          <p:spPr>
            <a:xfrm>
              <a:off x="10157575" y="6072948"/>
              <a:ext cx="100025" cy="100025"/>
            </a:xfrm>
            <a:custGeom>
              <a:avLst/>
              <a:gdLst>
                <a:gd name="connsiteX0" fmla="*/ 160877 w 400050"/>
                <a:gd name="connsiteY0" fmla="*/ 398526 h 400050"/>
                <a:gd name="connsiteX1" fmla="*/ 7144 w 400050"/>
                <a:gd name="connsiteY1" fmla="*/ 7144 h 400050"/>
                <a:gd name="connsiteX2" fmla="*/ 85154 w 400050"/>
                <a:gd name="connsiteY2" fmla="*/ 7144 h 400050"/>
                <a:gd name="connsiteX3" fmla="*/ 203645 w 400050"/>
                <a:gd name="connsiteY3" fmla="*/ 323374 h 400050"/>
                <a:gd name="connsiteX4" fmla="*/ 322136 w 400050"/>
                <a:gd name="connsiteY4" fmla="*/ 7144 h 400050"/>
                <a:gd name="connsiteX5" fmla="*/ 400145 w 400050"/>
                <a:gd name="connsiteY5" fmla="*/ 7144 h 400050"/>
                <a:gd name="connsiteX6" fmla="*/ 246412 w 400050"/>
                <a:gd name="connsiteY6" fmla="*/ 398526 h 400050"/>
                <a:gd name="connsiteX7" fmla="*/ 160877 w 400050"/>
                <a:gd name="connsiteY7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050" h="400050">
                  <a:moveTo>
                    <a:pt x="160877" y="398526"/>
                  </a:moveTo>
                  <a:lnTo>
                    <a:pt x="7144" y="7144"/>
                  </a:lnTo>
                  <a:lnTo>
                    <a:pt x="85154" y="7144"/>
                  </a:lnTo>
                  <a:lnTo>
                    <a:pt x="203645" y="323374"/>
                  </a:lnTo>
                  <a:lnTo>
                    <a:pt x="322136" y="7144"/>
                  </a:lnTo>
                  <a:lnTo>
                    <a:pt x="400145" y="7144"/>
                  </a:lnTo>
                  <a:lnTo>
                    <a:pt x="246412" y="398526"/>
                  </a:lnTo>
                  <a:lnTo>
                    <a:pt x="160877" y="398526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A651B17-2DB1-4C5D-AB2E-6D5F20D29AC2}"/>
                </a:ext>
              </a:extLst>
            </p:cNvPr>
            <p:cNvSpPr/>
            <p:nvPr/>
          </p:nvSpPr>
          <p:spPr>
            <a:xfrm>
              <a:off x="10248978" y="6072948"/>
              <a:ext cx="100025" cy="100025"/>
            </a:xfrm>
            <a:custGeom>
              <a:avLst/>
              <a:gdLst>
                <a:gd name="connsiteX0" fmla="*/ 322231 w 400050"/>
                <a:gd name="connsiteY0" fmla="*/ 398526 h 400050"/>
                <a:gd name="connsiteX1" fmla="*/ 293465 w 400050"/>
                <a:gd name="connsiteY1" fmla="*/ 322802 h 400050"/>
                <a:gd name="connsiteX2" fmla="*/ 113919 w 400050"/>
                <a:gd name="connsiteY2" fmla="*/ 322802 h 400050"/>
                <a:gd name="connsiteX3" fmla="*/ 85154 w 400050"/>
                <a:gd name="connsiteY3" fmla="*/ 398526 h 400050"/>
                <a:gd name="connsiteX4" fmla="*/ 7144 w 400050"/>
                <a:gd name="connsiteY4" fmla="*/ 398526 h 400050"/>
                <a:gd name="connsiteX5" fmla="*/ 160877 w 400050"/>
                <a:gd name="connsiteY5" fmla="*/ 7144 h 400050"/>
                <a:gd name="connsiteX6" fmla="*/ 246507 w 400050"/>
                <a:gd name="connsiteY6" fmla="*/ 7144 h 400050"/>
                <a:gd name="connsiteX7" fmla="*/ 400241 w 400050"/>
                <a:gd name="connsiteY7" fmla="*/ 398526 h 400050"/>
                <a:gd name="connsiteX8" fmla="*/ 322231 w 400050"/>
                <a:gd name="connsiteY8" fmla="*/ 398526 h 400050"/>
                <a:gd name="connsiteX9" fmla="*/ 203740 w 400050"/>
                <a:gd name="connsiteY9" fmla="*/ 75819 h 400050"/>
                <a:gd name="connsiteX10" fmla="*/ 133350 w 400050"/>
                <a:gd name="connsiteY10" fmla="*/ 262414 h 400050"/>
                <a:gd name="connsiteX11" fmla="*/ 274129 w 400050"/>
                <a:gd name="connsiteY11" fmla="*/ 262414 h 400050"/>
                <a:gd name="connsiteX12" fmla="*/ 203740 w 400050"/>
                <a:gd name="connsiteY12" fmla="*/ 75819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0050" h="400050">
                  <a:moveTo>
                    <a:pt x="322231" y="398526"/>
                  </a:moveTo>
                  <a:lnTo>
                    <a:pt x="293465" y="322802"/>
                  </a:lnTo>
                  <a:lnTo>
                    <a:pt x="113919" y="322802"/>
                  </a:lnTo>
                  <a:lnTo>
                    <a:pt x="85154" y="398526"/>
                  </a:lnTo>
                  <a:lnTo>
                    <a:pt x="7144" y="398526"/>
                  </a:lnTo>
                  <a:lnTo>
                    <a:pt x="160877" y="7144"/>
                  </a:lnTo>
                  <a:lnTo>
                    <a:pt x="246507" y="7144"/>
                  </a:lnTo>
                  <a:lnTo>
                    <a:pt x="400241" y="398526"/>
                  </a:lnTo>
                  <a:lnTo>
                    <a:pt x="322231" y="398526"/>
                  </a:lnTo>
                  <a:close/>
                  <a:moveTo>
                    <a:pt x="203740" y="75819"/>
                  </a:moveTo>
                  <a:lnTo>
                    <a:pt x="133350" y="262414"/>
                  </a:lnTo>
                  <a:lnTo>
                    <a:pt x="274129" y="262414"/>
                  </a:lnTo>
                  <a:lnTo>
                    <a:pt x="203740" y="75819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BBE5F2-BDCE-48AB-8EC9-B0DCE5789287}"/>
                </a:ext>
              </a:extLst>
            </p:cNvPr>
            <p:cNvSpPr/>
            <p:nvPr/>
          </p:nvSpPr>
          <p:spPr>
            <a:xfrm>
              <a:off x="10356671" y="6072948"/>
              <a:ext cx="61920" cy="100025"/>
            </a:xfrm>
            <a:custGeom>
              <a:avLst/>
              <a:gdLst>
                <a:gd name="connsiteX0" fmla="*/ 7144 w 247650"/>
                <a:gd name="connsiteY0" fmla="*/ 398526 h 400050"/>
                <a:gd name="connsiteX1" fmla="*/ 7144 w 247650"/>
                <a:gd name="connsiteY1" fmla="*/ 7144 h 400050"/>
                <a:gd name="connsiteX2" fmla="*/ 75819 w 247650"/>
                <a:gd name="connsiteY2" fmla="*/ 7144 h 400050"/>
                <a:gd name="connsiteX3" fmla="*/ 75819 w 247650"/>
                <a:gd name="connsiteY3" fmla="*/ 338042 h 400050"/>
                <a:gd name="connsiteX4" fmla="*/ 248317 w 247650"/>
                <a:gd name="connsiteY4" fmla="*/ 338042 h 400050"/>
                <a:gd name="connsiteX5" fmla="*/ 248317 w 247650"/>
                <a:gd name="connsiteY5" fmla="*/ 398431 h 400050"/>
                <a:gd name="connsiteX6" fmla="*/ 7144 w 247650"/>
                <a:gd name="connsiteY6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50" h="400050">
                  <a:moveTo>
                    <a:pt x="7144" y="398526"/>
                  </a:moveTo>
                  <a:lnTo>
                    <a:pt x="7144" y="7144"/>
                  </a:lnTo>
                  <a:lnTo>
                    <a:pt x="75819" y="7144"/>
                  </a:lnTo>
                  <a:lnTo>
                    <a:pt x="75819" y="338042"/>
                  </a:lnTo>
                  <a:lnTo>
                    <a:pt x="248317" y="338042"/>
                  </a:lnTo>
                  <a:lnTo>
                    <a:pt x="248317" y="398431"/>
                  </a:lnTo>
                  <a:lnTo>
                    <a:pt x="7144" y="398431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ECBD6B2-A8A9-4417-9B8D-79D808E88E4B}"/>
                </a:ext>
              </a:extLst>
            </p:cNvPr>
            <p:cNvSpPr/>
            <p:nvPr/>
          </p:nvSpPr>
          <p:spPr>
            <a:xfrm>
              <a:off x="10423426" y="6071353"/>
              <a:ext cx="102406" cy="104788"/>
            </a:xfrm>
            <a:custGeom>
              <a:avLst/>
              <a:gdLst>
                <a:gd name="connsiteX0" fmla="*/ 7144 w 409575"/>
                <a:gd name="connsiteY0" fmla="*/ 209550 h 419100"/>
                <a:gd name="connsiteX1" fmla="*/ 207264 w 409575"/>
                <a:gd name="connsiteY1" fmla="*/ 7144 h 419100"/>
                <a:gd name="connsiteX2" fmla="*/ 407384 w 409575"/>
                <a:gd name="connsiteY2" fmla="*/ 209550 h 419100"/>
                <a:gd name="connsiteX3" fmla="*/ 207264 w 409575"/>
                <a:gd name="connsiteY3" fmla="*/ 411956 h 419100"/>
                <a:gd name="connsiteX4" fmla="*/ 7144 w 409575"/>
                <a:gd name="connsiteY4" fmla="*/ 209550 h 419100"/>
                <a:gd name="connsiteX5" fmla="*/ 336900 w 409575"/>
                <a:gd name="connsiteY5" fmla="*/ 209550 h 419100"/>
                <a:gd name="connsiteX6" fmla="*/ 207264 w 409575"/>
                <a:gd name="connsiteY6" fmla="*/ 68104 h 419100"/>
                <a:gd name="connsiteX7" fmla="*/ 77629 w 409575"/>
                <a:gd name="connsiteY7" fmla="*/ 209550 h 419100"/>
                <a:gd name="connsiteX8" fmla="*/ 207264 w 409575"/>
                <a:gd name="connsiteY8" fmla="*/ 350996 h 419100"/>
                <a:gd name="connsiteX9" fmla="*/ 336900 w 409575"/>
                <a:gd name="connsiteY9" fmla="*/ 20955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9575" h="419100">
                  <a:moveTo>
                    <a:pt x="7144" y="209550"/>
                  </a:moveTo>
                  <a:cubicBezTo>
                    <a:pt x="7144" y="92773"/>
                    <a:pt x="89916" y="7144"/>
                    <a:pt x="207264" y="7144"/>
                  </a:cubicBezTo>
                  <a:cubicBezTo>
                    <a:pt x="324041" y="7144"/>
                    <a:pt x="407384" y="92773"/>
                    <a:pt x="407384" y="209550"/>
                  </a:cubicBezTo>
                  <a:cubicBezTo>
                    <a:pt x="407384" y="326326"/>
                    <a:pt x="324041" y="411956"/>
                    <a:pt x="207264" y="411956"/>
                  </a:cubicBezTo>
                  <a:cubicBezTo>
                    <a:pt x="89916" y="411956"/>
                    <a:pt x="7144" y="326326"/>
                    <a:pt x="7144" y="209550"/>
                  </a:cubicBezTo>
                  <a:close/>
                  <a:moveTo>
                    <a:pt x="336900" y="209550"/>
                  </a:moveTo>
                  <a:cubicBezTo>
                    <a:pt x="336900" y="128588"/>
                    <a:pt x="285845" y="68104"/>
                    <a:pt x="207264" y="68104"/>
                  </a:cubicBezTo>
                  <a:cubicBezTo>
                    <a:pt x="128016" y="68104"/>
                    <a:pt x="77629" y="128492"/>
                    <a:pt x="77629" y="209550"/>
                  </a:cubicBezTo>
                  <a:cubicBezTo>
                    <a:pt x="77629" y="289941"/>
                    <a:pt x="128111" y="350996"/>
                    <a:pt x="207264" y="350996"/>
                  </a:cubicBezTo>
                  <a:cubicBezTo>
                    <a:pt x="285845" y="350996"/>
                    <a:pt x="336900" y="289941"/>
                    <a:pt x="336900" y="209550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60DC9E-BC68-420D-9079-ACBD9BF07D51}"/>
                </a:ext>
              </a:extLst>
            </p:cNvPr>
            <p:cNvSpPr/>
            <p:nvPr/>
          </p:nvSpPr>
          <p:spPr>
            <a:xfrm>
              <a:off x="10539907" y="6072948"/>
              <a:ext cx="78591" cy="100025"/>
            </a:xfrm>
            <a:custGeom>
              <a:avLst/>
              <a:gdLst>
                <a:gd name="connsiteX0" fmla="*/ 230696 w 314325"/>
                <a:gd name="connsiteY0" fmla="*/ 398526 h 400050"/>
                <a:gd name="connsiteX1" fmla="*/ 144494 w 314325"/>
                <a:gd name="connsiteY1" fmla="*/ 252413 h 400050"/>
                <a:gd name="connsiteX2" fmla="*/ 75819 w 314325"/>
                <a:gd name="connsiteY2" fmla="*/ 252413 h 400050"/>
                <a:gd name="connsiteX3" fmla="*/ 75819 w 314325"/>
                <a:gd name="connsiteY3" fmla="*/ 398526 h 400050"/>
                <a:gd name="connsiteX4" fmla="*/ 7144 w 314325"/>
                <a:gd name="connsiteY4" fmla="*/ 398526 h 400050"/>
                <a:gd name="connsiteX5" fmla="*/ 7144 w 314325"/>
                <a:gd name="connsiteY5" fmla="*/ 7144 h 400050"/>
                <a:gd name="connsiteX6" fmla="*/ 179070 w 314325"/>
                <a:gd name="connsiteY6" fmla="*/ 7144 h 400050"/>
                <a:gd name="connsiteX7" fmla="*/ 307562 w 314325"/>
                <a:gd name="connsiteY7" fmla="*/ 129730 h 400050"/>
                <a:gd name="connsiteX8" fmla="*/ 214313 w 314325"/>
                <a:gd name="connsiteY8" fmla="*/ 244697 h 400050"/>
                <a:gd name="connsiteX9" fmla="*/ 310515 w 314325"/>
                <a:gd name="connsiteY9" fmla="*/ 398431 h 400050"/>
                <a:gd name="connsiteX10" fmla="*/ 230696 w 314325"/>
                <a:gd name="connsiteY10" fmla="*/ 398431 h 400050"/>
                <a:gd name="connsiteX11" fmla="*/ 237173 w 314325"/>
                <a:gd name="connsiteY11" fmla="*/ 129254 h 400050"/>
                <a:gd name="connsiteX12" fmla="*/ 170307 w 314325"/>
                <a:gd name="connsiteY12" fmla="*/ 67627 h 400050"/>
                <a:gd name="connsiteX13" fmla="*/ 75819 w 314325"/>
                <a:gd name="connsiteY13" fmla="*/ 67627 h 400050"/>
                <a:gd name="connsiteX14" fmla="*/ 75819 w 314325"/>
                <a:gd name="connsiteY14" fmla="*/ 192024 h 400050"/>
                <a:gd name="connsiteX15" fmla="*/ 170307 w 314325"/>
                <a:gd name="connsiteY15" fmla="*/ 192024 h 400050"/>
                <a:gd name="connsiteX16" fmla="*/ 237173 w 314325"/>
                <a:gd name="connsiteY16" fmla="*/ 129254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4325" h="400050">
                  <a:moveTo>
                    <a:pt x="230696" y="398526"/>
                  </a:moveTo>
                  <a:lnTo>
                    <a:pt x="144494" y="252413"/>
                  </a:lnTo>
                  <a:lnTo>
                    <a:pt x="75819" y="25241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79070" y="7144"/>
                  </a:lnTo>
                  <a:cubicBezTo>
                    <a:pt x="256508" y="7144"/>
                    <a:pt x="307562" y="57055"/>
                    <a:pt x="307562" y="129730"/>
                  </a:cubicBezTo>
                  <a:cubicBezTo>
                    <a:pt x="307562" y="198977"/>
                    <a:pt x="261747" y="237077"/>
                    <a:pt x="214313" y="244697"/>
                  </a:cubicBezTo>
                  <a:lnTo>
                    <a:pt x="310515" y="398431"/>
                  </a:lnTo>
                  <a:lnTo>
                    <a:pt x="230696" y="398431"/>
                  </a:lnTo>
                  <a:close/>
                  <a:moveTo>
                    <a:pt x="237173" y="129254"/>
                  </a:moveTo>
                  <a:cubicBezTo>
                    <a:pt x="237173" y="91726"/>
                    <a:pt x="208979" y="67627"/>
                    <a:pt x="170307" y="67627"/>
                  </a:cubicBezTo>
                  <a:lnTo>
                    <a:pt x="75819" y="67627"/>
                  </a:lnTo>
                  <a:lnTo>
                    <a:pt x="75819" y="192024"/>
                  </a:lnTo>
                  <a:lnTo>
                    <a:pt x="170307" y="192024"/>
                  </a:lnTo>
                  <a:cubicBezTo>
                    <a:pt x="208979" y="192024"/>
                    <a:pt x="237173" y="167354"/>
                    <a:pt x="237173" y="129254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9C4264E-B3DE-49C4-87E4-FEB934EFDC15}"/>
                </a:ext>
              </a:extLst>
            </p:cNvPr>
            <p:cNvSpPr/>
            <p:nvPr/>
          </p:nvSpPr>
          <p:spPr>
            <a:xfrm>
              <a:off x="10632192" y="6072948"/>
              <a:ext cx="69065" cy="100025"/>
            </a:xfrm>
            <a:custGeom>
              <a:avLst/>
              <a:gdLst>
                <a:gd name="connsiteX0" fmla="*/ 7144 w 276225"/>
                <a:gd name="connsiteY0" fmla="*/ 398526 h 400050"/>
                <a:gd name="connsiteX1" fmla="*/ 7144 w 276225"/>
                <a:gd name="connsiteY1" fmla="*/ 7144 h 400050"/>
                <a:gd name="connsiteX2" fmla="*/ 275273 w 276225"/>
                <a:gd name="connsiteY2" fmla="*/ 7144 h 400050"/>
                <a:gd name="connsiteX3" fmla="*/ 275273 w 276225"/>
                <a:gd name="connsiteY3" fmla="*/ 67532 h 400050"/>
                <a:gd name="connsiteX4" fmla="*/ 75819 w 276225"/>
                <a:gd name="connsiteY4" fmla="*/ 67532 h 400050"/>
                <a:gd name="connsiteX5" fmla="*/ 75819 w 276225"/>
                <a:gd name="connsiteY5" fmla="*/ 168497 h 400050"/>
                <a:gd name="connsiteX6" fmla="*/ 271177 w 276225"/>
                <a:gd name="connsiteY6" fmla="*/ 168497 h 400050"/>
                <a:gd name="connsiteX7" fmla="*/ 271177 w 276225"/>
                <a:gd name="connsiteY7" fmla="*/ 228886 h 400050"/>
                <a:gd name="connsiteX8" fmla="*/ 75819 w 276225"/>
                <a:gd name="connsiteY8" fmla="*/ 228886 h 400050"/>
                <a:gd name="connsiteX9" fmla="*/ 75819 w 276225"/>
                <a:gd name="connsiteY9" fmla="*/ 338042 h 400050"/>
                <a:gd name="connsiteX10" fmla="*/ 275273 w 276225"/>
                <a:gd name="connsiteY10" fmla="*/ 338042 h 400050"/>
                <a:gd name="connsiteX11" fmla="*/ 275273 w 276225"/>
                <a:gd name="connsiteY11" fmla="*/ 398431 h 400050"/>
                <a:gd name="connsiteX12" fmla="*/ 7144 w 276225"/>
                <a:gd name="connsiteY12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6225" h="400050">
                  <a:moveTo>
                    <a:pt x="7144" y="398526"/>
                  </a:moveTo>
                  <a:lnTo>
                    <a:pt x="7144" y="7144"/>
                  </a:lnTo>
                  <a:lnTo>
                    <a:pt x="275273" y="7144"/>
                  </a:lnTo>
                  <a:lnTo>
                    <a:pt x="275273" y="67532"/>
                  </a:lnTo>
                  <a:lnTo>
                    <a:pt x="75819" y="67532"/>
                  </a:lnTo>
                  <a:lnTo>
                    <a:pt x="75819" y="168497"/>
                  </a:lnTo>
                  <a:lnTo>
                    <a:pt x="271177" y="168497"/>
                  </a:lnTo>
                  <a:lnTo>
                    <a:pt x="271177" y="228886"/>
                  </a:lnTo>
                  <a:lnTo>
                    <a:pt x="75819" y="228886"/>
                  </a:lnTo>
                  <a:lnTo>
                    <a:pt x="75819" y="338042"/>
                  </a:lnTo>
                  <a:lnTo>
                    <a:pt x="275273" y="338042"/>
                  </a:lnTo>
                  <a:lnTo>
                    <a:pt x="275273" y="398431"/>
                  </a:lnTo>
                  <a:lnTo>
                    <a:pt x="7144" y="398431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5011E0D-40F2-426B-9359-DF16566D6BB0}"/>
                </a:ext>
              </a:extLst>
            </p:cNvPr>
            <p:cNvSpPr/>
            <p:nvPr/>
          </p:nvSpPr>
          <p:spPr>
            <a:xfrm>
              <a:off x="10716832" y="6072948"/>
              <a:ext cx="104788" cy="100025"/>
            </a:xfrm>
            <a:custGeom>
              <a:avLst/>
              <a:gdLst>
                <a:gd name="connsiteX0" fmla="*/ 345186 w 419100"/>
                <a:gd name="connsiteY0" fmla="*/ 398526 h 400050"/>
                <a:gd name="connsiteX1" fmla="*/ 345186 w 419100"/>
                <a:gd name="connsiteY1" fmla="*/ 96393 h 400050"/>
                <a:gd name="connsiteX2" fmla="*/ 225457 w 419100"/>
                <a:gd name="connsiteY2" fmla="*/ 398526 h 400050"/>
                <a:gd name="connsiteX3" fmla="*/ 196120 w 419100"/>
                <a:gd name="connsiteY3" fmla="*/ 398526 h 400050"/>
                <a:gd name="connsiteX4" fmla="*/ 75819 w 419100"/>
                <a:gd name="connsiteY4" fmla="*/ 96393 h 400050"/>
                <a:gd name="connsiteX5" fmla="*/ 75819 w 419100"/>
                <a:gd name="connsiteY5" fmla="*/ 398526 h 400050"/>
                <a:gd name="connsiteX6" fmla="*/ 7144 w 419100"/>
                <a:gd name="connsiteY6" fmla="*/ 398526 h 400050"/>
                <a:gd name="connsiteX7" fmla="*/ 7144 w 419100"/>
                <a:gd name="connsiteY7" fmla="*/ 7144 h 400050"/>
                <a:gd name="connsiteX8" fmla="*/ 103918 w 419100"/>
                <a:gd name="connsiteY8" fmla="*/ 7144 h 400050"/>
                <a:gd name="connsiteX9" fmla="*/ 210693 w 419100"/>
                <a:gd name="connsiteY9" fmla="*/ 275844 h 400050"/>
                <a:gd name="connsiteX10" fmla="*/ 316897 w 419100"/>
                <a:gd name="connsiteY10" fmla="*/ 7144 h 400050"/>
                <a:gd name="connsiteX11" fmla="*/ 413671 w 419100"/>
                <a:gd name="connsiteY11" fmla="*/ 7144 h 400050"/>
                <a:gd name="connsiteX12" fmla="*/ 413671 w 419100"/>
                <a:gd name="connsiteY12" fmla="*/ 398526 h 400050"/>
                <a:gd name="connsiteX13" fmla="*/ 345186 w 419100"/>
                <a:gd name="connsiteY13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9100" h="400050">
                  <a:moveTo>
                    <a:pt x="345186" y="398526"/>
                  </a:moveTo>
                  <a:lnTo>
                    <a:pt x="345186" y="96393"/>
                  </a:lnTo>
                  <a:lnTo>
                    <a:pt x="225457" y="398526"/>
                  </a:lnTo>
                  <a:lnTo>
                    <a:pt x="196120" y="398526"/>
                  </a:lnTo>
                  <a:lnTo>
                    <a:pt x="75819" y="9639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03918" y="7144"/>
                  </a:lnTo>
                  <a:lnTo>
                    <a:pt x="210693" y="275844"/>
                  </a:lnTo>
                  <a:lnTo>
                    <a:pt x="316897" y="7144"/>
                  </a:lnTo>
                  <a:lnTo>
                    <a:pt x="413671" y="7144"/>
                  </a:lnTo>
                  <a:lnTo>
                    <a:pt x="413671" y="398526"/>
                  </a:lnTo>
                  <a:lnTo>
                    <a:pt x="345186" y="398526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05813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F6C810FC-F638-46AD-B235-0880921D8B8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217400" cy="6858000"/>
          </a:xfrm>
        </p:spPr>
        <p:txBody>
          <a:bodyPr>
            <a:noAutofit/>
          </a:bodyPr>
          <a:lstStyle>
            <a:lvl1pPr>
              <a:defRPr sz="15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71ABD432-A4FB-4CCB-AD1D-7134E3BC5E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30000" y="0"/>
            <a:ext cx="8287385" cy="6858000"/>
          </a:xfrm>
          <a:custGeom>
            <a:avLst/>
            <a:gdLst>
              <a:gd name="connsiteX0" fmla="*/ 0 w 8262000"/>
              <a:gd name="connsiteY0" fmla="*/ 6858000 h 6858000"/>
              <a:gd name="connsiteX1" fmla="*/ 1562115 w 8262000"/>
              <a:gd name="connsiteY1" fmla="*/ 0 h 6858000"/>
              <a:gd name="connsiteX2" fmla="*/ 8262000 w 8262000"/>
              <a:gd name="connsiteY2" fmla="*/ 0 h 6858000"/>
              <a:gd name="connsiteX3" fmla="*/ 6699885 w 8262000"/>
              <a:gd name="connsiteY3" fmla="*/ 6858000 h 6858000"/>
              <a:gd name="connsiteX4" fmla="*/ 0 w 8262000"/>
              <a:gd name="connsiteY4" fmla="*/ 6858000 h 6858000"/>
              <a:gd name="connsiteX0" fmla="*/ 0 w 8287385"/>
              <a:gd name="connsiteY0" fmla="*/ 6858000 h 6858000"/>
              <a:gd name="connsiteX1" fmla="*/ 1562115 w 8287385"/>
              <a:gd name="connsiteY1" fmla="*/ 0 h 6858000"/>
              <a:gd name="connsiteX2" fmla="*/ 8262000 w 8287385"/>
              <a:gd name="connsiteY2" fmla="*/ 0 h 6858000"/>
              <a:gd name="connsiteX3" fmla="*/ 8287385 w 8287385"/>
              <a:gd name="connsiteY3" fmla="*/ 6858000 h 6858000"/>
              <a:gd name="connsiteX4" fmla="*/ 0 w 8287385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7385" h="6858000">
                <a:moveTo>
                  <a:pt x="0" y="6858000"/>
                </a:moveTo>
                <a:lnTo>
                  <a:pt x="1562115" y="0"/>
                </a:lnTo>
                <a:lnTo>
                  <a:pt x="8262000" y="0"/>
                </a:lnTo>
                <a:cubicBezTo>
                  <a:pt x="8270462" y="2286000"/>
                  <a:pt x="8278923" y="4572000"/>
                  <a:pt x="8287385" y="6858000"/>
                </a:cubicBezTo>
                <a:lnTo>
                  <a:pt x="0" y="6858000"/>
                </a:lnTo>
                <a:close/>
              </a:path>
            </a:pathLst>
          </a:custGeom>
          <a:solidFill>
            <a:schemeClr val="bg2">
              <a:alpha val="9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D5D6EAA-F2C9-49E9-A0AC-F7C7CC1D6B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01110" y="3148125"/>
            <a:ext cx="5100676" cy="1533407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E682DD3C-CE39-428D-BEEC-F68FB098B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4442" y="1410039"/>
            <a:ext cx="5099561" cy="1196366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8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582B6B39-FF56-403E-B50F-D231A08AFE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83324" y="2727341"/>
            <a:ext cx="5100676" cy="226472"/>
          </a:xfrm>
        </p:spPr>
        <p:txBody>
          <a:bodyPr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b="0" kern="1200" cap="none" spc="60" baseline="0" dirty="0">
                <a:ln w="3175">
                  <a:noFill/>
                </a:ln>
                <a:solidFill>
                  <a:srgbClr val="7F9FD4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339717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2B2ACC35-BE79-40B3-AA31-8BA2AD689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75722" y="5321808"/>
            <a:ext cx="729579" cy="1536192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5138"/>
              <a:gd name="connsiteY0" fmla="*/ 10000 h 10000"/>
              <a:gd name="connsiteX1" fmla="*/ 2000 w 15138"/>
              <a:gd name="connsiteY1" fmla="*/ 0 h 10000"/>
              <a:gd name="connsiteX2" fmla="*/ 15138 w 15138"/>
              <a:gd name="connsiteY2" fmla="*/ 0 h 10000"/>
              <a:gd name="connsiteX3" fmla="*/ 8000 w 15138"/>
              <a:gd name="connsiteY3" fmla="*/ 10000 h 10000"/>
              <a:gd name="connsiteX4" fmla="*/ 0 w 15138"/>
              <a:gd name="connsiteY4" fmla="*/ 10000 h 10000"/>
              <a:gd name="connsiteX0" fmla="*/ 0 w 15138"/>
              <a:gd name="connsiteY0" fmla="*/ 10000 h 10000"/>
              <a:gd name="connsiteX1" fmla="*/ 7073 w 15138"/>
              <a:gd name="connsiteY1" fmla="*/ 0 h 10000"/>
              <a:gd name="connsiteX2" fmla="*/ 15138 w 15138"/>
              <a:gd name="connsiteY2" fmla="*/ 0 h 10000"/>
              <a:gd name="connsiteX3" fmla="*/ 8000 w 15138"/>
              <a:gd name="connsiteY3" fmla="*/ 10000 h 10000"/>
              <a:gd name="connsiteX4" fmla="*/ 0 w 15138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38" h="10000">
                <a:moveTo>
                  <a:pt x="0" y="10000"/>
                </a:moveTo>
                <a:lnTo>
                  <a:pt x="7073" y="0"/>
                </a:lnTo>
                <a:lnTo>
                  <a:pt x="15138" y="0"/>
                </a:lnTo>
                <a:lnTo>
                  <a:pt x="8000" y="10000"/>
                </a:lnTo>
                <a:lnTo>
                  <a:pt x="0" y="10000"/>
                </a:lnTo>
                <a:close/>
              </a:path>
            </a:pathLst>
          </a:cu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100000">
                <a:srgbClr val="0040AA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313EF919-6C28-4E15-BE34-17CBABDC6E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257200" y="6134400"/>
            <a:ext cx="561600" cy="5652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noFill/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82526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AD09EFC5-3938-42DF-A7B0-FC5420219D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769904" cy="6858000"/>
          </a:xfrm>
          <a:effectLst>
            <a:outerShdw blurRad="241300" sx="102000" sy="102000" algn="ctr" rotWithShape="0">
              <a:prstClr val="black">
                <a:alpha val="35000"/>
              </a:prstClr>
            </a:outerShdw>
          </a:effectLst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A62CF11-7B75-4429-9E7C-FAB9A3743280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0FC1048-8237-4049-9F8F-92C01D4FE0D0}"/>
              </a:ext>
            </a:extLst>
          </p:cNvPr>
          <p:cNvSpPr txBox="1"/>
          <p:nvPr userDrawn="1"/>
        </p:nvSpPr>
        <p:spPr>
          <a:xfrm flipH="1">
            <a:off x="644550" y="6311542"/>
            <a:ext cx="2708249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l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Valorem Reply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7D20CB3-4B31-4FC3-BC97-AEAC6FC568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07535" y="2062800"/>
            <a:ext cx="2732400" cy="2732400"/>
          </a:xfrm>
          <a:prstGeom prst="ellipse">
            <a:avLst/>
          </a:prstGeom>
          <a:gradFill flip="none" rotWithShape="1">
            <a:gsLst>
              <a:gs pos="42000">
                <a:srgbClr val="006FC6"/>
              </a:gs>
              <a:gs pos="0">
                <a:schemeClr val="accent4">
                  <a:alpha val="91000"/>
                </a:schemeClr>
              </a:gs>
              <a:gs pos="76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  <a:effectLst>
            <a:outerShdw blurRad="241300" sx="102000" sy="102000" algn="ctr" rotWithShape="0">
              <a:prstClr val="black">
                <a:alpha val="35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2000" dirty="0">
                <a:solidFill>
                  <a:schemeClr val="bg1"/>
                </a:solidFill>
                <a:latin typeface="Arial Black" panose="020B0A04020102020204" pitchFamily="34" charset="0"/>
                <a:cs typeface="+mn-cs"/>
              </a:defRPr>
            </a:lvl1pPr>
          </a:lstStyle>
          <a:p>
            <a:pPr marL="0" lvl="0" algn="ctr" defTabSz="91440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542BDAC-893E-4B2C-A1D4-E2938A369B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98313" y="1008078"/>
            <a:ext cx="3432175" cy="292645"/>
          </a:xfrm>
        </p:spPr>
        <p:txBody>
          <a:bodyPr tIns="46800" bIns="46800"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7869D47D-949C-4859-A22F-E15D8C3898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98313" y="1340339"/>
            <a:ext cx="3432175" cy="741600"/>
          </a:xfrm>
        </p:spPr>
        <p:txBody>
          <a:bodyPr tIns="0" bIns="0">
            <a:noAutofit/>
          </a:bodyPr>
          <a:lstStyle>
            <a:lvl1pPr marL="0" indent="0" algn="l" defTabSz="914363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lang="en-US" sz="1100" b="0" kern="1200" cap="none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FA150A68-89D3-4280-92B9-DB4942BDADC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98313" y="2703528"/>
            <a:ext cx="3432175" cy="292645"/>
          </a:xfrm>
        </p:spPr>
        <p:txBody>
          <a:bodyPr tIns="46800" bIns="46800"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E9DAAAF3-6766-49FE-BA46-261607805F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98313" y="3035789"/>
            <a:ext cx="3432175" cy="741600"/>
          </a:xfrm>
        </p:spPr>
        <p:txBody>
          <a:bodyPr tIns="0" bIns="0">
            <a:noAutofit/>
          </a:bodyPr>
          <a:lstStyle>
            <a:lvl1pPr marL="0" indent="0" algn="l" defTabSz="914363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lang="en-US" sz="1100" b="0" kern="1200" cap="none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C2D8BDA6-D848-49C9-BFD4-83BCCD7EC3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98313" y="4378943"/>
            <a:ext cx="3432175" cy="292645"/>
          </a:xfrm>
        </p:spPr>
        <p:txBody>
          <a:bodyPr tIns="46800" bIns="46800"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A38C6934-0C3B-4E2B-A1A0-2688AAA822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998313" y="4711204"/>
            <a:ext cx="3432175" cy="741600"/>
          </a:xfrm>
        </p:spPr>
        <p:txBody>
          <a:bodyPr tIns="0" bIns="0">
            <a:noAutofit/>
          </a:bodyPr>
          <a:lstStyle>
            <a:lvl1pPr marL="0" indent="0" algn="l" defTabSz="914363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lang="en-US" sz="1100" b="0" kern="1200" cap="none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52479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6756" y="1257300"/>
            <a:ext cx="5722583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6753" y="1916113"/>
            <a:ext cx="5179247" cy="24660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4D198D-2E6A-4C8F-A8AB-718D119D2B8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7491" y="6134099"/>
            <a:ext cx="563179" cy="56317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5911959-C8AD-4717-A43B-D9B6D66428D6}"/>
              </a:ext>
            </a:extLst>
          </p:cNvPr>
          <p:cNvSpPr/>
          <p:nvPr userDrawn="1"/>
        </p:nvSpPr>
        <p:spPr>
          <a:xfrm>
            <a:off x="11257491" y="6135678"/>
            <a:ext cx="561600" cy="561600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493C2D2-1D47-4F3A-A0E8-AC3CCEBFCB32}"/>
              </a:ext>
            </a:extLst>
          </p:cNvPr>
          <p:cNvSpPr/>
          <p:nvPr userDrawn="1"/>
        </p:nvSpPr>
        <p:spPr>
          <a:xfrm>
            <a:off x="8137002" y="2057400"/>
            <a:ext cx="4054997" cy="4800600"/>
          </a:xfrm>
          <a:prstGeom prst="rect">
            <a:avLst/>
          </a:prstGeom>
          <a:gradFill flip="none" rotWithShape="1">
            <a:gsLst>
              <a:gs pos="42000">
                <a:srgbClr val="006FC6"/>
              </a:gs>
              <a:gs pos="0">
                <a:schemeClr val="accent4">
                  <a:alpha val="91000"/>
                </a:schemeClr>
              </a:gs>
              <a:gs pos="76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D6EB07A-99B6-4081-8AA7-9A73E14EA65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759575" y="-1"/>
            <a:ext cx="4038600" cy="5417819"/>
          </a:xfrm>
          <a:effectLst>
            <a:outerShdw blurRad="241300" sx="102000" sy="102000" algn="ctr" rotWithShape="0">
              <a:prstClr val="black">
                <a:alpha val="35000"/>
              </a:prstClr>
            </a:outerShdw>
          </a:effectLst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BDC860E-C3EF-46BD-BE9C-D8823AB1FD18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  <a:solidFill>
            <a:schemeClr val="bg1"/>
          </a:solidFill>
        </p:grpSpPr>
        <p:sp>
          <p:nvSpPr>
            <p:cNvPr id="13" name="Oval 503">
              <a:extLst>
                <a:ext uri="{FF2B5EF4-FFF2-40B4-BE49-F238E27FC236}">
                  <a16:creationId xmlns:a16="http://schemas.microsoft.com/office/drawing/2014/main" id="{7EBA64E1-164E-462D-B79A-0402CC3D7C8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504">
              <a:extLst>
                <a:ext uri="{FF2B5EF4-FFF2-40B4-BE49-F238E27FC236}">
                  <a16:creationId xmlns:a16="http://schemas.microsoft.com/office/drawing/2014/main" id="{44B9419E-5D9A-45E9-BD8D-8F49E654B9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Oval 505">
              <a:extLst>
                <a:ext uri="{FF2B5EF4-FFF2-40B4-BE49-F238E27FC236}">
                  <a16:creationId xmlns:a16="http://schemas.microsoft.com/office/drawing/2014/main" id="{9A57249D-5D03-4546-B3E0-7072E3B2151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506">
              <a:extLst>
                <a:ext uri="{FF2B5EF4-FFF2-40B4-BE49-F238E27FC236}">
                  <a16:creationId xmlns:a16="http://schemas.microsoft.com/office/drawing/2014/main" id="{A2C6F305-9295-4C3A-AE24-DC06BC02A3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096169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45D4470-D1EB-4C8D-B20D-E48B62334DC6}"/>
              </a:ext>
            </a:extLst>
          </p:cNvPr>
          <p:cNvSpPr/>
          <p:nvPr userDrawn="1"/>
        </p:nvSpPr>
        <p:spPr>
          <a:xfrm flipV="1">
            <a:off x="0" y="0"/>
            <a:ext cx="3505200" cy="6858000"/>
          </a:xfrm>
          <a:custGeom>
            <a:avLst/>
            <a:gdLst>
              <a:gd name="connsiteX0" fmla="*/ 0 w 3505200"/>
              <a:gd name="connsiteY0" fmla="*/ 0 h 6858000"/>
              <a:gd name="connsiteX1" fmla="*/ 1978706 w 3505200"/>
              <a:gd name="connsiteY1" fmla="*/ 0 h 6858000"/>
              <a:gd name="connsiteX2" fmla="*/ 3505200 w 3505200"/>
              <a:gd name="connsiteY2" fmla="*/ 6858000 h 6858000"/>
              <a:gd name="connsiteX3" fmla="*/ 0 w 350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5200" h="6858000">
                <a:moveTo>
                  <a:pt x="0" y="0"/>
                </a:moveTo>
                <a:lnTo>
                  <a:pt x="1978706" y="0"/>
                </a:lnTo>
                <a:lnTo>
                  <a:pt x="35052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42000">
                <a:srgbClr val="006FC6"/>
              </a:gs>
              <a:gs pos="73000">
                <a:schemeClr val="accent4">
                  <a:alpha val="91000"/>
                </a:schemeClr>
              </a:gs>
              <a:gs pos="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F953C581-66D1-49CD-8706-9DA69EDC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4643" y="608400"/>
            <a:ext cx="7285496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74E4DA-A80B-4DDF-8D90-F90893783585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37902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27FC80-E667-466A-B126-33B8DEA6670A}"/>
              </a:ext>
            </a:extLst>
          </p:cNvPr>
          <p:cNvSpPr/>
          <p:nvPr userDrawn="1"/>
        </p:nvSpPr>
        <p:spPr>
          <a:xfrm>
            <a:off x="8969648" y="0"/>
            <a:ext cx="322235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207F3CB5-708E-4B53-B443-60E68E6C9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756" y="605664"/>
            <a:ext cx="7869435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677A78-DA1F-44C1-AAFF-B38A1DC12E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6753" y="1768095"/>
            <a:ext cx="5179247" cy="3321809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12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D4C4B69-CACB-4CBB-A7B0-2E6DE0A2BD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6756" y="1085952"/>
            <a:ext cx="10339200" cy="198131"/>
          </a:xfrm>
        </p:spPr>
        <p:txBody>
          <a:bodyPr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none" spc="60" baseline="0" dirty="0">
                <a:ln w="3175">
                  <a:noFill/>
                </a:ln>
                <a:solidFill>
                  <a:srgbClr val="7F9FD4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339717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D6D5776-1888-4492-8A62-5A765274D974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1" name="Oval 503">
              <a:extLst>
                <a:ext uri="{FF2B5EF4-FFF2-40B4-BE49-F238E27FC236}">
                  <a16:creationId xmlns:a16="http://schemas.microsoft.com/office/drawing/2014/main" id="{0E2BAED4-0C8D-42FC-B2FC-256EA226274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504">
              <a:extLst>
                <a:ext uri="{FF2B5EF4-FFF2-40B4-BE49-F238E27FC236}">
                  <a16:creationId xmlns:a16="http://schemas.microsoft.com/office/drawing/2014/main" id="{D4A32E27-F1CD-4FB9-8601-F0716D2A8E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Oval 505">
              <a:extLst>
                <a:ext uri="{FF2B5EF4-FFF2-40B4-BE49-F238E27FC236}">
                  <a16:creationId xmlns:a16="http://schemas.microsoft.com/office/drawing/2014/main" id="{7789E1EE-B96F-40B4-AA05-6ED539AA59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506">
              <a:extLst>
                <a:ext uri="{FF2B5EF4-FFF2-40B4-BE49-F238E27FC236}">
                  <a16:creationId xmlns:a16="http://schemas.microsoft.com/office/drawing/2014/main" id="{ED004FCA-4CD3-47AB-A10F-68719D97E3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92621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F953C581-66D1-49CD-8706-9DA69EDC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757" y="605657"/>
            <a:ext cx="896274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46506B-2DC2-4B6E-946B-A5B1E7D466F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7491" y="6134099"/>
            <a:ext cx="563179" cy="56317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12AEE1A-E784-463D-9CC1-DA65075DCBA3}"/>
              </a:ext>
            </a:extLst>
          </p:cNvPr>
          <p:cNvSpPr/>
          <p:nvPr userDrawn="1"/>
        </p:nvSpPr>
        <p:spPr>
          <a:xfrm>
            <a:off x="11257491" y="6135678"/>
            <a:ext cx="561600" cy="561600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56E9DC0-88E8-415D-A096-7A5B8538BFFE}"/>
              </a:ext>
            </a:extLst>
          </p:cNvPr>
          <p:cNvSpPr/>
          <p:nvPr userDrawn="1"/>
        </p:nvSpPr>
        <p:spPr>
          <a:xfrm>
            <a:off x="10068560" y="0"/>
            <a:ext cx="2123440" cy="6858000"/>
          </a:xfrm>
          <a:prstGeom prst="rect">
            <a:avLst/>
          </a:prstGeom>
          <a:solidFill>
            <a:srgbClr val="252F38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51EDCBB-3F7D-49F8-93D4-4C28469C5007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  <a:solidFill>
            <a:schemeClr val="bg1"/>
          </a:solidFill>
        </p:grpSpPr>
        <p:sp>
          <p:nvSpPr>
            <p:cNvPr id="12" name="Oval 503">
              <a:extLst>
                <a:ext uri="{FF2B5EF4-FFF2-40B4-BE49-F238E27FC236}">
                  <a16:creationId xmlns:a16="http://schemas.microsoft.com/office/drawing/2014/main" id="{22CF80B2-E928-4D87-9A6A-72CFBD14E3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04">
              <a:extLst>
                <a:ext uri="{FF2B5EF4-FFF2-40B4-BE49-F238E27FC236}">
                  <a16:creationId xmlns:a16="http://schemas.microsoft.com/office/drawing/2014/main" id="{5FE0F925-D219-4009-A723-502528AAC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Oval 505">
              <a:extLst>
                <a:ext uri="{FF2B5EF4-FFF2-40B4-BE49-F238E27FC236}">
                  <a16:creationId xmlns:a16="http://schemas.microsoft.com/office/drawing/2014/main" id="{A9CACEBD-F6CA-4B7B-B935-C4343E6206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506">
              <a:extLst>
                <a:ext uri="{FF2B5EF4-FFF2-40B4-BE49-F238E27FC236}">
                  <a16:creationId xmlns:a16="http://schemas.microsoft.com/office/drawing/2014/main" id="{EC821728-B8A7-416E-B711-43D2C7EBCF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662003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ard - Photo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C905E55-CD1E-432B-9883-ADACC0EDB9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A0864B9-BE3B-4FE4-8D93-3221EB0BB3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52F38">
              <a:alpha val="91000"/>
            </a:srgb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4A78B7-784D-4152-B283-7D9907C40764}"/>
              </a:ext>
            </a:extLst>
          </p:cNvPr>
          <p:cNvSpPr/>
          <p:nvPr userDrawn="1"/>
        </p:nvSpPr>
        <p:spPr>
          <a:xfrm>
            <a:off x="1423686" y="1531620"/>
            <a:ext cx="6120114" cy="3802380"/>
          </a:xfrm>
          <a:prstGeom prst="rect">
            <a:avLst/>
          </a:prstGeom>
          <a:solidFill>
            <a:srgbClr val="252F38"/>
          </a:solidFill>
          <a:ln w="25400">
            <a:noFill/>
            <a:headEnd type="triangle"/>
            <a:tailEnd type="none"/>
          </a:ln>
          <a:effectLst>
            <a:outerShdw blurRad="444500" dist="1143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A28F4F-955B-45BE-B82D-74B2AD3E7411}"/>
              </a:ext>
            </a:extLst>
          </p:cNvPr>
          <p:cNvSpPr/>
          <p:nvPr userDrawn="1"/>
        </p:nvSpPr>
        <p:spPr>
          <a:xfrm>
            <a:off x="1598946" y="1668780"/>
            <a:ext cx="5769594" cy="3528060"/>
          </a:xfrm>
          <a:prstGeom prst="rect">
            <a:avLst/>
          </a:prstGeom>
          <a:noFill/>
          <a:ln w="9525">
            <a:solidFill>
              <a:schemeClr val="bg1">
                <a:alpha val="24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A97E559-56A2-408C-B8B3-326C94C844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4880" y="2823167"/>
            <a:ext cx="5117726" cy="1219286"/>
          </a:xfrm>
        </p:spPr>
        <p:txBody>
          <a:bodyPr anchor="ctr" anchorCtr="0"/>
          <a:lstStyle>
            <a:lvl1pPr algn="ctr">
              <a:defRPr sz="4000" spc="-100" baseline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04CFC72-4BB3-4A1B-820A-963D9D9E5CE8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9F29494-D650-4E2A-9414-CDF0B79D6479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  <a:solidFill>
            <a:schemeClr val="bg1"/>
          </a:solidFill>
        </p:grpSpPr>
        <p:sp>
          <p:nvSpPr>
            <p:cNvPr id="11" name="Oval 503">
              <a:extLst>
                <a:ext uri="{FF2B5EF4-FFF2-40B4-BE49-F238E27FC236}">
                  <a16:creationId xmlns:a16="http://schemas.microsoft.com/office/drawing/2014/main" id="{8327BBF8-361B-4F1E-9607-5ACEDE67DCA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504">
              <a:extLst>
                <a:ext uri="{FF2B5EF4-FFF2-40B4-BE49-F238E27FC236}">
                  <a16:creationId xmlns:a16="http://schemas.microsoft.com/office/drawing/2014/main" id="{17D0B823-75B9-49A2-B5EA-CD22D363B5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05">
              <a:extLst>
                <a:ext uri="{FF2B5EF4-FFF2-40B4-BE49-F238E27FC236}">
                  <a16:creationId xmlns:a16="http://schemas.microsoft.com/office/drawing/2014/main" id="{B6A007B5-7AE5-4877-B926-4C42DEC7BD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506">
              <a:extLst>
                <a:ext uri="{FF2B5EF4-FFF2-40B4-BE49-F238E27FC236}">
                  <a16:creationId xmlns:a16="http://schemas.microsoft.com/office/drawing/2014/main" id="{4F35968B-45E6-4C79-BE43-CB66BBCC2E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922547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ard - Photo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C905E55-CD1E-432B-9883-ADACC0EDB9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A0864B9-BE3B-4FE4-8D93-3221EB0BB3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1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4A78B7-784D-4152-B283-7D9907C40764}"/>
              </a:ext>
            </a:extLst>
          </p:cNvPr>
          <p:cNvSpPr/>
          <p:nvPr userDrawn="1"/>
        </p:nvSpPr>
        <p:spPr>
          <a:xfrm>
            <a:off x="1423686" y="1531620"/>
            <a:ext cx="6120114" cy="3802380"/>
          </a:xfrm>
          <a:prstGeom prst="rect">
            <a:avLst/>
          </a:prstGeom>
          <a:solidFill>
            <a:schemeClr val="bg1"/>
          </a:solidFill>
          <a:ln w="25400">
            <a:noFill/>
            <a:headEnd type="triangle"/>
            <a:tailEnd type="none"/>
          </a:ln>
          <a:effectLst>
            <a:outerShdw blurRad="444500" dist="1143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A28F4F-955B-45BE-B82D-74B2AD3E7411}"/>
              </a:ext>
            </a:extLst>
          </p:cNvPr>
          <p:cNvSpPr/>
          <p:nvPr userDrawn="1"/>
        </p:nvSpPr>
        <p:spPr>
          <a:xfrm>
            <a:off x="1598946" y="1668780"/>
            <a:ext cx="5769594" cy="3528060"/>
          </a:xfrm>
          <a:prstGeom prst="rect">
            <a:avLst/>
          </a:prstGeom>
          <a:noFill/>
          <a:ln w="9525">
            <a:solidFill>
              <a:srgbClr val="212A32">
                <a:alpha val="24000"/>
              </a:srgb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A97E559-56A2-408C-B8B3-326C94C844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4880" y="2823167"/>
            <a:ext cx="5117726" cy="1219286"/>
          </a:xfrm>
        </p:spPr>
        <p:txBody>
          <a:bodyPr anchor="ctr" anchorCtr="0"/>
          <a:lstStyle>
            <a:lvl1pPr algn="ctr">
              <a:defRPr sz="4000" spc="-100" baseline="0">
                <a:solidFill>
                  <a:srgbClr val="212A32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E4184C-C85D-4079-A1E4-DEE06104CE29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616CE70-DCA6-448D-91B1-EF2E1829F833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2" name="Oval 503">
              <a:extLst>
                <a:ext uri="{FF2B5EF4-FFF2-40B4-BE49-F238E27FC236}">
                  <a16:creationId xmlns:a16="http://schemas.microsoft.com/office/drawing/2014/main" id="{1DEEBF9E-F0BD-4AB5-A705-C1BEF4DEB9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504">
              <a:extLst>
                <a:ext uri="{FF2B5EF4-FFF2-40B4-BE49-F238E27FC236}">
                  <a16:creationId xmlns:a16="http://schemas.microsoft.com/office/drawing/2014/main" id="{31358443-CA48-4C33-B80C-3C54F733F2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05">
              <a:extLst>
                <a:ext uri="{FF2B5EF4-FFF2-40B4-BE49-F238E27FC236}">
                  <a16:creationId xmlns:a16="http://schemas.microsoft.com/office/drawing/2014/main" id="{25497808-311F-42DE-BCAC-95732420D6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06">
              <a:extLst>
                <a:ext uri="{FF2B5EF4-FFF2-40B4-BE49-F238E27FC236}">
                  <a16:creationId xmlns:a16="http://schemas.microsoft.com/office/drawing/2014/main" id="{F1EAF3E9-D924-4ACC-9D6C-A8210C89E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275395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F953C581-66D1-49CD-8706-9DA69EDC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756" y="1257300"/>
            <a:ext cx="10767247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6EB3A4B6-51B4-4601-89F2-97906EFCAF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039614"/>
            <a:ext cx="10769600" cy="155684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100" kern="1200" spc="0" dirty="0">
                <a:solidFill>
                  <a:srgbClr val="92979B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39717" indent="0">
              <a:buNone/>
              <a:defRPr/>
            </a:lvl2pPr>
          </a:lstStyle>
          <a:p>
            <a:pPr lvl="0"/>
            <a:r>
              <a:rPr lang="en-US" dirty="0"/>
              <a:t>CLICK TO EDIT THE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5213851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Dark">
    <p:bg>
      <p:bgPr>
        <a:solidFill>
          <a:schemeClr val="bg1">
            <a:alpha val="9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07C855B-3E54-4195-97AA-FE7037E9B549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rgbClr val="252F38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2D0ACA56-508D-4360-AA71-81BB609CD244}"/>
              </a:ext>
            </a:extLst>
          </p:cNvPr>
          <p:cNvSpPr/>
          <p:nvPr userDrawn="1"/>
        </p:nvSpPr>
        <p:spPr>
          <a:xfrm flipV="1">
            <a:off x="0" y="0"/>
            <a:ext cx="3505200" cy="6858000"/>
          </a:xfrm>
          <a:custGeom>
            <a:avLst/>
            <a:gdLst>
              <a:gd name="connsiteX0" fmla="*/ 0 w 3505200"/>
              <a:gd name="connsiteY0" fmla="*/ 0 h 6858000"/>
              <a:gd name="connsiteX1" fmla="*/ 1978706 w 3505200"/>
              <a:gd name="connsiteY1" fmla="*/ 0 h 6858000"/>
              <a:gd name="connsiteX2" fmla="*/ 3505200 w 3505200"/>
              <a:gd name="connsiteY2" fmla="*/ 6858000 h 6858000"/>
              <a:gd name="connsiteX3" fmla="*/ 0 w 350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5200" h="6858000">
                <a:moveTo>
                  <a:pt x="0" y="0"/>
                </a:moveTo>
                <a:lnTo>
                  <a:pt x="1978706" y="0"/>
                </a:lnTo>
                <a:lnTo>
                  <a:pt x="35052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64000">
                <a:srgbClr val="006FC6"/>
              </a:gs>
              <a:gs pos="96000">
                <a:schemeClr val="accent4">
                  <a:alpha val="91000"/>
                </a:schemeClr>
              </a:gs>
              <a:gs pos="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Group 29">
            <a:extLst>
              <a:ext uri="{FF2B5EF4-FFF2-40B4-BE49-F238E27FC236}">
                <a16:creationId xmlns:a16="http://schemas.microsoft.com/office/drawing/2014/main" id="{8D03C20A-8BBF-4953-9E12-0C9789B95946}"/>
              </a:ext>
            </a:extLst>
          </p:cNvPr>
          <p:cNvGrpSpPr/>
          <p:nvPr userDrawn="1"/>
        </p:nvGrpSpPr>
        <p:grpSpPr>
          <a:xfrm>
            <a:off x="9699222" y="5716003"/>
            <a:ext cx="1465674" cy="460138"/>
            <a:chOff x="9699222" y="5716003"/>
            <a:chExt cx="1465674" cy="460138"/>
          </a:xfrm>
          <a:solidFill>
            <a:schemeClr val="bg1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2E6D9B1-70BC-488B-AB63-12D552B7F87C}"/>
                </a:ext>
              </a:extLst>
            </p:cNvPr>
            <p:cNvSpPr/>
            <p:nvPr/>
          </p:nvSpPr>
          <p:spPr>
            <a:xfrm>
              <a:off x="10010229" y="5716003"/>
              <a:ext cx="80972" cy="80972"/>
            </a:xfrm>
            <a:custGeom>
              <a:avLst/>
              <a:gdLst>
                <a:gd name="connsiteX0" fmla="*/ 163259 w 323850"/>
                <a:gd name="connsiteY0" fmla="*/ 7144 h 323850"/>
                <a:gd name="connsiteX1" fmla="*/ 7144 w 323850"/>
                <a:gd name="connsiteY1" fmla="*/ 163544 h 323850"/>
                <a:gd name="connsiteX2" fmla="*/ 163259 w 323850"/>
                <a:gd name="connsiteY2" fmla="*/ 319564 h 323850"/>
                <a:gd name="connsiteX3" fmla="*/ 319373 w 323850"/>
                <a:gd name="connsiteY3" fmla="*/ 163544 h 323850"/>
                <a:gd name="connsiteX4" fmla="*/ 163259 w 323850"/>
                <a:gd name="connsiteY4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323850">
                  <a:moveTo>
                    <a:pt x="163259" y="7144"/>
                  </a:moveTo>
                  <a:cubicBezTo>
                    <a:pt x="76962" y="7144"/>
                    <a:pt x="7144" y="77153"/>
                    <a:pt x="7144" y="163544"/>
                  </a:cubicBezTo>
                  <a:cubicBezTo>
                    <a:pt x="7144" y="249650"/>
                    <a:pt x="76867" y="319564"/>
                    <a:pt x="163259" y="319564"/>
                  </a:cubicBezTo>
                  <a:cubicBezTo>
                    <a:pt x="249364" y="319564"/>
                    <a:pt x="319373" y="249746"/>
                    <a:pt x="319373" y="163544"/>
                  </a:cubicBezTo>
                  <a:cubicBezTo>
                    <a:pt x="319373" y="77153"/>
                    <a:pt x="249364" y="7144"/>
                    <a:pt x="163259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3ECA5B2-774A-4B25-9D8E-2C4A71A23CC6}"/>
                </a:ext>
              </a:extLst>
            </p:cNvPr>
            <p:cNvSpPr/>
            <p:nvPr/>
          </p:nvSpPr>
          <p:spPr>
            <a:xfrm>
              <a:off x="9699222" y="5766920"/>
              <a:ext cx="319127" cy="340560"/>
            </a:xfrm>
            <a:custGeom>
              <a:avLst/>
              <a:gdLst>
                <a:gd name="connsiteX0" fmla="*/ 1064804 w 1276350"/>
                <a:gd name="connsiteY0" fmla="*/ 460439 h 1362075"/>
                <a:gd name="connsiteX1" fmla="*/ 1259781 w 1276350"/>
                <a:gd name="connsiteY1" fmla="*/ 203741 h 1362075"/>
                <a:gd name="connsiteX2" fmla="*/ 1261876 w 1276350"/>
                <a:gd name="connsiteY2" fmla="*/ 158687 h 1362075"/>
                <a:gd name="connsiteX3" fmla="*/ 1179009 w 1276350"/>
                <a:gd name="connsiteY3" fmla="*/ 25814 h 1362075"/>
                <a:gd name="connsiteX4" fmla="*/ 1145004 w 1276350"/>
                <a:gd name="connsiteY4" fmla="*/ 7145 h 1362075"/>
                <a:gd name="connsiteX5" fmla="*/ 787531 w 1276350"/>
                <a:gd name="connsiteY5" fmla="*/ 9621 h 1362075"/>
                <a:gd name="connsiteX6" fmla="*/ 787531 w 1276350"/>
                <a:gd name="connsiteY6" fmla="*/ 9621 h 1362075"/>
                <a:gd name="connsiteX7" fmla="*/ 591507 w 1276350"/>
                <a:gd name="connsiteY7" fmla="*/ 9431 h 1362075"/>
                <a:gd name="connsiteX8" fmla="*/ 581315 w 1276350"/>
                <a:gd name="connsiteY8" fmla="*/ 38387 h 1362075"/>
                <a:gd name="connsiteX9" fmla="*/ 636274 w 1276350"/>
                <a:gd name="connsiteY9" fmla="*/ 82678 h 1362075"/>
                <a:gd name="connsiteX10" fmla="*/ 662944 w 1276350"/>
                <a:gd name="connsiteY10" fmla="*/ 94965 h 1362075"/>
                <a:gd name="connsiteX11" fmla="*/ 1003368 w 1276350"/>
                <a:gd name="connsiteY11" fmla="*/ 159068 h 1362075"/>
                <a:gd name="connsiteX12" fmla="*/ 582172 w 1276350"/>
                <a:gd name="connsiteY12" fmla="*/ 611601 h 1362075"/>
                <a:gd name="connsiteX13" fmla="*/ 27817 w 1276350"/>
                <a:gd name="connsiteY13" fmla="*/ 690373 h 1362075"/>
                <a:gd name="connsiteX14" fmla="*/ 13625 w 1276350"/>
                <a:gd name="connsiteY14" fmla="*/ 730473 h 1362075"/>
                <a:gd name="connsiteX15" fmla="*/ 67727 w 1276350"/>
                <a:gd name="connsiteY15" fmla="*/ 788576 h 1362075"/>
                <a:gd name="connsiteX16" fmla="*/ 109256 w 1276350"/>
                <a:gd name="connsiteY16" fmla="*/ 806197 h 1362075"/>
                <a:gd name="connsiteX17" fmla="*/ 644370 w 1276350"/>
                <a:gd name="connsiteY17" fmla="*/ 797434 h 1362075"/>
                <a:gd name="connsiteX18" fmla="*/ 700473 w 1276350"/>
                <a:gd name="connsiteY18" fmla="*/ 781146 h 1362075"/>
                <a:gd name="connsiteX19" fmla="*/ 828679 w 1276350"/>
                <a:gd name="connsiteY19" fmla="*/ 703041 h 1362075"/>
                <a:gd name="connsiteX20" fmla="*/ 1099284 w 1276350"/>
                <a:gd name="connsiteY20" fmla="*/ 917830 h 1362075"/>
                <a:gd name="connsiteX21" fmla="*/ 1118715 w 1276350"/>
                <a:gd name="connsiteY21" fmla="*/ 952025 h 1362075"/>
                <a:gd name="connsiteX22" fmla="*/ 1170246 w 1276350"/>
                <a:gd name="connsiteY22" fmla="*/ 1331310 h 1362075"/>
                <a:gd name="connsiteX23" fmla="*/ 1205964 w 1276350"/>
                <a:gd name="connsiteY23" fmla="*/ 1362552 h 1362075"/>
                <a:gd name="connsiteX24" fmla="*/ 1233492 w 1276350"/>
                <a:gd name="connsiteY24" fmla="*/ 1362552 h 1362075"/>
                <a:gd name="connsiteX25" fmla="*/ 1269591 w 1276350"/>
                <a:gd name="connsiteY25" fmla="*/ 1326643 h 1362075"/>
                <a:gd name="connsiteX26" fmla="*/ 1271211 w 1276350"/>
                <a:gd name="connsiteY26" fmla="*/ 905733 h 1362075"/>
                <a:gd name="connsiteX27" fmla="*/ 1251399 w 1276350"/>
                <a:gd name="connsiteY27" fmla="*/ 845440 h 1362075"/>
                <a:gd name="connsiteX28" fmla="*/ 1015274 w 1276350"/>
                <a:gd name="connsiteY28" fmla="*/ 527210 h 1362075"/>
                <a:gd name="connsiteX29" fmla="*/ 1064804 w 1276350"/>
                <a:gd name="connsiteY29" fmla="*/ 460439 h 1362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276350" h="1362075">
                  <a:moveTo>
                    <a:pt x="1064804" y="460439"/>
                  </a:moveTo>
                  <a:lnTo>
                    <a:pt x="1259781" y="203741"/>
                  </a:lnTo>
                  <a:cubicBezTo>
                    <a:pt x="1269782" y="190596"/>
                    <a:pt x="1270544" y="172689"/>
                    <a:pt x="1261876" y="158687"/>
                  </a:cubicBezTo>
                  <a:lnTo>
                    <a:pt x="1179009" y="25814"/>
                  </a:lnTo>
                  <a:cubicBezTo>
                    <a:pt x="1171674" y="14098"/>
                    <a:pt x="1158816" y="7049"/>
                    <a:pt x="1145004" y="7145"/>
                  </a:cubicBezTo>
                  <a:lnTo>
                    <a:pt x="787531" y="9621"/>
                  </a:lnTo>
                  <a:lnTo>
                    <a:pt x="787531" y="9621"/>
                  </a:lnTo>
                  <a:lnTo>
                    <a:pt x="591507" y="9431"/>
                  </a:lnTo>
                  <a:cubicBezTo>
                    <a:pt x="576171" y="9431"/>
                    <a:pt x="569313" y="28671"/>
                    <a:pt x="581315" y="38387"/>
                  </a:cubicBezTo>
                  <a:lnTo>
                    <a:pt x="636274" y="82678"/>
                  </a:lnTo>
                  <a:cubicBezTo>
                    <a:pt x="643989" y="88869"/>
                    <a:pt x="653133" y="93155"/>
                    <a:pt x="662944" y="94965"/>
                  </a:cubicBezTo>
                  <a:lnTo>
                    <a:pt x="1003368" y="159068"/>
                  </a:lnTo>
                  <a:lnTo>
                    <a:pt x="582172" y="611601"/>
                  </a:lnTo>
                  <a:lnTo>
                    <a:pt x="27817" y="690373"/>
                  </a:lnTo>
                  <a:cubicBezTo>
                    <a:pt x="8576" y="693135"/>
                    <a:pt x="385" y="716281"/>
                    <a:pt x="13625" y="730473"/>
                  </a:cubicBezTo>
                  <a:lnTo>
                    <a:pt x="67727" y="788576"/>
                  </a:lnTo>
                  <a:cubicBezTo>
                    <a:pt x="78395" y="800101"/>
                    <a:pt x="93540" y="806483"/>
                    <a:pt x="109256" y="806197"/>
                  </a:cubicBezTo>
                  <a:lnTo>
                    <a:pt x="644370" y="797434"/>
                  </a:lnTo>
                  <a:cubicBezTo>
                    <a:pt x="664182" y="797148"/>
                    <a:pt x="683518" y="791529"/>
                    <a:pt x="700473" y="781146"/>
                  </a:cubicBezTo>
                  <a:lnTo>
                    <a:pt x="828679" y="703041"/>
                  </a:lnTo>
                  <a:lnTo>
                    <a:pt x="1099284" y="917830"/>
                  </a:lnTo>
                  <a:cubicBezTo>
                    <a:pt x="1109952" y="926307"/>
                    <a:pt x="1116906" y="938499"/>
                    <a:pt x="1118715" y="952025"/>
                  </a:cubicBezTo>
                  <a:lnTo>
                    <a:pt x="1170246" y="1331310"/>
                  </a:lnTo>
                  <a:cubicBezTo>
                    <a:pt x="1172627" y="1349217"/>
                    <a:pt x="1187962" y="1362552"/>
                    <a:pt x="1205964" y="1362552"/>
                  </a:cubicBezTo>
                  <a:lnTo>
                    <a:pt x="1233492" y="1362552"/>
                  </a:lnTo>
                  <a:cubicBezTo>
                    <a:pt x="1253399" y="1362552"/>
                    <a:pt x="1269496" y="1346455"/>
                    <a:pt x="1269591" y="1326643"/>
                  </a:cubicBezTo>
                  <a:lnTo>
                    <a:pt x="1271211" y="905733"/>
                  </a:lnTo>
                  <a:cubicBezTo>
                    <a:pt x="1271306" y="884016"/>
                    <a:pt x="1264353" y="862871"/>
                    <a:pt x="1251399" y="845440"/>
                  </a:cubicBezTo>
                  <a:lnTo>
                    <a:pt x="1015274" y="527210"/>
                  </a:lnTo>
                  <a:lnTo>
                    <a:pt x="1064804" y="4604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8BBFEBF-DA14-4213-B08A-FFBD9C588A80}"/>
                </a:ext>
              </a:extLst>
            </p:cNvPr>
            <p:cNvSpPr/>
            <p:nvPr/>
          </p:nvSpPr>
          <p:spPr>
            <a:xfrm>
              <a:off x="10167744" y="5779614"/>
              <a:ext cx="192905" cy="238154"/>
            </a:xfrm>
            <a:custGeom>
              <a:avLst/>
              <a:gdLst>
                <a:gd name="connsiteX0" fmla="*/ 538163 w 771525"/>
                <a:gd name="connsiteY0" fmla="*/ 946499 h 952500"/>
                <a:gd name="connsiteX1" fmla="*/ 353663 w 771525"/>
                <a:gd name="connsiteY1" fmla="*/ 612648 h 952500"/>
                <a:gd name="connsiteX2" fmla="*/ 207169 w 771525"/>
                <a:gd name="connsiteY2" fmla="*/ 612648 h 952500"/>
                <a:gd name="connsiteX3" fmla="*/ 207169 w 771525"/>
                <a:gd name="connsiteY3" fmla="*/ 946404 h 952500"/>
                <a:gd name="connsiteX4" fmla="*/ 7144 w 771525"/>
                <a:gd name="connsiteY4" fmla="*/ 946404 h 952500"/>
                <a:gd name="connsiteX5" fmla="*/ 7144 w 771525"/>
                <a:gd name="connsiteY5" fmla="*/ 7144 h 952500"/>
                <a:gd name="connsiteX6" fmla="*/ 446532 w 771525"/>
                <a:gd name="connsiteY6" fmla="*/ 7144 h 952500"/>
                <a:gd name="connsiteX7" fmla="*/ 763429 w 771525"/>
                <a:gd name="connsiteY7" fmla="*/ 309944 h 952500"/>
                <a:gd name="connsiteX8" fmla="*/ 556451 w 771525"/>
                <a:gd name="connsiteY8" fmla="*/ 588836 h 952500"/>
                <a:gd name="connsiteX9" fmla="*/ 769144 w 771525"/>
                <a:gd name="connsiteY9" fmla="*/ 946595 h 952500"/>
                <a:gd name="connsiteX10" fmla="*/ 538163 w 771525"/>
                <a:gd name="connsiteY10" fmla="*/ 946595 h 952500"/>
                <a:gd name="connsiteX11" fmla="*/ 557879 w 771525"/>
                <a:gd name="connsiteY11" fmla="*/ 308515 h 952500"/>
                <a:gd name="connsiteX12" fmla="*/ 418433 w 771525"/>
                <a:gd name="connsiteY12" fmla="*/ 183166 h 952500"/>
                <a:gd name="connsiteX13" fmla="*/ 207169 w 771525"/>
                <a:gd name="connsiteY13" fmla="*/ 183166 h 952500"/>
                <a:gd name="connsiteX14" fmla="*/ 207169 w 771525"/>
                <a:gd name="connsiteY14" fmla="*/ 436626 h 952500"/>
                <a:gd name="connsiteX15" fmla="*/ 418433 w 771525"/>
                <a:gd name="connsiteY15" fmla="*/ 436626 h 952500"/>
                <a:gd name="connsiteX16" fmla="*/ 557879 w 771525"/>
                <a:gd name="connsiteY16" fmla="*/ 308515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71525" h="952500">
                  <a:moveTo>
                    <a:pt x="538163" y="946499"/>
                  </a:moveTo>
                  <a:lnTo>
                    <a:pt x="353663" y="612648"/>
                  </a:lnTo>
                  <a:lnTo>
                    <a:pt x="207169" y="612648"/>
                  </a:lnTo>
                  <a:lnTo>
                    <a:pt x="207169" y="946404"/>
                  </a:lnTo>
                  <a:lnTo>
                    <a:pt x="7144" y="946404"/>
                  </a:lnTo>
                  <a:lnTo>
                    <a:pt x="7144" y="7144"/>
                  </a:lnTo>
                  <a:lnTo>
                    <a:pt x="446532" y="7144"/>
                  </a:lnTo>
                  <a:cubicBezTo>
                    <a:pt x="642271" y="7144"/>
                    <a:pt x="763429" y="135255"/>
                    <a:pt x="763429" y="309944"/>
                  </a:cubicBezTo>
                  <a:cubicBezTo>
                    <a:pt x="763429" y="474726"/>
                    <a:pt x="657797" y="564833"/>
                    <a:pt x="556451" y="588836"/>
                  </a:cubicBezTo>
                  <a:lnTo>
                    <a:pt x="769144" y="946595"/>
                  </a:lnTo>
                  <a:lnTo>
                    <a:pt x="538163" y="946595"/>
                  </a:lnTo>
                  <a:close/>
                  <a:moveTo>
                    <a:pt x="557879" y="308515"/>
                  </a:moveTo>
                  <a:cubicBezTo>
                    <a:pt x="557879" y="231077"/>
                    <a:pt x="497300" y="183166"/>
                    <a:pt x="418433" y="183166"/>
                  </a:cubicBezTo>
                  <a:lnTo>
                    <a:pt x="207169" y="183166"/>
                  </a:lnTo>
                  <a:lnTo>
                    <a:pt x="207169" y="436626"/>
                  </a:lnTo>
                  <a:lnTo>
                    <a:pt x="418433" y="436626"/>
                  </a:lnTo>
                  <a:cubicBezTo>
                    <a:pt x="497300" y="436626"/>
                    <a:pt x="557879" y="388715"/>
                    <a:pt x="557879" y="3085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1B44E1E-A940-4B1B-ACF2-206AC1F4ABEE}"/>
                </a:ext>
              </a:extLst>
            </p:cNvPr>
            <p:cNvSpPr/>
            <p:nvPr/>
          </p:nvSpPr>
          <p:spPr>
            <a:xfrm>
              <a:off x="10394181" y="5779614"/>
              <a:ext cx="169090" cy="238154"/>
            </a:xfrm>
            <a:custGeom>
              <a:avLst/>
              <a:gdLst>
                <a:gd name="connsiteX0" fmla="*/ 7144 w 676275"/>
                <a:gd name="connsiteY0" fmla="*/ 946499 h 952500"/>
                <a:gd name="connsiteX1" fmla="*/ 7144 w 676275"/>
                <a:gd name="connsiteY1" fmla="*/ 7144 h 952500"/>
                <a:gd name="connsiteX2" fmla="*/ 671894 w 676275"/>
                <a:gd name="connsiteY2" fmla="*/ 7144 h 952500"/>
                <a:gd name="connsiteX3" fmla="*/ 671894 w 676275"/>
                <a:gd name="connsiteY3" fmla="*/ 183166 h 952500"/>
                <a:gd name="connsiteX4" fmla="*/ 207169 w 676275"/>
                <a:gd name="connsiteY4" fmla="*/ 183166 h 952500"/>
                <a:gd name="connsiteX5" fmla="*/ 207169 w 676275"/>
                <a:gd name="connsiteY5" fmla="*/ 380333 h 952500"/>
                <a:gd name="connsiteX6" fmla="*/ 662083 w 676275"/>
                <a:gd name="connsiteY6" fmla="*/ 380333 h 952500"/>
                <a:gd name="connsiteX7" fmla="*/ 662083 w 676275"/>
                <a:gd name="connsiteY7" fmla="*/ 556355 h 952500"/>
                <a:gd name="connsiteX8" fmla="*/ 207169 w 676275"/>
                <a:gd name="connsiteY8" fmla="*/ 556355 h 952500"/>
                <a:gd name="connsiteX9" fmla="*/ 207169 w 676275"/>
                <a:gd name="connsiteY9" fmla="*/ 770382 h 952500"/>
                <a:gd name="connsiteX10" fmla="*/ 671894 w 676275"/>
                <a:gd name="connsiteY10" fmla="*/ 770382 h 952500"/>
                <a:gd name="connsiteX11" fmla="*/ 671894 w 676275"/>
                <a:gd name="connsiteY11" fmla="*/ 946404 h 952500"/>
                <a:gd name="connsiteX12" fmla="*/ 7144 w 676275"/>
                <a:gd name="connsiteY12" fmla="*/ 946404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952500">
                  <a:moveTo>
                    <a:pt x="7144" y="946499"/>
                  </a:moveTo>
                  <a:lnTo>
                    <a:pt x="7144" y="7144"/>
                  </a:lnTo>
                  <a:lnTo>
                    <a:pt x="671894" y="7144"/>
                  </a:lnTo>
                  <a:lnTo>
                    <a:pt x="671894" y="183166"/>
                  </a:lnTo>
                  <a:lnTo>
                    <a:pt x="207169" y="183166"/>
                  </a:lnTo>
                  <a:lnTo>
                    <a:pt x="207169" y="380333"/>
                  </a:lnTo>
                  <a:lnTo>
                    <a:pt x="662083" y="380333"/>
                  </a:lnTo>
                  <a:lnTo>
                    <a:pt x="662083" y="556355"/>
                  </a:lnTo>
                  <a:lnTo>
                    <a:pt x="207169" y="556355"/>
                  </a:lnTo>
                  <a:lnTo>
                    <a:pt x="207169" y="770382"/>
                  </a:lnTo>
                  <a:lnTo>
                    <a:pt x="671894" y="770382"/>
                  </a:lnTo>
                  <a:lnTo>
                    <a:pt x="671894" y="946404"/>
                  </a:lnTo>
                  <a:lnTo>
                    <a:pt x="7144" y="9464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0A6F8DD-8AEF-465D-BC8B-C79FE002A874}"/>
                </a:ext>
              </a:extLst>
            </p:cNvPr>
            <p:cNvSpPr/>
            <p:nvPr/>
          </p:nvSpPr>
          <p:spPr>
            <a:xfrm>
              <a:off x="10599446" y="5779614"/>
              <a:ext cx="190523" cy="238154"/>
            </a:xfrm>
            <a:custGeom>
              <a:avLst/>
              <a:gdLst>
                <a:gd name="connsiteX0" fmla="*/ 7144 w 762000"/>
                <a:gd name="connsiteY0" fmla="*/ 946499 h 952500"/>
                <a:gd name="connsiteX1" fmla="*/ 7144 w 762000"/>
                <a:gd name="connsiteY1" fmla="*/ 7144 h 952500"/>
                <a:gd name="connsiteX2" fmla="*/ 446532 w 762000"/>
                <a:gd name="connsiteY2" fmla="*/ 7144 h 952500"/>
                <a:gd name="connsiteX3" fmla="*/ 762000 w 762000"/>
                <a:gd name="connsiteY3" fmla="*/ 309944 h 952500"/>
                <a:gd name="connsiteX4" fmla="*/ 446532 w 762000"/>
                <a:gd name="connsiteY4" fmla="*/ 611315 h 952500"/>
                <a:gd name="connsiteX5" fmla="*/ 207074 w 762000"/>
                <a:gd name="connsiteY5" fmla="*/ 611315 h 952500"/>
                <a:gd name="connsiteX6" fmla="*/ 207074 w 762000"/>
                <a:gd name="connsiteY6" fmla="*/ 946499 h 952500"/>
                <a:gd name="connsiteX7" fmla="*/ 7144 w 762000"/>
                <a:gd name="connsiteY7" fmla="*/ 946499 h 952500"/>
                <a:gd name="connsiteX8" fmla="*/ 557784 w 762000"/>
                <a:gd name="connsiteY8" fmla="*/ 309848 h 952500"/>
                <a:gd name="connsiteX9" fmla="*/ 418338 w 762000"/>
                <a:gd name="connsiteY9" fmla="*/ 183071 h 952500"/>
                <a:gd name="connsiteX10" fmla="*/ 207074 w 762000"/>
                <a:gd name="connsiteY10" fmla="*/ 183071 h 952500"/>
                <a:gd name="connsiteX11" fmla="*/ 207074 w 762000"/>
                <a:gd name="connsiteY11" fmla="*/ 435197 h 952500"/>
                <a:gd name="connsiteX12" fmla="*/ 418338 w 762000"/>
                <a:gd name="connsiteY12" fmla="*/ 435197 h 952500"/>
                <a:gd name="connsiteX13" fmla="*/ 557784 w 762000"/>
                <a:gd name="connsiteY13" fmla="*/ 309848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20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446532" y="7144"/>
                  </a:lnTo>
                  <a:cubicBezTo>
                    <a:pt x="650748" y="7144"/>
                    <a:pt x="762000" y="145161"/>
                    <a:pt x="762000" y="309944"/>
                  </a:cubicBezTo>
                  <a:cubicBezTo>
                    <a:pt x="762000" y="473297"/>
                    <a:pt x="649319" y="611315"/>
                    <a:pt x="446532" y="611315"/>
                  </a:cubicBezTo>
                  <a:lnTo>
                    <a:pt x="207074" y="611315"/>
                  </a:lnTo>
                  <a:lnTo>
                    <a:pt x="207074" y="946499"/>
                  </a:lnTo>
                  <a:lnTo>
                    <a:pt x="7144" y="946499"/>
                  </a:lnTo>
                  <a:close/>
                  <a:moveTo>
                    <a:pt x="557784" y="309848"/>
                  </a:moveTo>
                  <a:cubicBezTo>
                    <a:pt x="557784" y="230981"/>
                    <a:pt x="497205" y="183071"/>
                    <a:pt x="418338" y="183071"/>
                  </a:cubicBezTo>
                  <a:lnTo>
                    <a:pt x="207074" y="183071"/>
                  </a:lnTo>
                  <a:lnTo>
                    <a:pt x="207074" y="435197"/>
                  </a:lnTo>
                  <a:lnTo>
                    <a:pt x="418338" y="435197"/>
                  </a:lnTo>
                  <a:cubicBezTo>
                    <a:pt x="497300" y="435197"/>
                    <a:pt x="557784" y="387382"/>
                    <a:pt x="557784" y="3098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3A4F70-6063-4F20-8EA2-D72D144A8788}"/>
                </a:ext>
              </a:extLst>
            </p:cNvPr>
            <p:cNvSpPr/>
            <p:nvPr/>
          </p:nvSpPr>
          <p:spPr>
            <a:xfrm>
              <a:off x="10817405" y="5779614"/>
              <a:ext cx="152419" cy="238154"/>
            </a:xfrm>
            <a:custGeom>
              <a:avLst/>
              <a:gdLst>
                <a:gd name="connsiteX0" fmla="*/ 7144 w 609600"/>
                <a:gd name="connsiteY0" fmla="*/ 946499 h 952500"/>
                <a:gd name="connsiteX1" fmla="*/ 7144 w 609600"/>
                <a:gd name="connsiteY1" fmla="*/ 7144 h 952500"/>
                <a:gd name="connsiteX2" fmla="*/ 208502 w 609600"/>
                <a:gd name="connsiteY2" fmla="*/ 7144 h 952500"/>
                <a:gd name="connsiteX3" fmla="*/ 208502 w 609600"/>
                <a:gd name="connsiteY3" fmla="*/ 770477 h 952500"/>
                <a:gd name="connsiteX4" fmla="*/ 605694 w 609600"/>
                <a:gd name="connsiteY4" fmla="*/ 770477 h 952500"/>
                <a:gd name="connsiteX5" fmla="*/ 605694 w 609600"/>
                <a:gd name="connsiteY5" fmla="*/ 946499 h 952500"/>
                <a:gd name="connsiteX6" fmla="*/ 7144 w 609600"/>
                <a:gd name="connsiteY6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6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208502" y="7144"/>
                  </a:lnTo>
                  <a:lnTo>
                    <a:pt x="208502" y="770477"/>
                  </a:lnTo>
                  <a:lnTo>
                    <a:pt x="605694" y="770477"/>
                  </a:lnTo>
                  <a:lnTo>
                    <a:pt x="605694" y="946499"/>
                  </a:lnTo>
                  <a:lnTo>
                    <a:pt x="7144" y="9464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D5518-2665-4195-A8F8-3264F899BC77}"/>
                </a:ext>
              </a:extLst>
            </p:cNvPr>
            <p:cNvSpPr/>
            <p:nvPr/>
          </p:nvSpPr>
          <p:spPr>
            <a:xfrm>
              <a:off x="10931505" y="5779590"/>
              <a:ext cx="233391" cy="238154"/>
            </a:xfrm>
            <a:custGeom>
              <a:avLst/>
              <a:gdLst>
                <a:gd name="connsiteX0" fmla="*/ 367665 w 933450"/>
                <a:gd name="connsiteY0" fmla="*/ 946595 h 952500"/>
                <a:gd name="connsiteX1" fmla="*/ 367665 w 933450"/>
                <a:gd name="connsiteY1" fmla="*/ 562070 h 952500"/>
                <a:gd name="connsiteX2" fmla="*/ 7144 w 933450"/>
                <a:gd name="connsiteY2" fmla="*/ 7144 h 952500"/>
                <a:gd name="connsiteX3" fmla="*/ 235268 w 933450"/>
                <a:gd name="connsiteY3" fmla="*/ 7144 h 952500"/>
                <a:gd name="connsiteX4" fmla="*/ 467678 w 933450"/>
                <a:gd name="connsiteY4" fmla="*/ 383191 h 952500"/>
                <a:gd name="connsiteX5" fmla="*/ 700088 w 933450"/>
                <a:gd name="connsiteY5" fmla="*/ 7144 h 952500"/>
                <a:gd name="connsiteX6" fmla="*/ 926878 w 933450"/>
                <a:gd name="connsiteY6" fmla="*/ 7144 h 952500"/>
                <a:gd name="connsiteX7" fmla="*/ 567786 w 933450"/>
                <a:gd name="connsiteY7" fmla="*/ 562070 h 952500"/>
                <a:gd name="connsiteX8" fmla="*/ 567786 w 933450"/>
                <a:gd name="connsiteY8" fmla="*/ 946499 h 952500"/>
                <a:gd name="connsiteX9" fmla="*/ 367665 w 933450"/>
                <a:gd name="connsiteY9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3450" h="952500">
                  <a:moveTo>
                    <a:pt x="367665" y="946595"/>
                  </a:moveTo>
                  <a:lnTo>
                    <a:pt x="367665" y="562070"/>
                  </a:lnTo>
                  <a:lnTo>
                    <a:pt x="7144" y="7144"/>
                  </a:lnTo>
                  <a:lnTo>
                    <a:pt x="235268" y="7144"/>
                  </a:lnTo>
                  <a:lnTo>
                    <a:pt x="467678" y="383191"/>
                  </a:lnTo>
                  <a:lnTo>
                    <a:pt x="700088" y="7144"/>
                  </a:lnTo>
                  <a:lnTo>
                    <a:pt x="926878" y="7144"/>
                  </a:lnTo>
                  <a:lnTo>
                    <a:pt x="567786" y="562070"/>
                  </a:lnTo>
                  <a:lnTo>
                    <a:pt x="567786" y="946499"/>
                  </a:lnTo>
                  <a:lnTo>
                    <a:pt x="367665" y="9464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23FE072-CCB3-4607-B33F-904439777076}"/>
                </a:ext>
              </a:extLst>
            </p:cNvPr>
            <p:cNvSpPr/>
            <p:nvPr/>
          </p:nvSpPr>
          <p:spPr>
            <a:xfrm>
              <a:off x="10157575" y="6072948"/>
              <a:ext cx="100025" cy="100025"/>
            </a:xfrm>
            <a:custGeom>
              <a:avLst/>
              <a:gdLst>
                <a:gd name="connsiteX0" fmla="*/ 160877 w 400050"/>
                <a:gd name="connsiteY0" fmla="*/ 398526 h 400050"/>
                <a:gd name="connsiteX1" fmla="*/ 7144 w 400050"/>
                <a:gd name="connsiteY1" fmla="*/ 7144 h 400050"/>
                <a:gd name="connsiteX2" fmla="*/ 85154 w 400050"/>
                <a:gd name="connsiteY2" fmla="*/ 7144 h 400050"/>
                <a:gd name="connsiteX3" fmla="*/ 203645 w 400050"/>
                <a:gd name="connsiteY3" fmla="*/ 323374 h 400050"/>
                <a:gd name="connsiteX4" fmla="*/ 322136 w 400050"/>
                <a:gd name="connsiteY4" fmla="*/ 7144 h 400050"/>
                <a:gd name="connsiteX5" fmla="*/ 400145 w 400050"/>
                <a:gd name="connsiteY5" fmla="*/ 7144 h 400050"/>
                <a:gd name="connsiteX6" fmla="*/ 246412 w 400050"/>
                <a:gd name="connsiteY6" fmla="*/ 398526 h 400050"/>
                <a:gd name="connsiteX7" fmla="*/ 160877 w 400050"/>
                <a:gd name="connsiteY7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050" h="400050">
                  <a:moveTo>
                    <a:pt x="160877" y="398526"/>
                  </a:moveTo>
                  <a:lnTo>
                    <a:pt x="7144" y="7144"/>
                  </a:lnTo>
                  <a:lnTo>
                    <a:pt x="85154" y="7144"/>
                  </a:lnTo>
                  <a:lnTo>
                    <a:pt x="203645" y="323374"/>
                  </a:lnTo>
                  <a:lnTo>
                    <a:pt x="322136" y="7144"/>
                  </a:lnTo>
                  <a:lnTo>
                    <a:pt x="400145" y="7144"/>
                  </a:lnTo>
                  <a:lnTo>
                    <a:pt x="246412" y="398526"/>
                  </a:lnTo>
                  <a:lnTo>
                    <a:pt x="160877" y="3985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A651B17-2DB1-4C5D-AB2E-6D5F20D29AC2}"/>
                </a:ext>
              </a:extLst>
            </p:cNvPr>
            <p:cNvSpPr/>
            <p:nvPr/>
          </p:nvSpPr>
          <p:spPr>
            <a:xfrm>
              <a:off x="10248978" y="6072948"/>
              <a:ext cx="100025" cy="100025"/>
            </a:xfrm>
            <a:custGeom>
              <a:avLst/>
              <a:gdLst>
                <a:gd name="connsiteX0" fmla="*/ 322231 w 400050"/>
                <a:gd name="connsiteY0" fmla="*/ 398526 h 400050"/>
                <a:gd name="connsiteX1" fmla="*/ 293465 w 400050"/>
                <a:gd name="connsiteY1" fmla="*/ 322802 h 400050"/>
                <a:gd name="connsiteX2" fmla="*/ 113919 w 400050"/>
                <a:gd name="connsiteY2" fmla="*/ 322802 h 400050"/>
                <a:gd name="connsiteX3" fmla="*/ 85154 w 400050"/>
                <a:gd name="connsiteY3" fmla="*/ 398526 h 400050"/>
                <a:gd name="connsiteX4" fmla="*/ 7144 w 400050"/>
                <a:gd name="connsiteY4" fmla="*/ 398526 h 400050"/>
                <a:gd name="connsiteX5" fmla="*/ 160877 w 400050"/>
                <a:gd name="connsiteY5" fmla="*/ 7144 h 400050"/>
                <a:gd name="connsiteX6" fmla="*/ 246507 w 400050"/>
                <a:gd name="connsiteY6" fmla="*/ 7144 h 400050"/>
                <a:gd name="connsiteX7" fmla="*/ 400241 w 400050"/>
                <a:gd name="connsiteY7" fmla="*/ 398526 h 400050"/>
                <a:gd name="connsiteX8" fmla="*/ 322231 w 400050"/>
                <a:gd name="connsiteY8" fmla="*/ 398526 h 400050"/>
                <a:gd name="connsiteX9" fmla="*/ 203740 w 400050"/>
                <a:gd name="connsiteY9" fmla="*/ 75819 h 400050"/>
                <a:gd name="connsiteX10" fmla="*/ 133350 w 400050"/>
                <a:gd name="connsiteY10" fmla="*/ 262414 h 400050"/>
                <a:gd name="connsiteX11" fmla="*/ 274129 w 400050"/>
                <a:gd name="connsiteY11" fmla="*/ 262414 h 400050"/>
                <a:gd name="connsiteX12" fmla="*/ 203740 w 400050"/>
                <a:gd name="connsiteY12" fmla="*/ 75819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0050" h="400050">
                  <a:moveTo>
                    <a:pt x="322231" y="398526"/>
                  </a:moveTo>
                  <a:lnTo>
                    <a:pt x="293465" y="322802"/>
                  </a:lnTo>
                  <a:lnTo>
                    <a:pt x="113919" y="322802"/>
                  </a:lnTo>
                  <a:lnTo>
                    <a:pt x="85154" y="398526"/>
                  </a:lnTo>
                  <a:lnTo>
                    <a:pt x="7144" y="398526"/>
                  </a:lnTo>
                  <a:lnTo>
                    <a:pt x="160877" y="7144"/>
                  </a:lnTo>
                  <a:lnTo>
                    <a:pt x="246507" y="7144"/>
                  </a:lnTo>
                  <a:lnTo>
                    <a:pt x="400241" y="398526"/>
                  </a:lnTo>
                  <a:lnTo>
                    <a:pt x="322231" y="398526"/>
                  </a:lnTo>
                  <a:close/>
                  <a:moveTo>
                    <a:pt x="203740" y="75819"/>
                  </a:moveTo>
                  <a:lnTo>
                    <a:pt x="133350" y="262414"/>
                  </a:lnTo>
                  <a:lnTo>
                    <a:pt x="274129" y="262414"/>
                  </a:lnTo>
                  <a:lnTo>
                    <a:pt x="203740" y="758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BBE5F2-BDCE-48AB-8EC9-B0DCE5789287}"/>
                </a:ext>
              </a:extLst>
            </p:cNvPr>
            <p:cNvSpPr/>
            <p:nvPr/>
          </p:nvSpPr>
          <p:spPr>
            <a:xfrm>
              <a:off x="10356671" y="6072948"/>
              <a:ext cx="61920" cy="100025"/>
            </a:xfrm>
            <a:custGeom>
              <a:avLst/>
              <a:gdLst>
                <a:gd name="connsiteX0" fmla="*/ 7144 w 247650"/>
                <a:gd name="connsiteY0" fmla="*/ 398526 h 400050"/>
                <a:gd name="connsiteX1" fmla="*/ 7144 w 247650"/>
                <a:gd name="connsiteY1" fmla="*/ 7144 h 400050"/>
                <a:gd name="connsiteX2" fmla="*/ 75819 w 247650"/>
                <a:gd name="connsiteY2" fmla="*/ 7144 h 400050"/>
                <a:gd name="connsiteX3" fmla="*/ 75819 w 247650"/>
                <a:gd name="connsiteY3" fmla="*/ 338042 h 400050"/>
                <a:gd name="connsiteX4" fmla="*/ 248317 w 247650"/>
                <a:gd name="connsiteY4" fmla="*/ 338042 h 400050"/>
                <a:gd name="connsiteX5" fmla="*/ 248317 w 247650"/>
                <a:gd name="connsiteY5" fmla="*/ 398431 h 400050"/>
                <a:gd name="connsiteX6" fmla="*/ 7144 w 247650"/>
                <a:gd name="connsiteY6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50" h="400050">
                  <a:moveTo>
                    <a:pt x="7144" y="398526"/>
                  </a:moveTo>
                  <a:lnTo>
                    <a:pt x="7144" y="7144"/>
                  </a:lnTo>
                  <a:lnTo>
                    <a:pt x="75819" y="7144"/>
                  </a:lnTo>
                  <a:lnTo>
                    <a:pt x="75819" y="338042"/>
                  </a:lnTo>
                  <a:lnTo>
                    <a:pt x="248317" y="338042"/>
                  </a:lnTo>
                  <a:lnTo>
                    <a:pt x="248317" y="398431"/>
                  </a:lnTo>
                  <a:lnTo>
                    <a:pt x="7144" y="39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ECBD6B2-A8A9-4417-9B8D-79D808E88E4B}"/>
                </a:ext>
              </a:extLst>
            </p:cNvPr>
            <p:cNvSpPr/>
            <p:nvPr/>
          </p:nvSpPr>
          <p:spPr>
            <a:xfrm>
              <a:off x="10423426" y="6071353"/>
              <a:ext cx="102406" cy="104788"/>
            </a:xfrm>
            <a:custGeom>
              <a:avLst/>
              <a:gdLst>
                <a:gd name="connsiteX0" fmla="*/ 7144 w 409575"/>
                <a:gd name="connsiteY0" fmla="*/ 209550 h 419100"/>
                <a:gd name="connsiteX1" fmla="*/ 207264 w 409575"/>
                <a:gd name="connsiteY1" fmla="*/ 7144 h 419100"/>
                <a:gd name="connsiteX2" fmla="*/ 407384 w 409575"/>
                <a:gd name="connsiteY2" fmla="*/ 209550 h 419100"/>
                <a:gd name="connsiteX3" fmla="*/ 207264 w 409575"/>
                <a:gd name="connsiteY3" fmla="*/ 411956 h 419100"/>
                <a:gd name="connsiteX4" fmla="*/ 7144 w 409575"/>
                <a:gd name="connsiteY4" fmla="*/ 209550 h 419100"/>
                <a:gd name="connsiteX5" fmla="*/ 336900 w 409575"/>
                <a:gd name="connsiteY5" fmla="*/ 209550 h 419100"/>
                <a:gd name="connsiteX6" fmla="*/ 207264 w 409575"/>
                <a:gd name="connsiteY6" fmla="*/ 68104 h 419100"/>
                <a:gd name="connsiteX7" fmla="*/ 77629 w 409575"/>
                <a:gd name="connsiteY7" fmla="*/ 209550 h 419100"/>
                <a:gd name="connsiteX8" fmla="*/ 207264 w 409575"/>
                <a:gd name="connsiteY8" fmla="*/ 350996 h 419100"/>
                <a:gd name="connsiteX9" fmla="*/ 336900 w 409575"/>
                <a:gd name="connsiteY9" fmla="*/ 20955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9575" h="419100">
                  <a:moveTo>
                    <a:pt x="7144" y="209550"/>
                  </a:moveTo>
                  <a:cubicBezTo>
                    <a:pt x="7144" y="92773"/>
                    <a:pt x="89916" y="7144"/>
                    <a:pt x="207264" y="7144"/>
                  </a:cubicBezTo>
                  <a:cubicBezTo>
                    <a:pt x="324041" y="7144"/>
                    <a:pt x="407384" y="92773"/>
                    <a:pt x="407384" y="209550"/>
                  </a:cubicBezTo>
                  <a:cubicBezTo>
                    <a:pt x="407384" y="326326"/>
                    <a:pt x="324041" y="411956"/>
                    <a:pt x="207264" y="411956"/>
                  </a:cubicBezTo>
                  <a:cubicBezTo>
                    <a:pt x="89916" y="411956"/>
                    <a:pt x="7144" y="326326"/>
                    <a:pt x="7144" y="209550"/>
                  </a:cubicBezTo>
                  <a:close/>
                  <a:moveTo>
                    <a:pt x="336900" y="209550"/>
                  </a:moveTo>
                  <a:cubicBezTo>
                    <a:pt x="336900" y="128588"/>
                    <a:pt x="285845" y="68104"/>
                    <a:pt x="207264" y="68104"/>
                  </a:cubicBezTo>
                  <a:cubicBezTo>
                    <a:pt x="128016" y="68104"/>
                    <a:pt x="77629" y="128492"/>
                    <a:pt x="77629" y="209550"/>
                  </a:cubicBezTo>
                  <a:cubicBezTo>
                    <a:pt x="77629" y="289941"/>
                    <a:pt x="128111" y="350996"/>
                    <a:pt x="207264" y="350996"/>
                  </a:cubicBezTo>
                  <a:cubicBezTo>
                    <a:pt x="285845" y="350996"/>
                    <a:pt x="336900" y="289941"/>
                    <a:pt x="336900" y="2095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60DC9E-BC68-420D-9079-ACBD9BF07D51}"/>
                </a:ext>
              </a:extLst>
            </p:cNvPr>
            <p:cNvSpPr/>
            <p:nvPr/>
          </p:nvSpPr>
          <p:spPr>
            <a:xfrm>
              <a:off x="10539907" y="6072948"/>
              <a:ext cx="78591" cy="100025"/>
            </a:xfrm>
            <a:custGeom>
              <a:avLst/>
              <a:gdLst>
                <a:gd name="connsiteX0" fmla="*/ 230696 w 314325"/>
                <a:gd name="connsiteY0" fmla="*/ 398526 h 400050"/>
                <a:gd name="connsiteX1" fmla="*/ 144494 w 314325"/>
                <a:gd name="connsiteY1" fmla="*/ 252413 h 400050"/>
                <a:gd name="connsiteX2" fmla="*/ 75819 w 314325"/>
                <a:gd name="connsiteY2" fmla="*/ 252413 h 400050"/>
                <a:gd name="connsiteX3" fmla="*/ 75819 w 314325"/>
                <a:gd name="connsiteY3" fmla="*/ 398526 h 400050"/>
                <a:gd name="connsiteX4" fmla="*/ 7144 w 314325"/>
                <a:gd name="connsiteY4" fmla="*/ 398526 h 400050"/>
                <a:gd name="connsiteX5" fmla="*/ 7144 w 314325"/>
                <a:gd name="connsiteY5" fmla="*/ 7144 h 400050"/>
                <a:gd name="connsiteX6" fmla="*/ 179070 w 314325"/>
                <a:gd name="connsiteY6" fmla="*/ 7144 h 400050"/>
                <a:gd name="connsiteX7" fmla="*/ 307562 w 314325"/>
                <a:gd name="connsiteY7" fmla="*/ 129730 h 400050"/>
                <a:gd name="connsiteX8" fmla="*/ 214313 w 314325"/>
                <a:gd name="connsiteY8" fmla="*/ 244697 h 400050"/>
                <a:gd name="connsiteX9" fmla="*/ 310515 w 314325"/>
                <a:gd name="connsiteY9" fmla="*/ 398431 h 400050"/>
                <a:gd name="connsiteX10" fmla="*/ 230696 w 314325"/>
                <a:gd name="connsiteY10" fmla="*/ 398431 h 400050"/>
                <a:gd name="connsiteX11" fmla="*/ 237173 w 314325"/>
                <a:gd name="connsiteY11" fmla="*/ 129254 h 400050"/>
                <a:gd name="connsiteX12" fmla="*/ 170307 w 314325"/>
                <a:gd name="connsiteY12" fmla="*/ 67627 h 400050"/>
                <a:gd name="connsiteX13" fmla="*/ 75819 w 314325"/>
                <a:gd name="connsiteY13" fmla="*/ 67627 h 400050"/>
                <a:gd name="connsiteX14" fmla="*/ 75819 w 314325"/>
                <a:gd name="connsiteY14" fmla="*/ 192024 h 400050"/>
                <a:gd name="connsiteX15" fmla="*/ 170307 w 314325"/>
                <a:gd name="connsiteY15" fmla="*/ 192024 h 400050"/>
                <a:gd name="connsiteX16" fmla="*/ 237173 w 314325"/>
                <a:gd name="connsiteY16" fmla="*/ 129254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4325" h="400050">
                  <a:moveTo>
                    <a:pt x="230696" y="398526"/>
                  </a:moveTo>
                  <a:lnTo>
                    <a:pt x="144494" y="252413"/>
                  </a:lnTo>
                  <a:lnTo>
                    <a:pt x="75819" y="25241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79070" y="7144"/>
                  </a:lnTo>
                  <a:cubicBezTo>
                    <a:pt x="256508" y="7144"/>
                    <a:pt x="307562" y="57055"/>
                    <a:pt x="307562" y="129730"/>
                  </a:cubicBezTo>
                  <a:cubicBezTo>
                    <a:pt x="307562" y="198977"/>
                    <a:pt x="261747" y="237077"/>
                    <a:pt x="214313" y="244697"/>
                  </a:cubicBezTo>
                  <a:lnTo>
                    <a:pt x="310515" y="398431"/>
                  </a:lnTo>
                  <a:lnTo>
                    <a:pt x="230696" y="398431"/>
                  </a:lnTo>
                  <a:close/>
                  <a:moveTo>
                    <a:pt x="237173" y="129254"/>
                  </a:moveTo>
                  <a:cubicBezTo>
                    <a:pt x="237173" y="91726"/>
                    <a:pt x="208979" y="67627"/>
                    <a:pt x="170307" y="67627"/>
                  </a:cubicBezTo>
                  <a:lnTo>
                    <a:pt x="75819" y="67627"/>
                  </a:lnTo>
                  <a:lnTo>
                    <a:pt x="75819" y="192024"/>
                  </a:lnTo>
                  <a:lnTo>
                    <a:pt x="170307" y="192024"/>
                  </a:lnTo>
                  <a:cubicBezTo>
                    <a:pt x="208979" y="192024"/>
                    <a:pt x="237173" y="167354"/>
                    <a:pt x="237173" y="1292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9C4264E-B3DE-49C4-87E4-FEB934EFDC15}"/>
                </a:ext>
              </a:extLst>
            </p:cNvPr>
            <p:cNvSpPr/>
            <p:nvPr/>
          </p:nvSpPr>
          <p:spPr>
            <a:xfrm>
              <a:off x="10632192" y="6072948"/>
              <a:ext cx="69065" cy="100025"/>
            </a:xfrm>
            <a:custGeom>
              <a:avLst/>
              <a:gdLst>
                <a:gd name="connsiteX0" fmla="*/ 7144 w 276225"/>
                <a:gd name="connsiteY0" fmla="*/ 398526 h 400050"/>
                <a:gd name="connsiteX1" fmla="*/ 7144 w 276225"/>
                <a:gd name="connsiteY1" fmla="*/ 7144 h 400050"/>
                <a:gd name="connsiteX2" fmla="*/ 275273 w 276225"/>
                <a:gd name="connsiteY2" fmla="*/ 7144 h 400050"/>
                <a:gd name="connsiteX3" fmla="*/ 275273 w 276225"/>
                <a:gd name="connsiteY3" fmla="*/ 67532 h 400050"/>
                <a:gd name="connsiteX4" fmla="*/ 75819 w 276225"/>
                <a:gd name="connsiteY4" fmla="*/ 67532 h 400050"/>
                <a:gd name="connsiteX5" fmla="*/ 75819 w 276225"/>
                <a:gd name="connsiteY5" fmla="*/ 168497 h 400050"/>
                <a:gd name="connsiteX6" fmla="*/ 271177 w 276225"/>
                <a:gd name="connsiteY6" fmla="*/ 168497 h 400050"/>
                <a:gd name="connsiteX7" fmla="*/ 271177 w 276225"/>
                <a:gd name="connsiteY7" fmla="*/ 228886 h 400050"/>
                <a:gd name="connsiteX8" fmla="*/ 75819 w 276225"/>
                <a:gd name="connsiteY8" fmla="*/ 228886 h 400050"/>
                <a:gd name="connsiteX9" fmla="*/ 75819 w 276225"/>
                <a:gd name="connsiteY9" fmla="*/ 338042 h 400050"/>
                <a:gd name="connsiteX10" fmla="*/ 275273 w 276225"/>
                <a:gd name="connsiteY10" fmla="*/ 338042 h 400050"/>
                <a:gd name="connsiteX11" fmla="*/ 275273 w 276225"/>
                <a:gd name="connsiteY11" fmla="*/ 398431 h 400050"/>
                <a:gd name="connsiteX12" fmla="*/ 7144 w 276225"/>
                <a:gd name="connsiteY12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6225" h="400050">
                  <a:moveTo>
                    <a:pt x="7144" y="398526"/>
                  </a:moveTo>
                  <a:lnTo>
                    <a:pt x="7144" y="7144"/>
                  </a:lnTo>
                  <a:lnTo>
                    <a:pt x="275273" y="7144"/>
                  </a:lnTo>
                  <a:lnTo>
                    <a:pt x="275273" y="67532"/>
                  </a:lnTo>
                  <a:lnTo>
                    <a:pt x="75819" y="67532"/>
                  </a:lnTo>
                  <a:lnTo>
                    <a:pt x="75819" y="168497"/>
                  </a:lnTo>
                  <a:lnTo>
                    <a:pt x="271177" y="168497"/>
                  </a:lnTo>
                  <a:lnTo>
                    <a:pt x="271177" y="228886"/>
                  </a:lnTo>
                  <a:lnTo>
                    <a:pt x="75819" y="228886"/>
                  </a:lnTo>
                  <a:lnTo>
                    <a:pt x="75819" y="338042"/>
                  </a:lnTo>
                  <a:lnTo>
                    <a:pt x="275273" y="338042"/>
                  </a:lnTo>
                  <a:lnTo>
                    <a:pt x="275273" y="398431"/>
                  </a:lnTo>
                  <a:lnTo>
                    <a:pt x="7144" y="39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5011E0D-40F2-426B-9359-DF16566D6BB0}"/>
                </a:ext>
              </a:extLst>
            </p:cNvPr>
            <p:cNvSpPr/>
            <p:nvPr/>
          </p:nvSpPr>
          <p:spPr>
            <a:xfrm>
              <a:off x="10716832" y="6072948"/>
              <a:ext cx="104788" cy="100025"/>
            </a:xfrm>
            <a:custGeom>
              <a:avLst/>
              <a:gdLst>
                <a:gd name="connsiteX0" fmla="*/ 345186 w 419100"/>
                <a:gd name="connsiteY0" fmla="*/ 398526 h 400050"/>
                <a:gd name="connsiteX1" fmla="*/ 345186 w 419100"/>
                <a:gd name="connsiteY1" fmla="*/ 96393 h 400050"/>
                <a:gd name="connsiteX2" fmla="*/ 225457 w 419100"/>
                <a:gd name="connsiteY2" fmla="*/ 398526 h 400050"/>
                <a:gd name="connsiteX3" fmla="*/ 196120 w 419100"/>
                <a:gd name="connsiteY3" fmla="*/ 398526 h 400050"/>
                <a:gd name="connsiteX4" fmla="*/ 75819 w 419100"/>
                <a:gd name="connsiteY4" fmla="*/ 96393 h 400050"/>
                <a:gd name="connsiteX5" fmla="*/ 75819 w 419100"/>
                <a:gd name="connsiteY5" fmla="*/ 398526 h 400050"/>
                <a:gd name="connsiteX6" fmla="*/ 7144 w 419100"/>
                <a:gd name="connsiteY6" fmla="*/ 398526 h 400050"/>
                <a:gd name="connsiteX7" fmla="*/ 7144 w 419100"/>
                <a:gd name="connsiteY7" fmla="*/ 7144 h 400050"/>
                <a:gd name="connsiteX8" fmla="*/ 103918 w 419100"/>
                <a:gd name="connsiteY8" fmla="*/ 7144 h 400050"/>
                <a:gd name="connsiteX9" fmla="*/ 210693 w 419100"/>
                <a:gd name="connsiteY9" fmla="*/ 275844 h 400050"/>
                <a:gd name="connsiteX10" fmla="*/ 316897 w 419100"/>
                <a:gd name="connsiteY10" fmla="*/ 7144 h 400050"/>
                <a:gd name="connsiteX11" fmla="*/ 413671 w 419100"/>
                <a:gd name="connsiteY11" fmla="*/ 7144 h 400050"/>
                <a:gd name="connsiteX12" fmla="*/ 413671 w 419100"/>
                <a:gd name="connsiteY12" fmla="*/ 398526 h 400050"/>
                <a:gd name="connsiteX13" fmla="*/ 345186 w 419100"/>
                <a:gd name="connsiteY13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9100" h="400050">
                  <a:moveTo>
                    <a:pt x="345186" y="398526"/>
                  </a:moveTo>
                  <a:lnTo>
                    <a:pt x="345186" y="96393"/>
                  </a:lnTo>
                  <a:lnTo>
                    <a:pt x="225457" y="398526"/>
                  </a:lnTo>
                  <a:lnTo>
                    <a:pt x="196120" y="398526"/>
                  </a:lnTo>
                  <a:lnTo>
                    <a:pt x="75819" y="9639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03918" y="7144"/>
                  </a:lnTo>
                  <a:lnTo>
                    <a:pt x="210693" y="275844"/>
                  </a:lnTo>
                  <a:lnTo>
                    <a:pt x="316897" y="7144"/>
                  </a:lnTo>
                  <a:lnTo>
                    <a:pt x="413671" y="7144"/>
                  </a:lnTo>
                  <a:lnTo>
                    <a:pt x="413671" y="398526"/>
                  </a:lnTo>
                  <a:lnTo>
                    <a:pt x="345186" y="3985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46FA92-A651-4D5A-8F32-5F6DB4AEA2D9}"/>
              </a:ext>
            </a:extLst>
          </p:cNvPr>
          <p:cNvGrpSpPr/>
          <p:nvPr userDrawn="1"/>
        </p:nvGrpSpPr>
        <p:grpSpPr>
          <a:xfrm>
            <a:off x="1568842" y="1529830"/>
            <a:ext cx="6750978" cy="3798340"/>
            <a:chOff x="1568842" y="1287695"/>
            <a:chExt cx="6750978" cy="379834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17CE502-C695-4A79-ABC6-C74F27FA1E7D}"/>
                </a:ext>
              </a:extLst>
            </p:cNvPr>
            <p:cNvSpPr/>
            <p:nvPr userDrawn="1"/>
          </p:nvSpPr>
          <p:spPr>
            <a:xfrm>
              <a:off x="1568842" y="1287695"/>
              <a:ext cx="6750978" cy="3798340"/>
            </a:xfrm>
            <a:prstGeom prst="rect">
              <a:avLst/>
            </a:prstGeom>
            <a:solidFill>
              <a:srgbClr val="252F38"/>
            </a:solidFill>
            <a:ln w="25400">
              <a:noFill/>
              <a:headEnd type="triangle"/>
              <a:tailEnd type="none"/>
            </a:ln>
            <a:effectLst>
              <a:outerShdw blurRad="203200" dist="50800" dir="2400000" sx="102000" sy="102000" algn="tl" rotWithShape="0">
                <a:schemeClr val="tx1">
                  <a:alpha val="3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E6F27E0-CA4D-415D-ACD3-17E9F6F643C9}"/>
                </a:ext>
              </a:extLst>
            </p:cNvPr>
            <p:cNvSpPr/>
            <p:nvPr userDrawn="1"/>
          </p:nvSpPr>
          <p:spPr>
            <a:xfrm>
              <a:off x="1732669" y="1433013"/>
              <a:ext cx="6423324" cy="3507704"/>
            </a:xfrm>
            <a:prstGeom prst="rect">
              <a:avLst/>
            </a:prstGeom>
            <a:noFill/>
            <a:ln w="3175">
              <a:solidFill>
                <a:srgbClr val="384652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A4FC07FB-09B5-4630-900B-ACFB7E7F47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86357" y="2211115"/>
            <a:ext cx="4834028" cy="397700"/>
          </a:xfrm>
          <a:noFill/>
        </p:spPr>
        <p:txBody>
          <a:bodyPr anchor="b">
            <a:noAutofit/>
          </a:bodyPr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2000" kern="1200" spc="0" baseline="0" dirty="0">
                <a:solidFill>
                  <a:srgbClr val="92979B"/>
                </a:solidFill>
                <a:latin typeface="+mj-lt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</a:pPr>
            <a:r>
              <a:rPr lang="en-IN" dirty="0"/>
              <a:t>TEXT</a:t>
            </a:r>
            <a:endParaRPr lang="en-US" dirty="0"/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AC7EE98-ABD9-4E4C-9485-425DAA2A9E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6357" y="4173105"/>
            <a:ext cx="4834028" cy="397700"/>
          </a:xfrm>
          <a:noFill/>
        </p:spPr>
        <p:txBody>
          <a:bodyPr>
            <a:noAutofit/>
          </a:bodyPr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1800" kern="1200" spc="0" baseline="0" dirty="0">
                <a:solidFill>
                  <a:srgbClr val="7F9FD4"/>
                </a:solidFill>
                <a:latin typeface="+mn-lt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</a:pPr>
            <a:r>
              <a:rPr lang="en-IN" dirty="0"/>
              <a:t>SUBTITLE</a:t>
            </a:r>
            <a:endParaRPr lang="en-US" dirty="0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E8DF795C-5B6D-49CC-90C0-11F21E801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86357" y="2808501"/>
            <a:ext cx="5670632" cy="1219286"/>
          </a:xfrm>
        </p:spPr>
        <p:txBody>
          <a:bodyPr anchor="t" anchorCtr="0"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all" spc="-1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</p:spTree>
    <p:extLst>
      <p:ext uri="{BB962C8B-B14F-4D97-AF65-F5344CB8AC3E}">
        <p14:creationId xmlns:p14="http://schemas.microsoft.com/office/powerpoint/2010/main" val="1635248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- Photo - Objec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FA62947-245D-45F7-B4FA-0B8F0178C2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BA03ABF-581C-4813-B3F8-1F9690A657FD}"/>
              </a:ext>
            </a:extLst>
          </p:cNvPr>
          <p:cNvSpPr/>
          <p:nvPr userDrawn="1"/>
        </p:nvSpPr>
        <p:spPr>
          <a:xfrm>
            <a:off x="2" y="0"/>
            <a:ext cx="12191998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78C1E-4F3D-44EB-9DAF-D02D1805E3DC}"/>
              </a:ext>
            </a:extLst>
          </p:cNvPr>
          <p:cNvSpPr/>
          <p:nvPr userDrawn="1"/>
        </p:nvSpPr>
        <p:spPr>
          <a:xfrm>
            <a:off x="3810000" y="1752600"/>
            <a:ext cx="4572000" cy="3352800"/>
          </a:xfrm>
          <a:prstGeom prst="rect">
            <a:avLst/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03EEE37-B469-45B6-A638-2EA2EF4086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0" y="3179701"/>
            <a:ext cx="4572000" cy="498598"/>
          </a:xfrm>
        </p:spPr>
        <p:txBody>
          <a:bodyPr anchor="ctr" anchorCtr="0">
            <a:spAutoFit/>
          </a:bodyPr>
          <a:lstStyle>
            <a:lvl1pPr algn="ctr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all" spc="-1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D972614-18D9-4BA0-81FD-5B1AEA4DCB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546" y="3771900"/>
            <a:ext cx="3048908" cy="1846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39725" indent="0">
              <a:buNone/>
              <a:defRPr/>
            </a:lvl2pPr>
            <a:lvl3pPr marL="573088" indent="0">
              <a:buNone/>
              <a:defRPr/>
            </a:lvl3pPr>
            <a:lvl4pPr marL="798513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IN" dirty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4504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- Photo - Objec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3EC066D-5CF8-445E-BAD4-1C8188605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1999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BA03ABF-581C-4813-B3F8-1F9690A657FD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rgbClr val="252F38">
              <a:alpha val="90000"/>
            </a:srgb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78C1E-4F3D-44EB-9DAF-D02D1805E3DC}"/>
              </a:ext>
            </a:extLst>
          </p:cNvPr>
          <p:cNvSpPr/>
          <p:nvPr userDrawn="1"/>
        </p:nvSpPr>
        <p:spPr>
          <a:xfrm>
            <a:off x="3810000" y="1752600"/>
            <a:ext cx="4572000" cy="3352800"/>
          </a:xfrm>
          <a:prstGeom prst="rect">
            <a:avLst/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0EB3D77-B3FC-4409-A248-3D0DE579E3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0" y="3179701"/>
            <a:ext cx="4572000" cy="498598"/>
          </a:xfrm>
        </p:spPr>
        <p:txBody>
          <a:bodyPr anchor="ctr" anchorCtr="0">
            <a:spAutoFit/>
          </a:bodyPr>
          <a:lstStyle>
            <a:lvl1pPr algn="ctr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all" spc="-1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BE386A8B-E2C1-455E-9D1F-369A2F5C7E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546" y="3771900"/>
            <a:ext cx="3048908" cy="1846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39725" indent="0">
              <a:buNone/>
              <a:defRPr/>
            </a:lvl2pPr>
            <a:lvl3pPr marL="573088" indent="0">
              <a:buNone/>
              <a:defRPr/>
            </a:lvl3pPr>
            <a:lvl4pPr marL="798513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IN" dirty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1578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6756" y="609600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6753" y="1268414"/>
            <a:ext cx="10339200" cy="2466000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5249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6757" y="608400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6753" y="1916113"/>
            <a:ext cx="4968000" cy="24660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417BFC4-460A-4E4B-8451-F51AA4260C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96400" y="1916113"/>
            <a:ext cx="4968000" cy="24660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214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C1EDC0F4-15C2-4B68-BB57-A0E4B3DCE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756" y="605659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8E1C6625-3090-482B-9A13-CA9BF33AF0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6756" y="1085952"/>
            <a:ext cx="10339200" cy="198131"/>
          </a:xfrm>
        </p:spPr>
        <p:txBody>
          <a:bodyPr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none" spc="60" baseline="0" dirty="0">
                <a:ln w="3175">
                  <a:noFill/>
                </a:ln>
                <a:solidFill>
                  <a:srgbClr val="7F9FD4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339717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2827528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F953C581-66D1-49CD-8706-9DA69EDC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756" y="608400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3964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29295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2" imgW="377" imgH="377" progId="TCLayout.ActiveDocument.1">
                  <p:embed/>
                </p:oleObj>
              </mc:Choice>
              <mc:Fallback>
                <p:oleObj name="think-cell Slide" r:id="rId22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916754" y="1268414"/>
            <a:ext cx="10340737" cy="12388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6754" y="611970"/>
            <a:ext cx="10340737" cy="4140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93C0B8-42A2-4012-87AC-FC5CCC380071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543C9B1-F37B-4970-8AC8-547CC5442788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6" name="Oval 503">
              <a:extLst>
                <a:ext uri="{FF2B5EF4-FFF2-40B4-BE49-F238E27FC236}">
                  <a16:creationId xmlns:a16="http://schemas.microsoft.com/office/drawing/2014/main" id="{E045B8DF-78E2-49BC-A2EC-F1BB828D86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504">
              <a:extLst>
                <a:ext uri="{FF2B5EF4-FFF2-40B4-BE49-F238E27FC236}">
                  <a16:creationId xmlns:a16="http://schemas.microsoft.com/office/drawing/2014/main" id="{587B8473-884C-4875-A035-59824C0F56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05">
              <a:extLst>
                <a:ext uri="{FF2B5EF4-FFF2-40B4-BE49-F238E27FC236}">
                  <a16:creationId xmlns:a16="http://schemas.microsoft.com/office/drawing/2014/main" id="{54D4FA4C-5763-480E-AFC5-579E1149D7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506">
              <a:extLst>
                <a:ext uri="{FF2B5EF4-FFF2-40B4-BE49-F238E27FC236}">
                  <a16:creationId xmlns:a16="http://schemas.microsoft.com/office/drawing/2014/main" id="{3C87B15F-BC12-498B-8868-1A100123B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27553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30" r:id="rId2"/>
    <p:sldLayoutId id="2147483733" r:id="rId3"/>
    <p:sldLayoutId id="2147483752" r:id="rId4"/>
    <p:sldLayoutId id="2147483747" r:id="rId5"/>
    <p:sldLayoutId id="2147483753" r:id="rId6"/>
    <p:sldLayoutId id="2147483748" r:id="rId7"/>
    <p:sldLayoutId id="2147483749" r:id="rId8"/>
    <p:sldLayoutId id="2147483726" r:id="rId9"/>
    <p:sldLayoutId id="2147483750" r:id="rId10"/>
    <p:sldLayoutId id="2147483755" r:id="rId11"/>
    <p:sldLayoutId id="2147483754" r:id="rId12"/>
    <p:sldLayoutId id="2147483757" r:id="rId13"/>
    <p:sldLayoutId id="2147483756" r:id="rId14"/>
    <p:sldLayoutId id="2147483758" r:id="rId15"/>
    <p:sldLayoutId id="2147483751" r:id="rId16"/>
    <p:sldLayoutId id="2147483738" r:id="rId17"/>
    <p:sldLayoutId id="2147483759" r:id="rId18"/>
  </p:sldLayoutIdLst>
  <p:hf hdr="0" dt="0"/>
  <p:txStyles>
    <p:titleStyle>
      <a:lvl1pPr marL="0" algn="l" defTabSz="914377" rtl="0" eaLnBrk="1" latinLnBrk="0" hangingPunct="1">
        <a:lnSpc>
          <a:spcPct val="85000"/>
        </a:lnSpc>
        <a:spcBef>
          <a:spcPct val="0"/>
        </a:spcBef>
        <a:buNone/>
        <a:defRPr lang="en-US" sz="2400" b="0" kern="1200" cap="all" spc="0" baseline="0" dirty="0">
          <a:ln w="3175">
            <a:noFill/>
          </a:ln>
          <a:solidFill>
            <a:srgbClr val="252F38"/>
          </a:solidFill>
          <a:effectLst/>
          <a:latin typeface="+mj-lt"/>
          <a:ea typeface="+mn-ea"/>
          <a:cs typeface="+mn-cs"/>
        </a:defRPr>
      </a:lvl1pPr>
    </p:titleStyle>
    <p:bodyStyle>
      <a:lvl1pPr marL="0" marR="0" indent="0" algn="l" defTabSz="914377" rtl="0" eaLnBrk="1" fontAlgn="auto" latinLnBrk="0" hangingPunct="1">
        <a:lnSpc>
          <a:spcPct val="150000"/>
        </a:lnSpc>
        <a:spcBef>
          <a:spcPts val="2400"/>
        </a:spcBef>
        <a:spcAft>
          <a:spcPts val="0"/>
        </a:spcAft>
        <a:buClrTx/>
        <a:buSzPct val="100000"/>
        <a:buFont typeface="Arial" pitchFamily="34" charset="0"/>
        <a:buNone/>
        <a:tabLst/>
        <a:defRPr lang="en-US" sz="1100" kern="1200" cap="none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342900" marR="0" indent="-342900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100" kern="1200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574669" marR="0" indent="-342900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>
          <a:tab pos="798513" algn="l"/>
        </a:tabLst>
        <a:defRPr lang="en-US" sz="1100" kern="1200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800089" marR="0" indent="-342900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100" kern="1200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4pPr>
      <a:lvl5pPr marL="1036622" marR="0" indent="-342900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>
          <a:tab pos="1255713" algn="l"/>
        </a:tabLst>
        <a:defRPr lang="en-US" sz="1100" kern="1200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499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2">
          <p15:clr>
            <a:srgbClr val="F26B43"/>
          </p15:clr>
        </p15:guide>
        <p15:guide id="2" pos="576" userDrawn="1">
          <p15:clr>
            <a:srgbClr val="F26B43"/>
          </p15:clr>
        </p15:guide>
        <p15:guide id="3" pos="7093" userDrawn="1">
          <p15:clr>
            <a:srgbClr val="F26B43"/>
          </p15:clr>
        </p15:guide>
        <p15:guide id="4" orient="horz" pos="379" userDrawn="1">
          <p15:clr>
            <a:srgbClr val="F26B43"/>
          </p15:clr>
        </p15:guide>
        <p15:guide id="6" orient="horz" pos="3912">
          <p15:clr>
            <a:srgbClr val="F26B43"/>
          </p15:clr>
        </p15:guide>
        <p15:guide id="7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8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8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8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0CB4F5E-E64C-40A9-9FA6-A064ECF3711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724102" y="1"/>
            <a:ext cx="8467898" cy="685800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3641F37-89A9-49C6-AAEC-FDC3C125EA85}"/>
              </a:ext>
            </a:extLst>
          </p:cNvPr>
          <p:cNvSpPr/>
          <p:nvPr/>
        </p:nvSpPr>
        <p:spPr>
          <a:xfrm flipV="1">
            <a:off x="-15240" y="0"/>
            <a:ext cx="6082793" cy="6858000"/>
          </a:xfrm>
          <a:custGeom>
            <a:avLst/>
            <a:gdLst>
              <a:gd name="connsiteX0" fmla="*/ 6377045 w 6881446"/>
              <a:gd name="connsiteY0" fmla="*/ 0 h 6858000"/>
              <a:gd name="connsiteX1" fmla="*/ 6881446 w 6881446"/>
              <a:gd name="connsiteY1" fmla="*/ 0 h 6858000"/>
              <a:gd name="connsiteX2" fmla="*/ 6881446 w 6881446"/>
              <a:gd name="connsiteY2" fmla="*/ 1445049 h 6858000"/>
              <a:gd name="connsiteX3" fmla="*/ 0 w 6881446"/>
              <a:gd name="connsiteY3" fmla="*/ 0 h 6858000"/>
              <a:gd name="connsiteX4" fmla="*/ 4549335 w 6881446"/>
              <a:gd name="connsiteY4" fmla="*/ 0 h 6858000"/>
              <a:gd name="connsiteX5" fmla="*/ 6881446 w 6881446"/>
              <a:gd name="connsiteY5" fmla="*/ 6681220 h 6858000"/>
              <a:gd name="connsiteX6" fmla="*/ 6881446 w 6881446"/>
              <a:gd name="connsiteY6" fmla="*/ 6858000 h 6858000"/>
              <a:gd name="connsiteX7" fmla="*/ 0 w 6881446"/>
              <a:gd name="connsiteY7" fmla="*/ 6858000 h 6858000"/>
              <a:gd name="connsiteX0" fmla="*/ 6377045 w 6881446"/>
              <a:gd name="connsiteY0" fmla="*/ 0 h 6858000"/>
              <a:gd name="connsiteX1" fmla="*/ 6881446 w 6881446"/>
              <a:gd name="connsiteY1" fmla="*/ 0 h 6858000"/>
              <a:gd name="connsiteX2" fmla="*/ 6377045 w 6881446"/>
              <a:gd name="connsiteY2" fmla="*/ 0 h 6858000"/>
              <a:gd name="connsiteX3" fmla="*/ 0 w 6881446"/>
              <a:gd name="connsiteY3" fmla="*/ 0 h 6858000"/>
              <a:gd name="connsiteX4" fmla="*/ 4549335 w 6881446"/>
              <a:gd name="connsiteY4" fmla="*/ 0 h 6858000"/>
              <a:gd name="connsiteX5" fmla="*/ 6881446 w 6881446"/>
              <a:gd name="connsiteY5" fmla="*/ 6681220 h 6858000"/>
              <a:gd name="connsiteX6" fmla="*/ 6881446 w 6881446"/>
              <a:gd name="connsiteY6" fmla="*/ 6858000 h 6858000"/>
              <a:gd name="connsiteX7" fmla="*/ 0 w 6881446"/>
              <a:gd name="connsiteY7" fmla="*/ 6858000 h 6858000"/>
              <a:gd name="connsiteX8" fmla="*/ 0 w 6881446"/>
              <a:gd name="connsiteY8" fmla="*/ 0 h 6858000"/>
              <a:gd name="connsiteX0" fmla="*/ 6377045 w 6881446"/>
              <a:gd name="connsiteY0" fmla="*/ 0 h 6858000"/>
              <a:gd name="connsiteX1" fmla="*/ 6881446 w 6881446"/>
              <a:gd name="connsiteY1" fmla="*/ 0 h 6858000"/>
              <a:gd name="connsiteX2" fmla="*/ 6377045 w 6881446"/>
              <a:gd name="connsiteY2" fmla="*/ 0 h 6858000"/>
              <a:gd name="connsiteX3" fmla="*/ 0 w 6881446"/>
              <a:gd name="connsiteY3" fmla="*/ 0 h 6858000"/>
              <a:gd name="connsiteX4" fmla="*/ 4549335 w 6881446"/>
              <a:gd name="connsiteY4" fmla="*/ 0 h 6858000"/>
              <a:gd name="connsiteX5" fmla="*/ 6881446 w 6881446"/>
              <a:gd name="connsiteY5" fmla="*/ 6858000 h 6858000"/>
              <a:gd name="connsiteX6" fmla="*/ 0 w 6881446"/>
              <a:gd name="connsiteY6" fmla="*/ 6858000 h 6858000"/>
              <a:gd name="connsiteX7" fmla="*/ 0 w 6881446"/>
              <a:gd name="connsiteY7" fmla="*/ 0 h 6858000"/>
              <a:gd name="connsiteX0" fmla="*/ 6377045 w 6962469"/>
              <a:gd name="connsiteY0" fmla="*/ 0 h 6858000"/>
              <a:gd name="connsiteX1" fmla="*/ 6881446 w 6962469"/>
              <a:gd name="connsiteY1" fmla="*/ 0 h 6858000"/>
              <a:gd name="connsiteX2" fmla="*/ 6377045 w 6962469"/>
              <a:gd name="connsiteY2" fmla="*/ 0 h 6858000"/>
              <a:gd name="connsiteX3" fmla="*/ 0 w 6962469"/>
              <a:gd name="connsiteY3" fmla="*/ 0 h 6858000"/>
              <a:gd name="connsiteX4" fmla="*/ 4549335 w 6962469"/>
              <a:gd name="connsiteY4" fmla="*/ 0 h 6858000"/>
              <a:gd name="connsiteX5" fmla="*/ 6962469 w 6962469"/>
              <a:gd name="connsiteY5" fmla="*/ 6858000 h 6858000"/>
              <a:gd name="connsiteX6" fmla="*/ 0 w 6962469"/>
              <a:gd name="connsiteY6" fmla="*/ 6858000 h 6858000"/>
              <a:gd name="connsiteX7" fmla="*/ 0 w 6962469"/>
              <a:gd name="connsiteY7" fmla="*/ 0 h 6858000"/>
              <a:gd name="connsiteX0" fmla="*/ 0 w 6962469"/>
              <a:gd name="connsiteY0" fmla="*/ 0 h 6858000"/>
              <a:gd name="connsiteX1" fmla="*/ 4549335 w 6962469"/>
              <a:gd name="connsiteY1" fmla="*/ 0 h 6858000"/>
              <a:gd name="connsiteX2" fmla="*/ 6962469 w 6962469"/>
              <a:gd name="connsiteY2" fmla="*/ 6858000 h 6858000"/>
              <a:gd name="connsiteX3" fmla="*/ 0 w 6962469"/>
              <a:gd name="connsiteY3" fmla="*/ 6858000 h 6858000"/>
              <a:gd name="connsiteX4" fmla="*/ 0 w 6962469"/>
              <a:gd name="connsiteY4" fmla="*/ 0 h 6858000"/>
              <a:gd name="connsiteX0" fmla="*/ 0 w 6082793"/>
              <a:gd name="connsiteY0" fmla="*/ 0 h 6858000"/>
              <a:gd name="connsiteX1" fmla="*/ 4549335 w 6082793"/>
              <a:gd name="connsiteY1" fmla="*/ 0 h 6858000"/>
              <a:gd name="connsiteX2" fmla="*/ 6082793 w 6082793"/>
              <a:gd name="connsiteY2" fmla="*/ 6858000 h 6858000"/>
              <a:gd name="connsiteX3" fmla="*/ 0 w 6082793"/>
              <a:gd name="connsiteY3" fmla="*/ 6858000 h 6858000"/>
              <a:gd name="connsiteX4" fmla="*/ 0 w 608279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2793" h="6858000">
                <a:moveTo>
                  <a:pt x="0" y="0"/>
                </a:moveTo>
                <a:lnTo>
                  <a:pt x="4549335" y="0"/>
                </a:lnTo>
                <a:lnTo>
                  <a:pt x="608279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97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Title 7">
            <a:extLst>
              <a:ext uri="{FF2B5EF4-FFF2-40B4-BE49-F238E27FC236}">
                <a16:creationId xmlns:a16="http://schemas.microsoft.com/office/drawing/2014/main" id="{BCD123EC-4328-4937-A71B-E494FD9469D3}"/>
              </a:ext>
            </a:extLst>
          </p:cNvPr>
          <p:cNvSpPr txBox="1">
            <a:spLocks/>
          </p:cNvSpPr>
          <p:nvPr/>
        </p:nvSpPr>
        <p:spPr>
          <a:xfrm flipH="1">
            <a:off x="914397" y="2459619"/>
            <a:ext cx="3578089" cy="1456882"/>
          </a:xfrm>
          <a:prstGeom prst="rect">
            <a:avLst/>
          </a:prstGeom>
        </p:spPr>
        <p:txBody>
          <a:bodyPr lIns="0" rIns="0"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all" spc="-100" baseline="0" dirty="0" smtClean="0">
                <a:ln w="3175">
                  <a:noFill/>
                </a:ln>
                <a:solidFill>
                  <a:schemeClr val="accent2"/>
                </a:solidFill>
                <a:effectLst/>
                <a:latin typeface="Proxima Nova Bl" panose="02000506030000020004" pitchFamily="50" charset="0"/>
                <a:ea typeface="+mn-ea"/>
                <a:cs typeface="Segoe UI" panose="020B0502040204020203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en-US" sz="4000" spc="0" dirty="0">
                <a:solidFill>
                  <a:srgbClr val="212A32"/>
                </a:solidFill>
                <a:latin typeface="+mj-lt"/>
              </a:rPr>
              <a:t>Power platform</a:t>
            </a:r>
          </a:p>
          <a:p>
            <a:pPr>
              <a:lnSpc>
                <a:spcPct val="80000"/>
              </a:lnSpc>
            </a:pPr>
            <a:r>
              <a:rPr lang="en-US" sz="4000" spc="0" dirty="0">
                <a:solidFill>
                  <a:srgbClr val="212A32"/>
                </a:solidFill>
                <a:latin typeface="+mj-lt"/>
              </a:rPr>
              <a:t>In a day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DDA2CB10-6743-4D56-ADE6-092EA76FFC90}"/>
              </a:ext>
            </a:extLst>
          </p:cNvPr>
          <p:cNvSpPr txBox="1">
            <a:spLocks/>
          </p:cNvSpPr>
          <p:nvPr/>
        </p:nvSpPr>
        <p:spPr>
          <a:xfrm flipH="1">
            <a:off x="914400" y="4204353"/>
            <a:ext cx="3426778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all" spc="-100" baseline="0" dirty="0" smtClean="0">
                <a:ln w="3175">
                  <a:noFill/>
                </a:ln>
                <a:solidFill>
                  <a:schemeClr val="accent2"/>
                </a:solidFill>
                <a:effectLst/>
                <a:latin typeface="Proxima Nova Bl" panose="02000506030000020004" pitchFamily="50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sz="1600" cap="none" spc="60" dirty="0">
                <a:solidFill>
                  <a:srgbClr val="7F9FD4"/>
                </a:solidFill>
                <a:latin typeface="+mn-lt"/>
                <a:cs typeface="Arial" panose="020B0604020202020204" pitchFamily="34" charset="0"/>
              </a:rPr>
              <a:t>Valorem Reply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6E70E658-0CF7-43B6-9376-DDE4F474264C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07138"/>
            <a:ext cx="4114800" cy="22066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Valorem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A8BD2CA-F581-438E-BF47-4CA120AC832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07138"/>
            <a:ext cx="560388" cy="220662"/>
          </a:xfrm>
          <a:prstGeom prst="rect">
            <a:avLst/>
          </a:prstGeom>
        </p:spPr>
        <p:txBody>
          <a:bodyPr/>
          <a:lstStyle/>
          <a:p>
            <a:fld id="{727B4C2D-45E2-4621-8491-2995EB46A674}" type="slidenum">
              <a:rPr lang="en-US" smtClean="0">
                <a:solidFill>
                  <a:schemeClr val="bg1"/>
                </a:solidFill>
              </a:rPr>
              <a:pPr/>
              <a:t>1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ECE42575-C167-4C02-9848-4335FFFC4405}"/>
              </a:ext>
            </a:extLst>
          </p:cNvPr>
          <p:cNvSpPr/>
          <p:nvPr/>
        </p:nvSpPr>
        <p:spPr>
          <a:xfrm>
            <a:off x="4341178" y="5321808"/>
            <a:ext cx="726229" cy="1536192"/>
          </a:xfrm>
          <a:prstGeom prst="parallelogram">
            <a:avLst>
              <a:gd name="adj" fmla="val 46814"/>
            </a:avLst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B042C4F-7ADD-4854-A381-B1E5A8D8C85C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  <a:solidFill>
            <a:schemeClr val="bg1"/>
          </a:solidFill>
        </p:grpSpPr>
        <p:sp>
          <p:nvSpPr>
            <p:cNvPr id="16" name="Oval 503">
              <a:extLst>
                <a:ext uri="{FF2B5EF4-FFF2-40B4-BE49-F238E27FC236}">
                  <a16:creationId xmlns:a16="http://schemas.microsoft.com/office/drawing/2014/main" id="{20B91517-4625-4F5F-96A8-9CD94FBE741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504">
              <a:extLst>
                <a:ext uri="{FF2B5EF4-FFF2-40B4-BE49-F238E27FC236}">
                  <a16:creationId xmlns:a16="http://schemas.microsoft.com/office/drawing/2014/main" id="{30382083-419D-468E-8CC6-F9BC474BA6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05">
              <a:extLst>
                <a:ext uri="{FF2B5EF4-FFF2-40B4-BE49-F238E27FC236}">
                  <a16:creationId xmlns:a16="http://schemas.microsoft.com/office/drawing/2014/main" id="{AF0CDC74-75DD-4F8B-A53C-E9D14FCF40E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506">
              <a:extLst>
                <a:ext uri="{FF2B5EF4-FFF2-40B4-BE49-F238E27FC236}">
                  <a16:creationId xmlns:a16="http://schemas.microsoft.com/office/drawing/2014/main" id="{A1208A3D-2DC1-4D1D-A40B-CF0F3AEE58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213980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1F6288C-61D7-4F48-8612-DCBB0A6F6FB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7E39E4C5-F7CE-4A49-9C01-84974E49B9BE}"/>
              </a:ext>
            </a:extLst>
          </p:cNvPr>
          <p:cNvSpPr txBox="1"/>
          <p:nvPr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lang="en-US" sz="8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FC9CFA-33B8-4AC2-8692-F4821C917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53661" y="3010424"/>
            <a:ext cx="3644422" cy="837152"/>
          </a:xfrm>
        </p:spPr>
        <p:txBody>
          <a:bodyPr>
            <a:spAutoFit/>
          </a:bodyPr>
          <a:lstStyle/>
          <a:p>
            <a:r>
              <a:rPr lang="en-US" sz="3200" dirty="0"/>
              <a:t>Business scenario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B625C01-DFD9-4E33-8FD0-01E4C5F07547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41" name="Oval 503">
              <a:extLst>
                <a:ext uri="{FF2B5EF4-FFF2-40B4-BE49-F238E27FC236}">
                  <a16:creationId xmlns:a16="http://schemas.microsoft.com/office/drawing/2014/main" id="{86646E12-A5D7-455E-8B8F-EFD6EF4E28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504">
              <a:extLst>
                <a:ext uri="{FF2B5EF4-FFF2-40B4-BE49-F238E27FC236}">
                  <a16:creationId xmlns:a16="http://schemas.microsoft.com/office/drawing/2014/main" id="{E3B29C9C-2988-48A8-B800-0831BC1A4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505">
              <a:extLst>
                <a:ext uri="{FF2B5EF4-FFF2-40B4-BE49-F238E27FC236}">
                  <a16:creationId xmlns:a16="http://schemas.microsoft.com/office/drawing/2014/main" id="{1BBFC87C-450D-48E3-86E4-9352E9249D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506">
              <a:extLst>
                <a:ext uri="{FF2B5EF4-FFF2-40B4-BE49-F238E27FC236}">
                  <a16:creationId xmlns:a16="http://schemas.microsoft.com/office/drawing/2014/main" id="{5A940483-A4FF-4045-9AE2-A2B8598EE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382385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7" name="Group 766">
            <a:extLst>
              <a:ext uri="{FF2B5EF4-FFF2-40B4-BE49-F238E27FC236}">
                <a16:creationId xmlns:a16="http://schemas.microsoft.com/office/drawing/2014/main" id="{9001FA43-023B-449E-9649-3C3556FBEC55}"/>
              </a:ext>
            </a:extLst>
          </p:cNvPr>
          <p:cNvGrpSpPr/>
          <p:nvPr/>
        </p:nvGrpSpPr>
        <p:grpSpPr>
          <a:xfrm>
            <a:off x="8277225" y="0"/>
            <a:ext cx="5097463" cy="4886325"/>
            <a:chOff x="6600825" y="260351"/>
            <a:chExt cx="5097463" cy="4886325"/>
          </a:xfrm>
        </p:grpSpPr>
        <p:grpSp>
          <p:nvGrpSpPr>
            <p:cNvPr id="7" name="Group 205">
              <a:extLst>
                <a:ext uri="{FF2B5EF4-FFF2-40B4-BE49-F238E27FC236}">
                  <a16:creationId xmlns:a16="http://schemas.microsoft.com/office/drawing/2014/main" id="{BFEA87D8-F9F4-4909-B906-53FB73F7E08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600825" y="260351"/>
              <a:ext cx="5054600" cy="4886325"/>
              <a:chOff x="4158" y="164"/>
              <a:chExt cx="3184" cy="3078"/>
            </a:xfrm>
          </p:grpSpPr>
          <p:sp>
            <p:nvSpPr>
              <p:cNvPr id="567" name="Rectangle 5">
                <a:extLst>
                  <a:ext uri="{FF2B5EF4-FFF2-40B4-BE49-F238E27FC236}">
                    <a16:creationId xmlns:a16="http://schemas.microsoft.com/office/drawing/2014/main" id="{68BA803B-B0C0-446C-92B3-8DE3FA683C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79" y="263"/>
                <a:ext cx="196" cy="102"/>
              </a:xfrm>
              <a:prstGeom prst="rect">
                <a:avLst/>
              </a:pr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8" name="Freeform 6">
                <a:extLst>
                  <a:ext uri="{FF2B5EF4-FFF2-40B4-BE49-F238E27FC236}">
                    <a16:creationId xmlns:a16="http://schemas.microsoft.com/office/drawing/2014/main" id="{1B286794-E1E4-4DC8-80E4-74FBC31CD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0" y="164"/>
                <a:ext cx="375" cy="143"/>
              </a:xfrm>
              <a:custGeom>
                <a:avLst/>
                <a:gdLst>
                  <a:gd name="T0" fmla="*/ 35 w 686"/>
                  <a:gd name="T1" fmla="*/ 112 h 262"/>
                  <a:gd name="T2" fmla="*/ 650 w 686"/>
                  <a:gd name="T3" fmla="*/ 112 h 262"/>
                  <a:gd name="T4" fmla="*/ 679 w 686"/>
                  <a:gd name="T5" fmla="*/ 205 h 262"/>
                  <a:gd name="T6" fmla="*/ 628 w 686"/>
                  <a:gd name="T7" fmla="*/ 251 h 262"/>
                  <a:gd name="T8" fmla="*/ 57 w 686"/>
                  <a:gd name="T9" fmla="*/ 251 h 262"/>
                  <a:gd name="T10" fmla="*/ 7 w 686"/>
                  <a:gd name="T11" fmla="*/ 205 h 262"/>
                  <a:gd name="T12" fmla="*/ 35 w 686"/>
                  <a:gd name="T13" fmla="*/ 11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6" h="262">
                    <a:moveTo>
                      <a:pt x="35" y="112"/>
                    </a:moveTo>
                    <a:cubicBezTo>
                      <a:pt x="236" y="0"/>
                      <a:pt x="450" y="0"/>
                      <a:pt x="650" y="112"/>
                    </a:cubicBezTo>
                    <a:cubicBezTo>
                      <a:pt x="673" y="124"/>
                      <a:pt x="686" y="167"/>
                      <a:pt x="679" y="205"/>
                    </a:cubicBezTo>
                    <a:cubicBezTo>
                      <a:pt x="671" y="243"/>
                      <a:pt x="649" y="262"/>
                      <a:pt x="628" y="251"/>
                    </a:cubicBezTo>
                    <a:cubicBezTo>
                      <a:pt x="442" y="147"/>
                      <a:pt x="244" y="147"/>
                      <a:pt x="57" y="251"/>
                    </a:cubicBezTo>
                    <a:cubicBezTo>
                      <a:pt x="36" y="262"/>
                      <a:pt x="14" y="243"/>
                      <a:pt x="7" y="205"/>
                    </a:cubicBezTo>
                    <a:cubicBezTo>
                      <a:pt x="0" y="167"/>
                      <a:pt x="12" y="124"/>
                      <a:pt x="35" y="112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9" name="Freeform 7">
                <a:extLst>
                  <a:ext uri="{FF2B5EF4-FFF2-40B4-BE49-F238E27FC236}">
                    <a16:creationId xmlns:a16="http://schemas.microsoft.com/office/drawing/2014/main" id="{0FF847E9-8A2B-4A09-880C-06CB9F3E0E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1" y="385"/>
                <a:ext cx="573" cy="571"/>
              </a:xfrm>
              <a:custGeom>
                <a:avLst/>
                <a:gdLst>
                  <a:gd name="T0" fmla="*/ 25 w 1046"/>
                  <a:gd name="T1" fmla="*/ 25 h 1046"/>
                  <a:gd name="T2" fmla="*/ 116 w 1046"/>
                  <a:gd name="T3" fmla="*/ 25 h 1046"/>
                  <a:gd name="T4" fmla="*/ 1020 w 1046"/>
                  <a:gd name="T5" fmla="*/ 929 h 1046"/>
                  <a:gd name="T6" fmla="*/ 1020 w 1046"/>
                  <a:gd name="T7" fmla="*/ 1021 h 1046"/>
                  <a:gd name="T8" fmla="*/ 929 w 1046"/>
                  <a:gd name="T9" fmla="*/ 1021 h 1046"/>
                  <a:gd name="T10" fmla="*/ 25 w 1046"/>
                  <a:gd name="T11" fmla="*/ 116 h 1046"/>
                  <a:gd name="T12" fmla="*/ 25 w 1046"/>
                  <a:gd name="T13" fmla="*/ 25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6" h="1046">
                    <a:moveTo>
                      <a:pt x="25" y="25"/>
                    </a:moveTo>
                    <a:cubicBezTo>
                      <a:pt x="50" y="0"/>
                      <a:pt x="91" y="0"/>
                      <a:pt x="116" y="25"/>
                    </a:cubicBezTo>
                    <a:cubicBezTo>
                      <a:pt x="1020" y="929"/>
                      <a:pt x="1020" y="929"/>
                      <a:pt x="1020" y="929"/>
                    </a:cubicBezTo>
                    <a:cubicBezTo>
                      <a:pt x="1046" y="955"/>
                      <a:pt x="1046" y="995"/>
                      <a:pt x="1020" y="1021"/>
                    </a:cubicBezTo>
                    <a:cubicBezTo>
                      <a:pt x="995" y="1046"/>
                      <a:pt x="954" y="1046"/>
                      <a:pt x="929" y="1021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0" y="91"/>
                      <a:pt x="0" y="50"/>
                      <a:pt x="25" y="25"/>
                    </a:cubicBezTo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0" name="Freeform 8">
                <a:extLst>
                  <a:ext uri="{FF2B5EF4-FFF2-40B4-BE49-F238E27FC236}">
                    <a16:creationId xmlns:a16="http://schemas.microsoft.com/office/drawing/2014/main" id="{65F99480-1029-4DB9-A18D-EDF55E361C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1" y="385"/>
                <a:ext cx="573" cy="571"/>
              </a:xfrm>
              <a:custGeom>
                <a:avLst/>
                <a:gdLst>
                  <a:gd name="T0" fmla="*/ 1020 w 1046"/>
                  <a:gd name="T1" fmla="*/ 25 h 1046"/>
                  <a:gd name="T2" fmla="*/ 1020 w 1046"/>
                  <a:gd name="T3" fmla="*/ 116 h 1046"/>
                  <a:gd name="T4" fmla="*/ 116 w 1046"/>
                  <a:gd name="T5" fmla="*/ 1021 h 1046"/>
                  <a:gd name="T6" fmla="*/ 25 w 1046"/>
                  <a:gd name="T7" fmla="*/ 1021 h 1046"/>
                  <a:gd name="T8" fmla="*/ 25 w 1046"/>
                  <a:gd name="T9" fmla="*/ 929 h 1046"/>
                  <a:gd name="T10" fmla="*/ 929 w 1046"/>
                  <a:gd name="T11" fmla="*/ 25 h 1046"/>
                  <a:gd name="T12" fmla="*/ 1020 w 1046"/>
                  <a:gd name="T13" fmla="*/ 25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6" h="1046">
                    <a:moveTo>
                      <a:pt x="1020" y="25"/>
                    </a:moveTo>
                    <a:cubicBezTo>
                      <a:pt x="1046" y="50"/>
                      <a:pt x="1046" y="91"/>
                      <a:pt x="1020" y="116"/>
                    </a:cubicBezTo>
                    <a:cubicBezTo>
                      <a:pt x="116" y="1021"/>
                      <a:pt x="116" y="1021"/>
                      <a:pt x="116" y="1021"/>
                    </a:cubicBezTo>
                    <a:cubicBezTo>
                      <a:pt x="91" y="1046"/>
                      <a:pt x="50" y="1046"/>
                      <a:pt x="25" y="1021"/>
                    </a:cubicBezTo>
                    <a:cubicBezTo>
                      <a:pt x="0" y="995"/>
                      <a:pt x="0" y="955"/>
                      <a:pt x="25" y="929"/>
                    </a:cubicBezTo>
                    <a:cubicBezTo>
                      <a:pt x="929" y="25"/>
                      <a:pt x="929" y="25"/>
                      <a:pt x="929" y="25"/>
                    </a:cubicBezTo>
                    <a:cubicBezTo>
                      <a:pt x="954" y="0"/>
                      <a:pt x="995" y="0"/>
                      <a:pt x="1020" y="25"/>
                    </a:cubicBezTo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1" name="Freeform 9">
                <a:extLst>
                  <a:ext uri="{FF2B5EF4-FFF2-40B4-BE49-F238E27FC236}">
                    <a16:creationId xmlns:a16="http://schemas.microsoft.com/office/drawing/2014/main" id="{74F52746-F364-44D3-A132-444B52E7B7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5" y="299"/>
                <a:ext cx="745" cy="743"/>
              </a:xfrm>
              <a:custGeom>
                <a:avLst/>
                <a:gdLst>
                  <a:gd name="T0" fmla="*/ 242 w 1362"/>
                  <a:gd name="T1" fmla="*/ 1120 h 1362"/>
                  <a:gd name="T2" fmla="*/ 242 w 1362"/>
                  <a:gd name="T3" fmla="*/ 242 h 1362"/>
                  <a:gd name="T4" fmla="*/ 1119 w 1362"/>
                  <a:gd name="T5" fmla="*/ 242 h 1362"/>
                  <a:gd name="T6" fmla="*/ 1119 w 1362"/>
                  <a:gd name="T7" fmla="*/ 1120 h 1362"/>
                  <a:gd name="T8" fmla="*/ 242 w 1362"/>
                  <a:gd name="T9" fmla="*/ 1120 h 1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62" h="1362">
                    <a:moveTo>
                      <a:pt x="242" y="1120"/>
                    </a:moveTo>
                    <a:cubicBezTo>
                      <a:pt x="0" y="877"/>
                      <a:pt x="0" y="484"/>
                      <a:pt x="242" y="242"/>
                    </a:cubicBezTo>
                    <a:cubicBezTo>
                      <a:pt x="484" y="0"/>
                      <a:pt x="877" y="0"/>
                      <a:pt x="1119" y="242"/>
                    </a:cubicBezTo>
                    <a:cubicBezTo>
                      <a:pt x="1362" y="484"/>
                      <a:pt x="1362" y="877"/>
                      <a:pt x="1119" y="1120"/>
                    </a:cubicBezTo>
                    <a:cubicBezTo>
                      <a:pt x="877" y="1362"/>
                      <a:pt x="484" y="1362"/>
                      <a:pt x="242" y="1120"/>
                    </a:cubicBezTo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2" name="Freeform 10">
                <a:extLst>
                  <a:ext uri="{FF2B5EF4-FFF2-40B4-BE49-F238E27FC236}">
                    <a16:creationId xmlns:a16="http://schemas.microsoft.com/office/drawing/2014/main" id="{DDA0F044-A0AD-4CE6-9510-D09E97D71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12"/>
                <a:ext cx="702" cy="143"/>
              </a:xfrm>
              <a:custGeom>
                <a:avLst/>
                <a:gdLst>
                  <a:gd name="T0" fmla="*/ 66 w 1282"/>
                  <a:gd name="T1" fmla="*/ 112 h 263"/>
                  <a:gd name="T2" fmla="*/ 1216 w 1282"/>
                  <a:gd name="T3" fmla="*/ 112 h 263"/>
                  <a:gd name="T4" fmla="*/ 1268 w 1282"/>
                  <a:gd name="T5" fmla="*/ 205 h 263"/>
                  <a:gd name="T6" fmla="*/ 1174 w 1282"/>
                  <a:gd name="T7" fmla="*/ 251 h 263"/>
                  <a:gd name="T8" fmla="*/ 107 w 1282"/>
                  <a:gd name="T9" fmla="*/ 251 h 263"/>
                  <a:gd name="T10" fmla="*/ 13 w 1282"/>
                  <a:gd name="T11" fmla="*/ 205 h 263"/>
                  <a:gd name="T12" fmla="*/ 66 w 1282"/>
                  <a:gd name="T13" fmla="*/ 112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2" h="263">
                    <a:moveTo>
                      <a:pt x="66" y="112"/>
                    </a:moveTo>
                    <a:cubicBezTo>
                      <a:pt x="441" y="0"/>
                      <a:pt x="841" y="0"/>
                      <a:pt x="1216" y="112"/>
                    </a:cubicBezTo>
                    <a:cubicBezTo>
                      <a:pt x="1258" y="125"/>
                      <a:pt x="1282" y="168"/>
                      <a:pt x="1268" y="205"/>
                    </a:cubicBezTo>
                    <a:cubicBezTo>
                      <a:pt x="1255" y="243"/>
                      <a:pt x="1213" y="263"/>
                      <a:pt x="1174" y="251"/>
                    </a:cubicBezTo>
                    <a:cubicBezTo>
                      <a:pt x="826" y="147"/>
                      <a:pt x="455" y="147"/>
                      <a:pt x="107" y="251"/>
                    </a:cubicBezTo>
                    <a:cubicBezTo>
                      <a:pt x="68" y="263"/>
                      <a:pt x="26" y="243"/>
                      <a:pt x="13" y="205"/>
                    </a:cubicBezTo>
                    <a:cubicBezTo>
                      <a:pt x="0" y="168"/>
                      <a:pt x="23" y="125"/>
                      <a:pt x="66" y="112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3" name="Freeform 11">
                <a:extLst>
                  <a:ext uri="{FF2B5EF4-FFF2-40B4-BE49-F238E27FC236}">
                    <a16:creationId xmlns:a16="http://schemas.microsoft.com/office/drawing/2014/main" id="{7F569259-1666-42E1-90C5-2140422562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5" y="2908"/>
                <a:ext cx="218" cy="201"/>
              </a:xfrm>
              <a:custGeom>
                <a:avLst/>
                <a:gdLst>
                  <a:gd name="T0" fmla="*/ 218 w 218"/>
                  <a:gd name="T1" fmla="*/ 81 h 201"/>
                  <a:gd name="T2" fmla="*/ 63 w 218"/>
                  <a:gd name="T3" fmla="*/ 201 h 201"/>
                  <a:gd name="T4" fmla="*/ 0 w 218"/>
                  <a:gd name="T5" fmla="*/ 120 h 201"/>
                  <a:gd name="T6" fmla="*/ 155 w 218"/>
                  <a:gd name="T7" fmla="*/ 0 h 201"/>
                  <a:gd name="T8" fmla="*/ 218 w 218"/>
                  <a:gd name="T9" fmla="*/ 8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8" h="201">
                    <a:moveTo>
                      <a:pt x="218" y="81"/>
                    </a:moveTo>
                    <a:lnTo>
                      <a:pt x="63" y="201"/>
                    </a:lnTo>
                    <a:lnTo>
                      <a:pt x="0" y="120"/>
                    </a:lnTo>
                    <a:lnTo>
                      <a:pt x="155" y="0"/>
                    </a:lnTo>
                    <a:lnTo>
                      <a:pt x="218" y="81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4" name="Freeform 12">
                <a:extLst>
                  <a:ext uri="{FF2B5EF4-FFF2-40B4-BE49-F238E27FC236}">
                    <a16:creationId xmlns:a16="http://schemas.microsoft.com/office/drawing/2014/main" id="{8D58AA32-334F-4A0B-A072-B288A9C70D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3" y="2911"/>
                <a:ext cx="324" cy="273"/>
              </a:xfrm>
              <a:custGeom>
                <a:avLst/>
                <a:gdLst>
                  <a:gd name="T0" fmla="*/ 582 w 592"/>
                  <a:gd name="T1" fmla="*/ 118 h 500"/>
                  <a:gd name="T2" fmla="*/ 97 w 592"/>
                  <a:gd name="T3" fmla="*/ 496 h 500"/>
                  <a:gd name="T4" fmla="*/ 17 w 592"/>
                  <a:gd name="T5" fmla="*/ 440 h 500"/>
                  <a:gd name="T6" fmla="*/ 29 w 592"/>
                  <a:gd name="T7" fmla="*/ 372 h 500"/>
                  <a:gd name="T8" fmla="*/ 479 w 592"/>
                  <a:gd name="T9" fmla="*/ 22 h 500"/>
                  <a:gd name="T10" fmla="*/ 547 w 592"/>
                  <a:gd name="T11" fmla="*/ 27 h 500"/>
                  <a:gd name="T12" fmla="*/ 582 w 592"/>
                  <a:gd name="T13" fmla="*/ 118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2" h="500">
                    <a:moveTo>
                      <a:pt x="582" y="118"/>
                    </a:moveTo>
                    <a:cubicBezTo>
                      <a:pt x="493" y="330"/>
                      <a:pt x="324" y="461"/>
                      <a:pt x="97" y="496"/>
                    </a:cubicBezTo>
                    <a:cubicBezTo>
                      <a:pt x="71" y="500"/>
                      <a:pt x="35" y="474"/>
                      <a:pt x="17" y="440"/>
                    </a:cubicBezTo>
                    <a:cubicBezTo>
                      <a:pt x="0" y="405"/>
                      <a:pt x="5" y="376"/>
                      <a:pt x="29" y="372"/>
                    </a:cubicBezTo>
                    <a:cubicBezTo>
                      <a:pt x="240" y="340"/>
                      <a:pt x="396" y="218"/>
                      <a:pt x="479" y="22"/>
                    </a:cubicBezTo>
                    <a:cubicBezTo>
                      <a:pt x="489" y="0"/>
                      <a:pt x="518" y="2"/>
                      <a:pt x="547" y="27"/>
                    </a:cubicBezTo>
                    <a:cubicBezTo>
                      <a:pt x="576" y="53"/>
                      <a:pt x="592" y="94"/>
                      <a:pt x="582" y="1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5" name="Freeform 13">
                <a:extLst>
                  <a:ext uri="{FF2B5EF4-FFF2-40B4-BE49-F238E27FC236}">
                    <a16:creationId xmlns:a16="http://schemas.microsoft.com/office/drawing/2014/main" id="{BF01CC71-81EF-4791-845A-3A2916E063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9" y="2646"/>
                <a:ext cx="770" cy="161"/>
              </a:xfrm>
              <a:custGeom>
                <a:avLst/>
                <a:gdLst>
                  <a:gd name="T0" fmla="*/ 1402 w 1406"/>
                  <a:gd name="T1" fmla="*/ 235 h 295"/>
                  <a:gd name="T2" fmla="*/ 1402 w 1406"/>
                  <a:gd name="T3" fmla="*/ 235 h 295"/>
                  <a:gd name="T4" fmla="*/ 1330 w 1406"/>
                  <a:gd name="T5" fmla="*/ 291 h 295"/>
                  <a:gd name="T6" fmla="*/ 61 w 1406"/>
                  <a:gd name="T7" fmla="*/ 133 h 295"/>
                  <a:gd name="T8" fmla="*/ 5 w 1406"/>
                  <a:gd name="T9" fmla="*/ 61 h 295"/>
                  <a:gd name="T10" fmla="*/ 77 w 1406"/>
                  <a:gd name="T11" fmla="*/ 5 h 295"/>
                  <a:gd name="T12" fmla="*/ 1346 w 1406"/>
                  <a:gd name="T13" fmla="*/ 163 h 295"/>
                  <a:gd name="T14" fmla="*/ 1402 w 1406"/>
                  <a:gd name="T15" fmla="*/ 23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6" h="295">
                    <a:moveTo>
                      <a:pt x="1402" y="235"/>
                    </a:moveTo>
                    <a:cubicBezTo>
                      <a:pt x="1402" y="235"/>
                      <a:pt x="1402" y="235"/>
                      <a:pt x="1402" y="235"/>
                    </a:cubicBezTo>
                    <a:cubicBezTo>
                      <a:pt x="1397" y="270"/>
                      <a:pt x="1365" y="295"/>
                      <a:pt x="1330" y="291"/>
                    </a:cubicBezTo>
                    <a:cubicBezTo>
                      <a:pt x="61" y="133"/>
                      <a:pt x="61" y="133"/>
                      <a:pt x="61" y="133"/>
                    </a:cubicBezTo>
                    <a:cubicBezTo>
                      <a:pt x="25" y="128"/>
                      <a:pt x="0" y="96"/>
                      <a:pt x="5" y="61"/>
                    </a:cubicBezTo>
                    <a:cubicBezTo>
                      <a:pt x="9" y="25"/>
                      <a:pt x="41" y="0"/>
                      <a:pt x="77" y="5"/>
                    </a:cubicBezTo>
                    <a:cubicBezTo>
                      <a:pt x="1346" y="163"/>
                      <a:pt x="1346" y="163"/>
                      <a:pt x="1346" y="163"/>
                    </a:cubicBezTo>
                    <a:cubicBezTo>
                      <a:pt x="1381" y="167"/>
                      <a:pt x="1406" y="200"/>
                      <a:pt x="1402" y="235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6" name="Freeform 14">
                <a:extLst>
                  <a:ext uri="{FF2B5EF4-FFF2-40B4-BE49-F238E27FC236}">
                    <a16:creationId xmlns:a16="http://schemas.microsoft.com/office/drawing/2014/main" id="{B0FF48EF-0B8A-4C8E-9DEF-0132297105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4" y="2343"/>
                <a:ext cx="161" cy="768"/>
              </a:xfrm>
              <a:custGeom>
                <a:avLst/>
                <a:gdLst>
                  <a:gd name="T0" fmla="*/ 60 w 295"/>
                  <a:gd name="T1" fmla="*/ 1401 h 1406"/>
                  <a:gd name="T2" fmla="*/ 60 w 295"/>
                  <a:gd name="T3" fmla="*/ 1401 h 1406"/>
                  <a:gd name="T4" fmla="*/ 4 w 295"/>
                  <a:gd name="T5" fmla="*/ 1329 h 1406"/>
                  <a:gd name="T6" fmla="*/ 162 w 295"/>
                  <a:gd name="T7" fmla="*/ 60 h 1406"/>
                  <a:gd name="T8" fmla="*/ 234 w 295"/>
                  <a:gd name="T9" fmla="*/ 4 h 1406"/>
                  <a:gd name="T10" fmla="*/ 290 w 295"/>
                  <a:gd name="T11" fmla="*/ 76 h 1406"/>
                  <a:gd name="T12" fmla="*/ 132 w 295"/>
                  <a:gd name="T13" fmla="*/ 1345 h 1406"/>
                  <a:gd name="T14" fmla="*/ 60 w 295"/>
                  <a:gd name="T15" fmla="*/ 1401 h 1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5" h="1406">
                    <a:moveTo>
                      <a:pt x="60" y="1401"/>
                    </a:moveTo>
                    <a:cubicBezTo>
                      <a:pt x="60" y="1401"/>
                      <a:pt x="60" y="1401"/>
                      <a:pt x="60" y="1401"/>
                    </a:cubicBezTo>
                    <a:cubicBezTo>
                      <a:pt x="25" y="1397"/>
                      <a:pt x="0" y="1365"/>
                      <a:pt x="4" y="1329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67" y="25"/>
                      <a:pt x="199" y="0"/>
                      <a:pt x="234" y="4"/>
                    </a:cubicBezTo>
                    <a:cubicBezTo>
                      <a:pt x="270" y="9"/>
                      <a:pt x="295" y="41"/>
                      <a:pt x="290" y="76"/>
                    </a:cubicBezTo>
                    <a:cubicBezTo>
                      <a:pt x="132" y="1345"/>
                      <a:pt x="132" y="1345"/>
                      <a:pt x="132" y="1345"/>
                    </a:cubicBezTo>
                    <a:cubicBezTo>
                      <a:pt x="128" y="1381"/>
                      <a:pt x="95" y="1406"/>
                      <a:pt x="60" y="1401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7" name="Freeform 15">
                <a:extLst>
                  <a:ext uri="{FF2B5EF4-FFF2-40B4-BE49-F238E27FC236}">
                    <a16:creationId xmlns:a16="http://schemas.microsoft.com/office/drawing/2014/main" id="{BA8A4FA2-17D1-4E7F-822D-DF990678D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4" y="2368"/>
                <a:ext cx="720" cy="718"/>
              </a:xfrm>
              <a:custGeom>
                <a:avLst/>
                <a:gdLst>
                  <a:gd name="T0" fmla="*/ 735 w 1316"/>
                  <a:gd name="T1" fmla="*/ 42 h 1316"/>
                  <a:gd name="T2" fmla="*/ 1274 w 1316"/>
                  <a:gd name="T3" fmla="*/ 735 h 1316"/>
                  <a:gd name="T4" fmla="*/ 581 w 1316"/>
                  <a:gd name="T5" fmla="*/ 1273 h 1316"/>
                  <a:gd name="T6" fmla="*/ 43 w 1316"/>
                  <a:gd name="T7" fmla="*/ 581 h 1316"/>
                  <a:gd name="T8" fmla="*/ 735 w 1316"/>
                  <a:gd name="T9" fmla="*/ 42 h 1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6" h="1316">
                    <a:moveTo>
                      <a:pt x="735" y="42"/>
                    </a:moveTo>
                    <a:cubicBezTo>
                      <a:pt x="1075" y="85"/>
                      <a:pt x="1316" y="395"/>
                      <a:pt x="1274" y="735"/>
                    </a:cubicBezTo>
                    <a:cubicBezTo>
                      <a:pt x="1231" y="1075"/>
                      <a:pt x="921" y="1316"/>
                      <a:pt x="581" y="1273"/>
                    </a:cubicBezTo>
                    <a:cubicBezTo>
                      <a:pt x="241" y="1231"/>
                      <a:pt x="0" y="921"/>
                      <a:pt x="43" y="581"/>
                    </a:cubicBezTo>
                    <a:cubicBezTo>
                      <a:pt x="85" y="241"/>
                      <a:pt x="395" y="0"/>
                      <a:pt x="735" y="42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8" name="Freeform 16">
                <a:extLst>
                  <a:ext uri="{FF2B5EF4-FFF2-40B4-BE49-F238E27FC236}">
                    <a16:creationId xmlns:a16="http://schemas.microsoft.com/office/drawing/2014/main" id="{3726B187-656C-43AB-B8A1-4627A77B2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0" y="2778"/>
                <a:ext cx="572" cy="464"/>
              </a:xfrm>
              <a:custGeom>
                <a:avLst/>
                <a:gdLst>
                  <a:gd name="T0" fmla="*/ 1019 w 1045"/>
                  <a:gd name="T1" fmla="*/ 128 h 850"/>
                  <a:gd name="T2" fmla="*/ 111 w 1045"/>
                  <a:gd name="T3" fmla="*/ 834 h 850"/>
                  <a:gd name="T4" fmla="*/ 12 w 1045"/>
                  <a:gd name="T5" fmla="*/ 793 h 850"/>
                  <a:gd name="T6" fmla="*/ 59 w 1045"/>
                  <a:gd name="T7" fmla="*/ 699 h 850"/>
                  <a:gd name="T8" fmla="*/ 901 w 1045"/>
                  <a:gd name="T9" fmla="*/ 44 h 850"/>
                  <a:gd name="T10" fmla="*/ 1003 w 1045"/>
                  <a:gd name="T11" fmla="*/ 22 h 850"/>
                  <a:gd name="T12" fmla="*/ 1019 w 1045"/>
                  <a:gd name="T13" fmla="*/ 128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5" h="850">
                    <a:moveTo>
                      <a:pt x="1019" y="128"/>
                    </a:moveTo>
                    <a:cubicBezTo>
                      <a:pt x="791" y="447"/>
                      <a:pt x="476" y="692"/>
                      <a:pt x="111" y="834"/>
                    </a:cubicBezTo>
                    <a:cubicBezTo>
                      <a:pt x="70" y="850"/>
                      <a:pt x="25" y="831"/>
                      <a:pt x="12" y="793"/>
                    </a:cubicBezTo>
                    <a:cubicBezTo>
                      <a:pt x="0" y="755"/>
                      <a:pt x="21" y="714"/>
                      <a:pt x="59" y="699"/>
                    </a:cubicBezTo>
                    <a:cubicBezTo>
                      <a:pt x="397" y="567"/>
                      <a:pt x="690" y="339"/>
                      <a:pt x="901" y="44"/>
                    </a:cubicBezTo>
                    <a:cubicBezTo>
                      <a:pt x="924" y="10"/>
                      <a:pt x="970" y="0"/>
                      <a:pt x="1003" y="22"/>
                    </a:cubicBezTo>
                    <a:cubicBezTo>
                      <a:pt x="1037" y="44"/>
                      <a:pt x="1045" y="92"/>
                      <a:pt x="1019" y="128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9" name="Freeform 17">
                <a:extLst>
                  <a:ext uri="{FF2B5EF4-FFF2-40B4-BE49-F238E27FC236}">
                    <a16:creationId xmlns:a16="http://schemas.microsoft.com/office/drawing/2014/main" id="{251AB2CC-64B5-43DA-B97F-97DD5DB0D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6" y="2906"/>
                <a:ext cx="218" cy="201"/>
              </a:xfrm>
              <a:custGeom>
                <a:avLst/>
                <a:gdLst>
                  <a:gd name="T0" fmla="*/ 0 w 218"/>
                  <a:gd name="T1" fmla="*/ 81 h 201"/>
                  <a:gd name="T2" fmla="*/ 155 w 218"/>
                  <a:gd name="T3" fmla="*/ 201 h 201"/>
                  <a:gd name="T4" fmla="*/ 218 w 218"/>
                  <a:gd name="T5" fmla="*/ 120 h 201"/>
                  <a:gd name="T6" fmla="*/ 63 w 218"/>
                  <a:gd name="T7" fmla="*/ 0 h 201"/>
                  <a:gd name="T8" fmla="*/ 0 w 218"/>
                  <a:gd name="T9" fmla="*/ 8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8" h="201">
                    <a:moveTo>
                      <a:pt x="0" y="81"/>
                    </a:moveTo>
                    <a:lnTo>
                      <a:pt x="155" y="201"/>
                    </a:lnTo>
                    <a:lnTo>
                      <a:pt x="218" y="120"/>
                    </a:lnTo>
                    <a:lnTo>
                      <a:pt x="63" y="0"/>
                    </a:lnTo>
                    <a:lnTo>
                      <a:pt x="0" y="81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0" name="Freeform 18">
                <a:extLst>
                  <a:ext uri="{FF2B5EF4-FFF2-40B4-BE49-F238E27FC236}">
                    <a16:creationId xmlns:a16="http://schemas.microsoft.com/office/drawing/2014/main" id="{71052E22-99A6-4D9D-BCD8-537C388BF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2" y="2909"/>
                <a:ext cx="324" cy="273"/>
              </a:xfrm>
              <a:custGeom>
                <a:avLst/>
                <a:gdLst>
                  <a:gd name="T0" fmla="*/ 10 w 592"/>
                  <a:gd name="T1" fmla="*/ 118 h 500"/>
                  <a:gd name="T2" fmla="*/ 495 w 592"/>
                  <a:gd name="T3" fmla="*/ 496 h 500"/>
                  <a:gd name="T4" fmla="*/ 575 w 592"/>
                  <a:gd name="T5" fmla="*/ 440 h 500"/>
                  <a:gd name="T6" fmla="*/ 563 w 592"/>
                  <a:gd name="T7" fmla="*/ 373 h 500"/>
                  <a:gd name="T8" fmla="*/ 113 w 592"/>
                  <a:gd name="T9" fmla="*/ 22 h 500"/>
                  <a:gd name="T10" fmla="*/ 45 w 592"/>
                  <a:gd name="T11" fmla="*/ 27 h 500"/>
                  <a:gd name="T12" fmla="*/ 10 w 592"/>
                  <a:gd name="T13" fmla="*/ 118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2" h="500">
                    <a:moveTo>
                      <a:pt x="10" y="118"/>
                    </a:moveTo>
                    <a:cubicBezTo>
                      <a:pt x="99" y="330"/>
                      <a:pt x="268" y="461"/>
                      <a:pt x="495" y="496"/>
                    </a:cubicBezTo>
                    <a:cubicBezTo>
                      <a:pt x="521" y="500"/>
                      <a:pt x="557" y="474"/>
                      <a:pt x="575" y="440"/>
                    </a:cubicBezTo>
                    <a:cubicBezTo>
                      <a:pt x="592" y="406"/>
                      <a:pt x="587" y="376"/>
                      <a:pt x="563" y="373"/>
                    </a:cubicBezTo>
                    <a:cubicBezTo>
                      <a:pt x="352" y="340"/>
                      <a:pt x="196" y="218"/>
                      <a:pt x="113" y="22"/>
                    </a:cubicBezTo>
                    <a:cubicBezTo>
                      <a:pt x="103" y="0"/>
                      <a:pt x="74" y="2"/>
                      <a:pt x="45" y="27"/>
                    </a:cubicBezTo>
                    <a:cubicBezTo>
                      <a:pt x="16" y="53"/>
                      <a:pt x="0" y="94"/>
                      <a:pt x="10" y="1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1" name="Freeform 19">
                <a:extLst>
                  <a:ext uri="{FF2B5EF4-FFF2-40B4-BE49-F238E27FC236}">
                    <a16:creationId xmlns:a16="http://schemas.microsoft.com/office/drawing/2014/main" id="{69D3E486-AC03-479B-B2DF-7FE35741E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0" y="2645"/>
                <a:ext cx="769" cy="161"/>
              </a:xfrm>
              <a:custGeom>
                <a:avLst/>
                <a:gdLst>
                  <a:gd name="T0" fmla="*/ 4 w 1406"/>
                  <a:gd name="T1" fmla="*/ 235 h 295"/>
                  <a:gd name="T2" fmla="*/ 4 w 1406"/>
                  <a:gd name="T3" fmla="*/ 235 h 295"/>
                  <a:gd name="T4" fmla="*/ 76 w 1406"/>
                  <a:gd name="T5" fmla="*/ 291 h 295"/>
                  <a:gd name="T6" fmla="*/ 1345 w 1406"/>
                  <a:gd name="T7" fmla="*/ 133 h 295"/>
                  <a:gd name="T8" fmla="*/ 1401 w 1406"/>
                  <a:gd name="T9" fmla="*/ 61 h 295"/>
                  <a:gd name="T10" fmla="*/ 1329 w 1406"/>
                  <a:gd name="T11" fmla="*/ 5 h 295"/>
                  <a:gd name="T12" fmla="*/ 60 w 1406"/>
                  <a:gd name="T13" fmla="*/ 163 h 295"/>
                  <a:gd name="T14" fmla="*/ 4 w 1406"/>
                  <a:gd name="T15" fmla="*/ 23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6" h="295">
                    <a:moveTo>
                      <a:pt x="4" y="235"/>
                    </a:moveTo>
                    <a:cubicBezTo>
                      <a:pt x="4" y="235"/>
                      <a:pt x="4" y="235"/>
                      <a:pt x="4" y="235"/>
                    </a:cubicBezTo>
                    <a:cubicBezTo>
                      <a:pt x="9" y="270"/>
                      <a:pt x="41" y="295"/>
                      <a:pt x="76" y="291"/>
                    </a:cubicBezTo>
                    <a:cubicBezTo>
                      <a:pt x="1345" y="133"/>
                      <a:pt x="1345" y="133"/>
                      <a:pt x="1345" y="133"/>
                    </a:cubicBezTo>
                    <a:cubicBezTo>
                      <a:pt x="1381" y="128"/>
                      <a:pt x="1406" y="96"/>
                      <a:pt x="1401" y="61"/>
                    </a:cubicBezTo>
                    <a:cubicBezTo>
                      <a:pt x="1397" y="25"/>
                      <a:pt x="1365" y="0"/>
                      <a:pt x="1329" y="5"/>
                    </a:cubicBezTo>
                    <a:cubicBezTo>
                      <a:pt x="60" y="163"/>
                      <a:pt x="60" y="163"/>
                      <a:pt x="60" y="163"/>
                    </a:cubicBezTo>
                    <a:cubicBezTo>
                      <a:pt x="25" y="167"/>
                      <a:pt x="0" y="200"/>
                      <a:pt x="4" y="235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2" name="Freeform 20">
                <a:extLst>
                  <a:ext uri="{FF2B5EF4-FFF2-40B4-BE49-F238E27FC236}">
                    <a16:creationId xmlns:a16="http://schemas.microsoft.com/office/drawing/2014/main" id="{073D37E2-0C61-4A3E-9391-9780E7D029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3" y="2342"/>
                <a:ext cx="162" cy="767"/>
              </a:xfrm>
              <a:custGeom>
                <a:avLst/>
                <a:gdLst>
                  <a:gd name="T0" fmla="*/ 235 w 295"/>
                  <a:gd name="T1" fmla="*/ 1401 h 1406"/>
                  <a:gd name="T2" fmla="*/ 235 w 295"/>
                  <a:gd name="T3" fmla="*/ 1401 h 1406"/>
                  <a:gd name="T4" fmla="*/ 291 w 295"/>
                  <a:gd name="T5" fmla="*/ 1329 h 1406"/>
                  <a:gd name="T6" fmla="*/ 133 w 295"/>
                  <a:gd name="T7" fmla="*/ 60 h 1406"/>
                  <a:gd name="T8" fmla="*/ 61 w 295"/>
                  <a:gd name="T9" fmla="*/ 4 h 1406"/>
                  <a:gd name="T10" fmla="*/ 5 w 295"/>
                  <a:gd name="T11" fmla="*/ 76 h 1406"/>
                  <a:gd name="T12" fmla="*/ 163 w 295"/>
                  <a:gd name="T13" fmla="*/ 1345 h 1406"/>
                  <a:gd name="T14" fmla="*/ 235 w 295"/>
                  <a:gd name="T15" fmla="*/ 1401 h 1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5" h="1406">
                    <a:moveTo>
                      <a:pt x="235" y="1401"/>
                    </a:moveTo>
                    <a:cubicBezTo>
                      <a:pt x="235" y="1401"/>
                      <a:pt x="235" y="1401"/>
                      <a:pt x="235" y="1401"/>
                    </a:cubicBezTo>
                    <a:cubicBezTo>
                      <a:pt x="270" y="1397"/>
                      <a:pt x="295" y="1365"/>
                      <a:pt x="291" y="1329"/>
                    </a:cubicBezTo>
                    <a:cubicBezTo>
                      <a:pt x="133" y="60"/>
                      <a:pt x="133" y="60"/>
                      <a:pt x="133" y="60"/>
                    </a:cubicBezTo>
                    <a:cubicBezTo>
                      <a:pt x="128" y="25"/>
                      <a:pt x="96" y="0"/>
                      <a:pt x="61" y="4"/>
                    </a:cubicBezTo>
                    <a:cubicBezTo>
                      <a:pt x="25" y="9"/>
                      <a:pt x="0" y="41"/>
                      <a:pt x="5" y="76"/>
                    </a:cubicBezTo>
                    <a:cubicBezTo>
                      <a:pt x="163" y="1345"/>
                      <a:pt x="163" y="1345"/>
                      <a:pt x="163" y="1345"/>
                    </a:cubicBezTo>
                    <a:cubicBezTo>
                      <a:pt x="167" y="1381"/>
                      <a:pt x="200" y="1406"/>
                      <a:pt x="235" y="1401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3" name="Freeform 21">
                <a:extLst>
                  <a:ext uri="{FF2B5EF4-FFF2-40B4-BE49-F238E27FC236}">
                    <a16:creationId xmlns:a16="http://schemas.microsoft.com/office/drawing/2014/main" id="{77E2B33F-78C7-4D0D-B788-60F5651B8C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4" y="2366"/>
                <a:ext cx="721" cy="719"/>
              </a:xfrm>
              <a:custGeom>
                <a:avLst/>
                <a:gdLst>
                  <a:gd name="T0" fmla="*/ 581 w 1316"/>
                  <a:gd name="T1" fmla="*/ 42 h 1316"/>
                  <a:gd name="T2" fmla="*/ 42 w 1316"/>
                  <a:gd name="T3" fmla="*/ 735 h 1316"/>
                  <a:gd name="T4" fmla="*/ 735 w 1316"/>
                  <a:gd name="T5" fmla="*/ 1273 h 1316"/>
                  <a:gd name="T6" fmla="*/ 1273 w 1316"/>
                  <a:gd name="T7" fmla="*/ 581 h 1316"/>
                  <a:gd name="T8" fmla="*/ 581 w 1316"/>
                  <a:gd name="T9" fmla="*/ 42 h 1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6" h="1316">
                    <a:moveTo>
                      <a:pt x="581" y="42"/>
                    </a:moveTo>
                    <a:cubicBezTo>
                      <a:pt x="241" y="85"/>
                      <a:pt x="0" y="395"/>
                      <a:pt x="42" y="735"/>
                    </a:cubicBezTo>
                    <a:cubicBezTo>
                      <a:pt x="85" y="1075"/>
                      <a:pt x="395" y="1316"/>
                      <a:pt x="735" y="1273"/>
                    </a:cubicBezTo>
                    <a:cubicBezTo>
                      <a:pt x="1075" y="1231"/>
                      <a:pt x="1316" y="921"/>
                      <a:pt x="1273" y="581"/>
                    </a:cubicBezTo>
                    <a:cubicBezTo>
                      <a:pt x="1231" y="241"/>
                      <a:pt x="921" y="0"/>
                      <a:pt x="581" y="42"/>
                    </a:cubicBezTo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4" name="Freeform 22">
                <a:extLst>
                  <a:ext uri="{FF2B5EF4-FFF2-40B4-BE49-F238E27FC236}">
                    <a16:creationId xmlns:a16="http://schemas.microsoft.com/office/drawing/2014/main" id="{ACAAD5FE-1AED-457C-92DE-1E2777B74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7" y="2776"/>
                <a:ext cx="572" cy="464"/>
              </a:xfrm>
              <a:custGeom>
                <a:avLst/>
                <a:gdLst>
                  <a:gd name="T0" fmla="*/ 26 w 1045"/>
                  <a:gd name="T1" fmla="*/ 128 h 850"/>
                  <a:gd name="T2" fmla="*/ 934 w 1045"/>
                  <a:gd name="T3" fmla="*/ 834 h 850"/>
                  <a:gd name="T4" fmla="*/ 1033 w 1045"/>
                  <a:gd name="T5" fmla="*/ 793 h 850"/>
                  <a:gd name="T6" fmla="*/ 986 w 1045"/>
                  <a:gd name="T7" fmla="*/ 699 h 850"/>
                  <a:gd name="T8" fmla="*/ 144 w 1045"/>
                  <a:gd name="T9" fmla="*/ 44 h 850"/>
                  <a:gd name="T10" fmla="*/ 42 w 1045"/>
                  <a:gd name="T11" fmla="*/ 22 h 850"/>
                  <a:gd name="T12" fmla="*/ 26 w 1045"/>
                  <a:gd name="T13" fmla="*/ 128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5" h="850">
                    <a:moveTo>
                      <a:pt x="26" y="128"/>
                    </a:moveTo>
                    <a:cubicBezTo>
                      <a:pt x="254" y="447"/>
                      <a:pt x="569" y="692"/>
                      <a:pt x="934" y="834"/>
                    </a:cubicBezTo>
                    <a:cubicBezTo>
                      <a:pt x="975" y="850"/>
                      <a:pt x="1020" y="831"/>
                      <a:pt x="1033" y="793"/>
                    </a:cubicBezTo>
                    <a:cubicBezTo>
                      <a:pt x="1045" y="755"/>
                      <a:pt x="1024" y="714"/>
                      <a:pt x="986" y="699"/>
                    </a:cubicBezTo>
                    <a:cubicBezTo>
                      <a:pt x="648" y="567"/>
                      <a:pt x="355" y="339"/>
                      <a:pt x="144" y="44"/>
                    </a:cubicBezTo>
                    <a:cubicBezTo>
                      <a:pt x="121" y="11"/>
                      <a:pt x="75" y="0"/>
                      <a:pt x="42" y="22"/>
                    </a:cubicBezTo>
                    <a:cubicBezTo>
                      <a:pt x="8" y="44"/>
                      <a:pt x="0" y="92"/>
                      <a:pt x="26" y="128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5" name="Freeform 23">
                <a:extLst>
                  <a:ext uri="{FF2B5EF4-FFF2-40B4-BE49-F238E27FC236}">
                    <a16:creationId xmlns:a16="http://schemas.microsoft.com/office/drawing/2014/main" id="{28972A08-BF74-497F-A67E-B1ED40ED2B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0" y="1228"/>
                <a:ext cx="158" cy="218"/>
              </a:xfrm>
              <a:custGeom>
                <a:avLst/>
                <a:gdLst>
                  <a:gd name="T0" fmla="*/ 0 w 158"/>
                  <a:gd name="T1" fmla="*/ 186 h 218"/>
                  <a:gd name="T2" fmla="*/ 60 w 158"/>
                  <a:gd name="T3" fmla="*/ 0 h 218"/>
                  <a:gd name="T4" fmla="*/ 158 w 158"/>
                  <a:gd name="T5" fmla="*/ 31 h 218"/>
                  <a:gd name="T6" fmla="*/ 98 w 158"/>
                  <a:gd name="T7" fmla="*/ 218 h 218"/>
                  <a:gd name="T8" fmla="*/ 0 w 158"/>
                  <a:gd name="T9" fmla="*/ 186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218">
                    <a:moveTo>
                      <a:pt x="0" y="186"/>
                    </a:moveTo>
                    <a:lnTo>
                      <a:pt x="60" y="0"/>
                    </a:lnTo>
                    <a:lnTo>
                      <a:pt x="158" y="31"/>
                    </a:lnTo>
                    <a:lnTo>
                      <a:pt x="98" y="218"/>
                    </a:lnTo>
                    <a:lnTo>
                      <a:pt x="0" y="186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6" name="Freeform 24">
                <a:extLst>
                  <a:ext uri="{FF2B5EF4-FFF2-40B4-BE49-F238E27FC236}">
                    <a16:creationId xmlns:a16="http://schemas.microsoft.com/office/drawing/2014/main" id="{62591276-352D-4C74-A3C4-7B5B8CD9D4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8" y="1140"/>
                <a:ext cx="206" cy="362"/>
              </a:xfrm>
              <a:custGeom>
                <a:avLst/>
                <a:gdLst>
                  <a:gd name="T0" fmla="*/ 45 w 378"/>
                  <a:gd name="T1" fmla="*/ 602 h 663"/>
                  <a:gd name="T2" fmla="*/ 235 w 378"/>
                  <a:gd name="T3" fmla="*/ 17 h 663"/>
                  <a:gd name="T4" fmla="*/ 332 w 378"/>
                  <a:gd name="T5" fmla="*/ 19 h 663"/>
                  <a:gd name="T6" fmla="*/ 360 w 378"/>
                  <a:gd name="T7" fmla="*/ 81 h 663"/>
                  <a:gd name="T8" fmla="*/ 184 w 378"/>
                  <a:gd name="T9" fmla="*/ 624 h 663"/>
                  <a:gd name="T10" fmla="*/ 124 w 378"/>
                  <a:gd name="T11" fmla="*/ 658 h 663"/>
                  <a:gd name="T12" fmla="*/ 45 w 378"/>
                  <a:gd name="T13" fmla="*/ 602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8" h="663">
                    <a:moveTo>
                      <a:pt x="45" y="602"/>
                    </a:moveTo>
                    <a:cubicBezTo>
                      <a:pt x="0" y="377"/>
                      <a:pt x="66" y="174"/>
                      <a:pt x="235" y="17"/>
                    </a:cubicBezTo>
                    <a:cubicBezTo>
                      <a:pt x="254" y="0"/>
                      <a:pt x="298" y="1"/>
                      <a:pt x="332" y="19"/>
                    </a:cubicBezTo>
                    <a:cubicBezTo>
                      <a:pt x="366" y="38"/>
                      <a:pt x="378" y="65"/>
                      <a:pt x="360" y="81"/>
                    </a:cubicBezTo>
                    <a:cubicBezTo>
                      <a:pt x="204" y="226"/>
                      <a:pt x="142" y="415"/>
                      <a:pt x="184" y="624"/>
                    </a:cubicBezTo>
                    <a:cubicBezTo>
                      <a:pt x="188" y="648"/>
                      <a:pt x="163" y="663"/>
                      <a:pt x="124" y="658"/>
                    </a:cubicBezTo>
                    <a:cubicBezTo>
                      <a:pt x="86" y="653"/>
                      <a:pt x="50" y="628"/>
                      <a:pt x="45" y="602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7" name="Freeform 25">
                <a:extLst>
                  <a:ext uri="{FF2B5EF4-FFF2-40B4-BE49-F238E27FC236}">
                    <a16:creationId xmlns:a16="http://schemas.microsoft.com/office/drawing/2014/main" id="{696011B5-2B14-4AD6-9005-775342EDA5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7" y="1248"/>
                <a:ext cx="704" cy="397"/>
              </a:xfrm>
              <a:custGeom>
                <a:avLst/>
                <a:gdLst>
                  <a:gd name="T0" fmla="*/ 16 w 1286"/>
                  <a:gd name="T1" fmla="*/ 684 h 728"/>
                  <a:gd name="T2" fmla="*/ 16 w 1286"/>
                  <a:gd name="T3" fmla="*/ 684 h 728"/>
                  <a:gd name="T4" fmla="*/ 44 w 1286"/>
                  <a:gd name="T5" fmla="*/ 597 h 728"/>
                  <a:gd name="T6" fmla="*/ 1183 w 1286"/>
                  <a:gd name="T7" fmla="*/ 16 h 728"/>
                  <a:gd name="T8" fmla="*/ 1270 w 1286"/>
                  <a:gd name="T9" fmla="*/ 45 h 728"/>
                  <a:gd name="T10" fmla="*/ 1242 w 1286"/>
                  <a:gd name="T11" fmla="*/ 131 h 728"/>
                  <a:gd name="T12" fmla="*/ 102 w 1286"/>
                  <a:gd name="T13" fmla="*/ 712 h 728"/>
                  <a:gd name="T14" fmla="*/ 16 w 1286"/>
                  <a:gd name="T15" fmla="*/ 684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6" h="728">
                    <a:moveTo>
                      <a:pt x="16" y="684"/>
                    </a:moveTo>
                    <a:cubicBezTo>
                      <a:pt x="16" y="684"/>
                      <a:pt x="16" y="684"/>
                      <a:pt x="16" y="684"/>
                    </a:cubicBezTo>
                    <a:cubicBezTo>
                      <a:pt x="0" y="652"/>
                      <a:pt x="12" y="613"/>
                      <a:pt x="44" y="597"/>
                    </a:cubicBezTo>
                    <a:cubicBezTo>
                      <a:pt x="1183" y="16"/>
                      <a:pt x="1183" y="16"/>
                      <a:pt x="1183" y="16"/>
                    </a:cubicBezTo>
                    <a:cubicBezTo>
                      <a:pt x="1215" y="0"/>
                      <a:pt x="1254" y="13"/>
                      <a:pt x="1270" y="45"/>
                    </a:cubicBezTo>
                    <a:cubicBezTo>
                      <a:pt x="1286" y="76"/>
                      <a:pt x="1274" y="115"/>
                      <a:pt x="1242" y="131"/>
                    </a:cubicBezTo>
                    <a:cubicBezTo>
                      <a:pt x="102" y="712"/>
                      <a:pt x="102" y="712"/>
                      <a:pt x="102" y="712"/>
                    </a:cubicBezTo>
                    <a:cubicBezTo>
                      <a:pt x="71" y="728"/>
                      <a:pt x="32" y="715"/>
                      <a:pt x="16" y="684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8" name="Freeform 26">
                <a:extLst>
                  <a:ext uri="{FF2B5EF4-FFF2-40B4-BE49-F238E27FC236}">
                    <a16:creationId xmlns:a16="http://schemas.microsoft.com/office/drawing/2014/main" id="{0077D620-D677-4B2A-A94F-E80706EF6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0" y="1096"/>
                <a:ext cx="398" cy="702"/>
              </a:xfrm>
              <a:custGeom>
                <a:avLst/>
                <a:gdLst>
                  <a:gd name="T0" fmla="*/ 44 w 728"/>
                  <a:gd name="T1" fmla="*/ 16 h 1286"/>
                  <a:gd name="T2" fmla="*/ 44 w 728"/>
                  <a:gd name="T3" fmla="*/ 16 h 1286"/>
                  <a:gd name="T4" fmla="*/ 131 w 728"/>
                  <a:gd name="T5" fmla="*/ 44 h 1286"/>
                  <a:gd name="T6" fmla="*/ 712 w 728"/>
                  <a:gd name="T7" fmla="*/ 1183 h 1286"/>
                  <a:gd name="T8" fmla="*/ 683 w 728"/>
                  <a:gd name="T9" fmla="*/ 1270 h 1286"/>
                  <a:gd name="T10" fmla="*/ 597 w 728"/>
                  <a:gd name="T11" fmla="*/ 1242 h 1286"/>
                  <a:gd name="T12" fmla="*/ 16 w 728"/>
                  <a:gd name="T13" fmla="*/ 103 h 1286"/>
                  <a:gd name="T14" fmla="*/ 44 w 728"/>
                  <a:gd name="T15" fmla="*/ 16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8" h="1286">
                    <a:moveTo>
                      <a:pt x="44" y="16"/>
                    </a:moveTo>
                    <a:cubicBezTo>
                      <a:pt x="44" y="16"/>
                      <a:pt x="44" y="16"/>
                      <a:pt x="44" y="16"/>
                    </a:cubicBezTo>
                    <a:cubicBezTo>
                      <a:pt x="76" y="0"/>
                      <a:pt x="115" y="12"/>
                      <a:pt x="131" y="44"/>
                    </a:cubicBezTo>
                    <a:cubicBezTo>
                      <a:pt x="712" y="1183"/>
                      <a:pt x="712" y="1183"/>
                      <a:pt x="712" y="1183"/>
                    </a:cubicBezTo>
                    <a:cubicBezTo>
                      <a:pt x="728" y="1215"/>
                      <a:pt x="715" y="1254"/>
                      <a:pt x="683" y="1270"/>
                    </a:cubicBezTo>
                    <a:cubicBezTo>
                      <a:pt x="652" y="1286"/>
                      <a:pt x="613" y="1274"/>
                      <a:pt x="597" y="1242"/>
                    </a:cubicBezTo>
                    <a:cubicBezTo>
                      <a:pt x="16" y="103"/>
                      <a:pt x="16" y="103"/>
                      <a:pt x="16" y="103"/>
                    </a:cubicBezTo>
                    <a:cubicBezTo>
                      <a:pt x="0" y="71"/>
                      <a:pt x="13" y="32"/>
                      <a:pt x="44" y="16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9" name="Freeform 27">
                <a:extLst>
                  <a:ext uri="{FF2B5EF4-FFF2-40B4-BE49-F238E27FC236}">
                    <a16:creationId xmlns:a16="http://schemas.microsoft.com/office/drawing/2014/main" id="{7C2F37B9-8682-4D33-BB67-ACCE4A7FA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1" y="1060"/>
                <a:ext cx="776" cy="773"/>
              </a:xfrm>
              <a:custGeom>
                <a:avLst/>
                <a:gdLst>
                  <a:gd name="T0" fmla="*/ 990 w 1416"/>
                  <a:gd name="T1" fmla="*/ 1261 h 1416"/>
                  <a:gd name="T2" fmla="*/ 155 w 1416"/>
                  <a:gd name="T3" fmla="*/ 990 h 1416"/>
                  <a:gd name="T4" fmla="*/ 426 w 1416"/>
                  <a:gd name="T5" fmla="*/ 155 h 1416"/>
                  <a:gd name="T6" fmla="*/ 1261 w 1416"/>
                  <a:gd name="T7" fmla="*/ 426 h 1416"/>
                  <a:gd name="T8" fmla="*/ 990 w 1416"/>
                  <a:gd name="T9" fmla="*/ 1261 h 1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6" h="1416">
                    <a:moveTo>
                      <a:pt x="990" y="1261"/>
                    </a:moveTo>
                    <a:cubicBezTo>
                      <a:pt x="684" y="1416"/>
                      <a:pt x="311" y="1295"/>
                      <a:pt x="155" y="990"/>
                    </a:cubicBezTo>
                    <a:cubicBezTo>
                      <a:pt x="0" y="684"/>
                      <a:pt x="121" y="311"/>
                      <a:pt x="426" y="155"/>
                    </a:cubicBezTo>
                    <a:cubicBezTo>
                      <a:pt x="731" y="0"/>
                      <a:pt x="1105" y="121"/>
                      <a:pt x="1261" y="426"/>
                    </a:cubicBezTo>
                    <a:cubicBezTo>
                      <a:pt x="1416" y="732"/>
                      <a:pt x="1295" y="1105"/>
                      <a:pt x="990" y="1261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0" name="Freeform 28">
                <a:extLst>
                  <a:ext uri="{FF2B5EF4-FFF2-40B4-BE49-F238E27FC236}">
                    <a16:creationId xmlns:a16="http://schemas.microsoft.com/office/drawing/2014/main" id="{5D8F620B-07BC-4998-ADD6-8BAA518F13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2" y="1001"/>
                <a:ext cx="273" cy="665"/>
              </a:xfrm>
              <a:custGeom>
                <a:avLst/>
                <a:gdLst>
                  <a:gd name="T0" fmla="*/ 1 w 499"/>
                  <a:gd name="T1" fmla="*/ 1139 h 1219"/>
                  <a:gd name="T2" fmla="*/ 357 w 499"/>
                  <a:gd name="T3" fmla="*/ 45 h 1219"/>
                  <a:gd name="T4" fmla="*/ 461 w 499"/>
                  <a:gd name="T5" fmla="*/ 24 h 1219"/>
                  <a:gd name="T6" fmla="*/ 476 w 499"/>
                  <a:gd name="T7" fmla="*/ 128 h 1219"/>
                  <a:gd name="T8" fmla="*/ 146 w 499"/>
                  <a:gd name="T9" fmla="*/ 1143 h 1219"/>
                  <a:gd name="T10" fmla="*/ 73 w 499"/>
                  <a:gd name="T11" fmla="*/ 1218 h 1219"/>
                  <a:gd name="T12" fmla="*/ 1 w 499"/>
                  <a:gd name="T13" fmla="*/ 1139 h 1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9" h="1219">
                    <a:moveTo>
                      <a:pt x="1" y="1139"/>
                    </a:moveTo>
                    <a:cubicBezTo>
                      <a:pt x="11" y="748"/>
                      <a:pt x="134" y="368"/>
                      <a:pt x="357" y="45"/>
                    </a:cubicBezTo>
                    <a:cubicBezTo>
                      <a:pt x="382" y="9"/>
                      <a:pt x="430" y="0"/>
                      <a:pt x="461" y="24"/>
                    </a:cubicBezTo>
                    <a:cubicBezTo>
                      <a:pt x="493" y="48"/>
                      <a:pt x="499" y="94"/>
                      <a:pt x="476" y="128"/>
                    </a:cubicBezTo>
                    <a:cubicBezTo>
                      <a:pt x="270" y="427"/>
                      <a:pt x="155" y="779"/>
                      <a:pt x="146" y="1143"/>
                    </a:cubicBezTo>
                    <a:cubicBezTo>
                      <a:pt x="145" y="1183"/>
                      <a:pt x="114" y="1217"/>
                      <a:pt x="73" y="1218"/>
                    </a:cubicBezTo>
                    <a:cubicBezTo>
                      <a:pt x="33" y="1219"/>
                      <a:pt x="0" y="1184"/>
                      <a:pt x="1" y="1139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1" name="Freeform 29">
                <a:extLst>
                  <a:ext uri="{FF2B5EF4-FFF2-40B4-BE49-F238E27FC236}">
                    <a16:creationId xmlns:a16="http://schemas.microsoft.com/office/drawing/2014/main" id="{CEF9B0F6-2B6B-43D7-A193-4C9EEFE0F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2" y="1238"/>
                <a:ext cx="158" cy="217"/>
              </a:xfrm>
              <a:custGeom>
                <a:avLst/>
                <a:gdLst>
                  <a:gd name="T0" fmla="*/ 98 w 158"/>
                  <a:gd name="T1" fmla="*/ 0 h 217"/>
                  <a:gd name="T2" fmla="*/ 158 w 158"/>
                  <a:gd name="T3" fmla="*/ 186 h 217"/>
                  <a:gd name="T4" fmla="*/ 60 w 158"/>
                  <a:gd name="T5" fmla="*/ 217 h 217"/>
                  <a:gd name="T6" fmla="*/ 0 w 158"/>
                  <a:gd name="T7" fmla="*/ 31 h 217"/>
                  <a:gd name="T8" fmla="*/ 98 w 158"/>
                  <a:gd name="T9" fmla="*/ 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217">
                    <a:moveTo>
                      <a:pt x="98" y="0"/>
                    </a:moveTo>
                    <a:lnTo>
                      <a:pt x="158" y="186"/>
                    </a:lnTo>
                    <a:lnTo>
                      <a:pt x="60" y="217"/>
                    </a:lnTo>
                    <a:lnTo>
                      <a:pt x="0" y="31"/>
                    </a:lnTo>
                    <a:lnTo>
                      <a:pt x="98" y="0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2" name="Freeform 30">
                <a:extLst>
                  <a:ext uri="{FF2B5EF4-FFF2-40B4-BE49-F238E27FC236}">
                    <a16:creationId xmlns:a16="http://schemas.microsoft.com/office/drawing/2014/main" id="{FD5A995C-96B2-44D6-8B7A-7E250EEA00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6" y="1149"/>
                <a:ext cx="206" cy="363"/>
              </a:xfrm>
              <a:custGeom>
                <a:avLst/>
                <a:gdLst>
                  <a:gd name="T0" fmla="*/ 142 w 377"/>
                  <a:gd name="T1" fmla="*/ 18 h 664"/>
                  <a:gd name="T2" fmla="*/ 333 w 377"/>
                  <a:gd name="T3" fmla="*/ 603 h 664"/>
                  <a:gd name="T4" fmla="*/ 253 w 377"/>
                  <a:gd name="T5" fmla="*/ 659 h 664"/>
                  <a:gd name="T6" fmla="*/ 194 w 377"/>
                  <a:gd name="T7" fmla="*/ 625 h 664"/>
                  <a:gd name="T8" fmla="*/ 17 w 377"/>
                  <a:gd name="T9" fmla="*/ 82 h 664"/>
                  <a:gd name="T10" fmla="*/ 45 w 377"/>
                  <a:gd name="T11" fmla="*/ 20 h 664"/>
                  <a:gd name="T12" fmla="*/ 142 w 377"/>
                  <a:gd name="T13" fmla="*/ 18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7" h="664">
                    <a:moveTo>
                      <a:pt x="142" y="18"/>
                    </a:moveTo>
                    <a:cubicBezTo>
                      <a:pt x="311" y="174"/>
                      <a:pt x="377" y="378"/>
                      <a:pt x="333" y="603"/>
                    </a:cubicBezTo>
                    <a:cubicBezTo>
                      <a:pt x="328" y="629"/>
                      <a:pt x="291" y="654"/>
                      <a:pt x="253" y="659"/>
                    </a:cubicBezTo>
                    <a:cubicBezTo>
                      <a:pt x="215" y="664"/>
                      <a:pt x="189" y="649"/>
                      <a:pt x="194" y="625"/>
                    </a:cubicBezTo>
                    <a:cubicBezTo>
                      <a:pt x="235" y="416"/>
                      <a:pt x="173" y="227"/>
                      <a:pt x="17" y="82"/>
                    </a:cubicBezTo>
                    <a:cubicBezTo>
                      <a:pt x="0" y="66"/>
                      <a:pt x="11" y="39"/>
                      <a:pt x="45" y="20"/>
                    </a:cubicBezTo>
                    <a:cubicBezTo>
                      <a:pt x="79" y="2"/>
                      <a:pt x="123" y="0"/>
                      <a:pt x="142" y="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3" name="Freeform 31">
                <a:extLst>
                  <a:ext uri="{FF2B5EF4-FFF2-40B4-BE49-F238E27FC236}">
                    <a16:creationId xmlns:a16="http://schemas.microsoft.com/office/drawing/2014/main" id="{09F50EE9-6A4E-429E-A0CA-74A14BD1A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2" y="1106"/>
                <a:ext cx="398" cy="702"/>
              </a:xfrm>
              <a:custGeom>
                <a:avLst/>
                <a:gdLst>
                  <a:gd name="T0" fmla="*/ 684 w 728"/>
                  <a:gd name="T1" fmla="*/ 16 h 1286"/>
                  <a:gd name="T2" fmla="*/ 684 w 728"/>
                  <a:gd name="T3" fmla="*/ 16 h 1286"/>
                  <a:gd name="T4" fmla="*/ 712 w 728"/>
                  <a:gd name="T5" fmla="*/ 102 h 1286"/>
                  <a:gd name="T6" fmla="*/ 131 w 728"/>
                  <a:gd name="T7" fmla="*/ 1242 h 1286"/>
                  <a:gd name="T8" fmla="*/ 45 w 728"/>
                  <a:gd name="T9" fmla="*/ 1270 h 1286"/>
                  <a:gd name="T10" fmla="*/ 17 w 728"/>
                  <a:gd name="T11" fmla="*/ 1183 h 1286"/>
                  <a:gd name="T12" fmla="*/ 597 w 728"/>
                  <a:gd name="T13" fmla="*/ 44 h 1286"/>
                  <a:gd name="T14" fmla="*/ 684 w 728"/>
                  <a:gd name="T15" fmla="*/ 16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8" h="1286">
                    <a:moveTo>
                      <a:pt x="684" y="16"/>
                    </a:moveTo>
                    <a:cubicBezTo>
                      <a:pt x="684" y="16"/>
                      <a:pt x="684" y="16"/>
                      <a:pt x="684" y="16"/>
                    </a:cubicBezTo>
                    <a:cubicBezTo>
                      <a:pt x="716" y="32"/>
                      <a:pt x="728" y="71"/>
                      <a:pt x="712" y="102"/>
                    </a:cubicBezTo>
                    <a:cubicBezTo>
                      <a:pt x="131" y="1242"/>
                      <a:pt x="131" y="1242"/>
                      <a:pt x="131" y="1242"/>
                    </a:cubicBezTo>
                    <a:cubicBezTo>
                      <a:pt x="115" y="1274"/>
                      <a:pt x="76" y="1286"/>
                      <a:pt x="45" y="1270"/>
                    </a:cubicBezTo>
                    <a:cubicBezTo>
                      <a:pt x="13" y="1254"/>
                      <a:pt x="0" y="1215"/>
                      <a:pt x="17" y="1183"/>
                    </a:cubicBezTo>
                    <a:cubicBezTo>
                      <a:pt x="597" y="44"/>
                      <a:pt x="597" y="44"/>
                      <a:pt x="597" y="44"/>
                    </a:cubicBezTo>
                    <a:cubicBezTo>
                      <a:pt x="613" y="12"/>
                      <a:pt x="652" y="0"/>
                      <a:pt x="684" y="16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4" name="Freeform 32">
                <a:extLst>
                  <a:ext uri="{FF2B5EF4-FFF2-40B4-BE49-F238E27FC236}">
                    <a16:creationId xmlns:a16="http://schemas.microsoft.com/office/drawing/2014/main" id="{A0E15427-AEF8-479D-B22E-64D82551E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9" y="1258"/>
                <a:ext cx="705" cy="397"/>
              </a:xfrm>
              <a:custGeom>
                <a:avLst/>
                <a:gdLst>
                  <a:gd name="T0" fmla="*/ 1270 w 1287"/>
                  <a:gd name="T1" fmla="*/ 683 h 728"/>
                  <a:gd name="T2" fmla="*/ 1270 w 1287"/>
                  <a:gd name="T3" fmla="*/ 683 h 728"/>
                  <a:gd name="T4" fmla="*/ 1184 w 1287"/>
                  <a:gd name="T5" fmla="*/ 712 h 728"/>
                  <a:gd name="T6" fmla="*/ 44 w 1287"/>
                  <a:gd name="T7" fmla="*/ 131 h 728"/>
                  <a:gd name="T8" fmla="*/ 16 w 1287"/>
                  <a:gd name="T9" fmla="*/ 44 h 728"/>
                  <a:gd name="T10" fmla="*/ 103 w 1287"/>
                  <a:gd name="T11" fmla="*/ 16 h 728"/>
                  <a:gd name="T12" fmla="*/ 1242 w 1287"/>
                  <a:gd name="T13" fmla="*/ 597 h 728"/>
                  <a:gd name="T14" fmla="*/ 1270 w 1287"/>
                  <a:gd name="T15" fmla="*/ 683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7" h="728">
                    <a:moveTo>
                      <a:pt x="1270" y="683"/>
                    </a:moveTo>
                    <a:cubicBezTo>
                      <a:pt x="1270" y="683"/>
                      <a:pt x="1270" y="683"/>
                      <a:pt x="1270" y="683"/>
                    </a:cubicBezTo>
                    <a:cubicBezTo>
                      <a:pt x="1254" y="715"/>
                      <a:pt x="1215" y="728"/>
                      <a:pt x="1184" y="712"/>
                    </a:cubicBezTo>
                    <a:cubicBezTo>
                      <a:pt x="44" y="131"/>
                      <a:pt x="44" y="131"/>
                      <a:pt x="44" y="131"/>
                    </a:cubicBezTo>
                    <a:cubicBezTo>
                      <a:pt x="13" y="115"/>
                      <a:pt x="0" y="76"/>
                      <a:pt x="16" y="44"/>
                    </a:cubicBezTo>
                    <a:cubicBezTo>
                      <a:pt x="32" y="13"/>
                      <a:pt x="71" y="0"/>
                      <a:pt x="103" y="16"/>
                    </a:cubicBezTo>
                    <a:cubicBezTo>
                      <a:pt x="1242" y="597"/>
                      <a:pt x="1242" y="597"/>
                      <a:pt x="1242" y="597"/>
                    </a:cubicBezTo>
                    <a:cubicBezTo>
                      <a:pt x="1274" y="613"/>
                      <a:pt x="1287" y="652"/>
                      <a:pt x="1270" y="683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5" name="Freeform 33">
                <a:extLst>
                  <a:ext uri="{FF2B5EF4-FFF2-40B4-BE49-F238E27FC236}">
                    <a16:creationId xmlns:a16="http://schemas.microsoft.com/office/drawing/2014/main" id="{DD7D2269-3E3E-4A12-B656-DCE50F870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3" y="1070"/>
                <a:ext cx="776" cy="773"/>
              </a:xfrm>
              <a:custGeom>
                <a:avLst/>
                <a:gdLst>
                  <a:gd name="T0" fmla="*/ 156 w 1417"/>
                  <a:gd name="T1" fmla="*/ 426 h 1416"/>
                  <a:gd name="T2" fmla="*/ 990 w 1417"/>
                  <a:gd name="T3" fmla="*/ 155 h 1416"/>
                  <a:gd name="T4" fmla="*/ 1261 w 1417"/>
                  <a:gd name="T5" fmla="*/ 990 h 1416"/>
                  <a:gd name="T6" fmla="*/ 427 w 1417"/>
                  <a:gd name="T7" fmla="*/ 1261 h 1416"/>
                  <a:gd name="T8" fmla="*/ 156 w 1417"/>
                  <a:gd name="T9" fmla="*/ 426 h 1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7" h="1416">
                    <a:moveTo>
                      <a:pt x="156" y="426"/>
                    </a:moveTo>
                    <a:cubicBezTo>
                      <a:pt x="311" y="121"/>
                      <a:pt x="685" y="0"/>
                      <a:pt x="990" y="155"/>
                    </a:cubicBezTo>
                    <a:cubicBezTo>
                      <a:pt x="1295" y="311"/>
                      <a:pt x="1417" y="684"/>
                      <a:pt x="1261" y="990"/>
                    </a:cubicBezTo>
                    <a:cubicBezTo>
                      <a:pt x="1106" y="1295"/>
                      <a:pt x="732" y="1416"/>
                      <a:pt x="427" y="1261"/>
                    </a:cubicBezTo>
                    <a:cubicBezTo>
                      <a:pt x="121" y="1105"/>
                      <a:pt x="0" y="732"/>
                      <a:pt x="156" y="426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6" name="Freeform 34">
                <a:extLst>
                  <a:ext uri="{FF2B5EF4-FFF2-40B4-BE49-F238E27FC236}">
                    <a16:creationId xmlns:a16="http://schemas.microsoft.com/office/drawing/2014/main" id="{9D19934C-953E-4C18-B8A8-6E27CA7141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5" y="1011"/>
                <a:ext cx="273" cy="665"/>
              </a:xfrm>
              <a:custGeom>
                <a:avLst/>
                <a:gdLst>
                  <a:gd name="T0" fmla="*/ 143 w 499"/>
                  <a:gd name="T1" fmla="*/ 45 h 1219"/>
                  <a:gd name="T2" fmla="*/ 498 w 499"/>
                  <a:gd name="T3" fmla="*/ 1139 h 1219"/>
                  <a:gd name="T4" fmla="*/ 426 w 499"/>
                  <a:gd name="T5" fmla="*/ 1218 h 1219"/>
                  <a:gd name="T6" fmla="*/ 353 w 499"/>
                  <a:gd name="T7" fmla="*/ 1142 h 1219"/>
                  <a:gd name="T8" fmla="*/ 23 w 499"/>
                  <a:gd name="T9" fmla="*/ 128 h 1219"/>
                  <a:gd name="T10" fmla="*/ 38 w 499"/>
                  <a:gd name="T11" fmla="*/ 24 h 1219"/>
                  <a:gd name="T12" fmla="*/ 143 w 499"/>
                  <a:gd name="T13" fmla="*/ 45 h 1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9" h="1219">
                    <a:moveTo>
                      <a:pt x="143" y="45"/>
                    </a:moveTo>
                    <a:cubicBezTo>
                      <a:pt x="365" y="367"/>
                      <a:pt x="488" y="748"/>
                      <a:pt x="498" y="1139"/>
                    </a:cubicBezTo>
                    <a:cubicBezTo>
                      <a:pt x="499" y="1183"/>
                      <a:pt x="466" y="1219"/>
                      <a:pt x="426" y="1218"/>
                    </a:cubicBezTo>
                    <a:cubicBezTo>
                      <a:pt x="386" y="1217"/>
                      <a:pt x="354" y="1183"/>
                      <a:pt x="353" y="1142"/>
                    </a:cubicBezTo>
                    <a:cubicBezTo>
                      <a:pt x="344" y="779"/>
                      <a:pt x="230" y="427"/>
                      <a:pt x="23" y="128"/>
                    </a:cubicBezTo>
                    <a:cubicBezTo>
                      <a:pt x="0" y="94"/>
                      <a:pt x="6" y="48"/>
                      <a:pt x="38" y="24"/>
                    </a:cubicBezTo>
                    <a:cubicBezTo>
                      <a:pt x="70" y="0"/>
                      <a:pt x="117" y="9"/>
                      <a:pt x="143" y="45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7" name="Freeform 35">
                <a:extLst>
                  <a:ext uri="{FF2B5EF4-FFF2-40B4-BE49-F238E27FC236}">
                    <a16:creationId xmlns:a16="http://schemas.microsoft.com/office/drawing/2014/main" id="{D12DF3EC-1EE8-4C86-903E-9E47050AC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9" y="1193"/>
                <a:ext cx="676" cy="576"/>
              </a:xfrm>
              <a:custGeom>
                <a:avLst/>
                <a:gdLst>
                  <a:gd name="T0" fmla="*/ 204 w 1235"/>
                  <a:gd name="T1" fmla="*/ 1054 h 1054"/>
                  <a:gd name="T2" fmla="*/ 0 w 1235"/>
                  <a:gd name="T3" fmla="*/ 425 h 1054"/>
                  <a:gd name="T4" fmla="*/ 955 w 1235"/>
                  <a:gd name="T5" fmla="*/ 114 h 1054"/>
                  <a:gd name="T6" fmla="*/ 1160 w 1235"/>
                  <a:gd name="T7" fmla="*/ 743 h 1054"/>
                  <a:gd name="T8" fmla="*/ 204 w 1235"/>
                  <a:gd name="T9" fmla="*/ 1054 h 1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5" h="1054">
                    <a:moveTo>
                      <a:pt x="204" y="1054"/>
                    </a:moveTo>
                    <a:cubicBezTo>
                      <a:pt x="0" y="425"/>
                      <a:pt x="0" y="425"/>
                      <a:pt x="0" y="425"/>
                    </a:cubicBezTo>
                    <a:cubicBezTo>
                      <a:pt x="0" y="425"/>
                      <a:pt x="732" y="0"/>
                      <a:pt x="955" y="114"/>
                    </a:cubicBezTo>
                    <a:cubicBezTo>
                      <a:pt x="1103" y="189"/>
                      <a:pt x="1235" y="596"/>
                      <a:pt x="1160" y="743"/>
                    </a:cubicBezTo>
                    <a:cubicBezTo>
                      <a:pt x="1046" y="967"/>
                      <a:pt x="204" y="1054"/>
                      <a:pt x="204" y="1054"/>
                    </a:cubicBezTo>
                    <a:close/>
                  </a:path>
                </a:pathLst>
              </a:custGeom>
              <a:solidFill>
                <a:srgbClr val="4E34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8" name="Freeform 36">
                <a:extLst>
                  <a:ext uri="{FF2B5EF4-FFF2-40B4-BE49-F238E27FC236}">
                    <a16:creationId xmlns:a16="http://schemas.microsoft.com/office/drawing/2014/main" id="{655EDDF6-D045-4C41-858B-A11CEB64A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9" y="1246"/>
                <a:ext cx="276" cy="472"/>
              </a:xfrm>
              <a:custGeom>
                <a:avLst/>
                <a:gdLst>
                  <a:gd name="T0" fmla="*/ 0 w 505"/>
                  <a:gd name="T1" fmla="*/ 864 h 864"/>
                  <a:gd name="T2" fmla="*/ 170 w 505"/>
                  <a:gd name="T3" fmla="*/ 356 h 864"/>
                  <a:gd name="T4" fmla="*/ 168 w 505"/>
                  <a:gd name="T5" fmla="*/ 0 h 864"/>
                  <a:gd name="T6" fmla="*/ 225 w 505"/>
                  <a:gd name="T7" fmla="*/ 17 h 864"/>
                  <a:gd name="T8" fmla="*/ 430 w 505"/>
                  <a:gd name="T9" fmla="*/ 646 h 864"/>
                  <a:gd name="T10" fmla="*/ 0 w 505"/>
                  <a:gd name="T11" fmla="*/ 864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5" h="864">
                    <a:moveTo>
                      <a:pt x="0" y="864"/>
                    </a:moveTo>
                    <a:cubicBezTo>
                      <a:pt x="127" y="738"/>
                      <a:pt x="247" y="507"/>
                      <a:pt x="170" y="356"/>
                    </a:cubicBezTo>
                    <a:cubicBezTo>
                      <a:pt x="87" y="195"/>
                      <a:pt x="139" y="56"/>
                      <a:pt x="168" y="0"/>
                    </a:cubicBezTo>
                    <a:cubicBezTo>
                      <a:pt x="189" y="3"/>
                      <a:pt x="209" y="9"/>
                      <a:pt x="225" y="17"/>
                    </a:cubicBezTo>
                    <a:cubicBezTo>
                      <a:pt x="373" y="92"/>
                      <a:pt x="505" y="499"/>
                      <a:pt x="430" y="646"/>
                    </a:cubicBezTo>
                    <a:cubicBezTo>
                      <a:pt x="381" y="743"/>
                      <a:pt x="195" y="814"/>
                      <a:pt x="0" y="864"/>
                    </a:cubicBezTo>
                    <a:close/>
                  </a:path>
                </a:pathLst>
              </a:custGeom>
              <a:solidFill>
                <a:srgbClr val="3E27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9" name="Freeform 37">
                <a:extLst>
                  <a:ext uri="{FF2B5EF4-FFF2-40B4-BE49-F238E27FC236}">
                    <a16:creationId xmlns:a16="http://schemas.microsoft.com/office/drawing/2014/main" id="{04E3E1FF-2D74-4BED-B6DD-9EB526D12A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8" y="1096"/>
                <a:ext cx="278" cy="570"/>
              </a:xfrm>
              <a:custGeom>
                <a:avLst/>
                <a:gdLst>
                  <a:gd name="T0" fmla="*/ 323 w 508"/>
                  <a:gd name="T1" fmla="*/ 1045 h 1045"/>
                  <a:gd name="T2" fmla="*/ 0 w 508"/>
                  <a:gd name="T3" fmla="*/ 53 h 1045"/>
                  <a:gd name="T4" fmla="*/ 78 w 508"/>
                  <a:gd name="T5" fmla="*/ 28 h 1045"/>
                  <a:gd name="T6" fmla="*/ 288 w 508"/>
                  <a:gd name="T7" fmla="*/ 135 h 1045"/>
                  <a:gd name="T8" fmla="*/ 478 w 508"/>
                  <a:gd name="T9" fmla="*/ 446 h 1045"/>
                  <a:gd name="T10" fmla="*/ 507 w 508"/>
                  <a:gd name="T11" fmla="*/ 810 h 1045"/>
                  <a:gd name="T12" fmla="*/ 400 w 508"/>
                  <a:gd name="T13" fmla="*/ 1020 h 1045"/>
                  <a:gd name="T14" fmla="*/ 323 w 508"/>
                  <a:gd name="T15" fmla="*/ 1045 h 10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8" h="1045">
                    <a:moveTo>
                      <a:pt x="323" y="1045"/>
                    </a:moveTo>
                    <a:cubicBezTo>
                      <a:pt x="0" y="53"/>
                      <a:pt x="0" y="53"/>
                      <a:pt x="0" y="53"/>
                    </a:cubicBezTo>
                    <a:cubicBezTo>
                      <a:pt x="78" y="28"/>
                      <a:pt x="78" y="28"/>
                      <a:pt x="78" y="28"/>
                    </a:cubicBezTo>
                    <a:cubicBezTo>
                      <a:pt x="165" y="0"/>
                      <a:pt x="252" y="88"/>
                      <a:pt x="288" y="135"/>
                    </a:cubicBezTo>
                    <a:cubicBezTo>
                      <a:pt x="342" y="208"/>
                      <a:pt x="478" y="446"/>
                      <a:pt x="478" y="446"/>
                    </a:cubicBezTo>
                    <a:cubicBezTo>
                      <a:pt x="478" y="446"/>
                      <a:pt x="508" y="719"/>
                      <a:pt x="507" y="810"/>
                    </a:cubicBezTo>
                    <a:cubicBezTo>
                      <a:pt x="506" y="869"/>
                      <a:pt x="488" y="991"/>
                      <a:pt x="400" y="1020"/>
                    </a:cubicBezTo>
                    <a:lnTo>
                      <a:pt x="323" y="1045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0" name="Freeform 38">
                <a:extLst>
                  <a:ext uri="{FF2B5EF4-FFF2-40B4-BE49-F238E27FC236}">
                    <a16:creationId xmlns:a16="http://schemas.microsoft.com/office/drawing/2014/main" id="{DFAF4CBC-13B9-4AFB-B985-9C838DAFC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1" y="1134"/>
                <a:ext cx="319" cy="502"/>
              </a:xfrm>
              <a:custGeom>
                <a:avLst/>
                <a:gdLst>
                  <a:gd name="T0" fmla="*/ 183 w 583"/>
                  <a:gd name="T1" fmla="*/ 762 h 918"/>
                  <a:gd name="T2" fmla="*/ 183 w 583"/>
                  <a:gd name="T3" fmla="*/ 606 h 918"/>
                  <a:gd name="T4" fmla="*/ 144 w 583"/>
                  <a:gd name="T5" fmla="*/ 487 h 918"/>
                  <a:gd name="T6" fmla="*/ 53 w 583"/>
                  <a:gd name="T7" fmla="*/ 361 h 918"/>
                  <a:gd name="T8" fmla="*/ 226 w 583"/>
                  <a:gd name="T9" fmla="*/ 51 h 918"/>
                  <a:gd name="T10" fmla="*/ 284 w 583"/>
                  <a:gd name="T11" fmla="*/ 0 h 918"/>
                  <a:gd name="T12" fmla="*/ 583 w 583"/>
                  <a:gd name="T13" fmla="*/ 918 h 918"/>
                  <a:gd name="T14" fmla="*/ 506 w 583"/>
                  <a:gd name="T15" fmla="*/ 911 h 918"/>
                  <a:gd name="T16" fmla="*/ 183 w 583"/>
                  <a:gd name="T17" fmla="*/ 762 h 9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3" h="918">
                    <a:moveTo>
                      <a:pt x="183" y="762"/>
                    </a:moveTo>
                    <a:cubicBezTo>
                      <a:pt x="180" y="730"/>
                      <a:pt x="182" y="660"/>
                      <a:pt x="183" y="606"/>
                    </a:cubicBezTo>
                    <a:cubicBezTo>
                      <a:pt x="185" y="563"/>
                      <a:pt x="171" y="521"/>
                      <a:pt x="144" y="487"/>
                    </a:cubicBezTo>
                    <a:cubicBezTo>
                      <a:pt x="112" y="445"/>
                      <a:pt x="69" y="389"/>
                      <a:pt x="53" y="361"/>
                    </a:cubicBezTo>
                    <a:cubicBezTo>
                      <a:pt x="0" y="270"/>
                      <a:pt x="147" y="120"/>
                      <a:pt x="226" y="51"/>
                    </a:cubicBezTo>
                    <a:cubicBezTo>
                      <a:pt x="284" y="0"/>
                      <a:pt x="284" y="0"/>
                      <a:pt x="284" y="0"/>
                    </a:cubicBezTo>
                    <a:cubicBezTo>
                      <a:pt x="583" y="918"/>
                      <a:pt x="583" y="918"/>
                      <a:pt x="583" y="918"/>
                    </a:cubicBezTo>
                    <a:cubicBezTo>
                      <a:pt x="506" y="911"/>
                      <a:pt x="506" y="911"/>
                      <a:pt x="506" y="911"/>
                    </a:cubicBezTo>
                    <a:cubicBezTo>
                      <a:pt x="401" y="902"/>
                      <a:pt x="194" y="867"/>
                      <a:pt x="183" y="762"/>
                    </a:cubicBez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1" name="Freeform 39">
                <a:extLst>
                  <a:ext uri="{FF2B5EF4-FFF2-40B4-BE49-F238E27FC236}">
                    <a16:creationId xmlns:a16="http://schemas.microsoft.com/office/drawing/2014/main" id="{1C89D9E9-38A6-4B58-B4A6-7E540FF95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" y="1182"/>
                <a:ext cx="676" cy="575"/>
              </a:xfrm>
              <a:custGeom>
                <a:avLst/>
                <a:gdLst>
                  <a:gd name="T0" fmla="*/ 1235 w 1235"/>
                  <a:gd name="T1" fmla="*/ 425 h 1054"/>
                  <a:gd name="T2" fmla="*/ 1031 w 1235"/>
                  <a:gd name="T3" fmla="*/ 1054 h 1054"/>
                  <a:gd name="T4" fmla="*/ 75 w 1235"/>
                  <a:gd name="T5" fmla="*/ 743 h 1054"/>
                  <a:gd name="T6" fmla="*/ 280 w 1235"/>
                  <a:gd name="T7" fmla="*/ 114 h 1054"/>
                  <a:gd name="T8" fmla="*/ 1235 w 1235"/>
                  <a:gd name="T9" fmla="*/ 425 h 1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5" h="1054">
                    <a:moveTo>
                      <a:pt x="1235" y="425"/>
                    </a:moveTo>
                    <a:cubicBezTo>
                      <a:pt x="1031" y="1054"/>
                      <a:pt x="1031" y="1054"/>
                      <a:pt x="1031" y="1054"/>
                    </a:cubicBezTo>
                    <a:cubicBezTo>
                      <a:pt x="1031" y="1054"/>
                      <a:pt x="189" y="967"/>
                      <a:pt x="75" y="743"/>
                    </a:cubicBezTo>
                    <a:cubicBezTo>
                      <a:pt x="0" y="596"/>
                      <a:pt x="132" y="189"/>
                      <a:pt x="280" y="114"/>
                    </a:cubicBezTo>
                    <a:cubicBezTo>
                      <a:pt x="503" y="0"/>
                      <a:pt x="1235" y="425"/>
                      <a:pt x="1235" y="425"/>
                    </a:cubicBezTo>
                    <a:close/>
                  </a:path>
                </a:pathLst>
              </a:custGeom>
              <a:solidFill>
                <a:srgbClr val="4A4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2" name="Freeform 40">
                <a:extLst>
                  <a:ext uri="{FF2B5EF4-FFF2-40B4-BE49-F238E27FC236}">
                    <a16:creationId xmlns:a16="http://schemas.microsoft.com/office/drawing/2014/main" id="{58CF7800-E88A-4D46-B3A6-8CFC6C7105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" y="1217"/>
                <a:ext cx="413" cy="397"/>
              </a:xfrm>
              <a:custGeom>
                <a:avLst/>
                <a:gdLst>
                  <a:gd name="T0" fmla="*/ 755 w 755"/>
                  <a:gd name="T1" fmla="*/ 125 h 726"/>
                  <a:gd name="T2" fmla="*/ 319 w 755"/>
                  <a:gd name="T3" fmla="*/ 437 h 726"/>
                  <a:gd name="T4" fmla="*/ 112 w 755"/>
                  <a:gd name="T5" fmla="*/ 726 h 726"/>
                  <a:gd name="T6" fmla="*/ 75 w 755"/>
                  <a:gd name="T7" fmla="*/ 678 h 726"/>
                  <a:gd name="T8" fmla="*/ 280 w 755"/>
                  <a:gd name="T9" fmla="*/ 49 h 726"/>
                  <a:gd name="T10" fmla="*/ 755 w 755"/>
                  <a:gd name="T11" fmla="*/ 125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55" h="726">
                    <a:moveTo>
                      <a:pt x="755" y="125"/>
                    </a:moveTo>
                    <a:cubicBezTo>
                      <a:pt x="579" y="153"/>
                      <a:pt x="345" y="269"/>
                      <a:pt x="319" y="437"/>
                    </a:cubicBezTo>
                    <a:cubicBezTo>
                      <a:pt x="291" y="616"/>
                      <a:pt x="168" y="698"/>
                      <a:pt x="112" y="726"/>
                    </a:cubicBezTo>
                    <a:cubicBezTo>
                      <a:pt x="96" y="711"/>
                      <a:pt x="83" y="695"/>
                      <a:pt x="75" y="678"/>
                    </a:cubicBezTo>
                    <a:cubicBezTo>
                      <a:pt x="0" y="531"/>
                      <a:pt x="132" y="124"/>
                      <a:pt x="280" y="49"/>
                    </a:cubicBezTo>
                    <a:cubicBezTo>
                      <a:pt x="376" y="0"/>
                      <a:pt x="568" y="51"/>
                      <a:pt x="755" y="125"/>
                    </a:cubicBezTo>
                    <a:close/>
                  </a:path>
                </a:pathLst>
              </a:custGeom>
              <a:solidFill>
                <a:srgbClr val="372F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3" name="Freeform 41">
                <a:extLst>
                  <a:ext uri="{FF2B5EF4-FFF2-40B4-BE49-F238E27FC236}">
                    <a16:creationId xmlns:a16="http://schemas.microsoft.com/office/drawing/2014/main" id="{F05E0716-859C-44C2-8CC1-59ED0A94C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3" y="1084"/>
                <a:ext cx="277" cy="571"/>
              </a:xfrm>
              <a:custGeom>
                <a:avLst/>
                <a:gdLst>
                  <a:gd name="T0" fmla="*/ 507 w 507"/>
                  <a:gd name="T1" fmla="*/ 53 h 1045"/>
                  <a:gd name="T2" fmla="*/ 185 w 507"/>
                  <a:gd name="T3" fmla="*/ 1045 h 1045"/>
                  <a:gd name="T4" fmla="*/ 108 w 507"/>
                  <a:gd name="T5" fmla="*/ 1020 h 1045"/>
                  <a:gd name="T6" fmla="*/ 1 w 507"/>
                  <a:gd name="T7" fmla="*/ 810 h 1045"/>
                  <a:gd name="T8" fmla="*/ 30 w 507"/>
                  <a:gd name="T9" fmla="*/ 446 h 1045"/>
                  <a:gd name="T10" fmla="*/ 220 w 507"/>
                  <a:gd name="T11" fmla="*/ 135 h 1045"/>
                  <a:gd name="T12" fmla="*/ 430 w 507"/>
                  <a:gd name="T13" fmla="*/ 28 h 1045"/>
                  <a:gd name="T14" fmla="*/ 507 w 507"/>
                  <a:gd name="T15" fmla="*/ 53 h 10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7" h="1045">
                    <a:moveTo>
                      <a:pt x="507" y="53"/>
                    </a:moveTo>
                    <a:cubicBezTo>
                      <a:pt x="185" y="1045"/>
                      <a:pt x="185" y="1045"/>
                      <a:pt x="185" y="1045"/>
                    </a:cubicBezTo>
                    <a:cubicBezTo>
                      <a:pt x="108" y="1020"/>
                      <a:pt x="108" y="1020"/>
                      <a:pt x="108" y="1020"/>
                    </a:cubicBezTo>
                    <a:cubicBezTo>
                      <a:pt x="20" y="991"/>
                      <a:pt x="2" y="869"/>
                      <a:pt x="1" y="810"/>
                    </a:cubicBezTo>
                    <a:cubicBezTo>
                      <a:pt x="0" y="719"/>
                      <a:pt x="30" y="446"/>
                      <a:pt x="30" y="446"/>
                    </a:cubicBezTo>
                    <a:cubicBezTo>
                      <a:pt x="30" y="446"/>
                      <a:pt x="166" y="208"/>
                      <a:pt x="220" y="135"/>
                    </a:cubicBezTo>
                    <a:cubicBezTo>
                      <a:pt x="255" y="88"/>
                      <a:pt x="342" y="0"/>
                      <a:pt x="430" y="28"/>
                    </a:cubicBezTo>
                    <a:lnTo>
                      <a:pt x="507" y="53"/>
                    </a:ln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4" name="Freeform 42">
                <a:extLst>
                  <a:ext uri="{FF2B5EF4-FFF2-40B4-BE49-F238E27FC236}">
                    <a16:creationId xmlns:a16="http://schemas.microsoft.com/office/drawing/2014/main" id="{C5EA4983-78FE-486E-B0B0-52A3345D6F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8" y="1124"/>
                <a:ext cx="319" cy="502"/>
              </a:xfrm>
              <a:custGeom>
                <a:avLst/>
                <a:gdLst>
                  <a:gd name="T0" fmla="*/ 530 w 583"/>
                  <a:gd name="T1" fmla="*/ 361 h 919"/>
                  <a:gd name="T2" fmla="*/ 439 w 583"/>
                  <a:gd name="T3" fmla="*/ 487 h 919"/>
                  <a:gd name="T4" fmla="*/ 400 w 583"/>
                  <a:gd name="T5" fmla="*/ 607 h 919"/>
                  <a:gd name="T6" fmla="*/ 400 w 583"/>
                  <a:gd name="T7" fmla="*/ 763 h 919"/>
                  <a:gd name="T8" fmla="*/ 78 w 583"/>
                  <a:gd name="T9" fmla="*/ 912 h 919"/>
                  <a:gd name="T10" fmla="*/ 0 w 583"/>
                  <a:gd name="T11" fmla="*/ 919 h 919"/>
                  <a:gd name="T12" fmla="*/ 299 w 583"/>
                  <a:gd name="T13" fmla="*/ 0 h 919"/>
                  <a:gd name="T14" fmla="*/ 357 w 583"/>
                  <a:gd name="T15" fmla="*/ 51 h 919"/>
                  <a:gd name="T16" fmla="*/ 530 w 583"/>
                  <a:gd name="T17" fmla="*/ 361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3" h="919">
                    <a:moveTo>
                      <a:pt x="530" y="361"/>
                    </a:moveTo>
                    <a:cubicBezTo>
                      <a:pt x="514" y="389"/>
                      <a:pt x="471" y="445"/>
                      <a:pt x="439" y="487"/>
                    </a:cubicBezTo>
                    <a:cubicBezTo>
                      <a:pt x="412" y="521"/>
                      <a:pt x="398" y="564"/>
                      <a:pt x="400" y="607"/>
                    </a:cubicBezTo>
                    <a:cubicBezTo>
                      <a:pt x="402" y="660"/>
                      <a:pt x="403" y="730"/>
                      <a:pt x="400" y="763"/>
                    </a:cubicBezTo>
                    <a:cubicBezTo>
                      <a:pt x="389" y="867"/>
                      <a:pt x="182" y="902"/>
                      <a:pt x="78" y="912"/>
                    </a:cubicBezTo>
                    <a:cubicBezTo>
                      <a:pt x="0" y="919"/>
                      <a:pt x="0" y="919"/>
                      <a:pt x="0" y="919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357" y="51"/>
                      <a:pt x="357" y="51"/>
                      <a:pt x="357" y="51"/>
                    </a:cubicBezTo>
                    <a:cubicBezTo>
                      <a:pt x="436" y="120"/>
                      <a:pt x="583" y="270"/>
                      <a:pt x="530" y="361"/>
                    </a:cubicBez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5" name="Freeform 43">
                <a:extLst>
                  <a:ext uri="{FF2B5EF4-FFF2-40B4-BE49-F238E27FC236}">
                    <a16:creationId xmlns:a16="http://schemas.microsoft.com/office/drawing/2014/main" id="{88A0CF3D-29DB-4F98-A884-0871A6CC5F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4" y="2268"/>
                <a:ext cx="632" cy="661"/>
              </a:xfrm>
              <a:custGeom>
                <a:avLst/>
                <a:gdLst>
                  <a:gd name="T0" fmla="*/ 1153 w 1155"/>
                  <a:gd name="T1" fmla="*/ 770 h 1210"/>
                  <a:gd name="T2" fmla="*/ 646 w 1155"/>
                  <a:gd name="T3" fmla="*/ 1196 h 1210"/>
                  <a:gd name="T4" fmla="*/ 439 w 1155"/>
                  <a:gd name="T5" fmla="*/ 1065 h 1210"/>
                  <a:gd name="T6" fmla="*/ 284 w 1155"/>
                  <a:gd name="T7" fmla="*/ 879 h 1210"/>
                  <a:gd name="T8" fmla="*/ 0 w 1155"/>
                  <a:gd name="T9" fmla="*/ 426 h 1210"/>
                  <a:gd name="T10" fmla="*/ 507 w 1155"/>
                  <a:gd name="T11" fmla="*/ 0 h 1210"/>
                  <a:gd name="T12" fmla="*/ 855 w 1155"/>
                  <a:gd name="T13" fmla="*/ 307 h 1210"/>
                  <a:gd name="T14" fmla="*/ 996 w 1155"/>
                  <a:gd name="T15" fmla="*/ 460 h 1210"/>
                  <a:gd name="T16" fmla="*/ 1147 w 1155"/>
                  <a:gd name="T17" fmla="*/ 711 h 1210"/>
                  <a:gd name="T18" fmla="*/ 1153 w 1155"/>
                  <a:gd name="T19" fmla="*/ 770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5" h="1210">
                    <a:moveTo>
                      <a:pt x="1153" y="770"/>
                    </a:moveTo>
                    <a:cubicBezTo>
                      <a:pt x="1139" y="935"/>
                      <a:pt x="811" y="1210"/>
                      <a:pt x="646" y="1196"/>
                    </a:cubicBezTo>
                    <a:cubicBezTo>
                      <a:pt x="584" y="1190"/>
                      <a:pt x="512" y="1139"/>
                      <a:pt x="439" y="1065"/>
                    </a:cubicBezTo>
                    <a:cubicBezTo>
                      <a:pt x="386" y="1012"/>
                      <a:pt x="334" y="947"/>
                      <a:pt x="284" y="879"/>
                    </a:cubicBezTo>
                    <a:cubicBezTo>
                      <a:pt x="128" y="667"/>
                      <a:pt x="0" y="426"/>
                      <a:pt x="0" y="426"/>
                    </a:cubicBezTo>
                    <a:cubicBezTo>
                      <a:pt x="507" y="0"/>
                      <a:pt x="507" y="0"/>
                      <a:pt x="507" y="0"/>
                    </a:cubicBezTo>
                    <a:cubicBezTo>
                      <a:pt x="507" y="0"/>
                      <a:pt x="686" y="139"/>
                      <a:pt x="855" y="307"/>
                    </a:cubicBezTo>
                    <a:cubicBezTo>
                      <a:pt x="904" y="357"/>
                      <a:pt x="953" y="408"/>
                      <a:pt x="996" y="460"/>
                    </a:cubicBezTo>
                    <a:cubicBezTo>
                      <a:pt x="1070" y="548"/>
                      <a:pt x="1129" y="637"/>
                      <a:pt x="1147" y="711"/>
                    </a:cubicBezTo>
                    <a:cubicBezTo>
                      <a:pt x="1153" y="732"/>
                      <a:pt x="1155" y="752"/>
                      <a:pt x="1153" y="770"/>
                    </a:cubicBez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6" name="Freeform 44">
                <a:extLst>
                  <a:ext uri="{FF2B5EF4-FFF2-40B4-BE49-F238E27FC236}">
                    <a16:creationId xmlns:a16="http://schemas.microsoft.com/office/drawing/2014/main" id="{CDBB5449-D19B-4035-9AB5-CF4F41C729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5" y="2520"/>
                <a:ext cx="391" cy="409"/>
              </a:xfrm>
              <a:custGeom>
                <a:avLst/>
                <a:gdLst>
                  <a:gd name="T0" fmla="*/ 714 w 716"/>
                  <a:gd name="T1" fmla="*/ 310 h 750"/>
                  <a:gd name="T2" fmla="*/ 207 w 716"/>
                  <a:gd name="T3" fmla="*/ 736 h 750"/>
                  <a:gd name="T4" fmla="*/ 0 w 716"/>
                  <a:gd name="T5" fmla="*/ 605 h 750"/>
                  <a:gd name="T6" fmla="*/ 371 w 716"/>
                  <a:gd name="T7" fmla="*/ 346 h 750"/>
                  <a:gd name="T8" fmla="*/ 557 w 716"/>
                  <a:gd name="T9" fmla="*/ 0 h 750"/>
                  <a:gd name="T10" fmla="*/ 708 w 716"/>
                  <a:gd name="T11" fmla="*/ 251 h 750"/>
                  <a:gd name="T12" fmla="*/ 714 w 716"/>
                  <a:gd name="T13" fmla="*/ 31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6" h="750">
                    <a:moveTo>
                      <a:pt x="714" y="310"/>
                    </a:moveTo>
                    <a:cubicBezTo>
                      <a:pt x="700" y="475"/>
                      <a:pt x="372" y="750"/>
                      <a:pt x="207" y="736"/>
                    </a:cubicBezTo>
                    <a:cubicBezTo>
                      <a:pt x="145" y="730"/>
                      <a:pt x="73" y="679"/>
                      <a:pt x="0" y="605"/>
                    </a:cubicBezTo>
                    <a:cubicBezTo>
                      <a:pt x="168" y="609"/>
                      <a:pt x="368" y="481"/>
                      <a:pt x="371" y="346"/>
                    </a:cubicBezTo>
                    <a:cubicBezTo>
                      <a:pt x="375" y="174"/>
                      <a:pt x="483" y="79"/>
                      <a:pt x="557" y="0"/>
                    </a:cubicBezTo>
                    <a:cubicBezTo>
                      <a:pt x="631" y="88"/>
                      <a:pt x="690" y="177"/>
                      <a:pt x="708" y="251"/>
                    </a:cubicBezTo>
                    <a:cubicBezTo>
                      <a:pt x="714" y="272"/>
                      <a:pt x="716" y="292"/>
                      <a:pt x="714" y="310"/>
                    </a:cubicBezTo>
                    <a:close/>
                  </a:path>
                </a:pathLst>
              </a:custGeom>
              <a:solidFill>
                <a:srgbClr val="EC40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7" name="Freeform 45">
                <a:extLst>
                  <a:ext uri="{FF2B5EF4-FFF2-40B4-BE49-F238E27FC236}">
                    <a16:creationId xmlns:a16="http://schemas.microsoft.com/office/drawing/2014/main" id="{35AE25BB-1973-4B47-B8E9-E4715CE4E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2" y="2695"/>
                <a:ext cx="499" cy="438"/>
              </a:xfrm>
              <a:custGeom>
                <a:avLst/>
                <a:gdLst>
                  <a:gd name="T0" fmla="*/ 0 w 910"/>
                  <a:gd name="T1" fmla="*/ 670 h 803"/>
                  <a:gd name="T2" fmla="*/ 799 w 910"/>
                  <a:gd name="T3" fmla="*/ 0 h 803"/>
                  <a:gd name="T4" fmla="*/ 851 w 910"/>
                  <a:gd name="T5" fmla="*/ 62 h 803"/>
                  <a:gd name="T6" fmla="*/ 831 w 910"/>
                  <a:gd name="T7" fmla="*/ 297 h 803"/>
                  <a:gd name="T8" fmla="*/ 614 w 910"/>
                  <a:gd name="T9" fmla="*/ 590 h 803"/>
                  <a:gd name="T10" fmla="*/ 287 w 910"/>
                  <a:gd name="T11" fmla="*/ 753 h 803"/>
                  <a:gd name="T12" fmla="*/ 53 w 910"/>
                  <a:gd name="T13" fmla="*/ 732 h 803"/>
                  <a:gd name="T14" fmla="*/ 0 w 910"/>
                  <a:gd name="T15" fmla="*/ 670 h 8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0" h="803">
                    <a:moveTo>
                      <a:pt x="0" y="670"/>
                    </a:moveTo>
                    <a:cubicBezTo>
                      <a:pt x="799" y="0"/>
                      <a:pt x="799" y="0"/>
                      <a:pt x="799" y="0"/>
                    </a:cubicBezTo>
                    <a:cubicBezTo>
                      <a:pt x="851" y="62"/>
                      <a:pt x="851" y="62"/>
                      <a:pt x="851" y="62"/>
                    </a:cubicBezTo>
                    <a:cubicBezTo>
                      <a:pt x="910" y="133"/>
                      <a:pt x="861" y="246"/>
                      <a:pt x="831" y="297"/>
                    </a:cubicBezTo>
                    <a:cubicBezTo>
                      <a:pt x="784" y="375"/>
                      <a:pt x="614" y="590"/>
                      <a:pt x="614" y="590"/>
                    </a:cubicBezTo>
                    <a:cubicBezTo>
                      <a:pt x="614" y="590"/>
                      <a:pt x="372" y="720"/>
                      <a:pt x="287" y="753"/>
                    </a:cubicBezTo>
                    <a:cubicBezTo>
                      <a:pt x="232" y="774"/>
                      <a:pt x="112" y="803"/>
                      <a:pt x="53" y="732"/>
                    </a:cubicBezTo>
                    <a:lnTo>
                      <a:pt x="0" y="670"/>
                    </a:ln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8" name="Freeform 46">
                <a:extLst>
                  <a:ext uri="{FF2B5EF4-FFF2-40B4-BE49-F238E27FC236}">
                    <a16:creationId xmlns:a16="http://schemas.microsoft.com/office/drawing/2014/main" id="{0607F2B9-52D5-46E4-B79A-412D7CFB54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" y="2651"/>
                <a:ext cx="459" cy="428"/>
              </a:xfrm>
              <a:custGeom>
                <a:avLst/>
                <a:gdLst>
                  <a:gd name="T0" fmla="*/ 92 w 837"/>
                  <a:gd name="T1" fmla="*/ 354 h 783"/>
                  <a:gd name="T2" fmla="*/ 237 w 837"/>
                  <a:gd name="T3" fmla="*/ 296 h 783"/>
                  <a:gd name="T4" fmla="*/ 333 w 837"/>
                  <a:gd name="T5" fmla="*/ 215 h 783"/>
                  <a:gd name="T6" fmla="*/ 416 w 837"/>
                  <a:gd name="T7" fmla="*/ 83 h 783"/>
                  <a:gd name="T8" fmla="*/ 768 w 837"/>
                  <a:gd name="T9" fmla="*/ 127 h 783"/>
                  <a:gd name="T10" fmla="*/ 837 w 837"/>
                  <a:gd name="T11" fmla="*/ 162 h 783"/>
                  <a:gd name="T12" fmla="*/ 97 w 837"/>
                  <a:gd name="T13" fmla="*/ 783 h 783"/>
                  <a:gd name="T14" fmla="*/ 75 w 837"/>
                  <a:gd name="T15" fmla="*/ 709 h 783"/>
                  <a:gd name="T16" fmla="*/ 92 w 837"/>
                  <a:gd name="T17" fmla="*/ 354 h 7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37" h="783">
                    <a:moveTo>
                      <a:pt x="92" y="354"/>
                    </a:moveTo>
                    <a:cubicBezTo>
                      <a:pt x="121" y="339"/>
                      <a:pt x="187" y="314"/>
                      <a:pt x="237" y="296"/>
                    </a:cubicBezTo>
                    <a:cubicBezTo>
                      <a:pt x="277" y="281"/>
                      <a:pt x="311" y="252"/>
                      <a:pt x="333" y="215"/>
                    </a:cubicBezTo>
                    <a:cubicBezTo>
                      <a:pt x="360" y="169"/>
                      <a:pt x="396" y="109"/>
                      <a:pt x="416" y="83"/>
                    </a:cubicBezTo>
                    <a:cubicBezTo>
                      <a:pt x="480" y="0"/>
                      <a:pt x="674" y="80"/>
                      <a:pt x="768" y="127"/>
                    </a:cubicBezTo>
                    <a:cubicBezTo>
                      <a:pt x="837" y="162"/>
                      <a:pt x="837" y="162"/>
                      <a:pt x="837" y="162"/>
                    </a:cubicBezTo>
                    <a:cubicBezTo>
                      <a:pt x="97" y="783"/>
                      <a:pt x="97" y="783"/>
                      <a:pt x="97" y="783"/>
                    </a:cubicBezTo>
                    <a:cubicBezTo>
                      <a:pt x="75" y="709"/>
                      <a:pt x="75" y="709"/>
                      <a:pt x="75" y="709"/>
                    </a:cubicBezTo>
                    <a:cubicBezTo>
                      <a:pt x="45" y="608"/>
                      <a:pt x="0" y="403"/>
                      <a:pt x="92" y="354"/>
                    </a:cubicBez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9" name="Freeform 47">
                <a:extLst>
                  <a:ext uri="{FF2B5EF4-FFF2-40B4-BE49-F238E27FC236}">
                    <a16:creationId xmlns:a16="http://schemas.microsoft.com/office/drawing/2014/main" id="{F5BD1795-2483-49C4-B803-BF4627B2C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2" y="2240"/>
                <a:ext cx="709" cy="722"/>
              </a:xfrm>
              <a:custGeom>
                <a:avLst/>
                <a:gdLst>
                  <a:gd name="T0" fmla="*/ 772 w 1295"/>
                  <a:gd name="T1" fmla="*/ 0 h 1324"/>
                  <a:gd name="T2" fmla="*/ 987 w 1295"/>
                  <a:gd name="T3" fmla="*/ 181 h 1324"/>
                  <a:gd name="T4" fmla="*/ 474 w 1295"/>
                  <a:gd name="T5" fmla="*/ 832 h 1324"/>
                  <a:gd name="T6" fmla="*/ 369 w 1295"/>
                  <a:gd name="T7" fmla="*/ 1007 h 1324"/>
                  <a:gd name="T8" fmla="*/ 506 w 1295"/>
                  <a:gd name="T9" fmla="*/ 879 h 1324"/>
                  <a:gd name="T10" fmla="*/ 1058 w 1295"/>
                  <a:gd name="T11" fmla="*/ 241 h 1324"/>
                  <a:gd name="T12" fmla="*/ 1295 w 1295"/>
                  <a:gd name="T13" fmla="*/ 440 h 1324"/>
                  <a:gd name="T14" fmla="*/ 657 w 1295"/>
                  <a:gd name="T15" fmla="*/ 1323 h 1324"/>
                  <a:gd name="T16" fmla="*/ 12 w 1295"/>
                  <a:gd name="T17" fmla="*/ 782 h 1324"/>
                  <a:gd name="T18" fmla="*/ 772 w 1295"/>
                  <a:gd name="T19" fmla="*/ 0 h 1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95" h="1324">
                    <a:moveTo>
                      <a:pt x="772" y="0"/>
                    </a:moveTo>
                    <a:cubicBezTo>
                      <a:pt x="987" y="181"/>
                      <a:pt x="987" y="181"/>
                      <a:pt x="987" y="181"/>
                    </a:cubicBezTo>
                    <a:cubicBezTo>
                      <a:pt x="987" y="181"/>
                      <a:pt x="651" y="589"/>
                      <a:pt x="474" y="832"/>
                    </a:cubicBezTo>
                    <a:cubicBezTo>
                      <a:pt x="404" y="928"/>
                      <a:pt x="358" y="998"/>
                      <a:pt x="369" y="1007"/>
                    </a:cubicBezTo>
                    <a:cubicBezTo>
                      <a:pt x="377" y="1013"/>
                      <a:pt x="431" y="960"/>
                      <a:pt x="506" y="879"/>
                    </a:cubicBezTo>
                    <a:cubicBezTo>
                      <a:pt x="708" y="660"/>
                      <a:pt x="1058" y="241"/>
                      <a:pt x="1058" y="241"/>
                    </a:cubicBezTo>
                    <a:cubicBezTo>
                      <a:pt x="1295" y="440"/>
                      <a:pt x="1295" y="440"/>
                      <a:pt x="1295" y="440"/>
                    </a:cubicBezTo>
                    <a:cubicBezTo>
                      <a:pt x="1295" y="440"/>
                      <a:pt x="743" y="1324"/>
                      <a:pt x="657" y="1323"/>
                    </a:cubicBezTo>
                    <a:cubicBezTo>
                      <a:pt x="469" y="1322"/>
                      <a:pt x="32" y="961"/>
                      <a:pt x="12" y="782"/>
                    </a:cubicBezTo>
                    <a:cubicBezTo>
                      <a:pt x="0" y="675"/>
                      <a:pt x="772" y="0"/>
                      <a:pt x="772" y="0"/>
                    </a:cubicBezTo>
                  </a:path>
                </a:pathLst>
              </a:custGeom>
              <a:solidFill>
                <a:srgbClr val="213C4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0" name="Freeform 48">
                <a:extLst>
                  <a:ext uri="{FF2B5EF4-FFF2-40B4-BE49-F238E27FC236}">
                    <a16:creationId xmlns:a16="http://schemas.microsoft.com/office/drawing/2014/main" id="{263482B7-8058-45E6-8794-89CD4192F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5" y="2460"/>
                <a:ext cx="430" cy="502"/>
              </a:xfrm>
              <a:custGeom>
                <a:avLst/>
                <a:gdLst>
                  <a:gd name="T0" fmla="*/ 326 w 785"/>
                  <a:gd name="T1" fmla="*/ 0 h 919"/>
                  <a:gd name="T2" fmla="*/ 516 w 785"/>
                  <a:gd name="T3" fmla="*/ 363 h 919"/>
                  <a:gd name="T4" fmla="*/ 468 w 785"/>
                  <a:gd name="T5" fmla="*/ 427 h 919"/>
                  <a:gd name="T6" fmla="*/ 363 w 785"/>
                  <a:gd name="T7" fmla="*/ 603 h 919"/>
                  <a:gd name="T8" fmla="*/ 500 w 785"/>
                  <a:gd name="T9" fmla="*/ 475 h 919"/>
                  <a:gd name="T10" fmla="*/ 549 w 785"/>
                  <a:gd name="T11" fmla="*/ 421 h 919"/>
                  <a:gd name="T12" fmla="*/ 785 w 785"/>
                  <a:gd name="T13" fmla="*/ 784 h 919"/>
                  <a:gd name="T14" fmla="*/ 651 w 785"/>
                  <a:gd name="T15" fmla="*/ 919 h 919"/>
                  <a:gd name="T16" fmla="*/ 6 w 785"/>
                  <a:gd name="T17" fmla="*/ 378 h 919"/>
                  <a:gd name="T18" fmla="*/ 326 w 785"/>
                  <a:gd name="T19" fmla="*/ 0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5" h="919">
                    <a:moveTo>
                      <a:pt x="326" y="0"/>
                    </a:moveTo>
                    <a:cubicBezTo>
                      <a:pt x="384" y="118"/>
                      <a:pt x="449" y="243"/>
                      <a:pt x="516" y="363"/>
                    </a:cubicBezTo>
                    <a:cubicBezTo>
                      <a:pt x="499" y="385"/>
                      <a:pt x="483" y="407"/>
                      <a:pt x="468" y="427"/>
                    </a:cubicBezTo>
                    <a:cubicBezTo>
                      <a:pt x="398" y="524"/>
                      <a:pt x="352" y="594"/>
                      <a:pt x="363" y="603"/>
                    </a:cubicBezTo>
                    <a:cubicBezTo>
                      <a:pt x="371" y="609"/>
                      <a:pt x="425" y="556"/>
                      <a:pt x="500" y="475"/>
                    </a:cubicBezTo>
                    <a:cubicBezTo>
                      <a:pt x="516" y="458"/>
                      <a:pt x="532" y="440"/>
                      <a:pt x="549" y="421"/>
                    </a:cubicBezTo>
                    <a:cubicBezTo>
                      <a:pt x="629" y="560"/>
                      <a:pt x="710" y="689"/>
                      <a:pt x="785" y="784"/>
                    </a:cubicBezTo>
                    <a:cubicBezTo>
                      <a:pt x="722" y="866"/>
                      <a:pt x="672" y="919"/>
                      <a:pt x="651" y="919"/>
                    </a:cubicBezTo>
                    <a:cubicBezTo>
                      <a:pt x="463" y="918"/>
                      <a:pt x="26" y="557"/>
                      <a:pt x="6" y="378"/>
                    </a:cubicBezTo>
                    <a:cubicBezTo>
                      <a:pt x="0" y="330"/>
                      <a:pt x="155" y="166"/>
                      <a:pt x="326" y="0"/>
                    </a:cubicBezTo>
                    <a:close/>
                  </a:path>
                </a:pathLst>
              </a:custGeom>
              <a:solidFill>
                <a:srgbClr val="1B33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1" name="Freeform 49">
                <a:extLst>
                  <a:ext uri="{FF2B5EF4-FFF2-40B4-BE49-F238E27FC236}">
                    <a16:creationId xmlns:a16="http://schemas.microsoft.com/office/drawing/2014/main" id="{EE5AAC3D-3209-4B7B-A086-4B4B2BA22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2" y="2627"/>
                <a:ext cx="614" cy="548"/>
              </a:xfrm>
              <a:custGeom>
                <a:avLst/>
                <a:gdLst>
                  <a:gd name="T0" fmla="*/ 176 w 1122"/>
                  <a:gd name="T1" fmla="*/ 0 h 1004"/>
                  <a:gd name="T2" fmla="*/ 1122 w 1122"/>
                  <a:gd name="T3" fmla="*/ 793 h 1004"/>
                  <a:gd name="T4" fmla="*/ 1021 w 1122"/>
                  <a:gd name="T5" fmla="*/ 914 h 1004"/>
                  <a:gd name="T6" fmla="*/ 410 w 1122"/>
                  <a:gd name="T7" fmla="*/ 682 h 1004"/>
                  <a:gd name="T8" fmla="*/ 75 w 1122"/>
                  <a:gd name="T9" fmla="*/ 120 h 1004"/>
                  <a:gd name="T10" fmla="*/ 176 w 1122"/>
                  <a:gd name="T11" fmla="*/ 0 h 1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22" h="1004">
                    <a:moveTo>
                      <a:pt x="176" y="0"/>
                    </a:moveTo>
                    <a:cubicBezTo>
                      <a:pt x="1122" y="793"/>
                      <a:pt x="1122" y="793"/>
                      <a:pt x="1122" y="793"/>
                    </a:cubicBezTo>
                    <a:cubicBezTo>
                      <a:pt x="1021" y="914"/>
                      <a:pt x="1021" y="914"/>
                      <a:pt x="1021" y="914"/>
                    </a:cubicBezTo>
                    <a:cubicBezTo>
                      <a:pt x="946" y="1004"/>
                      <a:pt x="699" y="924"/>
                      <a:pt x="410" y="682"/>
                    </a:cubicBezTo>
                    <a:cubicBezTo>
                      <a:pt x="105" y="426"/>
                      <a:pt x="0" y="210"/>
                      <a:pt x="75" y="120"/>
                    </a:cubicBezTo>
                    <a:cubicBezTo>
                      <a:pt x="92" y="100"/>
                      <a:pt x="176" y="0"/>
                      <a:pt x="176" y="0"/>
                    </a:cubicBezTo>
                    <a:close/>
                  </a:path>
                </a:pathLst>
              </a:custGeom>
              <a:solidFill>
                <a:srgbClr val="4470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2" name="Freeform 50">
                <a:extLst>
                  <a:ext uri="{FF2B5EF4-FFF2-40B4-BE49-F238E27FC236}">
                    <a16:creationId xmlns:a16="http://schemas.microsoft.com/office/drawing/2014/main" id="{1F56ABCF-2BC2-41A6-8E90-EB4A758B57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9" y="2610"/>
                <a:ext cx="490" cy="441"/>
              </a:xfrm>
              <a:custGeom>
                <a:avLst/>
                <a:gdLst>
                  <a:gd name="T0" fmla="*/ 420 w 896"/>
                  <a:gd name="T1" fmla="*/ 86 h 808"/>
                  <a:gd name="T2" fmla="*/ 783 w 896"/>
                  <a:gd name="T3" fmla="*/ 390 h 808"/>
                  <a:gd name="T4" fmla="*/ 859 w 896"/>
                  <a:gd name="T5" fmla="*/ 651 h 808"/>
                  <a:gd name="T6" fmla="*/ 830 w 896"/>
                  <a:gd name="T7" fmla="*/ 808 h 808"/>
                  <a:gd name="T8" fmla="*/ 0 w 896"/>
                  <a:gd name="T9" fmla="*/ 111 h 808"/>
                  <a:gd name="T10" fmla="*/ 150 w 896"/>
                  <a:gd name="T11" fmla="*/ 56 h 808"/>
                  <a:gd name="T12" fmla="*/ 420 w 896"/>
                  <a:gd name="T13" fmla="*/ 86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96" h="808">
                    <a:moveTo>
                      <a:pt x="420" y="86"/>
                    </a:moveTo>
                    <a:cubicBezTo>
                      <a:pt x="512" y="160"/>
                      <a:pt x="693" y="313"/>
                      <a:pt x="783" y="390"/>
                    </a:cubicBezTo>
                    <a:cubicBezTo>
                      <a:pt x="838" y="439"/>
                      <a:pt x="896" y="541"/>
                      <a:pt x="859" y="651"/>
                    </a:cubicBezTo>
                    <a:cubicBezTo>
                      <a:pt x="830" y="808"/>
                      <a:pt x="830" y="808"/>
                      <a:pt x="830" y="808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252" y="0"/>
                      <a:pt x="362" y="39"/>
                      <a:pt x="420" y="86"/>
                    </a:cubicBezTo>
                    <a:close/>
                  </a:path>
                </a:pathLst>
              </a:custGeom>
              <a:solidFill>
                <a:srgbClr val="4470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3" name="Freeform 51">
                <a:extLst>
                  <a:ext uri="{FF2B5EF4-FFF2-40B4-BE49-F238E27FC236}">
                    <a16:creationId xmlns:a16="http://schemas.microsoft.com/office/drawing/2014/main" id="{7E7A7239-7E27-4D36-9211-068044E882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4" y="2684"/>
                <a:ext cx="407" cy="405"/>
              </a:xfrm>
              <a:custGeom>
                <a:avLst/>
                <a:gdLst>
                  <a:gd name="T0" fmla="*/ 126 w 743"/>
                  <a:gd name="T1" fmla="*/ 179 h 741"/>
                  <a:gd name="T2" fmla="*/ 599 w 743"/>
                  <a:gd name="T3" fmla="*/ 114 h 741"/>
                  <a:gd name="T4" fmla="*/ 617 w 743"/>
                  <a:gd name="T5" fmla="*/ 591 h 741"/>
                  <a:gd name="T6" fmla="*/ 172 w 743"/>
                  <a:gd name="T7" fmla="*/ 623 h 741"/>
                  <a:gd name="T8" fmla="*/ 126 w 743"/>
                  <a:gd name="T9" fmla="*/ 179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3" h="741">
                    <a:moveTo>
                      <a:pt x="126" y="179"/>
                    </a:moveTo>
                    <a:cubicBezTo>
                      <a:pt x="251" y="29"/>
                      <a:pt x="463" y="0"/>
                      <a:pt x="599" y="114"/>
                    </a:cubicBezTo>
                    <a:cubicBezTo>
                      <a:pt x="735" y="228"/>
                      <a:pt x="743" y="442"/>
                      <a:pt x="617" y="591"/>
                    </a:cubicBezTo>
                    <a:cubicBezTo>
                      <a:pt x="491" y="741"/>
                      <a:pt x="307" y="737"/>
                      <a:pt x="172" y="623"/>
                    </a:cubicBezTo>
                    <a:cubicBezTo>
                      <a:pt x="36" y="509"/>
                      <a:pt x="0" y="329"/>
                      <a:pt x="126" y="179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" name="Freeform 52">
                <a:extLst>
                  <a:ext uri="{FF2B5EF4-FFF2-40B4-BE49-F238E27FC236}">
                    <a16:creationId xmlns:a16="http://schemas.microsoft.com/office/drawing/2014/main" id="{B158B3FC-FF73-4F0B-B547-E7B5ADB0A1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9" y="2723"/>
                <a:ext cx="442" cy="405"/>
              </a:xfrm>
              <a:custGeom>
                <a:avLst/>
                <a:gdLst>
                  <a:gd name="T0" fmla="*/ 142 w 806"/>
                  <a:gd name="T1" fmla="*/ 134 h 741"/>
                  <a:gd name="T2" fmla="*/ 365 w 806"/>
                  <a:gd name="T3" fmla="*/ 4 h 741"/>
                  <a:gd name="T4" fmla="*/ 457 w 806"/>
                  <a:gd name="T5" fmla="*/ 57 h 741"/>
                  <a:gd name="T6" fmla="*/ 637 w 806"/>
                  <a:gd name="T7" fmla="*/ 74 h 741"/>
                  <a:gd name="T8" fmla="*/ 664 w 806"/>
                  <a:gd name="T9" fmla="*/ 572 h 741"/>
                  <a:gd name="T10" fmla="*/ 223 w 806"/>
                  <a:gd name="T11" fmla="*/ 568 h 741"/>
                  <a:gd name="T12" fmla="*/ 142 w 806"/>
                  <a:gd name="T13" fmla="*/ 134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6" h="741">
                    <a:moveTo>
                      <a:pt x="142" y="134"/>
                    </a:moveTo>
                    <a:cubicBezTo>
                      <a:pt x="208" y="54"/>
                      <a:pt x="292" y="0"/>
                      <a:pt x="365" y="4"/>
                    </a:cubicBezTo>
                    <a:cubicBezTo>
                      <a:pt x="400" y="6"/>
                      <a:pt x="419" y="49"/>
                      <a:pt x="457" y="57"/>
                    </a:cubicBezTo>
                    <a:cubicBezTo>
                      <a:pt x="510" y="69"/>
                      <a:pt x="552" y="4"/>
                      <a:pt x="637" y="74"/>
                    </a:cubicBezTo>
                    <a:cubicBezTo>
                      <a:pt x="783" y="194"/>
                      <a:pt x="806" y="403"/>
                      <a:pt x="664" y="572"/>
                    </a:cubicBezTo>
                    <a:cubicBezTo>
                      <a:pt x="522" y="741"/>
                      <a:pt x="367" y="689"/>
                      <a:pt x="223" y="568"/>
                    </a:cubicBezTo>
                    <a:cubicBezTo>
                      <a:pt x="78" y="447"/>
                      <a:pt x="0" y="303"/>
                      <a:pt x="142" y="134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" name="Freeform 53">
                <a:extLst>
                  <a:ext uri="{FF2B5EF4-FFF2-40B4-BE49-F238E27FC236}">
                    <a16:creationId xmlns:a16="http://schemas.microsoft.com/office/drawing/2014/main" id="{16413F5E-70EB-47F8-8FC2-807885A30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5" y="2743"/>
                <a:ext cx="374" cy="361"/>
              </a:xfrm>
              <a:custGeom>
                <a:avLst/>
                <a:gdLst>
                  <a:gd name="T0" fmla="*/ 127 w 684"/>
                  <a:gd name="T1" fmla="*/ 177 h 661"/>
                  <a:gd name="T2" fmla="*/ 314 w 684"/>
                  <a:gd name="T3" fmla="*/ 49 h 661"/>
                  <a:gd name="T4" fmla="*/ 390 w 684"/>
                  <a:gd name="T5" fmla="*/ 69 h 661"/>
                  <a:gd name="T6" fmla="*/ 533 w 684"/>
                  <a:gd name="T7" fmla="*/ 62 h 661"/>
                  <a:gd name="T8" fmla="*/ 557 w 684"/>
                  <a:gd name="T9" fmla="*/ 510 h 661"/>
                  <a:gd name="T10" fmla="*/ 161 w 684"/>
                  <a:gd name="T11" fmla="*/ 506 h 661"/>
                  <a:gd name="T12" fmla="*/ 127 w 684"/>
                  <a:gd name="T13" fmla="*/ 177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4" h="661">
                    <a:moveTo>
                      <a:pt x="127" y="177"/>
                    </a:moveTo>
                    <a:cubicBezTo>
                      <a:pt x="187" y="105"/>
                      <a:pt x="248" y="45"/>
                      <a:pt x="314" y="49"/>
                    </a:cubicBezTo>
                    <a:cubicBezTo>
                      <a:pt x="345" y="51"/>
                      <a:pt x="356" y="62"/>
                      <a:pt x="390" y="69"/>
                    </a:cubicBezTo>
                    <a:cubicBezTo>
                      <a:pt x="437" y="79"/>
                      <a:pt x="456" y="0"/>
                      <a:pt x="533" y="62"/>
                    </a:cubicBezTo>
                    <a:cubicBezTo>
                      <a:pt x="663" y="170"/>
                      <a:pt x="684" y="358"/>
                      <a:pt x="557" y="510"/>
                    </a:cubicBezTo>
                    <a:cubicBezTo>
                      <a:pt x="430" y="661"/>
                      <a:pt x="290" y="614"/>
                      <a:pt x="161" y="506"/>
                    </a:cubicBezTo>
                    <a:cubicBezTo>
                      <a:pt x="31" y="397"/>
                      <a:pt x="0" y="328"/>
                      <a:pt x="127" y="177"/>
                    </a:cubicBezTo>
                    <a:close/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" name="Freeform 54">
                <a:extLst>
                  <a:ext uri="{FF2B5EF4-FFF2-40B4-BE49-F238E27FC236}">
                    <a16:creationId xmlns:a16="http://schemas.microsoft.com/office/drawing/2014/main" id="{E75F928F-EF38-4B9F-AB97-0B873C8BDA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" y="2713"/>
                <a:ext cx="81" cy="80"/>
              </a:xfrm>
              <a:custGeom>
                <a:avLst/>
                <a:gdLst>
                  <a:gd name="T0" fmla="*/ 141 w 147"/>
                  <a:gd name="T1" fmla="*/ 61 h 147"/>
                  <a:gd name="T2" fmla="*/ 126 w 147"/>
                  <a:gd name="T3" fmla="*/ 147 h 147"/>
                  <a:gd name="T4" fmla="*/ 0 w 147"/>
                  <a:gd name="T5" fmla="*/ 41 h 147"/>
                  <a:gd name="T6" fmla="*/ 82 w 147"/>
                  <a:gd name="T7" fmla="*/ 11 h 147"/>
                  <a:gd name="T8" fmla="*/ 141 w 147"/>
                  <a:gd name="T9" fmla="*/ 61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7" h="147">
                    <a:moveTo>
                      <a:pt x="141" y="61"/>
                    </a:moveTo>
                    <a:cubicBezTo>
                      <a:pt x="126" y="147"/>
                      <a:pt x="126" y="147"/>
                      <a:pt x="126" y="147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114" y="0"/>
                      <a:pt x="147" y="27"/>
                      <a:pt x="141" y="61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" name="Freeform 55">
                <a:extLst>
                  <a:ext uri="{FF2B5EF4-FFF2-40B4-BE49-F238E27FC236}">
                    <a16:creationId xmlns:a16="http://schemas.microsoft.com/office/drawing/2014/main" id="{0ACBDDBE-62B5-4CC6-966D-5C280ABF8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4" y="483"/>
                <a:ext cx="539" cy="661"/>
              </a:xfrm>
              <a:custGeom>
                <a:avLst/>
                <a:gdLst>
                  <a:gd name="T0" fmla="*/ 829 w 986"/>
                  <a:gd name="T1" fmla="*/ 1211 h 1211"/>
                  <a:gd name="T2" fmla="*/ 547 w 986"/>
                  <a:gd name="T3" fmla="*/ 1211 h 1211"/>
                  <a:gd name="T4" fmla="*/ 522 w 986"/>
                  <a:gd name="T5" fmla="*/ 383 h 1211"/>
                  <a:gd name="T6" fmla="*/ 490 w 986"/>
                  <a:gd name="T7" fmla="*/ 181 h 1211"/>
                  <a:gd name="T8" fmla="*/ 467 w 986"/>
                  <a:gd name="T9" fmla="*/ 367 h 1211"/>
                  <a:gd name="T10" fmla="*/ 454 w 986"/>
                  <a:gd name="T11" fmla="*/ 1211 h 1211"/>
                  <a:gd name="T12" fmla="*/ 145 w 986"/>
                  <a:gd name="T13" fmla="*/ 1211 h 1211"/>
                  <a:gd name="T14" fmla="*/ 66 w 986"/>
                  <a:gd name="T15" fmla="*/ 124 h 1211"/>
                  <a:gd name="T16" fmla="*/ 908 w 986"/>
                  <a:gd name="T17" fmla="*/ 124 h 1211"/>
                  <a:gd name="T18" fmla="*/ 829 w 986"/>
                  <a:gd name="T19" fmla="*/ 1211 h 1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86" h="1211">
                    <a:moveTo>
                      <a:pt x="829" y="1211"/>
                    </a:moveTo>
                    <a:cubicBezTo>
                      <a:pt x="547" y="1211"/>
                      <a:pt x="547" y="1211"/>
                      <a:pt x="547" y="1211"/>
                    </a:cubicBezTo>
                    <a:cubicBezTo>
                      <a:pt x="547" y="1211"/>
                      <a:pt x="543" y="683"/>
                      <a:pt x="522" y="383"/>
                    </a:cubicBezTo>
                    <a:cubicBezTo>
                      <a:pt x="514" y="264"/>
                      <a:pt x="504" y="181"/>
                      <a:pt x="490" y="181"/>
                    </a:cubicBezTo>
                    <a:cubicBezTo>
                      <a:pt x="480" y="181"/>
                      <a:pt x="472" y="257"/>
                      <a:pt x="467" y="367"/>
                    </a:cubicBezTo>
                    <a:cubicBezTo>
                      <a:pt x="453" y="664"/>
                      <a:pt x="454" y="1211"/>
                      <a:pt x="454" y="1211"/>
                    </a:cubicBezTo>
                    <a:cubicBezTo>
                      <a:pt x="145" y="1211"/>
                      <a:pt x="145" y="1211"/>
                      <a:pt x="145" y="1211"/>
                    </a:cubicBezTo>
                    <a:cubicBezTo>
                      <a:pt x="145" y="1211"/>
                      <a:pt x="0" y="178"/>
                      <a:pt x="66" y="124"/>
                    </a:cubicBezTo>
                    <a:cubicBezTo>
                      <a:pt x="210" y="4"/>
                      <a:pt x="777" y="0"/>
                      <a:pt x="908" y="124"/>
                    </a:cubicBezTo>
                    <a:cubicBezTo>
                      <a:pt x="986" y="198"/>
                      <a:pt x="829" y="1211"/>
                      <a:pt x="829" y="1211"/>
                    </a:cubicBezTo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" name="Freeform 56">
                <a:extLst>
                  <a:ext uri="{FF2B5EF4-FFF2-40B4-BE49-F238E27FC236}">
                    <a16:creationId xmlns:a16="http://schemas.microsoft.com/office/drawing/2014/main" id="{3E45DEE8-5703-4681-8B7A-92708FAFC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9" y="483"/>
                <a:ext cx="491" cy="338"/>
              </a:xfrm>
              <a:custGeom>
                <a:avLst/>
                <a:gdLst>
                  <a:gd name="T0" fmla="*/ 860 w 897"/>
                  <a:gd name="T1" fmla="*/ 619 h 619"/>
                  <a:gd name="T2" fmla="*/ 481 w 897"/>
                  <a:gd name="T3" fmla="*/ 463 h 619"/>
                  <a:gd name="T4" fmla="*/ 476 w 897"/>
                  <a:gd name="T5" fmla="*/ 383 h 619"/>
                  <a:gd name="T6" fmla="*/ 444 w 897"/>
                  <a:gd name="T7" fmla="*/ 181 h 619"/>
                  <a:gd name="T8" fmla="*/ 421 w 897"/>
                  <a:gd name="T9" fmla="*/ 368 h 619"/>
                  <a:gd name="T10" fmla="*/ 418 w 897"/>
                  <a:gd name="T11" fmla="*/ 440 h 619"/>
                  <a:gd name="T12" fmla="*/ 4 w 897"/>
                  <a:gd name="T13" fmla="*/ 313 h 619"/>
                  <a:gd name="T14" fmla="*/ 20 w 897"/>
                  <a:gd name="T15" fmla="*/ 124 h 619"/>
                  <a:gd name="T16" fmla="*/ 862 w 897"/>
                  <a:gd name="T17" fmla="*/ 124 h 619"/>
                  <a:gd name="T18" fmla="*/ 860 w 897"/>
                  <a:gd name="T19" fmla="*/ 619 h 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97" h="619">
                    <a:moveTo>
                      <a:pt x="860" y="619"/>
                    </a:moveTo>
                    <a:cubicBezTo>
                      <a:pt x="739" y="566"/>
                      <a:pt x="609" y="512"/>
                      <a:pt x="481" y="463"/>
                    </a:cubicBezTo>
                    <a:cubicBezTo>
                      <a:pt x="480" y="435"/>
                      <a:pt x="478" y="408"/>
                      <a:pt x="476" y="383"/>
                    </a:cubicBezTo>
                    <a:cubicBezTo>
                      <a:pt x="468" y="264"/>
                      <a:pt x="458" y="181"/>
                      <a:pt x="444" y="181"/>
                    </a:cubicBezTo>
                    <a:cubicBezTo>
                      <a:pt x="434" y="181"/>
                      <a:pt x="427" y="257"/>
                      <a:pt x="421" y="368"/>
                    </a:cubicBezTo>
                    <a:cubicBezTo>
                      <a:pt x="420" y="390"/>
                      <a:pt x="419" y="414"/>
                      <a:pt x="418" y="440"/>
                    </a:cubicBezTo>
                    <a:cubicBezTo>
                      <a:pt x="268" y="384"/>
                      <a:pt x="123" y="338"/>
                      <a:pt x="4" y="313"/>
                    </a:cubicBezTo>
                    <a:cubicBezTo>
                      <a:pt x="0" y="210"/>
                      <a:pt x="4" y="137"/>
                      <a:pt x="20" y="124"/>
                    </a:cubicBezTo>
                    <a:cubicBezTo>
                      <a:pt x="164" y="4"/>
                      <a:pt x="732" y="0"/>
                      <a:pt x="862" y="124"/>
                    </a:cubicBezTo>
                    <a:cubicBezTo>
                      <a:pt x="897" y="157"/>
                      <a:pt x="885" y="382"/>
                      <a:pt x="860" y="619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" name="Freeform 57">
                <a:extLst>
                  <a:ext uri="{FF2B5EF4-FFF2-40B4-BE49-F238E27FC236}">
                    <a16:creationId xmlns:a16="http://schemas.microsoft.com/office/drawing/2014/main" id="{CA8A355B-9D21-439E-970A-3C7BF16F38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4" y="307"/>
                <a:ext cx="677" cy="203"/>
              </a:xfrm>
              <a:custGeom>
                <a:avLst/>
                <a:gdLst>
                  <a:gd name="T0" fmla="*/ 1236 w 1236"/>
                  <a:gd name="T1" fmla="*/ 372 h 372"/>
                  <a:gd name="T2" fmla="*/ 0 w 1236"/>
                  <a:gd name="T3" fmla="*/ 372 h 372"/>
                  <a:gd name="T4" fmla="*/ 0 w 1236"/>
                  <a:gd name="T5" fmla="*/ 215 h 372"/>
                  <a:gd name="T6" fmla="*/ 618 w 1236"/>
                  <a:gd name="T7" fmla="*/ 0 h 372"/>
                  <a:gd name="T8" fmla="*/ 1236 w 1236"/>
                  <a:gd name="T9" fmla="*/ 215 h 372"/>
                  <a:gd name="T10" fmla="*/ 1236 w 1236"/>
                  <a:gd name="T11" fmla="*/ 372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36" h="372">
                    <a:moveTo>
                      <a:pt x="1236" y="372"/>
                    </a:moveTo>
                    <a:cubicBezTo>
                      <a:pt x="0" y="372"/>
                      <a:pt x="0" y="372"/>
                      <a:pt x="0" y="372"/>
                    </a:cubicBezTo>
                    <a:cubicBezTo>
                      <a:pt x="0" y="215"/>
                      <a:pt x="0" y="215"/>
                      <a:pt x="0" y="215"/>
                    </a:cubicBezTo>
                    <a:cubicBezTo>
                      <a:pt x="0" y="98"/>
                      <a:pt x="241" y="0"/>
                      <a:pt x="618" y="0"/>
                    </a:cubicBezTo>
                    <a:cubicBezTo>
                      <a:pt x="1016" y="0"/>
                      <a:pt x="1236" y="98"/>
                      <a:pt x="1236" y="215"/>
                    </a:cubicBezTo>
                    <a:cubicBezTo>
                      <a:pt x="1236" y="241"/>
                      <a:pt x="1236" y="372"/>
                      <a:pt x="1236" y="372"/>
                    </a:cubicBez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" name="Freeform 58">
                <a:extLst>
                  <a:ext uri="{FF2B5EF4-FFF2-40B4-BE49-F238E27FC236}">
                    <a16:creationId xmlns:a16="http://schemas.microsoft.com/office/drawing/2014/main" id="{DC4A0D5B-0F11-490A-9B0A-FDDD55100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457"/>
                <a:ext cx="594" cy="159"/>
              </a:xfrm>
              <a:custGeom>
                <a:avLst/>
                <a:gdLst>
                  <a:gd name="T0" fmla="*/ 779 w 1084"/>
                  <a:gd name="T1" fmla="*/ 290 h 292"/>
                  <a:gd name="T2" fmla="*/ 305 w 1084"/>
                  <a:gd name="T3" fmla="*/ 290 h 292"/>
                  <a:gd name="T4" fmla="*/ 79 w 1084"/>
                  <a:gd name="T5" fmla="*/ 139 h 292"/>
                  <a:gd name="T6" fmla="*/ 0 w 1084"/>
                  <a:gd name="T7" fmla="*/ 0 h 292"/>
                  <a:gd name="T8" fmla="*/ 1084 w 1084"/>
                  <a:gd name="T9" fmla="*/ 0 h 292"/>
                  <a:gd name="T10" fmla="*/ 1004 w 1084"/>
                  <a:gd name="T11" fmla="*/ 139 h 292"/>
                  <a:gd name="T12" fmla="*/ 779 w 1084"/>
                  <a:gd name="T13" fmla="*/ 290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4" h="292">
                    <a:moveTo>
                      <a:pt x="779" y="290"/>
                    </a:moveTo>
                    <a:cubicBezTo>
                      <a:pt x="660" y="292"/>
                      <a:pt x="423" y="292"/>
                      <a:pt x="305" y="290"/>
                    </a:cubicBezTo>
                    <a:cubicBezTo>
                      <a:pt x="231" y="289"/>
                      <a:pt x="121" y="248"/>
                      <a:pt x="79" y="13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84" y="0"/>
                      <a:pt x="1084" y="0"/>
                      <a:pt x="1084" y="0"/>
                    </a:cubicBezTo>
                    <a:cubicBezTo>
                      <a:pt x="1004" y="139"/>
                      <a:pt x="1004" y="139"/>
                      <a:pt x="1004" y="139"/>
                    </a:cubicBezTo>
                    <a:cubicBezTo>
                      <a:pt x="962" y="248"/>
                      <a:pt x="852" y="289"/>
                      <a:pt x="779" y="290"/>
                    </a:cubicBez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" name="Oval 59">
                <a:extLst>
                  <a:ext uri="{FF2B5EF4-FFF2-40B4-BE49-F238E27FC236}">
                    <a16:creationId xmlns:a16="http://schemas.microsoft.com/office/drawing/2014/main" id="{5CDC4DDA-8AAE-415B-9754-A891090942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4" y="276"/>
                <a:ext cx="351" cy="363"/>
              </a:xfrm>
              <a:prstGeom prst="ellipse">
                <a:avLst/>
              </a:pr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" name="Freeform 60">
                <a:extLst>
                  <a:ext uri="{FF2B5EF4-FFF2-40B4-BE49-F238E27FC236}">
                    <a16:creationId xmlns:a16="http://schemas.microsoft.com/office/drawing/2014/main" id="{4B8D1EE1-05D8-4061-86E9-A3E4EBF86C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0" y="616"/>
                <a:ext cx="60" cy="64"/>
              </a:xfrm>
              <a:custGeom>
                <a:avLst/>
                <a:gdLst>
                  <a:gd name="T0" fmla="*/ 29 w 109"/>
                  <a:gd name="T1" fmla="*/ 87 h 117"/>
                  <a:gd name="T2" fmla="*/ 0 w 109"/>
                  <a:gd name="T3" fmla="*/ 0 h 117"/>
                  <a:gd name="T4" fmla="*/ 109 w 109"/>
                  <a:gd name="T5" fmla="*/ 0 h 117"/>
                  <a:gd name="T6" fmla="*/ 80 w 109"/>
                  <a:gd name="T7" fmla="*/ 87 h 117"/>
                  <a:gd name="T8" fmla="*/ 29 w 109"/>
                  <a:gd name="T9" fmla="*/ 8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117">
                    <a:moveTo>
                      <a:pt x="29" y="87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80" y="87"/>
                      <a:pt x="80" y="87"/>
                      <a:pt x="80" y="87"/>
                    </a:cubicBezTo>
                    <a:cubicBezTo>
                      <a:pt x="69" y="117"/>
                      <a:pt x="40" y="117"/>
                      <a:pt x="29" y="87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" name="Freeform 61">
                <a:extLst>
                  <a:ext uri="{FF2B5EF4-FFF2-40B4-BE49-F238E27FC236}">
                    <a16:creationId xmlns:a16="http://schemas.microsoft.com/office/drawing/2014/main" id="{E0D4A6BA-7474-4B01-8437-09FEB68DE2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265"/>
                <a:ext cx="373" cy="369"/>
              </a:xfrm>
              <a:custGeom>
                <a:avLst/>
                <a:gdLst>
                  <a:gd name="T0" fmla="*/ 682 w 682"/>
                  <a:gd name="T1" fmla="*/ 280 h 676"/>
                  <a:gd name="T2" fmla="*/ 341 w 682"/>
                  <a:gd name="T3" fmla="*/ 0 h 676"/>
                  <a:gd name="T4" fmla="*/ 0 w 682"/>
                  <a:gd name="T5" fmla="*/ 280 h 676"/>
                  <a:gd name="T6" fmla="*/ 219 w 682"/>
                  <a:gd name="T7" fmla="*/ 610 h 676"/>
                  <a:gd name="T8" fmla="*/ 219 w 682"/>
                  <a:gd name="T9" fmla="*/ 610 h 676"/>
                  <a:gd name="T10" fmla="*/ 222 w 682"/>
                  <a:gd name="T11" fmla="*/ 611 h 676"/>
                  <a:gd name="T12" fmla="*/ 224 w 682"/>
                  <a:gd name="T13" fmla="*/ 612 h 676"/>
                  <a:gd name="T14" fmla="*/ 270 w 682"/>
                  <a:gd name="T15" fmla="*/ 676 h 676"/>
                  <a:gd name="T16" fmla="*/ 389 w 682"/>
                  <a:gd name="T17" fmla="*/ 623 h 676"/>
                  <a:gd name="T18" fmla="*/ 391 w 682"/>
                  <a:gd name="T19" fmla="*/ 623 h 676"/>
                  <a:gd name="T20" fmla="*/ 374 w 682"/>
                  <a:gd name="T21" fmla="*/ 652 h 676"/>
                  <a:gd name="T22" fmla="*/ 473 w 682"/>
                  <a:gd name="T23" fmla="*/ 599 h 676"/>
                  <a:gd name="T24" fmla="*/ 473 w 682"/>
                  <a:gd name="T25" fmla="*/ 627 h 676"/>
                  <a:gd name="T26" fmla="*/ 628 w 682"/>
                  <a:gd name="T27" fmla="*/ 489 h 676"/>
                  <a:gd name="T28" fmla="*/ 627 w 682"/>
                  <a:gd name="T29" fmla="*/ 489 h 676"/>
                  <a:gd name="T30" fmla="*/ 682 w 682"/>
                  <a:gd name="T31" fmla="*/ 280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82" h="676">
                    <a:moveTo>
                      <a:pt x="682" y="280"/>
                    </a:moveTo>
                    <a:cubicBezTo>
                      <a:pt x="682" y="59"/>
                      <a:pt x="530" y="0"/>
                      <a:pt x="341" y="0"/>
                    </a:cubicBezTo>
                    <a:cubicBezTo>
                      <a:pt x="153" y="0"/>
                      <a:pt x="0" y="59"/>
                      <a:pt x="0" y="280"/>
                    </a:cubicBezTo>
                    <a:cubicBezTo>
                      <a:pt x="0" y="450"/>
                      <a:pt x="91" y="566"/>
                      <a:pt x="219" y="610"/>
                    </a:cubicBezTo>
                    <a:cubicBezTo>
                      <a:pt x="219" y="610"/>
                      <a:pt x="219" y="610"/>
                      <a:pt x="219" y="610"/>
                    </a:cubicBezTo>
                    <a:cubicBezTo>
                      <a:pt x="219" y="610"/>
                      <a:pt x="220" y="610"/>
                      <a:pt x="222" y="611"/>
                    </a:cubicBezTo>
                    <a:cubicBezTo>
                      <a:pt x="223" y="611"/>
                      <a:pt x="224" y="611"/>
                      <a:pt x="224" y="612"/>
                    </a:cubicBezTo>
                    <a:cubicBezTo>
                      <a:pt x="243" y="618"/>
                      <a:pt x="303" y="642"/>
                      <a:pt x="270" y="676"/>
                    </a:cubicBezTo>
                    <a:cubicBezTo>
                      <a:pt x="389" y="623"/>
                      <a:pt x="389" y="623"/>
                      <a:pt x="389" y="623"/>
                    </a:cubicBezTo>
                    <a:cubicBezTo>
                      <a:pt x="390" y="623"/>
                      <a:pt x="390" y="623"/>
                      <a:pt x="391" y="623"/>
                    </a:cubicBezTo>
                    <a:cubicBezTo>
                      <a:pt x="392" y="624"/>
                      <a:pt x="396" y="629"/>
                      <a:pt x="374" y="652"/>
                    </a:cubicBezTo>
                    <a:cubicBezTo>
                      <a:pt x="407" y="656"/>
                      <a:pt x="473" y="599"/>
                      <a:pt x="473" y="599"/>
                    </a:cubicBezTo>
                    <a:cubicBezTo>
                      <a:pt x="473" y="599"/>
                      <a:pt x="483" y="608"/>
                      <a:pt x="473" y="627"/>
                    </a:cubicBezTo>
                    <a:cubicBezTo>
                      <a:pt x="541" y="602"/>
                      <a:pt x="628" y="489"/>
                      <a:pt x="628" y="489"/>
                    </a:cubicBezTo>
                    <a:cubicBezTo>
                      <a:pt x="627" y="489"/>
                      <a:pt x="627" y="489"/>
                      <a:pt x="627" y="489"/>
                    </a:cubicBezTo>
                    <a:cubicBezTo>
                      <a:pt x="664" y="439"/>
                      <a:pt x="682" y="362"/>
                      <a:pt x="682" y="280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" name="Freeform 62">
                <a:extLst>
                  <a:ext uri="{FF2B5EF4-FFF2-40B4-BE49-F238E27FC236}">
                    <a16:creationId xmlns:a16="http://schemas.microsoft.com/office/drawing/2014/main" id="{37BBF909-DFAC-47A1-92AB-4DA38E887F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5" y="287"/>
                <a:ext cx="321" cy="332"/>
              </a:xfrm>
              <a:custGeom>
                <a:avLst/>
                <a:gdLst>
                  <a:gd name="T0" fmla="*/ 580 w 585"/>
                  <a:gd name="T1" fmla="*/ 240 h 608"/>
                  <a:gd name="T2" fmla="*/ 300 w 585"/>
                  <a:gd name="T3" fmla="*/ 0 h 608"/>
                  <a:gd name="T4" fmla="*/ 0 w 585"/>
                  <a:gd name="T5" fmla="*/ 247 h 608"/>
                  <a:gd name="T6" fmla="*/ 193 w 585"/>
                  <a:gd name="T7" fmla="*/ 538 h 608"/>
                  <a:gd name="T8" fmla="*/ 193 w 585"/>
                  <a:gd name="T9" fmla="*/ 538 h 608"/>
                  <a:gd name="T10" fmla="*/ 195 w 585"/>
                  <a:gd name="T11" fmla="*/ 538 h 608"/>
                  <a:gd name="T12" fmla="*/ 197 w 585"/>
                  <a:gd name="T13" fmla="*/ 539 h 608"/>
                  <a:gd name="T14" fmla="*/ 255 w 585"/>
                  <a:gd name="T15" fmla="*/ 608 h 608"/>
                  <a:gd name="T16" fmla="*/ 377 w 585"/>
                  <a:gd name="T17" fmla="*/ 550 h 608"/>
                  <a:gd name="T18" fmla="*/ 364 w 585"/>
                  <a:gd name="T19" fmla="*/ 575 h 608"/>
                  <a:gd name="T20" fmla="*/ 451 w 585"/>
                  <a:gd name="T21" fmla="*/ 528 h 608"/>
                  <a:gd name="T22" fmla="*/ 451 w 585"/>
                  <a:gd name="T23" fmla="*/ 553 h 608"/>
                  <a:gd name="T24" fmla="*/ 580 w 585"/>
                  <a:gd name="T25" fmla="*/ 24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5" h="608">
                    <a:moveTo>
                      <a:pt x="580" y="240"/>
                    </a:moveTo>
                    <a:cubicBezTo>
                      <a:pt x="580" y="46"/>
                      <a:pt x="466" y="0"/>
                      <a:pt x="300" y="0"/>
                    </a:cubicBezTo>
                    <a:cubicBezTo>
                      <a:pt x="134" y="0"/>
                      <a:pt x="0" y="52"/>
                      <a:pt x="0" y="247"/>
                    </a:cubicBezTo>
                    <a:cubicBezTo>
                      <a:pt x="0" y="397"/>
                      <a:pt x="80" y="499"/>
                      <a:pt x="193" y="538"/>
                    </a:cubicBezTo>
                    <a:cubicBezTo>
                      <a:pt x="193" y="538"/>
                      <a:pt x="193" y="538"/>
                      <a:pt x="193" y="538"/>
                    </a:cubicBezTo>
                    <a:cubicBezTo>
                      <a:pt x="193" y="538"/>
                      <a:pt x="194" y="538"/>
                      <a:pt x="195" y="538"/>
                    </a:cubicBezTo>
                    <a:cubicBezTo>
                      <a:pt x="196" y="539"/>
                      <a:pt x="197" y="539"/>
                      <a:pt x="197" y="539"/>
                    </a:cubicBezTo>
                    <a:cubicBezTo>
                      <a:pt x="214" y="545"/>
                      <a:pt x="284" y="578"/>
                      <a:pt x="255" y="608"/>
                    </a:cubicBezTo>
                    <a:cubicBezTo>
                      <a:pt x="377" y="550"/>
                      <a:pt x="377" y="550"/>
                      <a:pt x="377" y="550"/>
                    </a:cubicBezTo>
                    <a:cubicBezTo>
                      <a:pt x="378" y="549"/>
                      <a:pt x="384" y="554"/>
                      <a:pt x="364" y="575"/>
                    </a:cubicBezTo>
                    <a:cubicBezTo>
                      <a:pt x="393" y="578"/>
                      <a:pt x="451" y="528"/>
                      <a:pt x="451" y="528"/>
                    </a:cubicBezTo>
                    <a:cubicBezTo>
                      <a:pt x="451" y="528"/>
                      <a:pt x="460" y="536"/>
                      <a:pt x="451" y="553"/>
                    </a:cubicBezTo>
                    <a:cubicBezTo>
                      <a:pt x="585" y="493"/>
                      <a:pt x="580" y="313"/>
                      <a:pt x="580" y="240"/>
                    </a:cubicBezTo>
                    <a:close/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5" name="Oval 63">
                <a:extLst>
                  <a:ext uri="{FF2B5EF4-FFF2-40B4-BE49-F238E27FC236}">
                    <a16:creationId xmlns:a16="http://schemas.microsoft.com/office/drawing/2014/main" id="{188D2966-B231-47E6-83EA-4D27EE129C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7" y="801"/>
                <a:ext cx="2066" cy="2060"/>
              </a:xfrm>
              <a:prstGeom prst="ellipse">
                <a:avLst/>
              </a:prstGeom>
              <a:solidFill>
                <a:srgbClr val="BF9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6" name="Freeform 64">
                <a:extLst>
                  <a:ext uri="{FF2B5EF4-FFF2-40B4-BE49-F238E27FC236}">
                    <a16:creationId xmlns:a16="http://schemas.microsoft.com/office/drawing/2014/main" id="{FEA5E51C-5F1F-42EF-899C-89BC399171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1" y="1900"/>
                <a:ext cx="164" cy="226"/>
              </a:xfrm>
              <a:custGeom>
                <a:avLst/>
                <a:gdLst>
                  <a:gd name="T0" fmla="*/ 57 w 299"/>
                  <a:gd name="T1" fmla="*/ 19 h 414"/>
                  <a:gd name="T2" fmla="*/ 57 w 299"/>
                  <a:gd name="T3" fmla="*/ 19 h 414"/>
                  <a:gd name="T4" fmla="*/ 163 w 299"/>
                  <a:gd name="T5" fmla="*/ 57 h 414"/>
                  <a:gd name="T6" fmla="*/ 299 w 299"/>
                  <a:gd name="T7" fmla="*/ 346 h 414"/>
                  <a:gd name="T8" fmla="*/ 154 w 299"/>
                  <a:gd name="T9" fmla="*/ 414 h 414"/>
                  <a:gd name="T10" fmla="*/ 18 w 299"/>
                  <a:gd name="T11" fmla="*/ 125 h 414"/>
                  <a:gd name="T12" fmla="*/ 57 w 299"/>
                  <a:gd name="T13" fmla="*/ 19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9" h="414">
                    <a:moveTo>
                      <a:pt x="57" y="19"/>
                    </a:moveTo>
                    <a:cubicBezTo>
                      <a:pt x="57" y="19"/>
                      <a:pt x="57" y="19"/>
                      <a:pt x="57" y="19"/>
                    </a:cubicBezTo>
                    <a:cubicBezTo>
                      <a:pt x="97" y="0"/>
                      <a:pt x="145" y="17"/>
                      <a:pt x="163" y="57"/>
                    </a:cubicBezTo>
                    <a:cubicBezTo>
                      <a:pt x="299" y="346"/>
                      <a:pt x="299" y="346"/>
                      <a:pt x="299" y="346"/>
                    </a:cubicBezTo>
                    <a:cubicBezTo>
                      <a:pt x="154" y="414"/>
                      <a:pt x="154" y="414"/>
                      <a:pt x="154" y="414"/>
                    </a:cubicBezTo>
                    <a:cubicBezTo>
                      <a:pt x="18" y="125"/>
                      <a:pt x="18" y="125"/>
                      <a:pt x="18" y="125"/>
                    </a:cubicBezTo>
                    <a:cubicBezTo>
                      <a:pt x="0" y="85"/>
                      <a:pt x="17" y="37"/>
                      <a:pt x="57" y="1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7" name="Freeform 65">
                <a:extLst>
                  <a:ext uri="{FF2B5EF4-FFF2-40B4-BE49-F238E27FC236}">
                    <a16:creationId xmlns:a16="http://schemas.microsoft.com/office/drawing/2014/main" id="{D8AA0FF3-A2EA-4F2E-9F53-D1719123F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063"/>
                <a:ext cx="74" cy="51"/>
              </a:xfrm>
              <a:custGeom>
                <a:avLst/>
                <a:gdLst>
                  <a:gd name="T0" fmla="*/ 0 w 74"/>
                  <a:gd name="T1" fmla="*/ 30 h 51"/>
                  <a:gd name="T2" fmla="*/ 64 w 74"/>
                  <a:gd name="T3" fmla="*/ 0 h 51"/>
                  <a:gd name="T4" fmla="*/ 74 w 74"/>
                  <a:gd name="T5" fmla="*/ 21 h 51"/>
                  <a:gd name="T6" fmla="*/ 11 w 74"/>
                  <a:gd name="T7" fmla="*/ 51 h 51"/>
                  <a:gd name="T8" fmla="*/ 0 w 74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51">
                    <a:moveTo>
                      <a:pt x="0" y="30"/>
                    </a:moveTo>
                    <a:lnTo>
                      <a:pt x="64" y="0"/>
                    </a:lnTo>
                    <a:lnTo>
                      <a:pt x="74" y="21"/>
                    </a:lnTo>
                    <a:lnTo>
                      <a:pt x="11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BCAA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8" name="Freeform 66">
                <a:extLst>
                  <a:ext uri="{FF2B5EF4-FFF2-40B4-BE49-F238E27FC236}">
                    <a16:creationId xmlns:a16="http://schemas.microsoft.com/office/drawing/2014/main" id="{D550EDB7-E310-4FB2-9BFF-750F190654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8" y="2038"/>
                <a:ext cx="73" cy="50"/>
              </a:xfrm>
              <a:custGeom>
                <a:avLst/>
                <a:gdLst>
                  <a:gd name="T0" fmla="*/ 0 w 73"/>
                  <a:gd name="T1" fmla="*/ 30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3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30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188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9" name="Freeform 67">
                <a:extLst>
                  <a:ext uri="{FF2B5EF4-FFF2-40B4-BE49-F238E27FC236}">
                    <a16:creationId xmlns:a16="http://schemas.microsoft.com/office/drawing/2014/main" id="{A866751A-FCA4-4826-B6B7-D0B1FB4F8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6" y="2012"/>
                <a:ext cx="73" cy="51"/>
              </a:xfrm>
              <a:custGeom>
                <a:avLst/>
                <a:gdLst>
                  <a:gd name="T0" fmla="*/ 0 w 73"/>
                  <a:gd name="T1" fmla="*/ 30 h 51"/>
                  <a:gd name="T2" fmla="*/ 63 w 73"/>
                  <a:gd name="T3" fmla="*/ 0 h 51"/>
                  <a:gd name="T4" fmla="*/ 73 w 73"/>
                  <a:gd name="T5" fmla="*/ 22 h 51"/>
                  <a:gd name="T6" fmla="*/ 10 w 73"/>
                  <a:gd name="T7" fmla="*/ 51 h 51"/>
                  <a:gd name="T8" fmla="*/ 0 w 73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1">
                    <a:moveTo>
                      <a:pt x="0" y="30"/>
                    </a:moveTo>
                    <a:lnTo>
                      <a:pt x="63" y="0"/>
                    </a:lnTo>
                    <a:lnTo>
                      <a:pt x="73" y="22"/>
                    </a:lnTo>
                    <a:lnTo>
                      <a:pt x="10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0" name="Freeform 68">
                <a:extLst>
                  <a:ext uri="{FF2B5EF4-FFF2-40B4-BE49-F238E27FC236}">
                    <a16:creationId xmlns:a16="http://schemas.microsoft.com/office/drawing/2014/main" id="{63E9E06C-CEEA-4FB3-8304-6D15523FB3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987"/>
                <a:ext cx="73" cy="51"/>
              </a:xfrm>
              <a:custGeom>
                <a:avLst/>
                <a:gdLst>
                  <a:gd name="T0" fmla="*/ 0 w 73"/>
                  <a:gd name="T1" fmla="*/ 30 h 51"/>
                  <a:gd name="T2" fmla="*/ 63 w 73"/>
                  <a:gd name="T3" fmla="*/ 0 h 51"/>
                  <a:gd name="T4" fmla="*/ 73 w 73"/>
                  <a:gd name="T5" fmla="*/ 22 h 51"/>
                  <a:gd name="T6" fmla="*/ 10 w 73"/>
                  <a:gd name="T7" fmla="*/ 51 h 51"/>
                  <a:gd name="T8" fmla="*/ 0 w 73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1">
                    <a:moveTo>
                      <a:pt x="0" y="30"/>
                    </a:moveTo>
                    <a:lnTo>
                      <a:pt x="63" y="0"/>
                    </a:lnTo>
                    <a:lnTo>
                      <a:pt x="73" y="22"/>
                    </a:lnTo>
                    <a:lnTo>
                      <a:pt x="10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1" name="Freeform 69">
                <a:extLst>
                  <a:ext uri="{FF2B5EF4-FFF2-40B4-BE49-F238E27FC236}">
                    <a16:creationId xmlns:a16="http://schemas.microsoft.com/office/drawing/2014/main" id="{3F5AB45A-6330-446D-A414-83F8338606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2" y="1962"/>
                <a:ext cx="73" cy="50"/>
              </a:xfrm>
              <a:custGeom>
                <a:avLst/>
                <a:gdLst>
                  <a:gd name="T0" fmla="*/ 0 w 73"/>
                  <a:gd name="T1" fmla="*/ 29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2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29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6D4C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2" name="Freeform 70">
                <a:extLst>
                  <a:ext uri="{FF2B5EF4-FFF2-40B4-BE49-F238E27FC236}">
                    <a16:creationId xmlns:a16="http://schemas.microsoft.com/office/drawing/2014/main" id="{4EA31756-E02D-44B9-B25A-CB91A1EACD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" y="1937"/>
                <a:ext cx="73" cy="50"/>
              </a:xfrm>
              <a:custGeom>
                <a:avLst/>
                <a:gdLst>
                  <a:gd name="T0" fmla="*/ 0 w 73"/>
                  <a:gd name="T1" fmla="*/ 29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2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29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5D4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" name="Freeform 71">
                <a:extLst>
                  <a:ext uri="{FF2B5EF4-FFF2-40B4-BE49-F238E27FC236}">
                    <a16:creationId xmlns:a16="http://schemas.microsoft.com/office/drawing/2014/main" id="{BB3C6AE9-E14B-4FA2-817A-AD687EB49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3" y="1922"/>
                <a:ext cx="18" cy="18"/>
              </a:xfrm>
              <a:custGeom>
                <a:avLst/>
                <a:gdLst>
                  <a:gd name="T0" fmla="*/ 3 w 34"/>
                  <a:gd name="T1" fmla="*/ 23 h 34"/>
                  <a:gd name="T2" fmla="*/ 10 w 34"/>
                  <a:gd name="T3" fmla="*/ 3 h 34"/>
                  <a:gd name="T4" fmla="*/ 30 w 34"/>
                  <a:gd name="T5" fmla="*/ 10 h 34"/>
                  <a:gd name="T6" fmla="*/ 23 w 34"/>
                  <a:gd name="T7" fmla="*/ 30 h 34"/>
                  <a:gd name="T8" fmla="*/ 3 w 34"/>
                  <a:gd name="T9" fmla="*/ 2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3" y="23"/>
                    </a:moveTo>
                    <a:cubicBezTo>
                      <a:pt x="0" y="16"/>
                      <a:pt x="3" y="7"/>
                      <a:pt x="10" y="3"/>
                    </a:cubicBezTo>
                    <a:cubicBezTo>
                      <a:pt x="18" y="0"/>
                      <a:pt x="27" y="3"/>
                      <a:pt x="30" y="10"/>
                    </a:cubicBezTo>
                    <a:cubicBezTo>
                      <a:pt x="34" y="18"/>
                      <a:pt x="30" y="27"/>
                      <a:pt x="23" y="30"/>
                    </a:cubicBezTo>
                    <a:cubicBezTo>
                      <a:pt x="16" y="34"/>
                      <a:pt x="7" y="30"/>
                      <a:pt x="3" y="23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" name="Freeform 72">
                <a:extLst>
                  <a:ext uri="{FF2B5EF4-FFF2-40B4-BE49-F238E27FC236}">
                    <a16:creationId xmlns:a16="http://schemas.microsoft.com/office/drawing/2014/main" id="{6E07BE48-2D8D-415B-AE55-211D5AE4C3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3" y="1898"/>
                <a:ext cx="189" cy="215"/>
              </a:xfrm>
              <a:custGeom>
                <a:avLst/>
                <a:gdLst>
                  <a:gd name="T0" fmla="*/ 43 w 345"/>
                  <a:gd name="T1" fmla="*/ 26 h 394"/>
                  <a:gd name="T2" fmla="*/ 43 w 345"/>
                  <a:gd name="T3" fmla="*/ 26 h 394"/>
                  <a:gd name="T4" fmla="*/ 155 w 345"/>
                  <a:gd name="T5" fmla="*/ 42 h 394"/>
                  <a:gd name="T6" fmla="*/ 345 w 345"/>
                  <a:gd name="T7" fmla="*/ 298 h 394"/>
                  <a:gd name="T8" fmla="*/ 216 w 345"/>
                  <a:gd name="T9" fmla="*/ 394 h 394"/>
                  <a:gd name="T10" fmla="*/ 26 w 345"/>
                  <a:gd name="T11" fmla="*/ 138 h 394"/>
                  <a:gd name="T12" fmla="*/ 43 w 345"/>
                  <a:gd name="T13" fmla="*/ 26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5" h="394">
                    <a:moveTo>
                      <a:pt x="43" y="26"/>
                    </a:moveTo>
                    <a:cubicBezTo>
                      <a:pt x="43" y="26"/>
                      <a:pt x="43" y="26"/>
                      <a:pt x="43" y="26"/>
                    </a:cubicBezTo>
                    <a:cubicBezTo>
                      <a:pt x="78" y="0"/>
                      <a:pt x="128" y="7"/>
                      <a:pt x="155" y="42"/>
                    </a:cubicBezTo>
                    <a:cubicBezTo>
                      <a:pt x="345" y="298"/>
                      <a:pt x="345" y="298"/>
                      <a:pt x="345" y="298"/>
                    </a:cubicBezTo>
                    <a:cubicBezTo>
                      <a:pt x="216" y="394"/>
                      <a:pt x="216" y="394"/>
                      <a:pt x="216" y="394"/>
                    </a:cubicBezTo>
                    <a:cubicBezTo>
                      <a:pt x="26" y="138"/>
                      <a:pt x="26" y="138"/>
                      <a:pt x="26" y="138"/>
                    </a:cubicBezTo>
                    <a:cubicBezTo>
                      <a:pt x="0" y="103"/>
                      <a:pt x="7" y="52"/>
                      <a:pt x="43" y="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5" name="Freeform 73">
                <a:extLst>
                  <a:ext uri="{FF2B5EF4-FFF2-40B4-BE49-F238E27FC236}">
                    <a16:creationId xmlns:a16="http://schemas.microsoft.com/office/drawing/2014/main" id="{FDABCC91-CD3E-4CD6-B37E-A65595047B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9" y="2040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EF9A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6" name="Freeform 74">
                <a:extLst>
                  <a:ext uri="{FF2B5EF4-FFF2-40B4-BE49-F238E27FC236}">
                    <a16:creationId xmlns:a16="http://schemas.microsoft.com/office/drawing/2014/main" id="{9DC5DF73-1C1E-4DDB-BE34-3BA17DC6CB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" y="2017"/>
                <a:ext cx="69" cy="61"/>
              </a:xfrm>
              <a:custGeom>
                <a:avLst/>
                <a:gdLst>
                  <a:gd name="T0" fmla="*/ 0 w 69"/>
                  <a:gd name="T1" fmla="*/ 42 h 61"/>
                  <a:gd name="T2" fmla="*/ 55 w 69"/>
                  <a:gd name="T3" fmla="*/ 0 h 61"/>
                  <a:gd name="T4" fmla="*/ 69 w 69"/>
                  <a:gd name="T5" fmla="*/ 19 h 61"/>
                  <a:gd name="T6" fmla="*/ 13 w 69"/>
                  <a:gd name="T7" fmla="*/ 61 h 61"/>
                  <a:gd name="T8" fmla="*/ 0 w 69"/>
                  <a:gd name="T9" fmla="*/ 42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61">
                    <a:moveTo>
                      <a:pt x="0" y="42"/>
                    </a:moveTo>
                    <a:lnTo>
                      <a:pt x="55" y="0"/>
                    </a:lnTo>
                    <a:lnTo>
                      <a:pt x="69" y="19"/>
                    </a:lnTo>
                    <a:lnTo>
                      <a:pt x="13" y="61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E5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7" name="Freeform 75">
                <a:extLst>
                  <a:ext uri="{FF2B5EF4-FFF2-40B4-BE49-F238E27FC236}">
                    <a16:creationId xmlns:a16="http://schemas.microsoft.com/office/drawing/2014/main" id="{3D82EA04-162C-4821-AB9B-17ABD55BB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1995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5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5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EF53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8" name="Freeform 76">
                <a:extLst>
                  <a:ext uri="{FF2B5EF4-FFF2-40B4-BE49-F238E27FC236}">
                    <a16:creationId xmlns:a16="http://schemas.microsoft.com/office/drawing/2014/main" id="{28CC8D1F-AE39-450F-A7E5-476B29403E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9" y="1973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8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8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9" name="Freeform 77">
                <a:extLst>
                  <a:ext uri="{FF2B5EF4-FFF2-40B4-BE49-F238E27FC236}">
                    <a16:creationId xmlns:a16="http://schemas.microsoft.com/office/drawing/2014/main" id="{88A4E00F-B1F9-4E35-926C-56F4E1AA82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1950"/>
                <a:ext cx="70" cy="60"/>
              </a:xfrm>
              <a:custGeom>
                <a:avLst/>
                <a:gdLst>
                  <a:gd name="T0" fmla="*/ 0 w 70"/>
                  <a:gd name="T1" fmla="*/ 42 h 60"/>
                  <a:gd name="T2" fmla="*/ 56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2"/>
                    </a:moveTo>
                    <a:lnTo>
                      <a:pt x="56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E539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0" name="Freeform 78">
                <a:extLst>
                  <a:ext uri="{FF2B5EF4-FFF2-40B4-BE49-F238E27FC236}">
                    <a16:creationId xmlns:a16="http://schemas.microsoft.com/office/drawing/2014/main" id="{58396785-982C-4C73-8D52-781635E9E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5" y="1928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8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8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D3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1" name="Freeform 79">
                <a:extLst>
                  <a:ext uri="{FF2B5EF4-FFF2-40B4-BE49-F238E27FC236}">
                    <a16:creationId xmlns:a16="http://schemas.microsoft.com/office/drawing/2014/main" id="{6F7B70CB-6D3D-4E85-96E0-14A37BD6C2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1"/>
                <a:ext cx="18" cy="18"/>
              </a:xfrm>
              <a:custGeom>
                <a:avLst/>
                <a:gdLst>
                  <a:gd name="T0" fmla="*/ 5 w 34"/>
                  <a:gd name="T1" fmla="*/ 26 h 33"/>
                  <a:gd name="T2" fmla="*/ 8 w 34"/>
                  <a:gd name="T3" fmla="*/ 5 h 33"/>
                  <a:gd name="T4" fmla="*/ 29 w 34"/>
                  <a:gd name="T5" fmla="*/ 8 h 33"/>
                  <a:gd name="T6" fmla="*/ 26 w 34"/>
                  <a:gd name="T7" fmla="*/ 29 h 33"/>
                  <a:gd name="T8" fmla="*/ 5 w 34"/>
                  <a:gd name="T9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3">
                    <a:moveTo>
                      <a:pt x="5" y="26"/>
                    </a:moveTo>
                    <a:cubicBezTo>
                      <a:pt x="0" y="19"/>
                      <a:pt x="1" y="10"/>
                      <a:pt x="8" y="5"/>
                    </a:cubicBezTo>
                    <a:cubicBezTo>
                      <a:pt x="15" y="0"/>
                      <a:pt x="24" y="1"/>
                      <a:pt x="29" y="8"/>
                    </a:cubicBezTo>
                    <a:cubicBezTo>
                      <a:pt x="34" y="14"/>
                      <a:pt x="32" y="24"/>
                      <a:pt x="26" y="29"/>
                    </a:cubicBezTo>
                    <a:cubicBezTo>
                      <a:pt x="19" y="33"/>
                      <a:pt x="10" y="32"/>
                      <a:pt x="5" y="26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2" name="Freeform 80">
                <a:extLst>
                  <a:ext uri="{FF2B5EF4-FFF2-40B4-BE49-F238E27FC236}">
                    <a16:creationId xmlns:a16="http://schemas.microsoft.com/office/drawing/2014/main" id="{E22FA0C5-3AAF-496E-A5BF-274A3139C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2" y="1898"/>
                <a:ext cx="207" cy="198"/>
              </a:xfrm>
              <a:custGeom>
                <a:avLst/>
                <a:gdLst>
                  <a:gd name="T0" fmla="*/ 30 w 378"/>
                  <a:gd name="T1" fmla="*/ 35 h 363"/>
                  <a:gd name="T2" fmla="*/ 30 w 378"/>
                  <a:gd name="T3" fmla="*/ 35 h 363"/>
                  <a:gd name="T4" fmla="*/ 143 w 378"/>
                  <a:gd name="T5" fmla="*/ 30 h 363"/>
                  <a:gd name="T6" fmla="*/ 378 w 378"/>
                  <a:gd name="T7" fmla="*/ 245 h 363"/>
                  <a:gd name="T8" fmla="*/ 270 w 378"/>
                  <a:gd name="T9" fmla="*/ 363 h 363"/>
                  <a:gd name="T10" fmla="*/ 35 w 378"/>
                  <a:gd name="T11" fmla="*/ 149 h 363"/>
                  <a:gd name="T12" fmla="*/ 30 w 378"/>
                  <a:gd name="T13" fmla="*/ 3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8" h="363">
                    <a:moveTo>
                      <a:pt x="30" y="35"/>
                    </a:moveTo>
                    <a:cubicBezTo>
                      <a:pt x="30" y="35"/>
                      <a:pt x="30" y="35"/>
                      <a:pt x="30" y="35"/>
                    </a:cubicBezTo>
                    <a:cubicBezTo>
                      <a:pt x="59" y="3"/>
                      <a:pt x="110" y="0"/>
                      <a:pt x="143" y="30"/>
                    </a:cubicBezTo>
                    <a:cubicBezTo>
                      <a:pt x="378" y="245"/>
                      <a:pt x="378" y="245"/>
                      <a:pt x="378" y="245"/>
                    </a:cubicBezTo>
                    <a:cubicBezTo>
                      <a:pt x="270" y="363"/>
                      <a:pt x="270" y="363"/>
                      <a:pt x="270" y="363"/>
                    </a:cubicBezTo>
                    <a:cubicBezTo>
                      <a:pt x="35" y="149"/>
                      <a:pt x="35" y="149"/>
                      <a:pt x="35" y="149"/>
                    </a:cubicBezTo>
                    <a:cubicBezTo>
                      <a:pt x="2" y="119"/>
                      <a:pt x="0" y="68"/>
                      <a:pt x="30" y="3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3" name="Freeform 81">
                <a:extLst>
                  <a:ext uri="{FF2B5EF4-FFF2-40B4-BE49-F238E27FC236}">
                    <a16:creationId xmlns:a16="http://schemas.microsoft.com/office/drawing/2014/main" id="{A181CF10-6A52-4615-B0D7-5F2147E3E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017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6 w 64"/>
                  <a:gd name="T3" fmla="*/ 0 h 67"/>
                  <a:gd name="T4" fmla="*/ 64 w 64"/>
                  <a:gd name="T5" fmla="*/ 16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6" y="0"/>
                    </a:lnTo>
                    <a:lnTo>
                      <a:pt x="64" y="16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CC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4" name="Freeform 82">
                <a:extLst>
                  <a:ext uri="{FF2B5EF4-FFF2-40B4-BE49-F238E27FC236}">
                    <a16:creationId xmlns:a16="http://schemas.microsoft.com/office/drawing/2014/main" id="{FF8EF73D-DC8B-46DE-8BCF-BB2D4177A4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1" y="1998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5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5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B7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5" name="Freeform 83">
                <a:extLst>
                  <a:ext uri="{FF2B5EF4-FFF2-40B4-BE49-F238E27FC236}">
                    <a16:creationId xmlns:a16="http://schemas.microsoft.com/office/drawing/2014/main" id="{8C6327A9-F585-4F3E-BD25-8FCB73694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0" y="1979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6 h 67"/>
                  <a:gd name="T6" fmla="*/ 18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8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A7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6" name="Freeform 84">
                <a:extLst>
                  <a:ext uri="{FF2B5EF4-FFF2-40B4-BE49-F238E27FC236}">
                    <a16:creationId xmlns:a16="http://schemas.microsoft.com/office/drawing/2014/main" id="{0D4F97B8-E9AD-40CA-A233-BF051AE1A9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0" y="1960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6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9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7" name="Freeform 85">
                <a:extLst>
                  <a:ext uri="{FF2B5EF4-FFF2-40B4-BE49-F238E27FC236}">
                    <a16:creationId xmlns:a16="http://schemas.microsoft.com/office/drawing/2014/main" id="{69B176E8-5DD5-467E-A131-1001F7D25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1941"/>
                <a:ext cx="64" cy="68"/>
              </a:xfrm>
              <a:custGeom>
                <a:avLst/>
                <a:gdLst>
                  <a:gd name="T0" fmla="*/ 0 w 64"/>
                  <a:gd name="T1" fmla="*/ 52 h 68"/>
                  <a:gd name="T2" fmla="*/ 47 w 64"/>
                  <a:gd name="T3" fmla="*/ 0 h 68"/>
                  <a:gd name="T4" fmla="*/ 64 w 64"/>
                  <a:gd name="T5" fmla="*/ 16 h 68"/>
                  <a:gd name="T6" fmla="*/ 17 w 64"/>
                  <a:gd name="T7" fmla="*/ 68 h 68"/>
                  <a:gd name="T8" fmla="*/ 0 w 64"/>
                  <a:gd name="T9" fmla="*/ 52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8">
                    <a:moveTo>
                      <a:pt x="0" y="52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7" y="68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F57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8" name="Freeform 86">
                <a:extLst>
                  <a:ext uri="{FF2B5EF4-FFF2-40B4-BE49-F238E27FC236}">
                    <a16:creationId xmlns:a16="http://schemas.microsoft.com/office/drawing/2014/main" id="{C1E6594C-5BC3-466A-9C50-BD976E134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8" y="1922"/>
                <a:ext cx="65" cy="67"/>
              </a:xfrm>
              <a:custGeom>
                <a:avLst/>
                <a:gdLst>
                  <a:gd name="T0" fmla="*/ 0 w 65"/>
                  <a:gd name="T1" fmla="*/ 52 h 67"/>
                  <a:gd name="T2" fmla="*/ 47 w 65"/>
                  <a:gd name="T3" fmla="*/ 0 h 67"/>
                  <a:gd name="T4" fmla="*/ 65 w 65"/>
                  <a:gd name="T5" fmla="*/ 16 h 67"/>
                  <a:gd name="T6" fmla="*/ 17 w 65"/>
                  <a:gd name="T7" fmla="*/ 67 h 67"/>
                  <a:gd name="T8" fmla="*/ 0 w 65"/>
                  <a:gd name="T9" fmla="*/ 5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67">
                    <a:moveTo>
                      <a:pt x="0" y="52"/>
                    </a:moveTo>
                    <a:lnTo>
                      <a:pt x="47" y="0"/>
                    </a:lnTo>
                    <a:lnTo>
                      <a:pt x="65" y="16"/>
                    </a:lnTo>
                    <a:lnTo>
                      <a:pt x="17" y="67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EF6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9" name="Freeform 87">
                <a:extLst>
                  <a:ext uri="{FF2B5EF4-FFF2-40B4-BE49-F238E27FC236}">
                    <a16:creationId xmlns:a16="http://schemas.microsoft.com/office/drawing/2014/main" id="{BC081AAF-A0D6-4602-AAD2-C7AF38959A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8"/>
              </a:xfrm>
              <a:custGeom>
                <a:avLst/>
                <a:gdLst>
                  <a:gd name="T0" fmla="*/ 7 w 33"/>
                  <a:gd name="T1" fmla="*/ 28 h 33"/>
                  <a:gd name="T2" fmla="*/ 6 w 33"/>
                  <a:gd name="T3" fmla="*/ 7 h 33"/>
                  <a:gd name="T4" fmla="*/ 27 w 33"/>
                  <a:gd name="T5" fmla="*/ 6 h 33"/>
                  <a:gd name="T6" fmla="*/ 28 w 33"/>
                  <a:gd name="T7" fmla="*/ 27 h 33"/>
                  <a:gd name="T8" fmla="*/ 7 w 33"/>
                  <a:gd name="T9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3">
                    <a:moveTo>
                      <a:pt x="7" y="28"/>
                    </a:moveTo>
                    <a:cubicBezTo>
                      <a:pt x="1" y="22"/>
                      <a:pt x="0" y="13"/>
                      <a:pt x="6" y="7"/>
                    </a:cubicBezTo>
                    <a:cubicBezTo>
                      <a:pt x="11" y="1"/>
                      <a:pt x="21" y="0"/>
                      <a:pt x="27" y="6"/>
                    </a:cubicBezTo>
                    <a:cubicBezTo>
                      <a:pt x="33" y="11"/>
                      <a:pt x="33" y="21"/>
                      <a:pt x="28" y="27"/>
                    </a:cubicBezTo>
                    <a:cubicBezTo>
                      <a:pt x="22" y="33"/>
                      <a:pt x="13" y="33"/>
                      <a:pt x="7" y="28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0" name="Freeform 88">
                <a:extLst>
                  <a:ext uri="{FF2B5EF4-FFF2-40B4-BE49-F238E27FC236}">
                    <a16:creationId xmlns:a16="http://schemas.microsoft.com/office/drawing/2014/main" id="{D4484202-5762-4E9C-BA21-297799D03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8" y="1892"/>
                <a:ext cx="221" cy="179"/>
              </a:xfrm>
              <a:custGeom>
                <a:avLst/>
                <a:gdLst>
                  <a:gd name="T0" fmla="*/ 23 w 404"/>
                  <a:gd name="T1" fmla="*/ 49 h 328"/>
                  <a:gd name="T2" fmla="*/ 23 w 404"/>
                  <a:gd name="T3" fmla="*/ 49 h 328"/>
                  <a:gd name="T4" fmla="*/ 134 w 404"/>
                  <a:gd name="T5" fmla="*/ 23 h 328"/>
                  <a:gd name="T6" fmla="*/ 404 w 404"/>
                  <a:gd name="T7" fmla="*/ 192 h 328"/>
                  <a:gd name="T8" fmla="*/ 319 w 404"/>
                  <a:gd name="T9" fmla="*/ 328 h 328"/>
                  <a:gd name="T10" fmla="*/ 49 w 404"/>
                  <a:gd name="T11" fmla="*/ 159 h 328"/>
                  <a:gd name="T12" fmla="*/ 23 w 404"/>
                  <a:gd name="T13" fmla="*/ 4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4" h="328">
                    <a:moveTo>
                      <a:pt x="23" y="49"/>
                    </a:moveTo>
                    <a:cubicBezTo>
                      <a:pt x="23" y="49"/>
                      <a:pt x="23" y="49"/>
                      <a:pt x="23" y="49"/>
                    </a:cubicBezTo>
                    <a:cubicBezTo>
                      <a:pt x="47" y="11"/>
                      <a:pt x="96" y="0"/>
                      <a:pt x="134" y="23"/>
                    </a:cubicBezTo>
                    <a:cubicBezTo>
                      <a:pt x="404" y="192"/>
                      <a:pt x="404" y="192"/>
                      <a:pt x="404" y="192"/>
                    </a:cubicBezTo>
                    <a:cubicBezTo>
                      <a:pt x="319" y="328"/>
                      <a:pt x="319" y="328"/>
                      <a:pt x="319" y="328"/>
                    </a:cubicBezTo>
                    <a:cubicBezTo>
                      <a:pt x="49" y="159"/>
                      <a:pt x="49" y="159"/>
                      <a:pt x="49" y="159"/>
                    </a:cubicBezTo>
                    <a:cubicBezTo>
                      <a:pt x="11" y="136"/>
                      <a:pt x="0" y="86"/>
                      <a:pt x="23" y="4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1" name="Freeform 89">
                <a:extLst>
                  <a:ext uri="{FF2B5EF4-FFF2-40B4-BE49-F238E27FC236}">
                    <a16:creationId xmlns:a16="http://schemas.microsoft.com/office/drawing/2014/main" id="{2BC3A16C-5427-43FA-A41E-F1669D3C2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" y="1987"/>
                <a:ext cx="57" cy="71"/>
              </a:xfrm>
              <a:custGeom>
                <a:avLst/>
                <a:gdLst>
                  <a:gd name="T0" fmla="*/ 0 w 57"/>
                  <a:gd name="T1" fmla="*/ 59 h 71"/>
                  <a:gd name="T2" fmla="*/ 38 w 57"/>
                  <a:gd name="T3" fmla="*/ 0 h 71"/>
                  <a:gd name="T4" fmla="*/ 57 w 57"/>
                  <a:gd name="T5" fmla="*/ 13 h 71"/>
                  <a:gd name="T6" fmla="*/ 21 w 57"/>
                  <a:gd name="T7" fmla="*/ 71 h 71"/>
                  <a:gd name="T8" fmla="*/ 0 w 57"/>
                  <a:gd name="T9" fmla="*/ 5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9"/>
                    </a:moveTo>
                    <a:lnTo>
                      <a:pt x="38" y="0"/>
                    </a:lnTo>
                    <a:lnTo>
                      <a:pt x="57" y="13"/>
                    </a:lnTo>
                    <a:lnTo>
                      <a:pt x="21" y="71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FFF1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2" name="Freeform 90">
                <a:extLst>
                  <a:ext uri="{FF2B5EF4-FFF2-40B4-BE49-F238E27FC236}">
                    <a16:creationId xmlns:a16="http://schemas.microsoft.com/office/drawing/2014/main" id="{C6AD274A-BEF3-4F88-B231-B79A9995DD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" y="1973"/>
                <a:ext cx="57" cy="71"/>
              </a:xfrm>
              <a:custGeom>
                <a:avLst/>
                <a:gdLst>
                  <a:gd name="T0" fmla="*/ 0 w 57"/>
                  <a:gd name="T1" fmla="*/ 58 h 71"/>
                  <a:gd name="T2" fmla="*/ 36 w 57"/>
                  <a:gd name="T3" fmla="*/ 0 h 71"/>
                  <a:gd name="T4" fmla="*/ 57 w 57"/>
                  <a:gd name="T5" fmla="*/ 12 h 71"/>
                  <a:gd name="T6" fmla="*/ 19 w 57"/>
                  <a:gd name="T7" fmla="*/ 71 h 71"/>
                  <a:gd name="T8" fmla="*/ 0 w 57"/>
                  <a:gd name="T9" fmla="*/ 5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8"/>
                    </a:moveTo>
                    <a:lnTo>
                      <a:pt x="36" y="0"/>
                    </a:lnTo>
                    <a:lnTo>
                      <a:pt x="57" y="12"/>
                    </a:lnTo>
                    <a:lnTo>
                      <a:pt x="19" y="71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FFEE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3" name="Freeform 91">
                <a:extLst>
                  <a:ext uri="{FF2B5EF4-FFF2-40B4-BE49-F238E27FC236}">
                    <a16:creationId xmlns:a16="http://schemas.microsoft.com/office/drawing/2014/main" id="{53031A32-B1F0-4AED-B628-BDAE850E2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2" y="1957"/>
                <a:ext cx="57" cy="72"/>
              </a:xfrm>
              <a:custGeom>
                <a:avLst/>
                <a:gdLst>
                  <a:gd name="T0" fmla="*/ 0 w 57"/>
                  <a:gd name="T1" fmla="*/ 59 h 72"/>
                  <a:gd name="T2" fmla="*/ 37 w 57"/>
                  <a:gd name="T3" fmla="*/ 0 h 72"/>
                  <a:gd name="T4" fmla="*/ 57 w 57"/>
                  <a:gd name="T5" fmla="*/ 13 h 72"/>
                  <a:gd name="T6" fmla="*/ 20 w 57"/>
                  <a:gd name="T7" fmla="*/ 72 h 72"/>
                  <a:gd name="T8" fmla="*/ 0 w 57"/>
                  <a:gd name="T9" fmla="*/ 5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2">
                    <a:moveTo>
                      <a:pt x="0" y="59"/>
                    </a:moveTo>
                    <a:lnTo>
                      <a:pt x="37" y="0"/>
                    </a:lnTo>
                    <a:lnTo>
                      <a:pt x="57" y="13"/>
                    </a:lnTo>
                    <a:lnTo>
                      <a:pt x="20" y="72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4" name="Freeform 92">
                <a:extLst>
                  <a:ext uri="{FF2B5EF4-FFF2-40B4-BE49-F238E27FC236}">
                    <a16:creationId xmlns:a16="http://schemas.microsoft.com/office/drawing/2014/main" id="{08E38D7B-919C-4434-8D49-DA594F595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8" y="1943"/>
                <a:ext cx="57" cy="71"/>
              </a:xfrm>
              <a:custGeom>
                <a:avLst/>
                <a:gdLst>
                  <a:gd name="T0" fmla="*/ 0 w 57"/>
                  <a:gd name="T1" fmla="*/ 58 h 71"/>
                  <a:gd name="T2" fmla="*/ 37 w 57"/>
                  <a:gd name="T3" fmla="*/ 0 h 71"/>
                  <a:gd name="T4" fmla="*/ 57 w 57"/>
                  <a:gd name="T5" fmla="*/ 12 h 71"/>
                  <a:gd name="T6" fmla="*/ 20 w 57"/>
                  <a:gd name="T7" fmla="*/ 71 h 71"/>
                  <a:gd name="T8" fmla="*/ 0 w 57"/>
                  <a:gd name="T9" fmla="*/ 5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8"/>
                    </a:moveTo>
                    <a:lnTo>
                      <a:pt x="37" y="0"/>
                    </a:lnTo>
                    <a:lnTo>
                      <a:pt x="57" y="12"/>
                    </a:lnTo>
                    <a:lnTo>
                      <a:pt x="20" y="71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FDD8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" name="Freeform 93">
                <a:extLst>
                  <a:ext uri="{FF2B5EF4-FFF2-40B4-BE49-F238E27FC236}">
                    <a16:creationId xmlns:a16="http://schemas.microsoft.com/office/drawing/2014/main" id="{E05E122E-6F56-4413-A8F4-2AFE148E9D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5" y="1928"/>
                <a:ext cx="57" cy="71"/>
              </a:xfrm>
              <a:custGeom>
                <a:avLst/>
                <a:gdLst>
                  <a:gd name="T0" fmla="*/ 0 w 57"/>
                  <a:gd name="T1" fmla="*/ 59 h 71"/>
                  <a:gd name="T2" fmla="*/ 36 w 57"/>
                  <a:gd name="T3" fmla="*/ 0 h 71"/>
                  <a:gd name="T4" fmla="*/ 57 w 57"/>
                  <a:gd name="T5" fmla="*/ 12 h 71"/>
                  <a:gd name="T6" fmla="*/ 19 w 57"/>
                  <a:gd name="T7" fmla="*/ 71 h 71"/>
                  <a:gd name="T8" fmla="*/ 0 w 57"/>
                  <a:gd name="T9" fmla="*/ 5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9"/>
                    </a:moveTo>
                    <a:lnTo>
                      <a:pt x="36" y="0"/>
                    </a:lnTo>
                    <a:lnTo>
                      <a:pt x="57" y="12"/>
                    </a:lnTo>
                    <a:lnTo>
                      <a:pt x="19" y="71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" name="Freeform 94">
                <a:extLst>
                  <a:ext uri="{FF2B5EF4-FFF2-40B4-BE49-F238E27FC236}">
                    <a16:creationId xmlns:a16="http://schemas.microsoft.com/office/drawing/2014/main" id="{6656C0CE-DFC8-43BF-BE91-0F45A3C2B0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" y="1913"/>
                <a:ext cx="56" cy="72"/>
              </a:xfrm>
              <a:custGeom>
                <a:avLst/>
                <a:gdLst>
                  <a:gd name="T0" fmla="*/ 0 w 56"/>
                  <a:gd name="T1" fmla="*/ 59 h 72"/>
                  <a:gd name="T2" fmla="*/ 37 w 56"/>
                  <a:gd name="T3" fmla="*/ 0 h 72"/>
                  <a:gd name="T4" fmla="*/ 56 w 56"/>
                  <a:gd name="T5" fmla="*/ 13 h 72"/>
                  <a:gd name="T6" fmla="*/ 20 w 56"/>
                  <a:gd name="T7" fmla="*/ 72 h 72"/>
                  <a:gd name="T8" fmla="*/ 0 w 56"/>
                  <a:gd name="T9" fmla="*/ 5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72">
                    <a:moveTo>
                      <a:pt x="0" y="59"/>
                    </a:moveTo>
                    <a:lnTo>
                      <a:pt x="37" y="0"/>
                    </a:lnTo>
                    <a:lnTo>
                      <a:pt x="56" y="13"/>
                    </a:lnTo>
                    <a:lnTo>
                      <a:pt x="20" y="72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7" name="Freeform 95">
                <a:extLst>
                  <a:ext uri="{FF2B5EF4-FFF2-40B4-BE49-F238E27FC236}">
                    <a16:creationId xmlns:a16="http://schemas.microsoft.com/office/drawing/2014/main" id="{D587F3E1-7E71-4AA6-955A-1E01FFF4A8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1"/>
                <a:ext cx="18" cy="19"/>
              </a:xfrm>
              <a:custGeom>
                <a:avLst/>
                <a:gdLst>
                  <a:gd name="T0" fmla="*/ 9 w 34"/>
                  <a:gd name="T1" fmla="*/ 29 h 34"/>
                  <a:gd name="T2" fmla="*/ 4 w 34"/>
                  <a:gd name="T3" fmla="*/ 9 h 34"/>
                  <a:gd name="T4" fmla="*/ 25 w 34"/>
                  <a:gd name="T5" fmla="*/ 4 h 34"/>
                  <a:gd name="T6" fmla="*/ 30 w 34"/>
                  <a:gd name="T7" fmla="*/ 25 h 34"/>
                  <a:gd name="T8" fmla="*/ 9 w 34"/>
                  <a:gd name="T9" fmla="*/ 2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9" y="29"/>
                    </a:moveTo>
                    <a:cubicBezTo>
                      <a:pt x="2" y="25"/>
                      <a:pt x="0" y="16"/>
                      <a:pt x="4" y="9"/>
                    </a:cubicBezTo>
                    <a:cubicBezTo>
                      <a:pt x="9" y="2"/>
                      <a:pt x="18" y="0"/>
                      <a:pt x="25" y="4"/>
                    </a:cubicBezTo>
                    <a:cubicBezTo>
                      <a:pt x="32" y="9"/>
                      <a:pt x="34" y="18"/>
                      <a:pt x="30" y="25"/>
                    </a:cubicBezTo>
                    <a:cubicBezTo>
                      <a:pt x="25" y="32"/>
                      <a:pt x="16" y="34"/>
                      <a:pt x="9" y="29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8" name="Freeform 96">
                <a:extLst>
                  <a:ext uri="{FF2B5EF4-FFF2-40B4-BE49-F238E27FC236}">
                    <a16:creationId xmlns:a16="http://schemas.microsoft.com/office/drawing/2014/main" id="{65D28321-5E42-4B38-9631-98D7F74CC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" y="1891"/>
                <a:ext cx="229" cy="149"/>
              </a:xfrm>
              <a:custGeom>
                <a:avLst/>
                <a:gdLst>
                  <a:gd name="T0" fmla="*/ 15 w 418"/>
                  <a:gd name="T1" fmla="*/ 63 h 272"/>
                  <a:gd name="T2" fmla="*/ 15 w 418"/>
                  <a:gd name="T3" fmla="*/ 63 h 272"/>
                  <a:gd name="T4" fmla="*/ 117 w 418"/>
                  <a:gd name="T5" fmla="*/ 15 h 272"/>
                  <a:gd name="T6" fmla="*/ 418 w 418"/>
                  <a:gd name="T7" fmla="*/ 121 h 272"/>
                  <a:gd name="T8" fmla="*/ 364 w 418"/>
                  <a:gd name="T9" fmla="*/ 272 h 272"/>
                  <a:gd name="T10" fmla="*/ 64 w 418"/>
                  <a:gd name="T11" fmla="*/ 166 h 272"/>
                  <a:gd name="T12" fmla="*/ 15 w 418"/>
                  <a:gd name="T13" fmla="*/ 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8" h="272">
                    <a:moveTo>
                      <a:pt x="15" y="63"/>
                    </a:moveTo>
                    <a:cubicBezTo>
                      <a:pt x="15" y="63"/>
                      <a:pt x="15" y="63"/>
                      <a:pt x="15" y="63"/>
                    </a:cubicBezTo>
                    <a:cubicBezTo>
                      <a:pt x="30" y="22"/>
                      <a:pt x="76" y="0"/>
                      <a:pt x="117" y="15"/>
                    </a:cubicBezTo>
                    <a:cubicBezTo>
                      <a:pt x="418" y="121"/>
                      <a:pt x="418" y="121"/>
                      <a:pt x="418" y="121"/>
                    </a:cubicBezTo>
                    <a:cubicBezTo>
                      <a:pt x="364" y="272"/>
                      <a:pt x="364" y="272"/>
                      <a:pt x="364" y="272"/>
                    </a:cubicBezTo>
                    <a:cubicBezTo>
                      <a:pt x="64" y="166"/>
                      <a:pt x="64" y="166"/>
                      <a:pt x="64" y="166"/>
                    </a:cubicBezTo>
                    <a:cubicBezTo>
                      <a:pt x="22" y="151"/>
                      <a:pt x="0" y="105"/>
                      <a:pt x="15" y="6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9" name="Freeform 97">
                <a:extLst>
                  <a:ext uri="{FF2B5EF4-FFF2-40B4-BE49-F238E27FC236}">
                    <a16:creationId xmlns:a16="http://schemas.microsoft.com/office/drawing/2014/main" id="{565565E1-DA7C-4C7C-81BE-3897131B68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955"/>
                <a:ext cx="45" cy="73"/>
              </a:xfrm>
              <a:custGeom>
                <a:avLst/>
                <a:gdLst>
                  <a:gd name="T0" fmla="*/ 0 w 45"/>
                  <a:gd name="T1" fmla="*/ 66 h 73"/>
                  <a:gd name="T2" fmla="*/ 23 w 45"/>
                  <a:gd name="T3" fmla="*/ 0 h 73"/>
                  <a:gd name="T4" fmla="*/ 45 w 45"/>
                  <a:gd name="T5" fmla="*/ 8 h 73"/>
                  <a:gd name="T6" fmla="*/ 22 w 45"/>
                  <a:gd name="T7" fmla="*/ 73 h 73"/>
                  <a:gd name="T8" fmla="*/ 0 w 45"/>
                  <a:gd name="T9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6"/>
                    </a:moveTo>
                    <a:lnTo>
                      <a:pt x="23" y="0"/>
                    </a:lnTo>
                    <a:lnTo>
                      <a:pt x="45" y="8"/>
                    </a:lnTo>
                    <a:lnTo>
                      <a:pt x="22" y="73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E6EE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0" name="Freeform 98">
                <a:extLst>
                  <a:ext uri="{FF2B5EF4-FFF2-40B4-BE49-F238E27FC236}">
                    <a16:creationId xmlns:a16="http://schemas.microsoft.com/office/drawing/2014/main" id="{A726B54A-F4F4-4DA4-8282-724AC687F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0" y="1946"/>
                <a:ext cx="45" cy="73"/>
              </a:xfrm>
              <a:custGeom>
                <a:avLst/>
                <a:gdLst>
                  <a:gd name="T0" fmla="*/ 0 w 45"/>
                  <a:gd name="T1" fmla="*/ 65 h 73"/>
                  <a:gd name="T2" fmla="*/ 24 w 45"/>
                  <a:gd name="T3" fmla="*/ 0 h 73"/>
                  <a:gd name="T4" fmla="*/ 45 w 45"/>
                  <a:gd name="T5" fmla="*/ 7 h 73"/>
                  <a:gd name="T6" fmla="*/ 22 w 45"/>
                  <a:gd name="T7" fmla="*/ 73 h 73"/>
                  <a:gd name="T8" fmla="*/ 0 w 45"/>
                  <a:gd name="T9" fmla="*/ 6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5"/>
                    </a:moveTo>
                    <a:lnTo>
                      <a:pt x="24" y="0"/>
                    </a:lnTo>
                    <a:lnTo>
                      <a:pt x="45" y="7"/>
                    </a:lnTo>
                    <a:lnTo>
                      <a:pt x="22" y="73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DCE77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1" name="Freeform 99">
                <a:extLst>
                  <a:ext uri="{FF2B5EF4-FFF2-40B4-BE49-F238E27FC236}">
                    <a16:creationId xmlns:a16="http://schemas.microsoft.com/office/drawing/2014/main" id="{F69E95FD-011E-4FC5-B499-6C359ED9E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4" y="1937"/>
                <a:ext cx="45" cy="73"/>
              </a:xfrm>
              <a:custGeom>
                <a:avLst/>
                <a:gdLst>
                  <a:gd name="T0" fmla="*/ 0 w 45"/>
                  <a:gd name="T1" fmla="*/ 64 h 73"/>
                  <a:gd name="T2" fmla="*/ 23 w 45"/>
                  <a:gd name="T3" fmla="*/ 0 h 73"/>
                  <a:gd name="T4" fmla="*/ 45 w 45"/>
                  <a:gd name="T5" fmla="*/ 7 h 73"/>
                  <a:gd name="T6" fmla="*/ 22 w 45"/>
                  <a:gd name="T7" fmla="*/ 73 h 73"/>
                  <a:gd name="T8" fmla="*/ 0 w 45"/>
                  <a:gd name="T9" fmla="*/ 6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4"/>
                    </a:moveTo>
                    <a:lnTo>
                      <a:pt x="23" y="0"/>
                    </a:lnTo>
                    <a:lnTo>
                      <a:pt x="45" y="7"/>
                    </a:lnTo>
                    <a:lnTo>
                      <a:pt x="22" y="73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2" name="Freeform 100">
                <a:extLst>
                  <a:ext uri="{FF2B5EF4-FFF2-40B4-BE49-F238E27FC236}">
                    <a16:creationId xmlns:a16="http://schemas.microsoft.com/office/drawing/2014/main" id="{3320A667-29D2-4325-9627-6DD64612C1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7" y="1927"/>
                <a:ext cx="46" cy="73"/>
              </a:xfrm>
              <a:custGeom>
                <a:avLst/>
                <a:gdLst>
                  <a:gd name="T0" fmla="*/ 0 w 46"/>
                  <a:gd name="T1" fmla="*/ 65 h 73"/>
                  <a:gd name="T2" fmla="*/ 23 w 46"/>
                  <a:gd name="T3" fmla="*/ 0 h 73"/>
                  <a:gd name="T4" fmla="*/ 46 w 46"/>
                  <a:gd name="T5" fmla="*/ 8 h 73"/>
                  <a:gd name="T6" fmla="*/ 22 w 46"/>
                  <a:gd name="T7" fmla="*/ 73 h 73"/>
                  <a:gd name="T8" fmla="*/ 0 w 46"/>
                  <a:gd name="T9" fmla="*/ 6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0" y="65"/>
                    </a:moveTo>
                    <a:lnTo>
                      <a:pt x="23" y="0"/>
                    </a:lnTo>
                    <a:lnTo>
                      <a:pt x="46" y="8"/>
                    </a:lnTo>
                    <a:lnTo>
                      <a:pt x="22" y="73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CDDC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3" name="Freeform 101">
                <a:extLst>
                  <a:ext uri="{FF2B5EF4-FFF2-40B4-BE49-F238E27FC236}">
                    <a16:creationId xmlns:a16="http://schemas.microsoft.com/office/drawing/2014/main" id="{9F976ACC-0A27-4728-8AB9-92F1DC017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1" y="1917"/>
                <a:ext cx="45" cy="74"/>
              </a:xfrm>
              <a:custGeom>
                <a:avLst/>
                <a:gdLst>
                  <a:gd name="T0" fmla="*/ 0 w 45"/>
                  <a:gd name="T1" fmla="*/ 66 h 74"/>
                  <a:gd name="T2" fmla="*/ 23 w 45"/>
                  <a:gd name="T3" fmla="*/ 0 h 74"/>
                  <a:gd name="T4" fmla="*/ 45 w 45"/>
                  <a:gd name="T5" fmla="*/ 9 h 74"/>
                  <a:gd name="T6" fmla="*/ 22 w 45"/>
                  <a:gd name="T7" fmla="*/ 74 h 74"/>
                  <a:gd name="T8" fmla="*/ 0 w 45"/>
                  <a:gd name="T9" fmla="*/ 6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4">
                    <a:moveTo>
                      <a:pt x="0" y="66"/>
                    </a:moveTo>
                    <a:lnTo>
                      <a:pt x="23" y="0"/>
                    </a:lnTo>
                    <a:lnTo>
                      <a:pt x="45" y="9"/>
                    </a:lnTo>
                    <a:lnTo>
                      <a:pt x="22" y="74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C0CA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4" name="Freeform 102">
                <a:extLst>
                  <a:ext uri="{FF2B5EF4-FFF2-40B4-BE49-F238E27FC236}">
                    <a16:creationId xmlns:a16="http://schemas.microsoft.com/office/drawing/2014/main" id="{5E758009-E188-468F-8DF0-D50F294FC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908"/>
                <a:ext cx="46" cy="73"/>
              </a:xfrm>
              <a:custGeom>
                <a:avLst/>
                <a:gdLst>
                  <a:gd name="T0" fmla="*/ 0 w 46"/>
                  <a:gd name="T1" fmla="*/ 66 h 73"/>
                  <a:gd name="T2" fmla="*/ 24 w 46"/>
                  <a:gd name="T3" fmla="*/ 0 h 73"/>
                  <a:gd name="T4" fmla="*/ 46 w 46"/>
                  <a:gd name="T5" fmla="*/ 8 h 73"/>
                  <a:gd name="T6" fmla="*/ 23 w 46"/>
                  <a:gd name="T7" fmla="*/ 73 h 73"/>
                  <a:gd name="T8" fmla="*/ 0 w 46"/>
                  <a:gd name="T9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0" y="66"/>
                    </a:moveTo>
                    <a:lnTo>
                      <a:pt x="24" y="0"/>
                    </a:lnTo>
                    <a:lnTo>
                      <a:pt x="46" y="8"/>
                    </a:lnTo>
                    <a:lnTo>
                      <a:pt x="23" y="73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AFB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5" name="Freeform 103">
                <a:extLst>
                  <a:ext uri="{FF2B5EF4-FFF2-40B4-BE49-F238E27FC236}">
                    <a16:creationId xmlns:a16="http://schemas.microsoft.com/office/drawing/2014/main" id="{80356FB1-D90D-4EF3-84A4-00B7FE1863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9"/>
              </a:xfrm>
              <a:custGeom>
                <a:avLst/>
                <a:gdLst>
                  <a:gd name="T0" fmla="*/ 12 w 33"/>
                  <a:gd name="T1" fmla="*/ 30 h 33"/>
                  <a:gd name="T2" fmla="*/ 2 w 33"/>
                  <a:gd name="T3" fmla="*/ 11 h 33"/>
                  <a:gd name="T4" fmla="*/ 21 w 33"/>
                  <a:gd name="T5" fmla="*/ 2 h 33"/>
                  <a:gd name="T6" fmla="*/ 31 w 33"/>
                  <a:gd name="T7" fmla="*/ 21 h 33"/>
                  <a:gd name="T8" fmla="*/ 12 w 33"/>
                  <a:gd name="T9" fmla="*/ 3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3">
                    <a:moveTo>
                      <a:pt x="12" y="30"/>
                    </a:moveTo>
                    <a:cubicBezTo>
                      <a:pt x="4" y="28"/>
                      <a:pt x="0" y="19"/>
                      <a:pt x="2" y="11"/>
                    </a:cubicBezTo>
                    <a:cubicBezTo>
                      <a:pt x="5" y="4"/>
                      <a:pt x="14" y="0"/>
                      <a:pt x="21" y="2"/>
                    </a:cubicBezTo>
                    <a:cubicBezTo>
                      <a:pt x="29" y="5"/>
                      <a:pt x="33" y="14"/>
                      <a:pt x="31" y="21"/>
                    </a:cubicBezTo>
                    <a:cubicBezTo>
                      <a:pt x="28" y="29"/>
                      <a:pt x="19" y="33"/>
                      <a:pt x="12" y="30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6" name="Freeform 104">
                <a:extLst>
                  <a:ext uri="{FF2B5EF4-FFF2-40B4-BE49-F238E27FC236}">
                    <a16:creationId xmlns:a16="http://schemas.microsoft.com/office/drawing/2014/main" id="{F288D20D-0249-4BB9-B795-C0BCBCC03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" y="1887"/>
                <a:ext cx="225" cy="107"/>
              </a:xfrm>
              <a:custGeom>
                <a:avLst/>
                <a:gdLst>
                  <a:gd name="T0" fmla="*/ 5 w 410"/>
                  <a:gd name="T1" fmla="*/ 76 h 196"/>
                  <a:gd name="T2" fmla="*/ 5 w 410"/>
                  <a:gd name="T3" fmla="*/ 76 h 196"/>
                  <a:gd name="T4" fmla="*/ 93 w 410"/>
                  <a:gd name="T5" fmla="*/ 4 h 196"/>
                  <a:gd name="T6" fmla="*/ 410 w 410"/>
                  <a:gd name="T7" fmla="*/ 37 h 196"/>
                  <a:gd name="T8" fmla="*/ 393 w 410"/>
                  <a:gd name="T9" fmla="*/ 196 h 196"/>
                  <a:gd name="T10" fmla="*/ 76 w 410"/>
                  <a:gd name="T11" fmla="*/ 164 h 196"/>
                  <a:gd name="T12" fmla="*/ 5 w 410"/>
                  <a:gd name="T13" fmla="*/ 7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0" h="196">
                    <a:moveTo>
                      <a:pt x="5" y="76"/>
                    </a:moveTo>
                    <a:cubicBezTo>
                      <a:pt x="5" y="76"/>
                      <a:pt x="5" y="76"/>
                      <a:pt x="5" y="76"/>
                    </a:cubicBezTo>
                    <a:cubicBezTo>
                      <a:pt x="9" y="32"/>
                      <a:pt x="49" y="0"/>
                      <a:pt x="93" y="4"/>
                    </a:cubicBezTo>
                    <a:cubicBezTo>
                      <a:pt x="410" y="37"/>
                      <a:pt x="410" y="37"/>
                      <a:pt x="410" y="37"/>
                    </a:cubicBezTo>
                    <a:cubicBezTo>
                      <a:pt x="393" y="196"/>
                      <a:pt x="393" y="196"/>
                      <a:pt x="393" y="196"/>
                    </a:cubicBezTo>
                    <a:cubicBezTo>
                      <a:pt x="76" y="164"/>
                      <a:pt x="76" y="164"/>
                      <a:pt x="76" y="164"/>
                    </a:cubicBezTo>
                    <a:cubicBezTo>
                      <a:pt x="32" y="159"/>
                      <a:pt x="0" y="120"/>
                      <a:pt x="5" y="7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7" name="Freeform 105">
                <a:extLst>
                  <a:ext uri="{FF2B5EF4-FFF2-40B4-BE49-F238E27FC236}">
                    <a16:creationId xmlns:a16="http://schemas.microsoft.com/office/drawing/2014/main" id="{297A74DF-660D-472E-8098-462149FDFB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8" y="1912"/>
                <a:ext cx="31" cy="72"/>
              </a:xfrm>
              <a:custGeom>
                <a:avLst/>
                <a:gdLst>
                  <a:gd name="T0" fmla="*/ 0 w 31"/>
                  <a:gd name="T1" fmla="*/ 70 h 72"/>
                  <a:gd name="T2" fmla="*/ 7 w 31"/>
                  <a:gd name="T3" fmla="*/ 0 h 72"/>
                  <a:gd name="T4" fmla="*/ 31 w 31"/>
                  <a:gd name="T5" fmla="*/ 3 h 72"/>
                  <a:gd name="T6" fmla="*/ 24 w 31"/>
                  <a:gd name="T7" fmla="*/ 72 h 72"/>
                  <a:gd name="T8" fmla="*/ 0 w 31"/>
                  <a:gd name="T9" fmla="*/ 7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0" y="70"/>
                    </a:moveTo>
                    <a:lnTo>
                      <a:pt x="7" y="0"/>
                    </a:lnTo>
                    <a:lnTo>
                      <a:pt x="31" y="3"/>
                    </a:lnTo>
                    <a:lnTo>
                      <a:pt x="24" y="72"/>
                    </a:lnTo>
                    <a:lnTo>
                      <a:pt x="0" y="70"/>
                    </a:lnTo>
                    <a:close/>
                  </a:path>
                </a:pathLst>
              </a:custGeom>
              <a:solidFill>
                <a:srgbClr val="C5E1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8" name="Freeform 106">
                <a:extLst>
                  <a:ext uri="{FF2B5EF4-FFF2-40B4-BE49-F238E27FC236}">
                    <a16:creationId xmlns:a16="http://schemas.microsoft.com/office/drawing/2014/main" id="{4D6225FE-D55C-40DC-A38A-94CD4D9AB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" y="1910"/>
                <a:ext cx="31" cy="71"/>
              </a:xfrm>
              <a:custGeom>
                <a:avLst/>
                <a:gdLst>
                  <a:gd name="T0" fmla="*/ 0 w 31"/>
                  <a:gd name="T1" fmla="*/ 69 h 71"/>
                  <a:gd name="T2" fmla="*/ 7 w 31"/>
                  <a:gd name="T3" fmla="*/ 0 h 71"/>
                  <a:gd name="T4" fmla="*/ 31 w 31"/>
                  <a:gd name="T5" fmla="*/ 2 h 71"/>
                  <a:gd name="T6" fmla="*/ 24 w 31"/>
                  <a:gd name="T7" fmla="*/ 71 h 71"/>
                  <a:gd name="T8" fmla="*/ 0 w 31"/>
                  <a:gd name="T9" fmla="*/ 6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0" y="69"/>
                    </a:moveTo>
                    <a:lnTo>
                      <a:pt x="7" y="0"/>
                    </a:lnTo>
                    <a:lnTo>
                      <a:pt x="31" y="2"/>
                    </a:lnTo>
                    <a:lnTo>
                      <a:pt x="24" y="71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AED5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9" name="Freeform 107">
                <a:extLst>
                  <a:ext uri="{FF2B5EF4-FFF2-40B4-BE49-F238E27FC236}">
                    <a16:creationId xmlns:a16="http://schemas.microsoft.com/office/drawing/2014/main" id="{184F0614-A5A6-4C2A-A30B-2ECD9DD132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2" y="1907"/>
                <a:ext cx="31" cy="72"/>
              </a:xfrm>
              <a:custGeom>
                <a:avLst/>
                <a:gdLst>
                  <a:gd name="T0" fmla="*/ 0 w 31"/>
                  <a:gd name="T1" fmla="*/ 69 h 72"/>
                  <a:gd name="T2" fmla="*/ 7 w 31"/>
                  <a:gd name="T3" fmla="*/ 0 h 72"/>
                  <a:gd name="T4" fmla="*/ 31 w 31"/>
                  <a:gd name="T5" fmla="*/ 2 h 72"/>
                  <a:gd name="T6" fmla="*/ 24 w 31"/>
                  <a:gd name="T7" fmla="*/ 72 h 72"/>
                  <a:gd name="T8" fmla="*/ 0 w 31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0" y="69"/>
                    </a:moveTo>
                    <a:lnTo>
                      <a:pt x="7" y="0"/>
                    </a:lnTo>
                    <a:lnTo>
                      <a:pt x="31" y="2"/>
                    </a:lnTo>
                    <a:lnTo>
                      <a:pt x="24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9CCC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0" name="Freeform 108">
                <a:extLst>
                  <a:ext uri="{FF2B5EF4-FFF2-40B4-BE49-F238E27FC236}">
                    <a16:creationId xmlns:a16="http://schemas.microsoft.com/office/drawing/2014/main" id="{885973B0-D7BC-41B3-95B0-E0B3F35A58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1904"/>
                <a:ext cx="31" cy="71"/>
              </a:xfrm>
              <a:custGeom>
                <a:avLst/>
                <a:gdLst>
                  <a:gd name="T0" fmla="*/ 0 w 31"/>
                  <a:gd name="T1" fmla="*/ 69 h 71"/>
                  <a:gd name="T2" fmla="*/ 8 w 31"/>
                  <a:gd name="T3" fmla="*/ 0 h 71"/>
                  <a:gd name="T4" fmla="*/ 31 w 31"/>
                  <a:gd name="T5" fmla="*/ 2 h 71"/>
                  <a:gd name="T6" fmla="*/ 24 w 31"/>
                  <a:gd name="T7" fmla="*/ 71 h 71"/>
                  <a:gd name="T8" fmla="*/ 0 w 31"/>
                  <a:gd name="T9" fmla="*/ 6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0" y="69"/>
                    </a:moveTo>
                    <a:lnTo>
                      <a:pt x="8" y="0"/>
                    </a:lnTo>
                    <a:lnTo>
                      <a:pt x="31" y="2"/>
                    </a:lnTo>
                    <a:lnTo>
                      <a:pt x="24" y="71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1" name="Freeform 109">
                <a:extLst>
                  <a:ext uri="{FF2B5EF4-FFF2-40B4-BE49-F238E27FC236}">
                    <a16:creationId xmlns:a16="http://schemas.microsoft.com/office/drawing/2014/main" id="{E952FAAE-79ED-4F86-A93C-3626A2032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1901"/>
                <a:ext cx="30" cy="72"/>
              </a:xfrm>
              <a:custGeom>
                <a:avLst/>
                <a:gdLst>
                  <a:gd name="T0" fmla="*/ 0 w 30"/>
                  <a:gd name="T1" fmla="*/ 69 h 72"/>
                  <a:gd name="T2" fmla="*/ 7 w 30"/>
                  <a:gd name="T3" fmla="*/ 0 h 72"/>
                  <a:gd name="T4" fmla="*/ 30 w 30"/>
                  <a:gd name="T5" fmla="*/ 3 h 72"/>
                  <a:gd name="T6" fmla="*/ 23 w 30"/>
                  <a:gd name="T7" fmla="*/ 72 h 72"/>
                  <a:gd name="T8" fmla="*/ 0 w 30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72">
                    <a:moveTo>
                      <a:pt x="0" y="69"/>
                    </a:moveTo>
                    <a:lnTo>
                      <a:pt x="7" y="0"/>
                    </a:lnTo>
                    <a:lnTo>
                      <a:pt x="30" y="3"/>
                    </a:lnTo>
                    <a:lnTo>
                      <a:pt x="23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7CB3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2" name="Freeform 110">
                <a:extLst>
                  <a:ext uri="{FF2B5EF4-FFF2-40B4-BE49-F238E27FC236}">
                    <a16:creationId xmlns:a16="http://schemas.microsoft.com/office/drawing/2014/main" id="{FBF8D14E-A43B-49E7-8676-A560D1259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9" y="1898"/>
                <a:ext cx="30" cy="72"/>
              </a:xfrm>
              <a:custGeom>
                <a:avLst/>
                <a:gdLst>
                  <a:gd name="T0" fmla="*/ 0 w 30"/>
                  <a:gd name="T1" fmla="*/ 69 h 72"/>
                  <a:gd name="T2" fmla="*/ 7 w 30"/>
                  <a:gd name="T3" fmla="*/ 0 h 72"/>
                  <a:gd name="T4" fmla="*/ 30 w 30"/>
                  <a:gd name="T5" fmla="*/ 2 h 72"/>
                  <a:gd name="T6" fmla="*/ 23 w 30"/>
                  <a:gd name="T7" fmla="*/ 72 h 72"/>
                  <a:gd name="T8" fmla="*/ 0 w 30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72">
                    <a:moveTo>
                      <a:pt x="0" y="69"/>
                    </a:moveTo>
                    <a:lnTo>
                      <a:pt x="7" y="0"/>
                    </a:lnTo>
                    <a:lnTo>
                      <a:pt x="30" y="2"/>
                    </a:lnTo>
                    <a:lnTo>
                      <a:pt x="23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689F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3" name="Freeform 111">
                <a:extLst>
                  <a:ext uri="{FF2B5EF4-FFF2-40B4-BE49-F238E27FC236}">
                    <a16:creationId xmlns:a16="http://schemas.microsoft.com/office/drawing/2014/main" id="{194F6BEB-A6F3-4204-A3E7-28D0AB2875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2"/>
                <a:ext cx="17" cy="17"/>
              </a:xfrm>
              <a:custGeom>
                <a:avLst/>
                <a:gdLst>
                  <a:gd name="T0" fmla="*/ 14 w 31"/>
                  <a:gd name="T1" fmla="*/ 31 h 32"/>
                  <a:gd name="T2" fmla="*/ 1 w 31"/>
                  <a:gd name="T3" fmla="*/ 14 h 32"/>
                  <a:gd name="T4" fmla="*/ 17 w 31"/>
                  <a:gd name="T5" fmla="*/ 1 h 32"/>
                  <a:gd name="T6" fmla="*/ 30 w 31"/>
                  <a:gd name="T7" fmla="*/ 17 h 32"/>
                  <a:gd name="T8" fmla="*/ 14 w 31"/>
                  <a:gd name="T9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2">
                    <a:moveTo>
                      <a:pt x="14" y="31"/>
                    </a:moveTo>
                    <a:cubicBezTo>
                      <a:pt x="6" y="30"/>
                      <a:pt x="0" y="23"/>
                      <a:pt x="1" y="14"/>
                    </a:cubicBezTo>
                    <a:cubicBezTo>
                      <a:pt x="2" y="6"/>
                      <a:pt x="9" y="0"/>
                      <a:pt x="17" y="1"/>
                    </a:cubicBezTo>
                    <a:cubicBezTo>
                      <a:pt x="25" y="2"/>
                      <a:pt x="31" y="9"/>
                      <a:pt x="30" y="17"/>
                    </a:cubicBezTo>
                    <a:cubicBezTo>
                      <a:pt x="30" y="26"/>
                      <a:pt x="22" y="32"/>
                      <a:pt x="14" y="31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4" name="Freeform 112">
                <a:extLst>
                  <a:ext uri="{FF2B5EF4-FFF2-40B4-BE49-F238E27FC236}">
                    <a16:creationId xmlns:a16="http://schemas.microsoft.com/office/drawing/2014/main" id="{E6A7D0A3-C279-46E0-A2AD-A201233ACE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" y="1866"/>
                <a:ext cx="224" cy="109"/>
              </a:xfrm>
              <a:custGeom>
                <a:avLst/>
                <a:gdLst>
                  <a:gd name="T0" fmla="*/ 5 w 410"/>
                  <a:gd name="T1" fmla="*/ 124 h 200"/>
                  <a:gd name="T2" fmla="*/ 5 w 410"/>
                  <a:gd name="T3" fmla="*/ 124 h 200"/>
                  <a:gd name="T4" fmla="*/ 75 w 410"/>
                  <a:gd name="T5" fmla="*/ 35 h 200"/>
                  <a:gd name="T6" fmla="*/ 392 w 410"/>
                  <a:gd name="T7" fmla="*/ 0 h 200"/>
                  <a:gd name="T8" fmla="*/ 410 w 410"/>
                  <a:gd name="T9" fmla="*/ 159 h 200"/>
                  <a:gd name="T10" fmla="*/ 93 w 410"/>
                  <a:gd name="T11" fmla="*/ 195 h 200"/>
                  <a:gd name="T12" fmla="*/ 5 w 410"/>
                  <a:gd name="T13" fmla="*/ 124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0" h="200">
                    <a:moveTo>
                      <a:pt x="5" y="124"/>
                    </a:moveTo>
                    <a:cubicBezTo>
                      <a:pt x="5" y="124"/>
                      <a:pt x="5" y="124"/>
                      <a:pt x="5" y="124"/>
                    </a:cubicBezTo>
                    <a:cubicBezTo>
                      <a:pt x="0" y="80"/>
                      <a:pt x="31" y="40"/>
                      <a:pt x="75" y="35"/>
                    </a:cubicBezTo>
                    <a:cubicBezTo>
                      <a:pt x="392" y="0"/>
                      <a:pt x="392" y="0"/>
                      <a:pt x="392" y="0"/>
                    </a:cubicBezTo>
                    <a:cubicBezTo>
                      <a:pt x="410" y="159"/>
                      <a:pt x="410" y="159"/>
                      <a:pt x="410" y="159"/>
                    </a:cubicBezTo>
                    <a:cubicBezTo>
                      <a:pt x="93" y="195"/>
                      <a:pt x="93" y="195"/>
                      <a:pt x="93" y="195"/>
                    </a:cubicBezTo>
                    <a:cubicBezTo>
                      <a:pt x="49" y="200"/>
                      <a:pt x="10" y="168"/>
                      <a:pt x="5" y="1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5" name="Freeform 113">
                <a:extLst>
                  <a:ext uri="{FF2B5EF4-FFF2-40B4-BE49-F238E27FC236}">
                    <a16:creationId xmlns:a16="http://schemas.microsoft.com/office/drawing/2014/main" id="{D9EB15A7-C8BC-498E-B5AC-BF1CB4446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7" y="1876"/>
                <a:ext cx="31" cy="71"/>
              </a:xfrm>
              <a:custGeom>
                <a:avLst/>
                <a:gdLst>
                  <a:gd name="T0" fmla="*/ 8 w 31"/>
                  <a:gd name="T1" fmla="*/ 71 h 71"/>
                  <a:gd name="T2" fmla="*/ 0 w 31"/>
                  <a:gd name="T3" fmla="*/ 3 h 71"/>
                  <a:gd name="T4" fmla="*/ 23 w 31"/>
                  <a:gd name="T5" fmla="*/ 0 h 71"/>
                  <a:gd name="T6" fmla="*/ 31 w 31"/>
                  <a:gd name="T7" fmla="*/ 69 h 71"/>
                  <a:gd name="T8" fmla="*/ 8 w 31"/>
                  <a:gd name="T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8" y="71"/>
                    </a:moveTo>
                    <a:lnTo>
                      <a:pt x="0" y="3"/>
                    </a:lnTo>
                    <a:lnTo>
                      <a:pt x="23" y="0"/>
                    </a:lnTo>
                    <a:lnTo>
                      <a:pt x="31" y="69"/>
                    </a:lnTo>
                    <a:lnTo>
                      <a:pt x="8" y="71"/>
                    </a:lnTo>
                    <a:close/>
                  </a:path>
                </a:pathLst>
              </a:custGeom>
              <a:solidFill>
                <a:srgbClr val="80CB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6" name="Freeform 114">
                <a:extLst>
                  <a:ext uri="{FF2B5EF4-FFF2-40B4-BE49-F238E27FC236}">
                    <a16:creationId xmlns:a16="http://schemas.microsoft.com/office/drawing/2014/main" id="{FC3880F6-7A19-4FBC-80C9-497368FF86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9" y="1879"/>
                <a:ext cx="31" cy="72"/>
              </a:xfrm>
              <a:custGeom>
                <a:avLst/>
                <a:gdLst>
                  <a:gd name="T0" fmla="*/ 8 w 31"/>
                  <a:gd name="T1" fmla="*/ 72 h 72"/>
                  <a:gd name="T2" fmla="*/ 0 w 31"/>
                  <a:gd name="T3" fmla="*/ 3 h 72"/>
                  <a:gd name="T4" fmla="*/ 23 w 31"/>
                  <a:gd name="T5" fmla="*/ 0 h 72"/>
                  <a:gd name="T6" fmla="*/ 31 w 31"/>
                  <a:gd name="T7" fmla="*/ 69 h 72"/>
                  <a:gd name="T8" fmla="*/ 8 w 31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8" y="72"/>
                    </a:moveTo>
                    <a:lnTo>
                      <a:pt x="0" y="3"/>
                    </a:lnTo>
                    <a:lnTo>
                      <a:pt x="23" y="0"/>
                    </a:lnTo>
                    <a:lnTo>
                      <a:pt x="31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4DB6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7" name="Freeform 115">
                <a:extLst>
                  <a:ext uri="{FF2B5EF4-FFF2-40B4-BE49-F238E27FC236}">
                    <a16:creationId xmlns:a16="http://schemas.microsoft.com/office/drawing/2014/main" id="{8995C09D-66A0-4A50-A710-B881A9354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" y="1882"/>
                <a:ext cx="31" cy="72"/>
              </a:xfrm>
              <a:custGeom>
                <a:avLst/>
                <a:gdLst>
                  <a:gd name="T0" fmla="*/ 8 w 31"/>
                  <a:gd name="T1" fmla="*/ 72 h 72"/>
                  <a:gd name="T2" fmla="*/ 0 w 31"/>
                  <a:gd name="T3" fmla="*/ 3 h 72"/>
                  <a:gd name="T4" fmla="*/ 24 w 31"/>
                  <a:gd name="T5" fmla="*/ 0 h 72"/>
                  <a:gd name="T6" fmla="*/ 31 w 31"/>
                  <a:gd name="T7" fmla="*/ 69 h 72"/>
                  <a:gd name="T8" fmla="*/ 8 w 31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1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26A6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8" name="Freeform 116">
                <a:extLst>
                  <a:ext uri="{FF2B5EF4-FFF2-40B4-BE49-F238E27FC236}">
                    <a16:creationId xmlns:a16="http://schemas.microsoft.com/office/drawing/2014/main" id="{02E1561F-A0A1-4AD5-A216-6818D5F3E4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3" y="1885"/>
                <a:ext cx="32" cy="72"/>
              </a:xfrm>
              <a:custGeom>
                <a:avLst/>
                <a:gdLst>
                  <a:gd name="T0" fmla="*/ 8 w 32"/>
                  <a:gd name="T1" fmla="*/ 72 h 72"/>
                  <a:gd name="T2" fmla="*/ 0 w 32"/>
                  <a:gd name="T3" fmla="*/ 3 h 72"/>
                  <a:gd name="T4" fmla="*/ 24 w 32"/>
                  <a:gd name="T5" fmla="*/ 0 h 72"/>
                  <a:gd name="T6" fmla="*/ 32 w 32"/>
                  <a:gd name="T7" fmla="*/ 70 h 72"/>
                  <a:gd name="T8" fmla="*/ 8 w 32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2" y="70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0096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9" name="Freeform 117">
                <a:extLst>
                  <a:ext uri="{FF2B5EF4-FFF2-40B4-BE49-F238E27FC236}">
                    <a16:creationId xmlns:a16="http://schemas.microsoft.com/office/drawing/2014/main" id="{5C290804-0A41-4923-BFD7-F8C5E6004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5" y="1888"/>
                <a:ext cx="32" cy="72"/>
              </a:xfrm>
              <a:custGeom>
                <a:avLst/>
                <a:gdLst>
                  <a:gd name="T0" fmla="*/ 8 w 32"/>
                  <a:gd name="T1" fmla="*/ 72 h 72"/>
                  <a:gd name="T2" fmla="*/ 0 w 32"/>
                  <a:gd name="T3" fmla="*/ 3 h 72"/>
                  <a:gd name="T4" fmla="*/ 24 w 32"/>
                  <a:gd name="T5" fmla="*/ 0 h 72"/>
                  <a:gd name="T6" fmla="*/ 32 w 32"/>
                  <a:gd name="T7" fmla="*/ 69 h 72"/>
                  <a:gd name="T8" fmla="*/ 8 w 32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2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0089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0" name="Freeform 118">
                <a:extLst>
                  <a:ext uri="{FF2B5EF4-FFF2-40B4-BE49-F238E27FC236}">
                    <a16:creationId xmlns:a16="http://schemas.microsoft.com/office/drawing/2014/main" id="{FA5CDC67-A3F0-4D12-AEF7-61F0B5829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7" y="1892"/>
                <a:ext cx="32" cy="71"/>
              </a:xfrm>
              <a:custGeom>
                <a:avLst/>
                <a:gdLst>
                  <a:gd name="T0" fmla="*/ 8 w 32"/>
                  <a:gd name="T1" fmla="*/ 71 h 71"/>
                  <a:gd name="T2" fmla="*/ 0 w 32"/>
                  <a:gd name="T3" fmla="*/ 2 h 71"/>
                  <a:gd name="T4" fmla="*/ 24 w 32"/>
                  <a:gd name="T5" fmla="*/ 0 h 71"/>
                  <a:gd name="T6" fmla="*/ 32 w 32"/>
                  <a:gd name="T7" fmla="*/ 69 h 71"/>
                  <a:gd name="T8" fmla="*/ 8 w 32"/>
                  <a:gd name="T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1">
                    <a:moveTo>
                      <a:pt x="8" y="71"/>
                    </a:moveTo>
                    <a:lnTo>
                      <a:pt x="0" y="2"/>
                    </a:lnTo>
                    <a:lnTo>
                      <a:pt x="24" y="0"/>
                    </a:lnTo>
                    <a:lnTo>
                      <a:pt x="32" y="69"/>
                    </a:lnTo>
                    <a:lnTo>
                      <a:pt x="8" y="71"/>
                    </a:lnTo>
                    <a:close/>
                  </a:path>
                </a:pathLst>
              </a:custGeom>
              <a:solidFill>
                <a:srgbClr val="0079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1" name="Freeform 119">
                <a:extLst>
                  <a:ext uri="{FF2B5EF4-FFF2-40B4-BE49-F238E27FC236}">
                    <a16:creationId xmlns:a16="http://schemas.microsoft.com/office/drawing/2014/main" id="{1F040C92-6377-4ECA-B87E-2652886FAE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3"/>
                <a:ext cx="17" cy="17"/>
              </a:xfrm>
              <a:custGeom>
                <a:avLst/>
                <a:gdLst>
                  <a:gd name="T0" fmla="*/ 17 w 31"/>
                  <a:gd name="T1" fmla="*/ 30 h 31"/>
                  <a:gd name="T2" fmla="*/ 0 w 31"/>
                  <a:gd name="T3" fmla="*/ 17 h 31"/>
                  <a:gd name="T4" fmla="*/ 14 w 31"/>
                  <a:gd name="T5" fmla="*/ 1 h 31"/>
                  <a:gd name="T6" fmla="*/ 30 w 31"/>
                  <a:gd name="T7" fmla="*/ 14 h 31"/>
                  <a:gd name="T8" fmla="*/ 17 w 31"/>
                  <a:gd name="T9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1">
                    <a:moveTo>
                      <a:pt x="17" y="30"/>
                    </a:moveTo>
                    <a:cubicBezTo>
                      <a:pt x="9" y="31"/>
                      <a:pt x="1" y="25"/>
                      <a:pt x="0" y="17"/>
                    </a:cubicBezTo>
                    <a:cubicBezTo>
                      <a:pt x="0" y="9"/>
                      <a:pt x="5" y="1"/>
                      <a:pt x="14" y="1"/>
                    </a:cubicBezTo>
                    <a:cubicBezTo>
                      <a:pt x="22" y="0"/>
                      <a:pt x="29" y="5"/>
                      <a:pt x="30" y="14"/>
                    </a:cubicBezTo>
                    <a:cubicBezTo>
                      <a:pt x="31" y="22"/>
                      <a:pt x="25" y="29"/>
                      <a:pt x="17" y="30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2" name="Freeform 120">
                <a:extLst>
                  <a:ext uri="{FF2B5EF4-FFF2-40B4-BE49-F238E27FC236}">
                    <a16:creationId xmlns:a16="http://schemas.microsoft.com/office/drawing/2014/main" id="{7868BCA3-300A-48B0-AACE-433A61A35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" y="1825"/>
                <a:ext cx="228" cy="151"/>
              </a:xfrm>
              <a:custGeom>
                <a:avLst/>
                <a:gdLst>
                  <a:gd name="T0" fmla="*/ 15 w 417"/>
                  <a:gd name="T1" fmla="*/ 213 h 276"/>
                  <a:gd name="T2" fmla="*/ 15 w 417"/>
                  <a:gd name="T3" fmla="*/ 213 h 276"/>
                  <a:gd name="T4" fmla="*/ 62 w 417"/>
                  <a:gd name="T5" fmla="*/ 110 h 276"/>
                  <a:gd name="T6" fmla="*/ 361 w 417"/>
                  <a:gd name="T7" fmla="*/ 0 h 276"/>
                  <a:gd name="T8" fmla="*/ 417 w 417"/>
                  <a:gd name="T9" fmla="*/ 150 h 276"/>
                  <a:gd name="T10" fmla="*/ 118 w 417"/>
                  <a:gd name="T11" fmla="*/ 260 h 276"/>
                  <a:gd name="T12" fmla="*/ 15 w 417"/>
                  <a:gd name="T13" fmla="*/ 213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7" h="276">
                    <a:moveTo>
                      <a:pt x="15" y="213"/>
                    </a:moveTo>
                    <a:cubicBezTo>
                      <a:pt x="15" y="213"/>
                      <a:pt x="15" y="213"/>
                      <a:pt x="15" y="213"/>
                    </a:cubicBezTo>
                    <a:cubicBezTo>
                      <a:pt x="0" y="171"/>
                      <a:pt x="21" y="125"/>
                      <a:pt x="62" y="110"/>
                    </a:cubicBezTo>
                    <a:cubicBezTo>
                      <a:pt x="361" y="0"/>
                      <a:pt x="361" y="0"/>
                      <a:pt x="361" y="0"/>
                    </a:cubicBezTo>
                    <a:cubicBezTo>
                      <a:pt x="417" y="150"/>
                      <a:pt x="417" y="150"/>
                      <a:pt x="417" y="150"/>
                    </a:cubicBezTo>
                    <a:cubicBezTo>
                      <a:pt x="118" y="260"/>
                      <a:pt x="118" y="260"/>
                      <a:pt x="118" y="260"/>
                    </a:cubicBezTo>
                    <a:cubicBezTo>
                      <a:pt x="76" y="276"/>
                      <a:pt x="30" y="254"/>
                      <a:pt x="15" y="2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3" name="Freeform 121">
                <a:extLst>
                  <a:ext uri="{FF2B5EF4-FFF2-40B4-BE49-F238E27FC236}">
                    <a16:creationId xmlns:a16="http://schemas.microsoft.com/office/drawing/2014/main" id="{BDD2F821-504A-4880-94B5-0D04B3F1A4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5" y="1837"/>
                <a:ext cx="47" cy="73"/>
              </a:xfrm>
              <a:custGeom>
                <a:avLst/>
                <a:gdLst>
                  <a:gd name="T0" fmla="*/ 24 w 47"/>
                  <a:gd name="T1" fmla="*/ 73 h 73"/>
                  <a:gd name="T2" fmla="*/ 0 w 47"/>
                  <a:gd name="T3" fmla="*/ 8 h 73"/>
                  <a:gd name="T4" fmla="*/ 23 w 47"/>
                  <a:gd name="T5" fmla="*/ 0 h 73"/>
                  <a:gd name="T6" fmla="*/ 47 w 47"/>
                  <a:gd name="T7" fmla="*/ 65 h 73"/>
                  <a:gd name="T8" fmla="*/ 24 w 47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3">
                    <a:moveTo>
                      <a:pt x="24" y="73"/>
                    </a:moveTo>
                    <a:lnTo>
                      <a:pt x="0" y="8"/>
                    </a:lnTo>
                    <a:lnTo>
                      <a:pt x="23" y="0"/>
                    </a:lnTo>
                    <a:lnTo>
                      <a:pt x="47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81D4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4" name="Freeform 122">
                <a:extLst>
                  <a:ext uri="{FF2B5EF4-FFF2-40B4-BE49-F238E27FC236}">
                    <a16:creationId xmlns:a16="http://schemas.microsoft.com/office/drawing/2014/main" id="{74E1474D-72B8-4E21-99E0-C0EA235A4C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1846"/>
                <a:ext cx="46" cy="74"/>
              </a:xfrm>
              <a:custGeom>
                <a:avLst/>
                <a:gdLst>
                  <a:gd name="T0" fmla="*/ 24 w 46"/>
                  <a:gd name="T1" fmla="*/ 74 h 74"/>
                  <a:gd name="T2" fmla="*/ 0 w 46"/>
                  <a:gd name="T3" fmla="*/ 8 h 74"/>
                  <a:gd name="T4" fmla="*/ 22 w 46"/>
                  <a:gd name="T5" fmla="*/ 0 h 74"/>
                  <a:gd name="T6" fmla="*/ 46 w 46"/>
                  <a:gd name="T7" fmla="*/ 65 h 74"/>
                  <a:gd name="T8" fmla="*/ 24 w 46"/>
                  <a:gd name="T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4">
                    <a:moveTo>
                      <a:pt x="24" y="74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4"/>
                    </a:lnTo>
                    <a:close/>
                  </a:path>
                </a:pathLst>
              </a:custGeom>
              <a:solidFill>
                <a:srgbClr val="4FC3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5" name="Freeform 123">
                <a:extLst>
                  <a:ext uri="{FF2B5EF4-FFF2-40B4-BE49-F238E27FC236}">
                    <a16:creationId xmlns:a16="http://schemas.microsoft.com/office/drawing/2014/main" id="{B46B7594-62AF-4D46-B95E-6CEC97D81D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3" y="1856"/>
                <a:ext cx="46" cy="73"/>
              </a:xfrm>
              <a:custGeom>
                <a:avLst/>
                <a:gdLst>
                  <a:gd name="T0" fmla="*/ 24 w 46"/>
                  <a:gd name="T1" fmla="*/ 73 h 73"/>
                  <a:gd name="T2" fmla="*/ 0 w 46"/>
                  <a:gd name="T3" fmla="*/ 8 h 73"/>
                  <a:gd name="T4" fmla="*/ 22 w 46"/>
                  <a:gd name="T5" fmla="*/ 0 h 73"/>
                  <a:gd name="T6" fmla="*/ 46 w 46"/>
                  <a:gd name="T7" fmla="*/ 65 h 73"/>
                  <a:gd name="T8" fmla="*/ 24 w 46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24" y="73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29B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6" name="Freeform 124">
                <a:extLst>
                  <a:ext uri="{FF2B5EF4-FFF2-40B4-BE49-F238E27FC236}">
                    <a16:creationId xmlns:a16="http://schemas.microsoft.com/office/drawing/2014/main" id="{E36BE161-1C98-4A65-9E28-29C9BF2FD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6" y="1866"/>
                <a:ext cx="47" cy="73"/>
              </a:xfrm>
              <a:custGeom>
                <a:avLst/>
                <a:gdLst>
                  <a:gd name="T0" fmla="*/ 24 w 47"/>
                  <a:gd name="T1" fmla="*/ 73 h 73"/>
                  <a:gd name="T2" fmla="*/ 0 w 47"/>
                  <a:gd name="T3" fmla="*/ 8 h 73"/>
                  <a:gd name="T4" fmla="*/ 23 w 47"/>
                  <a:gd name="T5" fmla="*/ 0 h 73"/>
                  <a:gd name="T6" fmla="*/ 47 w 47"/>
                  <a:gd name="T7" fmla="*/ 64 h 73"/>
                  <a:gd name="T8" fmla="*/ 24 w 47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3">
                    <a:moveTo>
                      <a:pt x="24" y="73"/>
                    </a:moveTo>
                    <a:lnTo>
                      <a:pt x="0" y="8"/>
                    </a:lnTo>
                    <a:lnTo>
                      <a:pt x="23" y="0"/>
                    </a:lnTo>
                    <a:lnTo>
                      <a:pt x="47" y="64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03A9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7" name="Freeform 125">
                <a:extLst>
                  <a:ext uri="{FF2B5EF4-FFF2-40B4-BE49-F238E27FC236}">
                    <a16:creationId xmlns:a16="http://schemas.microsoft.com/office/drawing/2014/main" id="{FFD2CA59-B02F-40A9-BF67-2DE923216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0" y="1875"/>
                <a:ext cx="47" cy="74"/>
              </a:xfrm>
              <a:custGeom>
                <a:avLst/>
                <a:gdLst>
                  <a:gd name="T0" fmla="*/ 24 w 47"/>
                  <a:gd name="T1" fmla="*/ 74 h 74"/>
                  <a:gd name="T2" fmla="*/ 0 w 47"/>
                  <a:gd name="T3" fmla="*/ 9 h 74"/>
                  <a:gd name="T4" fmla="*/ 22 w 47"/>
                  <a:gd name="T5" fmla="*/ 0 h 74"/>
                  <a:gd name="T6" fmla="*/ 47 w 47"/>
                  <a:gd name="T7" fmla="*/ 65 h 74"/>
                  <a:gd name="T8" fmla="*/ 24 w 47"/>
                  <a:gd name="T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4">
                    <a:moveTo>
                      <a:pt x="24" y="74"/>
                    </a:moveTo>
                    <a:lnTo>
                      <a:pt x="0" y="9"/>
                    </a:lnTo>
                    <a:lnTo>
                      <a:pt x="22" y="0"/>
                    </a:lnTo>
                    <a:lnTo>
                      <a:pt x="47" y="65"/>
                    </a:lnTo>
                    <a:lnTo>
                      <a:pt x="24" y="74"/>
                    </a:lnTo>
                    <a:close/>
                  </a:path>
                </a:pathLst>
              </a:custGeom>
              <a:solidFill>
                <a:srgbClr val="039B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8" name="Freeform 126">
                <a:extLst>
                  <a:ext uri="{FF2B5EF4-FFF2-40B4-BE49-F238E27FC236}">
                    <a16:creationId xmlns:a16="http://schemas.microsoft.com/office/drawing/2014/main" id="{1D05BC67-9929-44B7-83A6-5BA3D2873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885"/>
                <a:ext cx="46" cy="73"/>
              </a:xfrm>
              <a:custGeom>
                <a:avLst/>
                <a:gdLst>
                  <a:gd name="T0" fmla="*/ 24 w 46"/>
                  <a:gd name="T1" fmla="*/ 73 h 73"/>
                  <a:gd name="T2" fmla="*/ 0 w 46"/>
                  <a:gd name="T3" fmla="*/ 8 h 73"/>
                  <a:gd name="T4" fmla="*/ 22 w 46"/>
                  <a:gd name="T5" fmla="*/ 0 h 73"/>
                  <a:gd name="T6" fmla="*/ 46 w 46"/>
                  <a:gd name="T7" fmla="*/ 65 h 73"/>
                  <a:gd name="T8" fmla="*/ 24 w 46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24" y="73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0288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9" name="Freeform 127">
                <a:extLst>
                  <a:ext uri="{FF2B5EF4-FFF2-40B4-BE49-F238E27FC236}">
                    <a16:creationId xmlns:a16="http://schemas.microsoft.com/office/drawing/2014/main" id="{F6B8E404-D271-410F-9E05-9DAF97083D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9"/>
              </a:xfrm>
              <a:custGeom>
                <a:avLst/>
                <a:gdLst>
                  <a:gd name="T0" fmla="*/ 22 w 33"/>
                  <a:gd name="T1" fmla="*/ 31 h 34"/>
                  <a:gd name="T2" fmla="*/ 2 w 33"/>
                  <a:gd name="T3" fmla="*/ 22 h 34"/>
                  <a:gd name="T4" fmla="*/ 11 w 33"/>
                  <a:gd name="T5" fmla="*/ 3 h 34"/>
                  <a:gd name="T6" fmla="*/ 30 w 33"/>
                  <a:gd name="T7" fmla="*/ 12 h 34"/>
                  <a:gd name="T8" fmla="*/ 22 w 33"/>
                  <a:gd name="T9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4">
                    <a:moveTo>
                      <a:pt x="22" y="31"/>
                    </a:moveTo>
                    <a:cubicBezTo>
                      <a:pt x="14" y="34"/>
                      <a:pt x="5" y="30"/>
                      <a:pt x="2" y="22"/>
                    </a:cubicBezTo>
                    <a:cubicBezTo>
                      <a:pt x="0" y="15"/>
                      <a:pt x="4" y="6"/>
                      <a:pt x="11" y="3"/>
                    </a:cubicBezTo>
                    <a:cubicBezTo>
                      <a:pt x="19" y="0"/>
                      <a:pt x="28" y="4"/>
                      <a:pt x="30" y="12"/>
                    </a:cubicBezTo>
                    <a:cubicBezTo>
                      <a:pt x="33" y="20"/>
                      <a:pt x="29" y="28"/>
                      <a:pt x="22" y="31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0" name="Freeform 128">
                <a:extLst>
                  <a:ext uri="{FF2B5EF4-FFF2-40B4-BE49-F238E27FC236}">
                    <a16:creationId xmlns:a16="http://schemas.microsoft.com/office/drawing/2014/main" id="{9ED94142-CE4D-400D-BF8C-381737330E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14"/>
                <a:ext cx="492" cy="389"/>
              </a:xfrm>
              <a:custGeom>
                <a:avLst/>
                <a:gdLst>
                  <a:gd name="T0" fmla="*/ 729 w 900"/>
                  <a:gd name="T1" fmla="*/ 705 h 711"/>
                  <a:gd name="T2" fmla="*/ 34 w 900"/>
                  <a:gd name="T3" fmla="*/ 519 h 711"/>
                  <a:gd name="T4" fmla="*/ 6 w 900"/>
                  <a:gd name="T5" fmla="*/ 471 h 711"/>
                  <a:gd name="T6" fmla="*/ 123 w 900"/>
                  <a:gd name="T7" fmla="*/ 34 h 711"/>
                  <a:gd name="T8" fmla="*/ 172 w 900"/>
                  <a:gd name="T9" fmla="*/ 6 h 711"/>
                  <a:gd name="T10" fmla="*/ 866 w 900"/>
                  <a:gd name="T11" fmla="*/ 192 h 711"/>
                  <a:gd name="T12" fmla="*/ 894 w 900"/>
                  <a:gd name="T13" fmla="*/ 240 h 711"/>
                  <a:gd name="T14" fmla="*/ 777 w 900"/>
                  <a:gd name="T15" fmla="*/ 677 h 711"/>
                  <a:gd name="T16" fmla="*/ 729 w 900"/>
                  <a:gd name="T17" fmla="*/ 705 h 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0" h="711">
                    <a:moveTo>
                      <a:pt x="729" y="705"/>
                    </a:moveTo>
                    <a:cubicBezTo>
                      <a:pt x="34" y="519"/>
                      <a:pt x="34" y="519"/>
                      <a:pt x="34" y="519"/>
                    </a:cubicBezTo>
                    <a:cubicBezTo>
                      <a:pt x="13" y="514"/>
                      <a:pt x="0" y="492"/>
                      <a:pt x="6" y="471"/>
                    </a:cubicBezTo>
                    <a:cubicBezTo>
                      <a:pt x="123" y="34"/>
                      <a:pt x="123" y="34"/>
                      <a:pt x="123" y="34"/>
                    </a:cubicBezTo>
                    <a:cubicBezTo>
                      <a:pt x="129" y="12"/>
                      <a:pt x="151" y="0"/>
                      <a:pt x="172" y="6"/>
                    </a:cubicBezTo>
                    <a:cubicBezTo>
                      <a:pt x="866" y="192"/>
                      <a:pt x="866" y="192"/>
                      <a:pt x="866" y="192"/>
                    </a:cubicBezTo>
                    <a:cubicBezTo>
                      <a:pt x="888" y="197"/>
                      <a:pt x="900" y="219"/>
                      <a:pt x="894" y="240"/>
                    </a:cubicBezTo>
                    <a:cubicBezTo>
                      <a:pt x="777" y="677"/>
                      <a:pt x="777" y="677"/>
                      <a:pt x="777" y="677"/>
                    </a:cubicBezTo>
                    <a:cubicBezTo>
                      <a:pt x="772" y="698"/>
                      <a:pt x="750" y="711"/>
                      <a:pt x="729" y="705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1" name="Freeform 129">
                <a:extLst>
                  <a:ext uri="{FF2B5EF4-FFF2-40B4-BE49-F238E27FC236}">
                    <a16:creationId xmlns:a16="http://schemas.microsoft.com/office/drawing/2014/main" id="{929AA544-EC89-400D-A01F-6076D4388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2239"/>
                <a:ext cx="253" cy="299"/>
              </a:xfrm>
              <a:custGeom>
                <a:avLst/>
                <a:gdLst>
                  <a:gd name="T0" fmla="*/ 462 w 462"/>
                  <a:gd name="T1" fmla="*/ 87 h 548"/>
                  <a:gd name="T2" fmla="*/ 152 w 462"/>
                  <a:gd name="T3" fmla="*/ 5 h 548"/>
                  <a:gd name="T4" fmla="*/ 111 w 462"/>
                  <a:gd name="T5" fmla="*/ 28 h 548"/>
                  <a:gd name="T6" fmla="*/ 5 w 462"/>
                  <a:gd name="T7" fmla="*/ 424 h 548"/>
                  <a:gd name="T8" fmla="*/ 29 w 462"/>
                  <a:gd name="T9" fmla="*/ 465 h 548"/>
                  <a:gd name="T10" fmla="*/ 338 w 462"/>
                  <a:gd name="T11" fmla="*/ 548 h 548"/>
                  <a:gd name="T12" fmla="*/ 462 w 462"/>
                  <a:gd name="T13" fmla="*/ 87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8">
                    <a:moveTo>
                      <a:pt x="462" y="87"/>
                    </a:moveTo>
                    <a:cubicBezTo>
                      <a:pt x="152" y="5"/>
                      <a:pt x="152" y="5"/>
                      <a:pt x="152" y="5"/>
                    </a:cubicBezTo>
                    <a:cubicBezTo>
                      <a:pt x="134" y="0"/>
                      <a:pt x="116" y="10"/>
                      <a:pt x="111" y="28"/>
                    </a:cubicBezTo>
                    <a:cubicBezTo>
                      <a:pt x="5" y="424"/>
                      <a:pt x="5" y="424"/>
                      <a:pt x="5" y="424"/>
                    </a:cubicBezTo>
                    <a:cubicBezTo>
                      <a:pt x="0" y="442"/>
                      <a:pt x="11" y="461"/>
                      <a:pt x="29" y="465"/>
                    </a:cubicBezTo>
                    <a:cubicBezTo>
                      <a:pt x="338" y="548"/>
                      <a:pt x="338" y="548"/>
                      <a:pt x="338" y="548"/>
                    </a:cubicBezTo>
                    <a:cubicBezTo>
                      <a:pt x="462" y="87"/>
                      <a:pt x="462" y="87"/>
                      <a:pt x="462" y="87"/>
                    </a:cubicBezTo>
                  </a:path>
                </a:pathLst>
              </a:custGeom>
              <a:solidFill>
                <a:srgbClr val="454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2" name="Freeform 130">
                <a:extLst>
                  <a:ext uri="{FF2B5EF4-FFF2-40B4-BE49-F238E27FC236}">
                    <a16:creationId xmlns:a16="http://schemas.microsoft.com/office/drawing/2014/main" id="{D781287F-E95B-4B89-B4CC-A35700D4BA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4" y="2289"/>
                <a:ext cx="253" cy="299"/>
              </a:xfrm>
              <a:custGeom>
                <a:avLst/>
                <a:gdLst>
                  <a:gd name="T0" fmla="*/ 124 w 462"/>
                  <a:gd name="T1" fmla="*/ 0 h 549"/>
                  <a:gd name="T2" fmla="*/ 0 w 462"/>
                  <a:gd name="T3" fmla="*/ 461 h 549"/>
                  <a:gd name="T4" fmla="*/ 310 w 462"/>
                  <a:gd name="T5" fmla="*/ 544 h 549"/>
                  <a:gd name="T6" fmla="*/ 351 w 462"/>
                  <a:gd name="T7" fmla="*/ 520 h 549"/>
                  <a:gd name="T8" fmla="*/ 457 w 462"/>
                  <a:gd name="T9" fmla="*/ 124 h 549"/>
                  <a:gd name="T10" fmla="*/ 434 w 462"/>
                  <a:gd name="T11" fmla="*/ 83 h 549"/>
                  <a:gd name="T12" fmla="*/ 124 w 462"/>
                  <a:gd name="T13" fmla="*/ 0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9">
                    <a:moveTo>
                      <a:pt x="124" y="0"/>
                    </a:moveTo>
                    <a:cubicBezTo>
                      <a:pt x="0" y="461"/>
                      <a:pt x="0" y="461"/>
                      <a:pt x="0" y="461"/>
                    </a:cubicBezTo>
                    <a:cubicBezTo>
                      <a:pt x="310" y="544"/>
                      <a:pt x="310" y="544"/>
                      <a:pt x="310" y="544"/>
                    </a:cubicBezTo>
                    <a:cubicBezTo>
                      <a:pt x="328" y="549"/>
                      <a:pt x="346" y="538"/>
                      <a:pt x="351" y="520"/>
                    </a:cubicBezTo>
                    <a:cubicBezTo>
                      <a:pt x="457" y="124"/>
                      <a:pt x="457" y="124"/>
                      <a:pt x="457" y="124"/>
                    </a:cubicBezTo>
                    <a:cubicBezTo>
                      <a:pt x="462" y="106"/>
                      <a:pt x="451" y="88"/>
                      <a:pt x="434" y="83"/>
                    </a:cubicBezTo>
                    <a:cubicBezTo>
                      <a:pt x="124" y="0"/>
                      <a:pt x="124" y="0"/>
                      <a:pt x="124" y="0"/>
                    </a:cubicBezTo>
                  </a:path>
                </a:pathLst>
              </a:custGeom>
              <a:solidFill>
                <a:srgbClr val="454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3" name="Freeform 131">
                <a:extLst>
                  <a:ext uri="{FF2B5EF4-FFF2-40B4-BE49-F238E27FC236}">
                    <a16:creationId xmlns:a16="http://schemas.microsoft.com/office/drawing/2014/main" id="{3A7A8ECC-86C1-4AB3-A109-4BEB37B6E4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9" y="2234"/>
                <a:ext cx="252" cy="299"/>
              </a:xfrm>
              <a:custGeom>
                <a:avLst/>
                <a:gdLst>
                  <a:gd name="T0" fmla="*/ 461 w 461"/>
                  <a:gd name="T1" fmla="*/ 87 h 548"/>
                  <a:gd name="T2" fmla="*/ 152 w 461"/>
                  <a:gd name="T3" fmla="*/ 4 h 548"/>
                  <a:gd name="T4" fmla="*/ 111 w 461"/>
                  <a:gd name="T5" fmla="*/ 28 h 548"/>
                  <a:gd name="T6" fmla="*/ 5 w 461"/>
                  <a:gd name="T7" fmla="*/ 424 h 548"/>
                  <a:gd name="T8" fmla="*/ 28 w 461"/>
                  <a:gd name="T9" fmla="*/ 465 h 548"/>
                  <a:gd name="T10" fmla="*/ 338 w 461"/>
                  <a:gd name="T11" fmla="*/ 548 h 548"/>
                  <a:gd name="T12" fmla="*/ 461 w 461"/>
                  <a:gd name="T13" fmla="*/ 87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1" h="548">
                    <a:moveTo>
                      <a:pt x="461" y="87"/>
                    </a:moveTo>
                    <a:cubicBezTo>
                      <a:pt x="152" y="4"/>
                      <a:pt x="152" y="4"/>
                      <a:pt x="152" y="4"/>
                    </a:cubicBezTo>
                    <a:cubicBezTo>
                      <a:pt x="134" y="0"/>
                      <a:pt x="115" y="10"/>
                      <a:pt x="111" y="28"/>
                    </a:cubicBezTo>
                    <a:cubicBezTo>
                      <a:pt x="5" y="424"/>
                      <a:pt x="5" y="424"/>
                      <a:pt x="5" y="424"/>
                    </a:cubicBezTo>
                    <a:cubicBezTo>
                      <a:pt x="0" y="442"/>
                      <a:pt x="10" y="460"/>
                      <a:pt x="28" y="465"/>
                    </a:cubicBezTo>
                    <a:cubicBezTo>
                      <a:pt x="338" y="548"/>
                      <a:pt x="338" y="548"/>
                      <a:pt x="338" y="548"/>
                    </a:cubicBezTo>
                    <a:cubicBezTo>
                      <a:pt x="461" y="87"/>
                      <a:pt x="461" y="87"/>
                      <a:pt x="461" y="87"/>
                    </a:cubicBezTo>
                  </a:path>
                </a:pathLst>
              </a:cu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4" name="Freeform 132">
                <a:extLst>
                  <a:ext uri="{FF2B5EF4-FFF2-40B4-BE49-F238E27FC236}">
                    <a16:creationId xmlns:a16="http://schemas.microsoft.com/office/drawing/2014/main" id="{0E2781FA-0F5E-4D2B-9452-AA49BBBDE9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1" y="2284"/>
                <a:ext cx="253" cy="299"/>
              </a:xfrm>
              <a:custGeom>
                <a:avLst/>
                <a:gdLst>
                  <a:gd name="T0" fmla="*/ 123 w 462"/>
                  <a:gd name="T1" fmla="*/ 0 h 548"/>
                  <a:gd name="T2" fmla="*/ 0 w 462"/>
                  <a:gd name="T3" fmla="*/ 461 h 548"/>
                  <a:gd name="T4" fmla="*/ 310 w 462"/>
                  <a:gd name="T5" fmla="*/ 544 h 548"/>
                  <a:gd name="T6" fmla="*/ 351 w 462"/>
                  <a:gd name="T7" fmla="*/ 520 h 548"/>
                  <a:gd name="T8" fmla="*/ 457 w 462"/>
                  <a:gd name="T9" fmla="*/ 124 h 548"/>
                  <a:gd name="T10" fmla="*/ 433 w 462"/>
                  <a:gd name="T11" fmla="*/ 83 h 548"/>
                  <a:gd name="T12" fmla="*/ 123 w 462"/>
                  <a:gd name="T13" fmla="*/ 0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8">
                    <a:moveTo>
                      <a:pt x="123" y="0"/>
                    </a:moveTo>
                    <a:cubicBezTo>
                      <a:pt x="0" y="461"/>
                      <a:pt x="0" y="461"/>
                      <a:pt x="0" y="461"/>
                    </a:cubicBezTo>
                    <a:cubicBezTo>
                      <a:pt x="310" y="544"/>
                      <a:pt x="310" y="544"/>
                      <a:pt x="310" y="544"/>
                    </a:cubicBezTo>
                    <a:cubicBezTo>
                      <a:pt x="328" y="548"/>
                      <a:pt x="346" y="538"/>
                      <a:pt x="351" y="520"/>
                    </a:cubicBezTo>
                    <a:cubicBezTo>
                      <a:pt x="457" y="124"/>
                      <a:pt x="457" y="124"/>
                      <a:pt x="457" y="124"/>
                    </a:cubicBezTo>
                    <a:cubicBezTo>
                      <a:pt x="462" y="106"/>
                      <a:pt x="451" y="88"/>
                      <a:pt x="433" y="83"/>
                    </a:cubicBezTo>
                    <a:cubicBezTo>
                      <a:pt x="123" y="0"/>
                      <a:pt x="123" y="0"/>
                      <a:pt x="123" y="0"/>
                    </a:cubicBezTo>
                  </a:path>
                </a:pathLst>
              </a:cu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5" name="Freeform 133">
                <a:extLst>
                  <a:ext uri="{FF2B5EF4-FFF2-40B4-BE49-F238E27FC236}">
                    <a16:creationId xmlns:a16="http://schemas.microsoft.com/office/drawing/2014/main" id="{F75E5D12-B8DA-4CA5-BD74-245710789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2281"/>
                <a:ext cx="249" cy="252"/>
              </a:xfrm>
              <a:custGeom>
                <a:avLst/>
                <a:gdLst>
                  <a:gd name="T0" fmla="*/ 451 w 455"/>
                  <a:gd name="T1" fmla="*/ 0 h 462"/>
                  <a:gd name="T2" fmla="*/ 329 w 455"/>
                  <a:gd name="T3" fmla="*/ 457 h 462"/>
                  <a:gd name="T4" fmla="*/ 19 w 455"/>
                  <a:gd name="T5" fmla="*/ 374 h 462"/>
                  <a:gd name="T6" fmla="*/ 0 w 455"/>
                  <a:gd name="T7" fmla="*/ 361 h 462"/>
                  <a:gd name="T8" fmla="*/ 22 w 455"/>
                  <a:gd name="T9" fmla="*/ 379 h 462"/>
                  <a:gd name="T10" fmla="*/ 332 w 455"/>
                  <a:gd name="T11" fmla="*/ 462 h 462"/>
                  <a:gd name="T12" fmla="*/ 455 w 455"/>
                  <a:gd name="T13" fmla="*/ 1 h 462"/>
                  <a:gd name="T14" fmla="*/ 451 w 455"/>
                  <a:gd name="T15" fmla="*/ 0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5" h="462">
                    <a:moveTo>
                      <a:pt x="451" y="0"/>
                    </a:moveTo>
                    <a:cubicBezTo>
                      <a:pt x="329" y="457"/>
                      <a:pt x="329" y="457"/>
                      <a:pt x="329" y="457"/>
                    </a:cubicBezTo>
                    <a:cubicBezTo>
                      <a:pt x="19" y="374"/>
                      <a:pt x="19" y="374"/>
                      <a:pt x="19" y="374"/>
                    </a:cubicBezTo>
                    <a:cubicBezTo>
                      <a:pt x="11" y="372"/>
                      <a:pt x="5" y="367"/>
                      <a:pt x="0" y="361"/>
                    </a:cubicBezTo>
                    <a:cubicBezTo>
                      <a:pt x="4" y="369"/>
                      <a:pt x="12" y="376"/>
                      <a:pt x="22" y="379"/>
                    </a:cubicBezTo>
                    <a:cubicBezTo>
                      <a:pt x="332" y="462"/>
                      <a:pt x="332" y="462"/>
                      <a:pt x="332" y="462"/>
                    </a:cubicBezTo>
                    <a:cubicBezTo>
                      <a:pt x="455" y="1"/>
                      <a:pt x="455" y="1"/>
                      <a:pt x="455" y="1"/>
                    </a:cubicBezTo>
                    <a:cubicBezTo>
                      <a:pt x="451" y="0"/>
                      <a:pt x="451" y="0"/>
                      <a:pt x="451" y="0"/>
                    </a:cubicBezTo>
                  </a:path>
                </a:pathLst>
              </a:custGeom>
              <a:solidFill>
                <a:srgbClr val="D6D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6" name="Freeform 134">
                <a:extLst>
                  <a:ext uri="{FF2B5EF4-FFF2-40B4-BE49-F238E27FC236}">
                    <a16:creationId xmlns:a16="http://schemas.microsoft.com/office/drawing/2014/main" id="{6F6C67F7-A486-4D39-9157-733A17DD2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1" y="2336"/>
                <a:ext cx="252" cy="247"/>
              </a:xfrm>
              <a:custGeom>
                <a:avLst/>
                <a:gdLst>
                  <a:gd name="T0" fmla="*/ 452 w 460"/>
                  <a:gd name="T1" fmla="*/ 0 h 452"/>
                  <a:gd name="T2" fmla="*/ 454 w 460"/>
                  <a:gd name="T3" fmla="*/ 22 h 452"/>
                  <a:gd name="T4" fmla="*/ 348 w 460"/>
                  <a:gd name="T5" fmla="*/ 418 h 452"/>
                  <a:gd name="T6" fmla="*/ 307 w 460"/>
                  <a:gd name="T7" fmla="*/ 442 h 452"/>
                  <a:gd name="T8" fmla="*/ 1 w 460"/>
                  <a:gd name="T9" fmla="*/ 360 h 452"/>
                  <a:gd name="T10" fmla="*/ 0 w 460"/>
                  <a:gd name="T11" fmla="*/ 365 h 452"/>
                  <a:gd name="T12" fmla="*/ 310 w 460"/>
                  <a:gd name="T13" fmla="*/ 448 h 452"/>
                  <a:gd name="T14" fmla="*/ 351 w 460"/>
                  <a:gd name="T15" fmla="*/ 424 h 452"/>
                  <a:gd name="T16" fmla="*/ 457 w 460"/>
                  <a:gd name="T17" fmla="*/ 28 h 452"/>
                  <a:gd name="T18" fmla="*/ 452 w 460"/>
                  <a:gd name="T19" fmla="*/ 0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0" h="452">
                    <a:moveTo>
                      <a:pt x="452" y="0"/>
                    </a:moveTo>
                    <a:cubicBezTo>
                      <a:pt x="455" y="7"/>
                      <a:pt x="456" y="15"/>
                      <a:pt x="454" y="22"/>
                    </a:cubicBezTo>
                    <a:cubicBezTo>
                      <a:pt x="348" y="418"/>
                      <a:pt x="348" y="418"/>
                      <a:pt x="348" y="418"/>
                    </a:cubicBezTo>
                    <a:cubicBezTo>
                      <a:pt x="343" y="436"/>
                      <a:pt x="324" y="447"/>
                      <a:pt x="307" y="442"/>
                    </a:cubicBezTo>
                    <a:cubicBezTo>
                      <a:pt x="1" y="360"/>
                      <a:pt x="1" y="360"/>
                      <a:pt x="1" y="360"/>
                    </a:cubicBezTo>
                    <a:cubicBezTo>
                      <a:pt x="0" y="365"/>
                      <a:pt x="0" y="365"/>
                      <a:pt x="0" y="365"/>
                    </a:cubicBezTo>
                    <a:cubicBezTo>
                      <a:pt x="310" y="448"/>
                      <a:pt x="310" y="448"/>
                      <a:pt x="310" y="448"/>
                    </a:cubicBezTo>
                    <a:cubicBezTo>
                      <a:pt x="328" y="452"/>
                      <a:pt x="346" y="442"/>
                      <a:pt x="351" y="424"/>
                    </a:cubicBezTo>
                    <a:cubicBezTo>
                      <a:pt x="457" y="28"/>
                      <a:pt x="457" y="28"/>
                      <a:pt x="457" y="28"/>
                    </a:cubicBezTo>
                    <a:cubicBezTo>
                      <a:pt x="460" y="18"/>
                      <a:pt x="457" y="8"/>
                      <a:pt x="452" y="0"/>
                    </a:cubicBezTo>
                    <a:close/>
                  </a:path>
                </a:pathLst>
              </a:custGeom>
              <a:solidFill>
                <a:srgbClr val="D6D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7" name="Freeform 135">
                <a:extLst>
                  <a:ext uri="{FF2B5EF4-FFF2-40B4-BE49-F238E27FC236}">
                    <a16:creationId xmlns:a16="http://schemas.microsoft.com/office/drawing/2014/main" id="{D0557176-3D17-4324-8754-7AA2CAF2B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8" y="2301"/>
                <a:ext cx="10" cy="9"/>
              </a:xfrm>
              <a:custGeom>
                <a:avLst/>
                <a:gdLst>
                  <a:gd name="T0" fmla="*/ 16 w 17"/>
                  <a:gd name="T1" fmla="*/ 10 h 16"/>
                  <a:gd name="T2" fmla="*/ 6 w 17"/>
                  <a:gd name="T3" fmla="*/ 15 h 16"/>
                  <a:gd name="T4" fmla="*/ 1 w 17"/>
                  <a:gd name="T5" fmla="*/ 6 h 16"/>
                  <a:gd name="T6" fmla="*/ 10 w 17"/>
                  <a:gd name="T7" fmla="*/ 1 h 16"/>
                  <a:gd name="T8" fmla="*/ 16 w 17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6">
                    <a:moveTo>
                      <a:pt x="16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7" y="6"/>
                      <a:pt x="16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8" name="Freeform 136">
                <a:extLst>
                  <a:ext uri="{FF2B5EF4-FFF2-40B4-BE49-F238E27FC236}">
                    <a16:creationId xmlns:a16="http://schemas.microsoft.com/office/drawing/2014/main" id="{452F5131-FBC4-431E-9881-F2D0BAAC8F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8" y="2341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5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9" name="Freeform 137">
                <a:extLst>
                  <a:ext uri="{FF2B5EF4-FFF2-40B4-BE49-F238E27FC236}">
                    <a16:creationId xmlns:a16="http://schemas.microsoft.com/office/drawing/2014/main" id="{9E0AA0F9-CDB4-44C5-92CE-983366CB74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7" y="2380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6 w 17"/>
                  <a:gd name="T3" fmla="*/ 16 h 17"/>
                  <a:gd name="T4" fmla="*/ 1 w 17"/>
                  <a:gd name="T5" fmla="*/ 7 h 17"/>
                  <a:gd name="T6" fmla="*/ 10 w 17"/>
                  <a:gd name="T7" fmla="*/ 2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0" y="17"/>
                      <a:pt x="6" y="16"/>
                    </a:cubicBezTo>
                    <a:cubicBezTo>
                      <a:pt x="2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2"/>
                    </a:cubicBezTo>
                    <a:cubicBezTo>
                      <a:pt x="14" y="3"/>
                      <a:pt x="17" y="7"/>
                      <a:pt x="16" y="11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0" name="Freeform 138">
                <a:extLst>
                  <a:ext uri="{FF2B5EF4-FFF2-40B4-BE49-F238E27FC236}">
                    <a16:creationId xmlns:a16="http://schemas.microsoft.com/office/drawing/2014/main" id="{B069C2DA-3D81-4ECD-9BBA-D3606A29E9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5" y="2499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1" name="Freeform 139">
                <a:extLst>
                  <a:ext uri="{FF2B5EF4-FFF2-40B4-BE49-F238E27FC236}">
                    <a16:creationId xmlns:a16="http://schemas.microsoft.com/office/drawing/2014/main" id="{C16E0FBA-C5A8-4B0F-ACB6-ED184B66D4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" y="2459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1 w 17"/>
                  <a:gd name="T7" fmla="*/ 2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7" y="0"/>
                      <a:pt x="11" y="2"/>
                    </a:cubicBezTo>
                    <a:cubicBezTo>
                      <a:pt x="15" y="3"/>
                      <a:pt x="17" y="7"/>
                      <a:pt x="16" y="11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2" name="Freeform 140">
                <a:extLst>
                  <a:ext uri="{FF2B5EF4-FFF2-40B4-BE49-F238E27FC236}">
                    <a16:creationId xmlns:a16="http://schemas.microsoft.com/office/drawing/2014/main" id="{9D8FFD49-F164-47E9-A903-62A9498860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6" y="2420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3" name="Freeform 141">
                <a:extLst>
                  <a:ext uri="{FF2B5EF4-FFF2-40B4-BE49-F238E27FC236}">
                    <a16:creationId xmlns:a16="http://schemas.microsoft.com/office/drawing/2014/main" id="{7196D28A-6498-4F67-A11F-9F5BF76DCA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8" y="2309"/>
                <a:ext cx="10" cy="9"/>
              </a:xfrm>
              <a:custGeom>
                <a:avLst/>
                <a:gdLst>
                  <a:gd name="T0" fmla="*/ 16 w 17"/>
                  <a:gd name="T1" fmla="*/ 11 h 17"/>
                  <a:gd name="T2" fmla="*/ 6 w 17"/>
                  <a:gd name="T3" fmla="*/ 16 h 17"/>
                  <a:gd name="T4" fmla="*/ 1 w 17"/>
                  <a:gd name="T5" fmla="*/ 7 h 17"/>
                  <a:gd name="T6" fmla="*/ 10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0" y="17"/>
                      <a:pt x="6" y="16"/>
                    </a:cubicBezTo>
                    <a:cubicBezTo>
                      <a:pt x="2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1"/>
                    </a:cubicBezTo>
                    <a:cubicBezTo>
                      <a:pt x="14" y="2"/>
                      <a:pt x="17" y="7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4" name="Freeform 142">
                <a:extLst>
                  <a:ext uri="{FF2B5EF4-FFF2-40B4-BE49-F238E27FC236}">
                    <a16:creationId xmlns:a16="http://schemas.microsoft.com/office/drawing/2014/main" id="{DFEEF809-7DE3-4CF5-9B6A-CA52D021E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" y="2349"/>
                <a:ext cx="9" cy="8"/>
              </a:xfrm>
              <a:custGeom>
                <a:avLst/>
                <a:gdLst>
                  <a:gd name="T0" fmla="*/ 15 w 16"/>
                  <a:gd name="T1" fmla="*/ 10 h 16"/>
                  <a:gd name="T2" fmla="*/ 6 w 16"/>
                  <a:gd name="T3" fmla="*/ 15 h 16"/>
                  <a:gd name="T4" fmla="*/ 1 w 16"/>
                  <a:gd name="T5" fmla="*/ 6 h 16"/>
                  <a:gd name="T6" fmla="*/ 10 w 16"/>
                  <a:gd name="T7" fmla="*/ 1 h 16"/>
                  <a:gd name="T8" fmla="*/ 15 w 16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5" name="Freeform 143">
                <a:extLst>
                  <a:ext uri="{FF2B5EF4-FFF2-40B4-BE49-F238E27FC236}">
                    <a16:creationId xmlns:a16="http://schemas.microsoft.com/office/drawing/2014/main" id="{27271D7D-6C8C-4898-B62F-50227D4D2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" y="2388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0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1"/>
                    </a:cubicBezTo>
                    <a:cubicBezTo>
                      <a:pt x="14" y="2"/>
                      <a:pt x="17" y="7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6" name="Freeform 144">
                <a:extLst>
                  <a:ext uri="{FF2B5EF4-FFF2-40B4-BE49-F238E27FC236}">
                    <a16:creationId xmlns:a16="http://schemas.microsoft.com/office/drawing/2014/main" id="{A01E69B0-9E9D-4800-A071-94D724630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507"/>
                <a:ext cx="10" cy="9"/>
              </a:xfrm>
              <a:custGeom>
                <a:avLst/>
                <a:gdLst>
                  <a:gd name="T0" fmla="*/ 15 w 17"/>
                  <a:gd name="T1" fmla="*/ 10 h 16"/>
                  <a:gd name="T2" fmla="*/ 6 w 17"/>
                  <a:gd name="T3" fmla="*/ 15 h 16"/>
                  <a:gd name="T4" fmla="*/ 1 w 17"/>
                  <a:gd name="T5" fmla="*/ 6 h 16"/>
                  <a:gd name="T6" fmla="*/ 10 w 17"/>
                  <a:gd name="T7" fmla="*/ 1 h 16"/>
                  <a:gd name="T8" fmla="*/ 15 w 17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7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7" name="Freeform 145">
                <a:extLst>
                  <a:ext uri="{FF2B5EF4-FFF2-40B4-BE49-F238E27FC236}">
                    <a16:creationId xmlns:a16="http://schemas.microsoft.com/office/drawing/2014/main" id="{97C5AAC5-A058-45DE-BE4F-788BFB4F9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" y="2467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1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7" y="0"/>
                      <a:pt x="11" y="1"/>
                    </a:cubicBezTo>
                    <a:cubicBezTo>
                      <a:pt x="15" y="2"/>
                      <a:pt x="17" y="6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8" name="Freeform 146">
                <a:extLst>
                  <a:ext uri="{FF2B5EF4-FFF2-40B4-BE49-F238E27FC236}">
                    <a16:creationId xmlns:a16="http://schemas.microsoft.com/office/drawing/2014/main" id="{3FCABD4D-5EC9-47E5-B42A-32719E9DF6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28"/>
                <a:ext cx="8" cy="9"/>
              </a:xfrm>
              <a:custGeom>
                <a:avLst/>
                <a:gdLst>
                  <a:gd name="T0" fmla="*/ 15 w 16"/>
                  <a:gd name="T1" fmla="*/ 10 h 16"/>
                  <a:gd name="T2" fmla="*/ 6 w 16"/>
                  <a:gd name="T3" fmla="*/ 15 h 16"/>
                  <a:gd name="T4" fmla="*/ 1 w 16"/>
                  <a:gd name="T5" fmla="*/ 6 h 16"/>
                  <a:gd name="T6" fmla="*/ 10 w 16"/>
                  <a:gd name="T7" fmla="*/ 1 h 16"/>
                  <a:gd name="T8" fmla="*/ 15 w 16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9" name="Freeform 147">
                <a:extLst>
                  <a:ext uri="{FF2B5EF4-FFF2-40B4-BE49-F238E27FC236}">
                    <a16:creationId xmlns:a16="http://schemas.microsoft.com/office/drawing/2014/main" id="{CC954639-0540-4E3E-B78E-901088D35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304"/>
                <a:ext cx="30" cy="11"/>
              </a:xfrm>
              <a:custGeom>
                <a:avLst/>
                <a:gdLst>
                  <a:gd name="T0" fmla="*/ 55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5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5" y="18"/>
                    </a:moveTo>
                    <a:cubicBezTo>
                      <a:pt x="55" y="19"/>
                      <a:pt x="54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2"/>
                      <a:pt x="1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5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0" name="Freeform 148">
                <a:extLst>
                  <a:ext uri="{FF2B5EF4-FFF2-40B4-BE49-F238E27FC236}">
                    <a16:creationId xmlns:a16="http://schemas.microsoft.com/office/drawing/2014/main" id="{C26C0854-DBE7-47BD-BECE-0B8C3B447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304"/>
                <a:ext cx="30" cy="9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4 w 55"/>
                  <a:gd name="T5" fmla="*/ 15 h 16"/>
                  <a:gd name="T6" fmla="*/ 55 w 55"/>
                  <a:gd name="T7" fmla="*/ 16 h 16"/>
                  <a:gd name="T8" fmla="*/ 53 w 55"/>
                  <a:gd name="T9" fmla="*/ 13 h 16"/>
                  <a:gd name="T10" fmla="*/ 5 w 55"/>
                  <a:gd name="T11" fmla="*/ 0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4" y="15"/>
                      <a:pt x="55" y="15"/>
                      <a:pt x="55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4"/>
                      <a:pt x="0" y="6"/>
                      <a:pt x="1" y="7"/>
                    </a:cubicBezTo>
                    <a:cubicBezTo>
                      <a:pt x="1" y="6"/>
                      <a:pt x="1" y="5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1" name="Freeform 149">
                <a:extLst>
                  <a:ext uri="{FF2B5EF4-FFF2-40B4-BE49-F238E27FC236}">
                    <a16:creationId xmlns:a16="http://schemas.microsoft.com/office/drawing/2014/main" id="{2BC59B2B-7C53-4333-94D6-E061631EBE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8" y="2308"/>
                <a:ext cx="4" cy="5"/>
              </a:xfrm>
              <a:custGeom>
                <a:avLst/>
                <a:gdLst>
                  <a:gd name="T0" fmla="*/ 0 w 4"/>
                  <a:gd name="T1" fmla="*/ 4 h 5"/>
                  <a:gd name="T2" fmla="*/ 0 w 4"/>
                  <a:gd name="T3" fmla="*/ 4 h 5"/>
                  <a:gd name="T4" fmla="*/ 3 w 4"/>
                  <a:gd name="T5" fmla="*/ 5 h 5"/>
                  <a:gd name="T6" fmla="*/ 3 w 4"/>
                  <a:gd name="T7" fmla="*/ 5 h 5"/>
                  <a:gd name="T8" fmla="*/ 0 w 4"/>
                  <a:gd name="T9" fmla="*/ 4 h 5"/>
                  <a:gd name="T10" fmla="*/ 1 w 4"/>
                  <a:gd name="T11" fmla="*/ 0 h 5"/>
                  <a:gd name="T12" fmla="*/ 1 w 4"/>
                  <a:gd name="T13" fmla="*/ 0 h 5"/>
                  <a:gd name="T14" fmla="*/ 4 w 4"/>
                  <a:gd name="T15" fmla="*/ 0 h 5"/>
                  <a:gd name="T16" fmla="*/ 4 w 4"/>
                  <a:gd name="T17" fmla="*/ 0 h 5"/>
                  <a:gd name="T18" fmla="*/ 1 w 4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5">
                    <a:moveTo>
                      <a:pt x="0" y="4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4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2" name="Freeform 150">
                <a:extLst>
                  <a:ext uri="{FF2B5EF4-FFF2-40B4-BE49-F238E27FC236}">
                    <a16:creationId xmlns:a16="http://schemas.microsoft.com/office/drawing/2014/main" id="{D98D57EF-CC79-4C01-8AFC-BEFECF1552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8" y="2308"/>
                <a:ext cx="4" cy="5"/>
              </a:xfrm>
              <a:custGeom>
                <a:avLst/>
                <a:gdLst>
                  <a:gd name="T0" fmla="*/ 0 w 4"/>
                  <a:gd name="T1" fmla="*/ 4 h 5"/>
                  <a:gd name="T2" fmla="*/ 0 w 4"/>
                  <a:gd name="T3" fmla="*/ 4 h 5"/>
                  <a:gd name="T4" fmla="*/ 3 w 4"/>
                  <a:gd name="T5" fmla="*/ 5 h 5"/>
                  <a:gd name="T6" fmla="*/ 3 w 4"/>
                  <a:gd name="T7" fmla="*/ 5 h 5"/>
                  <a:gd name="T8" fmla="*/ 0 w 4"/>
                  <a:gd name="T9" fmla="*/ 4 h 5"/>
                  <a:gd name="T10" fmla="*/ 1 w 4"/>
                  <a:gd name="T11" fmla="*/ 0 h 5"/>
                  <a:gd name="T12" fmla="*/ 1 w 4"/>
                  <a:gd name="T13" fmla="*/ 0 h 5"/>
                  <a:gd name="T14" fmla="*/ 4 w 4"/>
                  <a:gd name="T15" fmla="*/ 0 h 5"/>
                  <a:gd name="T16" fmla="*/ 4 w 4"/>
                  <a:gd name="T17" fmla="*/ 0 h 5"/>
                  <a:gd name="T18" fmla="*/ 1 w 4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5">
                    <a:moveTo>
                      <a:pt x="0" y="4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4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3" name="Freeform 151">
                <a:extLst>
                  <a:ext uri="{FF2B5EF4-FFF2-40B4-BE49-F238E27FC236}">
                    <a16:creationId xmlns:a16="http://schemas.microsoft.com/office/drawing/2014/main" id="{98D45B23-5FC9-4F77-B8F1-64A0C4AFC4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7" y="2307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1 w 2"/>
                  <a:gd name="T5" fmla="*/ 5 h 5"/>
                  <a:gd name="T6" fmla="*/ 1 w 2"/>
                  <a:gd name="T7" fmla="*/ 5 h 5"/>
                  <a:gd name="T8" fmla="*/ 0 w 2"/>
                  <a:gd name="T9" fmla="*/ 5 h 5"/>
                  <a:gd name="T10" fmla="*/ 2 w 2"/>
                  <a:gd name="T11" fmla="*/ 0 h 5"/>
                  <a:gd name="T12" fmla="*/ 2 w 2"/>
                  <a:gd name="T13" fmla="*/ 0 h 5"/>
                  <a:gd name="T14" fmla="*/ 2 w 2"/>
                  <a:gd name="T15" fmla="*/ 1 h 5"/>
                  <a:gd name="T16" fmla="*/ 2 w 2"/>
                  <a:gd name="T17" fmla="*/ 1 h 5"/>
                  <a:gd name="T18" fmla="*/ 2 w 2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5"/>
                    </a:lnTo>
                    <a:close/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4" name="Freeform 152">
                <a:extLst>
                  <a:ext uri="{FF2B5EF4-FFF2-40B4-BE49-F238E27FC236}">
                    <a16:creationId xmlns:a16="http://schemas.microsoft.com/office/drawing/2014/main" id="{0450F220-CED6-442A-A883-5442B54462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7" y="2307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1 w 2"/>
                  <a:gd name="T5" fmla="*/ 5 h 5"/>
                  <a:gd name="T6" fmla="*/ 1 w 2"/>
                  <a:gd name="T7" fmla="*/ 5 h 5"/>
                  <a:gd name="T8" fmla="*/ 0 w 2"/>
                  <a:gd name="T9" fmla="*/ 5 h 5"/>
                  <a:gd name="T10" fmla="*/ 2 w 2"/>
                  <a:gd name="T11" fmla="*/ 0 h 5"/>
                  <a:gd name="T12" fmla="*/ 2 w 2"/>
                  <a:gd name="T13" fmla="*/ 0 h 5"/>
                  <a:gd name="T14" fmla="*/ 2 w 2"/>
                  <a:gd name="T15" fmla="*/ 1 h 5"/>
                  <a:gd name="T16" fmla="*/ 2 w 2"/>
                  <a:gd name="T17" fmla="*/ 1 h 5"/>
                  <a:gd name="T18" fmla="*/ 2 w 2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5"/>
                    </a:lnTo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5" name="Freeform 153">
                <a:extLst>
                  <a:ext uri="{FF2B5EF4-FFF2-40B4-BE49-F238E27FC236}">
                    <a16:creationId xmlns:a16="http://schemas.microsoft.com/office/drawing/2014/main" id="{DE3EECDF-EAA2-4843-A36C-3CFE2712A6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1" y="2308"/>
                <a:ext cx="9" cy="7"/>
              </a:xfrm>
              <a:custGeom>
                <a:avLst/>
                <a:gdLst>
                  <a:gd name="T0" fmla="*/ 0 w 9"/>
                  <a:gd name="T1" fmla="*/ 5 h 7"/>
                  <a:gd name="T2" fmla="*/ 0 w 9"/>
                  <a:gd name="T3" fmla="*/ 5 h 7"/>
                  <a:gd name="T4" fmla="*/ 8 w 9"/>
                  <a:gd name="T5" fmla="*/ 7 h 7"/>
                  <a:gd name="T6" fmla="*/ 8 w 9"/>
                  <a:gd name="T7" fmla="*/ 7 h 7"/>
                  <a:gd name="T8" fmla="*/ 0 w 9"/>
                  <a:gd name="T9" fmla="*/ 5 h 7"/>
                  <a:gd name="T10" fmla="*/ 1 w 9"/>
                  <a:gd name="T11" fmla="*/ 0 h 7"/>
                  <a:gd name="T12" fmla="*/ 1 w 9"/>
                  <a:gd name="T13" fmla="*/ 0 h 7"/>
                  <a:gd name="T14" fmla="*/ 9 w 9"/>
                  <a:gd name="T15" fmla="*/ 2 h 7"/>
                  <a:gd name="T16" fmla="*/ 9 w 9"/>
                  <a:gd name="T17" fmla="*/ 2 h 7"/>
                  <a:gd name="T18" fmla="*/ 1 w 9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7">
                    <a:moveTo>
                      <a:pt x="0" y="5"/>
                    </a:moveTo>
                    <a:lnTo>
                      <a:pt x="0" y="5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0" y="5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6" name="Freeform 154">
                <a:extLst>
                  <a:ext uri="{FF2B5EF4-FFF2-40B4-BE49-F238E27FC236}">
                    <a16:creationId xmlns:a16="http://schemas.microsoft.com/office/drawing/2014/main" id="{9C8545D3-C945-41A6-AD9D-1F2E09C0BE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1" y="2308"/>
                <a:ext cx="9" cy="7"/>
              </a:xfrm>
              <a:custGeom>
                <a:avLst/>
                <a:gdLst>
                  <a:gd name="T0" fmla="*/ 0 w 9"/>
                  <a:gd name="T1" fmla="*/ 5 h 7"/>
                  <a:gd name="T2" fmla="*/ 0 w 9"/>
                  <a:gd name="T3" fmla="*/ 5 h 7"/>
                  <a:gd name="T4" fmla="*/ 8 w 9"/>
                  <a:gd name="T5" fmla="*/ 7 h 7"/>
                  <a:gd name="T6" fmla="*/ 8 w 9"/>
                  <a:gd name="T7" fmla="*/ 7 h 7"/>
                  <a:gd name="T8" fmla="*/ 0 w 9"/>
                  <a:gd name="T9" fmla="*/ 5 h 7"/>
                  <a:gd name="T10" fmla="*/ 1 w 9"/>
                  <a:gd name="T11" fmla="*/ 0 h 7"/>
                  <a:gd name="T12" fmla="*/ 1 w 9"/>
                  <a:gd name="T13" fmla="*/ 0 h 7"/>
                  <a:gd name="T14" fmla="*/ 9 w 9"/>
                  <a:gd name="T15" fmla="*/ 2 h 7"/>
                  <a:gd name="T16" fmla="*/ 9 w 9"/>
                  <a:gd name="T17" fmla="*/ 2 h 7"/>
                  <a:gd name="T18" fmla="*/ 1 w 9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7">
                    <a:moveTo>
                      <a:pt x="0" y="5"/>
                    </a:moveTo>
                    <a:lnTo>
                      <a:pt x="0" y="5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0" y="5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7" name="Freeform 155">
                <a:extLst>
                  <a:ext uri="{FF2B5EF4-FFF2-40B4-BE49-F238E27FC236}">
                    <a16:creationId xmlns:a16="http://schemas.microsoft.com/office/drawing/2014/main" id="{6425F98C-AD42-4627-81DE-7706010C0D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9" y="2310"/>
                <a:ext cx="4" cy="5"/>
              </a:xfrm>
              <a:custGeom>
                <a:avLst/>
                <a:gdLst>
                  <a:gd name="T0" fmla="*/ 0 w 7"/>
                  <a:gd name="T1" fmla="*/ 8 h 8"/>
                  <a:gd name="T2" fmla="*/ 0 w 7"/>
                  <a:gd name="T3" fmla="*/ 8 h 8"/>
                  <a:gd name="T4" fmla="*/ 3 w 7"/>
                  <a:gd name="T5" fmla="*/ 8 h 8"/>
                  <a:gd name="T6" fmla="*/ 0 w 7"/>
                  <a:gd name="T7" fmla="*/ 8 h 8"/>
                  <a:gd name="T8" fmla="*/ 2 w 7"/>
                  <a:gd name="T9" fmla="*/ 0 h 8"/>
                  <a:gd name="T10" fmla="*/ 2 w 7"/>
                  <a:gd name="T11" fmla="*/ 0 h 8"/>
                  <a:gd name="T12" fmla="*/ 5 w 7"/>
                  <a:gd name="T13" fmla="*/ 1 h 8"/>
                  <a:gd name="T14" fmla="*/ 7 w 7"/>
                  <a:gd name="T15" fmla="*/ 5 h 8"/>
                  <a:gd name="T16" fmla="*/ 5 w 7"/>
                  <a:gd name="T17" fmla="*/ 1 h 8"/>
                  <a:gd name="T18" fmla="*/ 2 w 7"/>
                  <a:gd name="T1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8">
                    <a:moveTo>
                      <a:pt x="0" y="8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0" y="8"/>
                      <a:pt x="0" y="8"/>
                      <a:pt x="0" y="8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3"/>
                      <a:pt x="7" y="5"/>
                    </a:cubicBezTo>
                    <a:cubicBezTo>
                      <a:pt x="7" y="3"/>
                      <a:pt x="6" y="1"/>
                      <a:pt x="5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8" name="Freeform 156">
                <a:extLst>
                  <a:ext uri="{FF2B5EF4-FFF2-40B4-BE49-F238E27FC236}">
                    <a16:creationId xmlns:a16="http://schemas.microsoft.com/office/drawing/2014/main" id="{F479153C-B8B0-456C-A4A1-AC7710D500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7" y="2307"/>
                <a:ext cx="16" cy="8"/>
              </a:xfrm>
              <a:custGeom>
                <a:avLst/>
                <a:gdLst>
                  <a:gd name="T0" fmla="*/ 2 w 28"/>
                  <a:gd name="T1" fmla="*/ 0 h 14"/>
                  <a:gd name="T2" fmla="*/ 2 w 28"/>
                  <a:gd name="T3" fmla="*/ 0 h 14"/>
                  <a:gd name="T4" fmla="*/ 26 w 28"/>
                  <a:gd name="T5" fmla="*/ 7 h 14"/>
                  <a:gd name="T6" fmla="*/ 28 w 28"/>
                  <a:gd name="T7" fmla="*/ 10 h 14"/>
                  <a:gd name="T8" fmla="*/ 27 w 28"/>
                  <a:gd name="T9" fmla="*/ 9 h 14"/>
                  <a:gd name="T10" fmla="*/ 1 w 28"/>
                  <a:gd name="T11" fmla="*/ 2 h 14"/>
                  <a:gd name="T12" fmla="*/ 0 w 28"/>
                  <a:gd name="T13" fmla="*/ 8 h 14"/>
                  <a:gd name="T14" fmla="*/ 1 w 28"/>
                  <a:gd name="T15" fmla="*/ 8 h 14"/>
                  <a:gd name="T16" fmla="*/ 6 w 28"/>
                  <a:gd name="T17" fmla="*/ 10 h 14"/>
                  <a:gd name="T18" fmla="*/ 21 w 28"/>
                  <a:gd name="T19" fmla="*/ 14 h 14"/>
                  <a:gd name="T20" fmla="*/ 24 w 28"/>
                  <a:gd name="T21" fmla="*/ 14 h 14"/>
                  <a:gd name="T22" fmla="*/ 25 w 28"/>
                  <a:gd name="T23" fmla="*/ 14 h 14"/>
                  <a:gd name="T24" fmla="*/ 27 w 28"/>
                  <a:gd name="T25" fmla="*/ 14 h 14"/>
                  <a:gd name="T26" fmla="*/ 28 w 28"/>
                  <a:gd name="T27" fmla="*/ 12 h 14"/>
                  <a:gd name="T28" fmla="*/ 28 w 28"/>
                  <a:gd name="T29" fmla="*/ 11 h 14"/>
                  <a:gd name="T30" fmla="*/ 26 w 28"/>
                  <a:gd name="T31" fmla="*/ 7 h 14"/>
                  <a:gd name="T32" fmla="*/ 23 w 28"/>
                  <a:gd name="T33" fmla="*/ 6 h 14"/>
                  <a:gd name="T34" fmla="*/ 8 w 28"/>
                  <a:gd name="T35" fmla="*/ 2 h 14"/>
                  <a:gd name="T36" fmla="*/ 3 w 28"/>
                  <a:gd name="T37" fmla="*/ 1 h 14"/>
                  <a:gd name="T38" fmla="*/ 2 w 28"/>
                  <a:gd name="T3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8" y="10"/>
                    </a:cubicBezTo>
                    <a:cubicBezTo>
                      <a:pt x="28" y="9"/>
                      <a:pt x="27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4" y="14"/>
                      <a:pt x="25" y="14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7" y="13"/>
                      <a:pt x="28" y="13"/>
                      <a:pt x="28" y="12"/>
                    </a:cubicBezTo>
                    <a:cubicBezTo>
                      <a:pt x="28" y="11"/>
                      <a:pt x="28" y="11"/>
                      <a:pt x="28" y="11"/>
                    </a:cubicBezTo>
                    <a:cubicBezTo>
                      <a:pt x="28" y="9"/>
                      <a:pt x="27" y="7"/>
                      <a:pt x="26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9" name="Freeform 157">
                <a:extLst>
                  <a:ext uri="{FF2B5EF4-FFF2-40B4-BE49-F238E27FC236}">
                    <a16:creationId xmlns:a16="http://schemas.microsoft.com/office/drawing/2014/main" id="{7E76D4A4-D9D7-44B7-92E8-78E614674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" y="2307"/>
                <a:ext cx="15" cy="6"/>
              </a:xfrm>
              <a:custGeom>
                <a:avLst/>
                <a:gdLst>
                  <a:gd name="T0" fmla="*/ 1 w 27"/>
                  <a:gd name="T1" fmla="*/ 0 h 10"/>
                  <a:gd name="T2" fmla="*/ 0 w 27"/>
                  <a:gd name="T3" fmla="*/ 2 h 10"/>
                  <a:gd name="T4" fmla="*/ 26 w 27"/>
                  <a:gd name="T5" fmla="*/ 9 h 10"/>
                  <a:gd name="T6" fmla="*/ 27 w 27"/>
                  <a:gd name="T7" fmla="*/ 10 h 10"/>
                  <a:gd name="T8" fmla="*/ 25 w 27"/>
                  <a:gd name="T9" fmla="*/ 7 h 10"/>
                  <a:gd name="T10" fmla="*/ 1 w 27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6" y="9"/>
                      <a:pt x="27" y="9"/>
                      <a:pt x="27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0" name="Freeform 158">
                <a:extLst>
                  <a:ext uri="{FF2B5EF4-FFF2-40B4-BE49-F238E27FC236}">
                    <a16:creationId xmlns:a16="http://schemas.microsoft.com/office/drawing/2014/main" id="{8742E592-4BCA-4A17-9791-2169AF1370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343"/>
                <a:ext cx="30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1 h 21"/>
                  <a:gd name="T6" fmla="*/ 4 w 56"/>
                  <a:gd name="T7" fmla="*/ 8 h 21"/>
                  <a:gd name="T8" fmla="*/ 1 w 56"/>
                  <a:gd name="T9" fmla="*/ 3 h 21"/>
                  <a:gd name="T10" fmla="*/ 3 w 56"/>
                  <a:gd name="T11" fmla="*/ 1 h 21"/>
                  <a:gd name="T12" fmla="*/ 6 w 56"/>
                  <a:gd name="T13" fmla="*/ 1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6" y="19"/>
                      <a:pt x="55" y="20"/>
                      <a:pt x="54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3" y="1"/>
                      <a:pt x="5" y="0"/>
                      <a:pt x="6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1" name="Freeform 159">
                <a:extLst>
                  <a:ext uri="{FF2B5EF4-FFF2-40B4-BE49-F238E27FC236}">
                    <a16:creationId xmlns:a16="http://schemas.microsoft.com/office/drawing/2014/main" id="{40DCCC97-2150-4B81-BC4C-9C1D92B79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343"/>
                <a:ext cx="30" cy="9"/>
              </a:xfrm>
              <a:custGeom>
                <a:avLst/>
                <a:gdLst>
                  <a:gd name="T0" fmla="*/ 2 w 56"/>
                  <a:gd name="T1" fmla="*/ 5 h 16"/>
                  <a:gd name="T2" fmla="*/ 7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6 w 56"/>
                  <a:gd name="T11" fmla="*/ 1 h 16"/>
                  <a:gd name="T12" fmla="*/ 1 w 56"/>
                  <a:gd name="T13" fmla="*/ 3 h 16"/>
                  <a:gd name="T14" fmla="*/ 2 w 56"/>
                  <a:gd name="T15" fmla="*/ 7 h 16"/>
                  <a:gd name="T16" fmla="*/ 2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2" y="5"/>
                    </a:moveTo>
                    <a:cubicBezTo>
                      <a:pt x="2" y="3"/>
                      <a:pt x="5" y="2"/>
                      <a:pt x="7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6"/>
                      <a:pt x="56" y="16"/>
                    </a:cubicBezTo>
                    <a:cubicBezTo>
                      <a:pt x="56" y="15"/>
                      <a:pt x="55" y="14"/>
                      <a:pt x="53" y="13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3" y="0"/>
                      <a:pt x="1" y="1"/>
                      <a:pt x="1" y="3"/>
                    </a:cubicBezTo>
                    <a:cubicBezTo>
                      <a:pt x="0" y="5"/>
                      <a:pt x="1" y="6"/>
                      <a:pt x="2" y="7"/>
                    </a:cubicBezTo>
                    <a:cubicBezTo>
                      <a:pt x="2" y="6"/>
                      <a:pt x="2" y="6"/>
                      <a:pt x="2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2" name="Freeform 160">
                <a:extLst>
                  <a:ext uri="{FF2B5EF4-FFF2-40B4-BE49-F238E27FC236}">
                    <a16:creationId xmlns:a16="http://schemas.microsoft.com/office/drawing/2014/main" id="{BC381D31-BB2C-486B-BC91-11F164C30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6" y="2347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6 h 14"/>
                  <a:gd name="T6" fmla="*/ 29 w 29"/>
                  <a:gd name="T7" fmla="*/ 9 h 14"/>
                  <a:gd name="T8" fmla="*/ 27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3 h 14"/>
                  <a:gd name="T20" fmla="*/ 29 w 29"/>
                  <a:gd name="T21" fmla="*/ 11 h 14"/>
                  <a:gd name="T22" fmla="*/ 29 w 29"/>
                  <a:gd name="T23" fmla="*/ 10 h 14"/>
                  <a:gd name="T24" fmla="*/ 26 w 29"/>
                  <a:gd name="T25" fmla="*/ 6 h 14"/>
                  <a:gd name="T26" fmla="*/ 26 w 29"/>
                  <a:gd name="T27" fmla="*/ 6 h 14"/>
                  <a:gd name="T28" fmla="*/ 2 w 29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8" y="9"/>
                      <a:pt x="28" y="8"/>
                      <a:pt x="27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6" y="6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3" name="Freeform 161">
                <a:extLst>
                  <a:ext uri="{FF2B5EF4-FFF2-40B4-BE49-F238E27FC236}">
                    <a16:creationId xmlns:a16="http://schemas.microsoft.com/office/drawing/2014/main" id="{B9EEC40D-6233-447A-AAF5-352FAD9B6D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8" y="2347"/>
                <a:ext cx="14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5 w 27"/>
                  <a:gd name="T5" fmla="*/ 8 h 9"/>
                  <a:gd name="T6" fmla="*/ 27 w 27"/>
                  <a:gd name="T7" fmla="*/ 9 h 9"/>
                  <a:gd name="T8" fmla="*/ 24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6" y="8"/>
                      <a:pt x="26" y="9"/>
                      <a:pt x="27" y="9"/>
                    </a:cubicBezTo>
                    <a:cubicBezTo>
                      <a:pt x="27" y="8"/>
                      <a:pt x="26" y="7"/>
                      <a:pt x="24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4" name="Freeform 162">
                <a:extLst>
                  <a:ext uri="{FF2B5EF4-FFF2-40B4-BE49-F238E27FC236}">
                    <a16:creationId xmlns:a16="http://schemas.microsoft.com/office/drawing/2014/main" id="{6830D058-1AB9-4E67-BA08-CCC59DB7B3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1" y="2383"/>
                <a:ext cx="31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5" y="19"/>
                      <a:pt x="55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2"/>
                      <a:pt x="1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5" name="Freeform 163">
                <a:extLst>
                  <a:ext uri="{FF2B5EF4-FFF2-40B4-BE49-F238E27FC236}">
                    <a16:creationId xmlns:a16="http://schemas.microsoft.com/office/drawing/2014/main" id="{5CE19905-0BA7-421D-ADCD-AF08BA4BE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1" y="2383"/>
                <a:ext cx="31" cy="9"/>
              </a:xfrm>
              <a:custGeom>
                <a:avLst/>
                <a:gdLst>
                  <a:gd name="T0" fmla="*/ 1 w 56"/>
                  <a:gd name="T1" fmla="*/ 5 h 16"/>
                  <a:gd name="T2" fmla="*/ 6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5 w 56"/>
                  <a:gd name="T11" fmla="*/ 0 h 16"/>
                  <a:gd name="T12" fmla="*/ 0 w 56"/>
                  <a:gd name="T13" fmla="*/ 3 h 16"/>
                  <a:gd name="T14" fmla="*/ 1 w 56"/>
                  <a:gd name="T15" fmla="*/ 7 h 16"/>
                  <a:gd name="T16" fmla="*/ 1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1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5"/>
                      <a:pt x="56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4"/>
                      <a:pt x="0" y="6"/>
                      <a:pt x="1" y="7"/>
                    </a:cubicBezTo>
                    <a:cubicBezTo>
                      <a:pt x="1" y="6"/>
                      <a:pt x="1" y="5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6" name="Freeform 164">
                <a:extLst>
                  <a:ext uri="{FF2B5EF4-FFF2-40B4-BE49-F238E27FC236}">
                    <a16:creationId xmlns:a16="http://schemas.microsoft.com/office/drawing/2014/main" id="{C2BAE547-43FC-4487-89FF-B405A59833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2386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7 h 14"/>
                  <a:gd name="T6" fmla="*/ 29 w 29"/>
                  <a:gd name="T7" fmla="*/ 10 h 14"/>
                  <a:gd name="T8" fmla="*/ 27 w 29"/>
                  <a:gd name="T9" fmla="*/ 9 h 14"/>
                  <a:gd name="T10" fmla="*/ 1 w 29"/>
                  <a:gd name="T11" fmla="*/ 2 h 14"/>
                  <a:gd name="T12" fmla="*/ 0 w 29"/>
                  <a:gd name="T13" fmla="*/ 8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4 h 14"/>
                  <a:gd name="T20" fmla="*/ 29 w 29"/>
                  <a:gd name="T21" fmla="*/ 12 h 14"/>
                  <a:gd name="T22" fmla="*/ 29 w 29"/>
                  <a:gd name="T23" fmla="*/ 11 h 14"/>
                  <a:gd name="T24" fmla="*/ 26 w 29"/>
                  <a:gd name="T25" fmla="*/ 7 h 14"/>
                  <a:gd name="T26" fmla="*/ 23 w 29"/>
                  <a:gd name="T27" fmla="*/ 6 h 14"/>
                  <a:gd name="T28" fmla="*/ 8 w 29"/>
                  <a:gd name="T29" fmla="*/ 2 h 14"/>
                  <a:gd name="T30" fmla="*/ 3 w 29"/>
                  <a:gd name="T31" fmla="*/ 1 h 14"/>
                  <a:gd name="T32" fmla="*/ 2 w 29"/>
                  <a:gd name="T3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9" y="10"/>
                    </a:cubicBezTo>
                    <a:cubicBezTo>
                      <a:pt x="28" y="9"/>
                      <a:pt x="28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4" y="14"/>
                      <a:pt x="25" y="14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8" y="13"/>
                      <a:pt x="28" y="13"/>
                      <a:pt x="29" y="12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29" y="9"/>
                      <a:pt x="27" y="7"/>
                      <a:pt x="26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7" name="Freeform 165">
                <a:extLst>
                  <a:ext uri="{FF2B5EF4-FFF2-40B4-BE49-F238E27FC236}">
                    <a16:creationId xmlns:a16="http://schemas.microsoft.com/office/drawing/2014/main" id="{1809A618-FA26-4719-9D0A-9DFA53CEE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386"/>
                <a:ext cx="15" cy="6"/>
              </a:xfrm>
              <a:custGeom>
                <a:avLst/>
                <a:gdLst>
                  <a:gd name="T0" fmla="*/ 1 w 28"/>
                  <a:gd name="T1" fmla="*/ 0 h 10"/>
                  <a:gd name="T2" fmla="*/ 0 w 28"/>
                  <a:gd name="T3" fmla="*/ 2 h 10"/>
                  <a:gd name="T4" fmla="*/ 26 w 28"/>
                  <a:gd name="T5" fmla="*/ 9 h 10"/>
                  <a:gd name="T6" fmla="*/ 28 w 28"/>
                  <a:gd name="T7" fmla="*/ 10 h 10"/>
                  <a:gd name="T8" fmla="*/ 25 w 28"/>
                  <a:gd name="T9" fmla="*/ 7 h 10"/>
                  <a:gd name="T10" fmla="*/ 1 w 28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7" y="9"/>
                      <a:pt x="27" y="9"/>
                      <a:pt x="28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8" name="Freeform 166">
                <a:extLst>
                  <a:ext uri="{FF2B5EF4-FFF2-40B4-BE49-F238E27FC236}">
                    <a16:creationId xmlns:a16="http://schemas.microsoft.com/office/drawing/2014/main" id="{23982B3B-1B3D-4412-8750-F73C1A69C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0" y="2422"/>
                <a:ext cx="32" cy="12"/>
              </a:xfrm>
              <a:custGeom>
                <a:avLst/>
                <a:gdLst>
                  <a:gd name="T0" fmla="*/ 56 w 57"/>
                  <a:gd name="T1" fmla="*/ 18 h 21"/>
                  <a:gd name="T2" fmla="*/ 54 w 57"/>
                  <a:gd name="T3" fmla="*/ 20 h 21"/>
                  <a:gd name="T4" fmla="*/ 51 w 57"/>
                  <a:gd name="T5" fmla="*/ 21 h 21"/>
                  <a:gd name="T6" fmla="*/ 4 w 57"/>
                  <a:gd name="T7" fmla="*/ 8 h 21"/>
                  <a:gd name="T8" fmla="*/ 1 w 57"/>
                  <a:gd name="T9" fmla="*/ 3 h 21"/>
                  <a:gd name="T10" fmla="*/ 3 w 57"/>
                  <a:gd name="T11" fmla="*/ 1 h 21"/>
                  <a:gd name="T12" fmla="*/ 6 w 57"/>
                  <a:gd name="T13" fmla="*/ 1 h 21"/>
                  <a:gd name="T14" fmla="*/ 53 w 57"/>
                  <a:gd name="T15" fmla="*/ 13 h 21"/>
                  <a:gd name="T16" fmla="*/ 56 w 57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21">
                    <a:moveTo>
                      <a:pt x="56" y="18"/>
                    </a:moveTo>
                    <a:cubicBezTo>
                      <a:pt x="56" y="19"/>
                      <a:pt x="55" y="20"/>
                      <a:pt x="54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4" y="0"/>
                      <a:pt x="5" y="0"/>
                      <a:pt x="6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7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9" name="Freeform 167">
                <a:extLst>
                  <a:ext uri="{FF2B5EF4-FFF2-40B4-BE49-F238E27FC236}">
                    <a16:creationId xmlns:a16="http://schemas.microsoft.com/office/drawing/2014/main" id="{E7343D37-7A14-4E9D-855E-2D443C1780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1" y="2422"/>
                <a:ext cx="30" cy="9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3 w 55"/>
                  <a:gd name="T5" fmla="*/ 15 h 16"/>
                  <a:gd name="T6" fmla="*/ 55 w 55"/>
                  <a:gd name="T7" fmla="*/ 16 h 16"/>
                  <a:gd name="T8" fmla="*/ 52 w 55"/>
                  <a:gd name="T9" fmla="*/ 13 h 16"/>
                  <a:gd name="T10" fmla="*/ 5 w 55"/>
                  <a:gd name="T11" fmla="*/ 1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2"/>
                      <a:pt x="6" y="2"/>
                    </a:cubicBezTo>
                    <a:cubicBezTo>
                      <a:pt x="53" y="15"/>
                      <a:pt x="53" y="15"/>
                      <a:pt x="53" y="15"/>
                    </a:cubicBezTo>
                    <a:cubicBezTo>
                      <a:pt x="54" y="15"/>
                      <a:pt x="55" y="16"/>
                      <a:pt x="55" y="16"/>
                    </a:cubicBezTo>
                    <a:cubicBezTo>
                      <a:pt x="55" y="15"/>
                      <a:pt x="54" y="14"/>
                      <a:pt x="52" y="1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5"/>
                      <a:pt x="0" y="6"/>
                      <a:pt x="1" y="7"/>
                    </a:cubicBezTo>
                    <a:cubicBezTo>
                      <a:pt x="1" y="6"/>
                      <a:pt x="1" y="6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0" name="Freeform 168">
                <a:extLst>
                  <a:ext uri="{FF2B5EF4-FFF2-40B4-BE49-F238E27FC236}">
                    <a16:creationId xmlns:a16="http://schemas.microsoft.com/office/drawing/2014/main" id="{316F303C-645D-4CEE-A5C6-6661B5FB2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7" y="2426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0 w 3"/>
                  <a:gd name="T3" fmla="*/ 0 h 1"/>
                  <a:gd name="T4" fmla="*/ 3 w 3"/>
                  <a:gd name="T5" fmla="*/ 1 h 1"/>
                  <a:gd name="T6" fmla="*/ 3 w 3"/>
                  <a:gd name="T7" fmla="*/ 1 h 1"/>
                  <a:gd name="T8" fmla="*/ 0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1" name="Freeform 169">
                <a:extLst>
                  <a:ext uri="{FF2B5EF4-FFF2-40B4-BE49-F238E27FC236}">
                    <a16:creationId xmlns:a16="http://schemas.microsoft.com/office/drawing/2014/main" id="{31FC8C7F-961A-47EB-AA9C-4B8ECF3042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7" y="2426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0 w 3"/>
                  <a:gd name="T3" fmla="*/ 0 h 1"/>
                  <a:gd name="T4" fmla="*/ 3 w 3"/>
                  <a:gd name="T5" fmla="*/ 1 h 1"/>
                  <a:gd name="T6" fmla="*/ 3 w 3"/>
                  <a:gd name="T7" fmla="*/ 1 h 1"/>
                  <a:gd name="T8" fmla="*/ 0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2" name="Rectangle 170">
                <a:extLst>
                  <a:ext uri="{FF2B5EF4-FFF2-40B4-BE49-F238E27FC236}">
                    <a16:creationId xmlns:a16="http://schemas.microsoft.com/office/drawing/2014/main" id="{23066A20-55C9-43C7-920C-CADE039018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26"/>
                <a:ext cx="1" cy="1"/>
              </a:xfrm>
              <a:prstGeom prst="rect">
                <a:avLst/>
              </a:pr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3" name="Rectangle 171">
                <a:extLst>
                  <a:ext uri="{FF2B5EF4-FFF2-40B4-BE49-F238E27FC236}">
                    <a16:creationId xmlns:a16="http://schemas.microsoft.com/office/drawing/2014/main" id="{7B5D0D3B-97EB-4F4C-9DA6-518F0D7B12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26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4" name="Freeform 172">
                <a:extLst>
                  <a:ext uri="{FF2B5EF4-FFF2-40B4-BE49-F238E27FC236}">
                    <a16:creationId xmlns:a16="http://schemas.microsoft.com/office/drawing/2014/main" id="{B4047AE1-C7DF-4872-ADAF-95DEB8E62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0" y="2427"/>
                <a:ext cx="8" cy="3"/>
              </a:xfrm>
              <a:custGeom>
                <a:avLst/>
                <a:gdLst>
                  <a:gd name="T0" fmla="*/ 0 w 8"/>
                  <a:gd name="T1" fmla="*/ 0 h 3"/>
                  <a:gd name="T2" fmla="*/ 0 w 8"/>
                  <a:gd name="T3" fmla="*/ 0 h 3"/>
                  <a:gd name="T4" fmla="*/ 8 w 8"/>
                  <a:gd name="T5" fmla="*/ 3 h 3"/>
                  <a:gd name="T6" fmla="*/ 8 w 8"/>
                  <a:gd name="T7" fmla="*/ 3 h 3"/>
                  <a:gd name="T8" fmla="*/ 0 w 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0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5" name="Freeform 173">
                <a:extLst>
                  <a:ext uri="{FF2B5EF4-FFF2-40B4-BE49-F238E27FC236}">
                    <a16:creationId xmlns:a16="http://schemas.microsoft.com/office/drawing/2014/main" id="{B28F1AA0-22EE-401E-A8B5-4DFC0D6D9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0" y="2427"/>
                <a:ext cx="8" cy="3"/>
              </a:xfrm>
              <a:custGeom>
                <a:avLst/>
                <a:gdLst>
                  <a:gd name="T0" fmla="*/ 0 w 8"/>
                  <a:gd name="T1" fmla="*/ 0 h 3"/>
                  <a:gd name="T2" fmla="*/ 0 w 8"/>
                  <a:gd name="T3" fmla="*/ 0 h 3"/>
                  <a:gd name="T4" fmla="*/ 8 w 8"/>
                  <a:gd name="T5" fmla="*/ 3 h 3"/>
                  <a:gd name="T6" fmla="*/ 8 w 8"/>
                  <a:gd name="T7" fmla="*/ 3 h 3"/>
                  <a:gd name="T8" fmla="*/ 0 w 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0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6" name="Freeform 174">
                <a:extLst>
                  <a:ext uri="{FF2B5EF4-FFF2-40B4-BE49-F238E27FC236}">
                    <a16:creationId xmlns:a16="http://schemas.microsoft.com/office/drawing/2014/main" id="{867118F8-407F-4A06-B3EF-CBAFBD95B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8" y="2430"/>
                <a:ext cx="3" cy="2"/>
              </a:xfrm>
              <a:custGeom>
                <a:avLst/>
                <a:gdLst>
                  <a:gd name="T0" fmla="*/ 0 w 5"/>
                  <a:gd name="T1" fmla="*/ 0 h 4"/>
                  <a:gd name="T2" fmla="*/ 0 w 5"/>
                  <a:gd name="T3" fmla="*/ 0 h 4"/>
                  <a:gd name="T4" fmla="*/ 2 w 5"/>
                  <a:gd name="T5" fmla="*/ 0 h 4"/>
                  <a:gd name="T6" fmla="*/ 5 w 5"/>
                  <a:gd name="T7" fmla="*/ 4 h 4"/>
                  <a:gd name="T8" fmla="*/ 2 w 5"/>
                  <a:gd name="T9" fmla="*/ 0 h 4"/>
                  <a:gd name="T10" fmla="*/ 0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4" y="1"/>
                      <a:pt x="5" y="2"/>
                      <a:pt x="5" y="4"/>
                    </a:cubicBezTo>
                    <a:cubicBezTo>
                      <a:pt x="5" y="2"/>
                      <a:pt x="4" y="1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7" name="Rectangle 175">
                <a:extLst>
                  <a:ext uri="{FF2B5EF4-FFF2-40B4-BE49-F238E27FC236}">
                    <a16:creationId xmlns:a16="http://schemas.microsoft.com/office/drawing/2014/main" id="{3FC1DF01-18E7-4481-9EEA-5F78628D7B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31"/>
                <a:ext cx="3" cy="1"/>
              </a:xfrm>
              <a:prstGeom prst="rect">
                <a:avLst/>
              </a:pr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8" name="Rectangle 176">
                <a:extLst>
                  <a:ext uri="{FF2B5EF4-FFF2-40B4-BE49-F238E27FC236}">
                    <a16:creationId xmlns:a16="http://schemas.microsoft.com/office/drawing/2014/main" id="{617C6F6D-305F-430D-B04F-8AF59DFB2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31"/>
                <a:ext cx="3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9" name="Freeform 177">
                <a:extLst>
                  <a:ext uri="{FF2B5EF4-FFF2-40B4-BE49-F238E27FC236}">
                    <a16:creationId xmlns:a16="http://schemas.microsoft.com/office/drawing/2014/main" id="{E9312015-5D1A-4B6E-A2A4-819DB9D14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30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1 w 1"/>
                  <a:gd name="T7" fmla="*/ 1 h 1"/>
                  <a:gd name="T8" fmla="*/ 0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0" name="Freeform 178">
                <a:extLst>
                  <a:ext uri="{FF2B5EF4-FFF2-40B4-BE49-F238E27FC236}">
                    <a16:creationId xmlns:a16="http://schemas.microsoft.com/office/drawing/2014/main" id="{F3098728-8FAC-4346-89D8-56E5EB3AA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30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1 w 1"/>
                  <a:gd name="T7" fmla="*/ 1 h 1"/>
                  <a:gd name="T8" fmla="*/ 0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1" name="Freeform 179">
                <a:extLst>
                  <a:ext uri="{FF2B5EF4-FFF2-40B4-BE49-F238E27FC236}">
                    <a16:creationId xmlns:a16="http://schemas.microsoft.com/office/drawing/2014/main" id="{D0522D0F-ACCC-4D6F-B1F3-FAB35CD83E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9" y="2431"/>
                <a:ext cx="8" cy="2"/>
              </a:xfrm>
              <a:custGeom>
                <a:avLst/>
                <a:gdLst>
                  <a:gd name="T0" fmla="*/ 0 w 8"/>
                  <a:gd name="T1" fmla="*/ 0 h 2"/>
                  <a:gd name="T2" fmla="*/ 0 w 8"/>
                  <a:gd name="T3" fmla="*/ 0 h 2"/>
                  <a:gd name="T4" fmla="*/ 8 w 8"/>
                  <a:gd name="T5" fmla="*/ 2 h 2"/>
                  <a:gd name="T6" fmla="*/ 8 w 8"/>
                  <a:gd name="T7" fmla="*/ 2 h 2"/>
                  <a:gd name="T8" fmla="*/ 0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2" name="Freeform 180">
                <a:extLst>
                  <a:ext uri="{FF2B5EF4-FFF2-40B4-BE49-F238E27FC236}">
                    <a16:creationId xmlns:a16="http://schemas.microsoft.com/office/drawing/2014/main" id="{4A447CD6-9986-4BD0-A919-97073D05F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9" y="2431"/>
                <a:ext cx="8" cy="2"/>
              </a:xfrm>
              <a:custGeom>
                <a:avLst/>
                <a:gdLst>
                  <a:gd name="T0" fmla="*/ 0 w 8"/>
                  <a:gd name="T1" fmla="*/ 0 h 2"/>
                  <a:gd name="T2" fmla="*/ 0 w 8"/>
                  <a:gd name="T3" fmla="*/ 0 h 2"/>
                  <a:gd name="T4" fmla="*/ 8 w 8"/>
                  <a:gd name="T5" fmla="*/ 2 h 2"/>
                  <a:gd name="T6" fmla="*/ 8 w 8"/>
                  <a:gd name="T7" fmla="*/ 2 h 2"/>
                  <a:gd name="T8" fmla="*/ 0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3" name="Freeform 181">
                <a:extLst>
                  <a:ext uri="{FF2B5EF4-FFF2-40B4-BE49-F238E27FC236}">
                    <a16:creationId xmlns:a16="http://schemas.microsoft.com/office/drawing/2014/main" id="{80A35623-76FD-4FFA-95FE-67F7A90C7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33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4" name="Freeform 182">
                <a:extLst>
                  <a:ext uri="{FF2B5EF4-FFF2-40B4-BE49-F238E27FC236}">
                    <a16:creationId xmlns:a16="http://schemas.microsoft.com/office/drawing/2014/main" id="{5D31CC78-95CE-4EE2-9124-3313730A82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33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5" name="Freeform 183">
                <a:extLst>
                  <a:ext uri="{FF2B5EF4-FFF2-40B4-BE49-F238E27FC236}">
                    <a16:creationId xmlns:a16="http://schemas.microsoft.com/office/drawing/2014/main" id="{1CBDB465-0962-4CC8-B6E1-8682E3C955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26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6 h 14"/>
                  <a:gd name="T6" fmla="*/ 29 w 29"/>
                  <a:gd name="T7" fmla="*/ 9 h 14"/>
                  <a:gd name="T8" fmla="*/ 27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1 w 29"/>
                  <a:gd name="T15" fmla="*/ 8 h 14"/>
                  <a:gd name="T16" fmla="*/ 7 w 29"/>
                  <a:gd name="T17" fmla="*/ 9 h 14"/>
                  <a:gd name="T18" fmla="*/ 22 w 29"/>
                  <a:gd name="T19" fmla="*/ 13 h 14"/>
                  <a:gd name="T20" fmla="*/ 24 w 29"/>
                  <a:gd name="T21" fmla="*/ 14 h 14"/>
                  <a:gd name="T22" fmla="*/ 25 w 29"/>
                  <a:gd name="T23" fmla="*/ 14 h 14"/>
                  <a:gd name="T24" fmla="*/ 27 w 29"/>
                  <a:gd name="T25" fmla="*/ 13 h 14"/>
                  <a:gd name="T26" fmla="*/ 29 w 29"/>
                  <a:gd name="T27" fmla="*/ 11 h 14"/>
                  <a:gd name="T28" fmla="*/ 29 w 29"/>
                  <a:gd name="T29" fmla="*/ 10 h 14"/>
                  <a:gd name="T30" fmla="*/ 26 w 29"/>
                  <a:gd name="T31" fmla="*/ 6 h 14"/>
                  <a:gd name="T32" fmla="*/ 24 w 29"/>
                  <a:gd name="T33" fmla="*/ 6 h 14"/>
                  <a:gd name="T34" fmla="*/ 9 w 29"/>
                  <a:gd name="T35" fmla="*/ 2 h 14"/>
                  <a:gd name="T36" fmla="*/ 3 w 29"/>
                  <a:gd name="T37" fmla="*/ 0 h 14"/>
                  <a:gd name="T38" fmla="*/ 2 w 29"/>
                  <a:gd name="T3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9" y="9"/>
                      <a:pt x="28" y="8"/>
                      <a:pt x="27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6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6" name="Freeform 184">
                <a:extLst>
                  <a:ext uri="{FF2B5EF4-FFF2-40B4-BE49-F238E27FC236}">
                    <a16:creationId xmlns:a16="http://schemas.microsoft.com/office/drawing/2014/main" id="{EF13A941-8D7E-42BF-A9D7-47B026796F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" y="2426"/>
                <a:ext cx="15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5 w 27"/>
                  <a:gd name="T5" fmla="*/ 8 h 9"/>
                  <a:gd name="T6" fmla="*/ 27 w 27"/>
                  <a:gd name="T7" fmla="*/ 9 h 9"/>
                  <a:gd name="T8" fmla="*/ 24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6" y="8"/>
                      <a:pt x="27" y="9"/>
                      <a:pt x="27" y="9"/>
                    </a:cubicBezTo>
                    <a:cubicBezTo>
                      <a:pt x="27" y="8"/>
                      <a:pt x="26" y="7"/>
                      <a:pt x="24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7" name="Freeform 185">
                <a:extLst>
                  <a:ext uri="{FF2B5EF4-FFF2-40B4-BE49-F238E27FC236}">
                    <a16:creationId xmlns:a16="http://schemas.microsoft.com/office/drawing/2014/main" id="{37C08602-DE69-44C1-8266-AD4B46677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0" y="2462"/>
                <a:ext cx="31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1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5" y="19"/>
                      <a:pt x="55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8" name="Freeform 186">
                <a:extLst>
                  <a:ext uri="{FF2B5EF4-FFF2-40B4-BE49-F238E27FC236}">
                    <a16:creationId xmlns:a16="http://schemas.microsoft.com/office/drawing/2014/main" id="{44D72623-B546-4F70-B3AD-64351C4B4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0" y="2462"/>
                <a:ext cx="31" cy="9"/>
              </a:xfrm>
              <a:custGeom>
                <a:avLst/>
                <a:gdLst>
                  <a:gd name="T0" fmla="*/ 2 w 56"/>
                  <a:gd name="T1" fmla="*/ 5 h 16"/>
                  <a:gd name="T2" fmla="*/ 6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5 w 56"/>
                  <a:gd name="T11" fmla="*/ 0 h 16"/>
                  <a:gd name="T12" fmla="*/ 1 w 56"/>
                  <a:gd name="T13" fmla="*/ 3 h 16"/>
                  <a:gd name="T14" fmla="*/ 2 w 56"/>
                  <a:gd name="T15" fmla="*/ 7 h 16"/>
                  <a:gd name="T16" fmla="*/ 2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2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5"/>
                      <a:pt x="56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1" y="3"/>
                    </a:cubicBezTo>
                    <a:cubicBezTo>
                      <a:pt x="0" y="4"/>
                      <a:pt x="1" y="6"/>
                      <a:pt x="2" y="7"/>
                    </a:cubicBezTo>
                    <a:cubicBezTo>
                      <a:pt x="1" y="6"/>
                      <a:pt x="1" y="5"/>
                      <a:pt x="2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9" name="Freeform 187">
                <a:extLst>
                  <a:ext uri="{FF2B5EF4-FFF2-40B4-BE49-F238E27FC236}">
                    <a16:creationId xmlns:a16="http://schemas.microsoft.com/office/drawing/2014/main" id="{3EC875B0-F179-48A2-9CEF-7726801476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466"/>
                <a:ext cx="16" cy="7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7 h 14"/>
                  <a:gd name="T6" fmla="*/ 29 w 29"/>
                  <a:gd name="T7" fmla="*/ 10 h 14"/>
                  <a:gd name="T8" fmla="*/ 27 w 29"/>
                  <a:gd name="T9" fmla="*/ 9 h 14"/>
                  <a:gd name="T10" fmla="*/ 1 w 29"/>
                  <a:gd name="T11" fmla="*/ 2 h 14"/>
                  <a:gd name="T12" fmla="*/ 0 w 29"/>
                  <a:gd name="T13" fmla="*/ 8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4 h 14"/>
                  <a:gd name="T20" fmla="*/ 29 w 29"/>
                  <a:gd name="T21" fmla="*/ 12 h 14"/>
                  <a:gd name="T22" fmla="*/ 29 w 29"/>
                  <a:gd name="T23" fmla="*/ 11 h 14"/>
                  <a:gd name="T24" fmla="*/ 26 w 29"/>
                  <a:gd name="T25" fmla="*/ 7 h 14"/>
                  <a:gd name="T26" fmla="*/ 26 w 29"/>
                  <a:gd name="T27" fmla="*/ 7 h 14"/>
                  <a:gd name="T28" fmla="*/ 2 w 29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9" y="10"/>
                    </a:cubicBezTo>
                    <a:cubicBezTo>
                      <a:pt x="28" y="9"/>
                      <a:pt x="28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5" y="14"/>
                      <a:pt x="25" y="14"/>
                    </a:cubicBezTo>
                    <a:cubicBezTo>
                      <a:pt x="26" y="14"/>
                      <a:pt x="26" y="14"/>
                      <a:pt x="27" y="14"/>
                    </a:cubicBezTo>
                    <a:cubicBezTo>
                      <a:pt x="28" y="13"/>
                      <a:pt x="28" y="13"/>
                      <a:pt x="29" y="12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29" y="9"/>
                      <a:pt x="28" y="7"/>
                      <a:pt x="26" y="7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0" name="Freeform 188">
                <a:extLst>
                  <a:ext uri="{FF2B5EF4-FFF2-40B4-BE49-F238E27FC236}">
                    <a16:creationId xmlns:a16="http://schemas.microsoft.com/office/drawing/2014/main" id="{D7B93DA0-EC89-44A1-BCBB-162569C69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466"/>
                <a:ext cx="16" cy="5"/>
              </a:xfrm>
              <a:custGeom>
                <a:avLst/>
                <a:gdLst>
                  <a:gd name="T0" fmla="*/ 1 w 28"/>
                  <a:gd name="T1" fmla="*/ 0 h 10"/>
                  <a:gd name="T2" fmla="*/ 0 w 28"/>
                  <a:gd name="T3" fmla="*/ 2 h 10"/>
                  <a:gd name="T4" fmla="*/ 26 w 28"/>
                  <a:gd name="T5" fmla="*/ 9 h 10"/>
                  <a:gd name="T6" fmla="*/ 28 w 28"/>
                  <a:gd name="T7" fmla="*/ 10 h 10"/>
                  <a:gd name="T8" fmla="*/ 25 w 28"/>
                  <a:gd name="T9" fmla="*/ 7 h 10"/>
                  <a:gd name="T10" fmla="*/ 1 w 28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7" y="9"/>
                      <a:pt x="27" y="9"/>
                      <a:pt x="28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1" name="Freeform 189">
                <a:extLst>
                  <a:ext uri="{FF2B5EF4-FFF2-40B4-BE49-F238E27FC236}">
                    <a16:creationId xmlns:a16="http://schemas.microsoft.com/office/drawing/2014/main" id="{7FFBEA9A-5CED-41B9-9113-30219B5A4F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" y="2502"/>
                <a:ext cx="30" cy="11"/>
              </a:xfrm>
              <a:custGeom>
                <a:avLst/>
                <a:gdLst>
                  <a:gd name="T0" fmla="*/ 55 w 56"/>
                  <a:gd name="T1" fmla="*/ 18 h 21"/>
                  <a:gd name="T2" fmla="*/ 53 w 56"/>
                  <a:gd name="T3" fmla="*/ 20 h 21"/>
                  <a:gd name="T4" fmla="*/ 51 w 56"/>
                  <a:gd name="T5" fmla="*/ 21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1 h 21"/>
                  <a:gd name="T12" fmla="*/ 5 w 56"/>
                  <a:gd name="T13" fmla="*/ 1 h 21"/>
                  <a:gd name="T14" fmla="*/ 53 w 56"/>
                  <a:gd name="T15" fmla="*/ 13 h 21"/>
                  <a:gd name="T16" fmla="*/ 55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5" y="18"/>
                    </a:moveTo>
                    <a:cubicBezTo>
                      <a:pt x="55" y="19"/>
                      <a:pt x="54" y="20"/>
                      <a:pt x="53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2"/>
                      <a:pt x="1" y="1"/>
                      <a:pt x="2" y="1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6" y="16"/>
                      <a:pt x="55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2" name="Freeform 190">
                <a:extLst>
                  <a:ext uri="{FF2B5EF4-FFF2-40B4-BE49-F238E27FC236}">
                    <a16:creationId xmlns:a16="http://schemas.microsoft.com/office/drawing/2014/main" id="{9C1D49C4-082D-4B81-A8FF-3DCF987A6E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" y="2502"/>
                <a:ext cx="30" cy="8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4 w 55"/>
                  <a:gd name="T5" fmla="*/ 15 h 16"/>
                  <a:gd name="T6" fmla="*/ 55 w 55"/>
                  <a:gd name="T7" fmla="*/ 16 h 16"/>
                  <a:gd name="T8" fmla="*/ 53 w 55"/>
                  <a:gd name="T9" fmla="*/ 13 h 16"/>
                  <a:gd name="T10" fmla="*/ 5 w 55"/>
                  <a:gd name="T11" fmla="*/ 1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2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4" y="15"/>
                      <a:pt x="55" y="16"/>
                      <a:pt x="55" y="16"/>
                    </a:cubicBezTo>
                    <a:cubicBezTo>
                      <a:pt x="55" y="15"/>
                      <a:pt x="54" y="14"/>
                      <a:pt x="53" y="1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5"/>
                      <a:pt x="0" y="6"/>
                      <a:pt x="1" y="7"/>
                    </a:cubicBezTo>
                    <a:cubicBezTo>
                      <a:pt x="1" y="6"/>
                      <a:pt x="1" y="6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3" name="Freeform 191">
                <a:extLst>
                  <a:ext uri="{FF2B5EF4-FFF2-40B4-BE49-F238E27FC236}">
                    <a16:creationId xmlns:a16="http://schemas.microsoft.com/office/drawing/2014/main" id="{49629C6D-DD11-4CDB-B4CB-D5AE74EF47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4" y="2505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7 w 29"/>
                  <a:gd name="T5" fmla="*/ 6 h 14"/>
                  <a:gd name="T6" fmla="*/ 29 w 29"/>
                  <a:gd name="T7" fmla="*/ 9 h 14"/>
                  <a:gd name="T8" fmla="*/ 28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25 w 29"/>
                  <a:gd name="T15" fmla="*/ 14 h 14"/>
                  <a:gd name="T16" fmla="*/ 26 w 29"/>
                  <a:gd name="T17" fmla="*/ 14 h 14"/>
                  <a:gd name="T18" fmla="*/ 27 w 29"/>
                  <a:gd name="T19" fmla="*/ 13 h 14"/>
                  <a:gd name="T20" fmla="*/ 29 w 29"/>
                  <a:gd name="T21" fmla="*/ 11 h 14"/>
                  <a:gd name="T22" fmla="*/ 29 w 29"/>
                  <a:gd name="T23" fmla="*/ 10 h 14"/>
                  <a:gd name="T24" fmla="*/ 27 w 29"/>
                  <a:gd name="T25" fmla="*/ 6 h 14"/>
                  <a:gd name="T26" fmla="*/ 24 w 29"/>
                  <a:gd name="T27" fmla="*/ 6 h 14"/>
                  <a:gd name="T28" fmla="*/ 9 w 29"/>
                  <a:gd name="T29" fmla="*/ 2 h 14"/>
                  <a:gd name="T30" fmla="*/ 3 w 29"/>
                  <a:gd name="T31" fmla="*/ 0 h 14"/>
                  <a:gd name="T32" fmla="*/ 2 w 29"/>
                  <a:gd name="T3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9" y="9"/>
                      <a:pt x="28" y="8"/>
                      <a:pt x="28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5" y="14"/>
                      <a:pt x="25" y="14"/>
                      <a:pt x="26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7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4" name="Freeform 192">
                <a:extLst>
                  <a:ext uri="{FF2B5EF4-FFF2-40B4-BE49-F238E27FC236}">
                    <a16:creationId xmlns:a16="http://schemas.microsoft.com/office/drawing/2014/main" id="{0F1F4AFA-E954-4505-A904-BD5A49F1F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5" y="2505"/>
                <a:ext cx="15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6 w 27"/>
                  <a:gd name="T5" fmla="*/ 8 h 9"/>
                  <a:gd name="T6" fmla="*/ 27 w 27"/>
                  <a:gd name="T7" fmla="*/ 9 h 9"/>
                  <a:gd name="T8" fmla="*/ 25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6" y="8"/>
                      <a:pt x="27" y="9"/>
                      <a:pt x="27" y="9"/>
                    </a:cubicBezTo>
                    <a:cubicBezTo>
                      <a:pt x="27" y="8"/>
                      <a:pt x="26" y="7"/>
                      <a:pt x="25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5" name="Freeform 193">
                <a:extLst>
                  <a:ext uri="{FF2B5EF4-FFF2-40B4-BE49-F238E27FC236}">
                    <a16:creationId xmlns:a16="http://schemas.microsoft.com/office/drawing/2014/main" id="{C94BCCFC-6E1E-42B6-AA08-634FC5DE0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0" y="2362"/>
                <a:ext cx="20" cy="32"/>
              </a:xfrm>
              <a:custGeom>
                <a:avLst/>
                <a:gdLst>
                  <a:gd name="T0" fmla="*/ 13 w 20"/>
                  <a:gd name="T1" fmla="*/ 32 h 32"/>
                  <a:gd name="T2" fmla="*/ 0 w 20"/>
                  <a:gd name="T3" fmla="*/ 28 h 32"/>
                  <a:gd name="T4" fmla="*/ 7 w 20"/>
                  <a:gd name="T5" fmla="*/ 0 h 32"/>
                  <a:gd name="T6" fmla="*/ 20 w 20"/>
                  <a:gd name="T7" fmla="*/ 4 h 32"/>
                  <a:gd name="T8" fmla="*/ 13 w 20"/>
                  <a:gd name="T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2">
                    <a:moveTo>
                      <a:pt x="13" y="32"/>
                    </a:moveTo>
                    <a:lnTo>
                      <a:pt x="0" y="28"/>
                    </a:lnTo>
                    <a:lnTo>
                      <a:pt x="7" y="0"/>
                    </a:lnTo>
                    <a:lnTo>
                      <a:pt x="20" y="4"/>
                    </a:lnTo>
                    <a:lnTo>
                      <a:pt x="13" y="32"/>
                    </a:lnTo>
                    <a:close/>
                  </a:path>
                </a:pathLst>
              </a:custGeom>
              <a:solidFill>
                <a:srgbClr val="EF53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6" name="Freeform 194">
                <a:extLst>
                  <a:ext uri="{FF2B5EF4-FFF2-40B4-BE49-F238E27FC236}">
                    <a16:creationId xmlns:a16="http://schemas.microsoft.com/office/drawing/2014/main" id="{A4201B50-FE4A-4494-9B00-A0ADE304C2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9" y="2404"/>
                <a:ext cx="20" cy="32"/>
              </a:xfrm>
              <a:custGeom>
                <a:avLst/>
                <a:gdLst>
                  <a:gd name="T0" fmla="*/ 12 w 20"/>
                  <a:gd name="T1" fmla="*/ 32 h 32"/>
                  <a:gd name="T2" fmla="*/ 0 w 20"/>
                  <a:gd name="T3" fmla="*/ 28 h 32"/>
                  <a:gd name="T4" fmla="*/ 7 w 20"/>
                  <a:gd name="T5" fmla="*/ 0 h 32"/>
                  <a:gd name="T6" fmla="*/ 20 w 20"/>
                  <a:gd name="T7" fmla="*/ 3 h 32"/>
                  <a:gd name="T8" fmla="*/ 12 w 20"/>
                  <a:gd name="T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2">
                    <a:moveTo>
                      <a:pt x="12" y="32"/>
                    </a:moveTo>
                    <a:lnTo>
                      <a:pt x="0" y="28"/>
                    </a:lnTo>
                    <a:lnTo>
                      <a:pt x="7" y="0"/>
                    </a:lnTo>
                    <a:lnTo>
                      <a:pt x="20" y="3"/>
                    </a:lnTo>
                    <a:lnTo>
                      <a:pt x="12" y="32"/>
                    </a:lnTo>
                    <a:close/>
                  </a:path>
                </a:pathLst>
              </a:custGeom>
              <a:solidFill>
                <a:srgbClr val="8FDC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7" name="Freeform 195">
                <a:extLst>
                  <a:ext uri="{FF2B5EF4-FFF2-40B4-BE49-F238E27FC236}">
                    <a16:creationId xmlns:a16="http://schemas.microsoft.com/office/drawing/2014/main" id="{040EC471-B18B-4524-856E-E917E25575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" y="2387"/>
                <a:ext cx="25" cy="33"/>
              </a:xfrm>
              <a:custGeom>
                <a:avLst/>
                <a:gdLst>
                  <a:gd name="T0" fmla="*/ 17 w 25"/>
                  <a:gd name="T1" fmla="*/ 33 h 33"/>
                  <a:gd name="T2" fmla="*/ 0 w 25"/>
                  <a:gd name="T3" fmla="*/ 28 h 33"/>
                  <a:gd name="T4" fmla="*/ 8 w 25"/>
                  <a:gd name="T5" fmla="*/ 0 h 33"/>
                  <a:gd name="T6" fmla="*/ 25 w 25"/>
                  <a:gd name="T7" fmla="*/ 5 h 33"/>
                  <a:gd name="T8" fmla="*/ 17 w 25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33">
                    <a:moveTo>
                      <a:pt x="17" y="33"/>
                    </a:moveTo>
                    <a:lnTo>
                      <a:pt x="0" y="28"/>
                    </a:lnTo>
                    <a:lnTo>
                      <a:pt x="8" y="0"/>
                    </a:lnTo>
                    <a:lnTo>
                      <a:pt x="25" y="5"/>
                    </a:lnTo>
                    <a:lnTo>
                      <a:pt x="17" y="33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8" name="Freeform 196">
                <a:extLst>
                  <a:ext uri="{FF2B5EF4-FFF2-40B4-BE49-F238E27FC236}">
                    <a16:creationId xmlns:a16="http://schemas.microsoft.com/office/drawing/2014/main" id="{760A5B0F-2515-4410-8688-3BBF8312B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" y="2263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9" name="Freeform 197">
                <a:extLst>
                  <a:ext uri="{FF2B5EF4-FFF2-40B4-BE49-F238E27FC236}">
                    <a16:creationId xmlns:a16="http://schemas.microsoft.com/office/drawing/2014/main" id="{136B7A02-33E1-42E4-8FAE-B8B576DAF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" y="2276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0" name="Freeform 198">
                <a:extLst>
                  <a:ext uri="{FF2B5EF4-FFF2-40B4-BE49-F238E27FC236}">
                    <a16:creationId xmlns:a16="http://schemas.microsoft.com/office/drawing/2014/main" id="{A038D938-5D4E-4058-A4E1-504C0D303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5" y="2288"/>
                <a:ext cx="138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1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1" name="Freeform 199">
                <a:extLst>
                  <a:ext uri="{FF2B5EF4-FFF2-40B4-BE49-F238E27FC236}">
                    <a16:creationId xmlns:a16="http://schemas.microsoft.com/office/drawing/2014/main" id="{1B9D715A-EC9F-4B8A-A0B6-B52A154E0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2" y="2301"/>
                <a:ext cx="138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8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2" name="Freeform 200">
                <a:extLst>
                  <a:ext uri="{FF2B5EF4-FFF2-40B4-BE49-F238E27FC236}">
                    <a16:creationId xmlns:a16="http://schemas.microsoft.com/office/drawing/2014/main" id="{C42C2F4D-5A74-4676-AF9F-674E374861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313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8"/>
                      <a:pt x="253" y="68"/>
                      <a:pt x="253" y="68"/>
                    </a:cubicBezTo>
                    <a:cubicBezTo>
                      <a:pt x="252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3" name="Freeform 201">
                <a:extLst>
                  <a:ext uri="{FF2B5EF4-FFF2-40B4-BE49-F238E27FC236}">
                    <a16:creationId xmlns:a16="http://schemas.microsoft.com/office/drawing/2014/main" id="{86647506-B47B-4A12-93DA-D479FB3C2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5" y="2326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8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4" name="Freeform 202">
                <a:extLst>
                  <a:ext uri="{FF2B5EF4-FFF2-40B4-BE49-F238E27FC236}">
                    <a16:creationId xmlns:a16="http://schemas.microsoft.com/office/drawing/2014/main" id="{60B9C95F-56D4-4BDB-A109-729A91631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2" y="2338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8 h 69"/>
                  <a:gd name="T10" fmla="*/ 252 w 252"/>
                  <a:gd name="T11" fmla="*/ 69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2" y="68"/>
                      <a:pt x="252" y="69"/>
                    </a:cubicBezTo>
                    <a:cubicBezTo>
                      <a:pt x="252" y="69"/>
                      <a:pt x="252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5" name="Freeform 203">
                <a:extLst>
                  <a:ext uri="{FF2B5EF4-FFF2-40B4-BE49-F238E27FC236}">
                    <a16:creationId xmlns:a16="http://schemas.microsoft.com/office/drawing/2014/main" id="{72742FF2-CC75-48D5-A901-04594EB81E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51"/>
                <a:ext cx="137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1 w 252"/>
                  <a:gd name="T9" fmla="*/ 68 h 69"/>
                  <a:gd name="T10" fmla="*/ 252 w 252"/>
                  <a:gd name="T11" fmla="*/ 69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51" y="68"/>
                      <a:pt x="251" y="68"/>
                      <a:pt x="251" y="68"/>
                    </a:cubicBezTo>
                    <a:cubicBezTo>
                      <a:pt x="252" y="68"/>
                      <a:pt x="252" y="68"/>
                      <a:pt x="252" y="69"/>
                    </a:cubicBezTo>
                    <a:cubicBezTo>
                      <a:pt x="252" y="69"/>
                      <a:pt x="251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6" name="Freeform 204">
                <a:extLst>
                  <a:ext uri="{FF2B5EF4-FFF2-40B4-BE49-F238E27FC236}">
                    <a16:creationId xmlns:a16="http://schemas.microsoft.com/office/drawing/2014/main" id="{A1917ECF-7CD9-45B8-B9AC-361BBE00F3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5" y="2363"/>
                <a:ext cx="138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1 w 253"/>
                  <a:gd name="T5" fmla="*/ 1 h 69"/>
                  <a:gd name="T6" fmla="*/ 1 w 253"/>
                  <a:gd name="T7" fmla="*/ 1 h 69"/>
                  <a:gd name="T8" fmla="*/ 252 w 253"/>
                  <a:gd name="T9" fmla="*/ 68 h 69"/>
                  <a:gd name="T10" fmla="*/ 253 w 253"/>
                  <a:gd name="T11" fmla="*/ 69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1"/>
                      <a:pt x="1" y="0"/>
                      <a:pt x="1" y="1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3" y="68"/>
                      <a:pt x="253" y="68"/>
                      <a:pt x="253" y="69"/>
                    </a:cubicBezTo>
                    <a:cubicBezTo>
                      <a:pt x="253" y="69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" name="Group 406">
              <a:extLst>
                <a:ext uri="{FF2B5EF4-FFF2-40B4-BE49-F238E27FC236}">
                  <a16:creationId xmlns:a16="http://schemas.microsoft.com/office/drawing/2014/main" id="{53EA9CB8-50DC-473C-99CE-8AFCCA8D6E4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08950" y="1360488"/>
              <a:ext cx="2019300" cy="2759075"/>
              <a:chOff x="5108" y="857"/>
              <a:chExt cx="1272" cy="1738"/>
            </a:xfrm>
          </p:grpSpPr>
          <p:sp>
            <p:nvSpPr>
              <p:cNvPr id="367" name="Freeform 206">
                <a:extLst>
                  <a:ext uri="{FF2B5EF4-FFF2-40B4-BE49-F238E27FC236}">
                    <a16:creationId xmlns:a16="http://schemas.microsoft.com/office/drawing/2014/main" id="{4798BC5C-9BB4-4BEF-B74B-D74DC9D7C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1" y="2376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1 h 69"/>
                  <a:gd name="T8" fmla="*/ 252 w 253"/>
                  <a:gd name="T9" fmla="*/ 68 h 69"/>
                  <a:gd name="T10" fmla="*/ 253 w 253"/>
                  <a:gd name="T11" fmla="*/ 69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3" y="68"/>
                      <a:pt x="253" y="69"/>
                    </a:cubicBezTo>
                    <a:cubicBezTo>
                      <a:pt x="253" y="69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207">
                <a:extLst>
                  <a:ext uri="{FF2B5EF4-FFF2-40B4-BE49-F238E27FC236}">
                    <a16:creationId xmlns:a16="http://schemas.microsoft.com/office/drawing/2014/main" id="{A0EB452C-429D-43A4-BF61-139972950A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8" y="2389"/>
                <a:ext cx="139" cy="37"/>
              </a:xfrm>
              <a:custGeom>
                <a:avLst/>
                <a:gdLst>
                  <a:gd name="T0" fmla="*/ 252 w 253"/>
                  <a:gd name="T1" fmla="*/ 68 h 68"/>
                  <a:gd name="T2" fmla="*/ 1 w 253"/>
                  <a:gd name="T3" fmla="*/ 1 h 68"/>
                  <a:gd name="T4" fmla="*/ 0 w 253"/>
                  <a:gd name="T5" fmla="*/ 0 h 68"/>
                  <a:gd name="T6" fmla="*/ 1 w 253"/>
                  <a:gd name="T7" fmla="*/ 0 h 68"/>
                  <a:gd name="T8" fmla="*/ 252 w 253"/>
                  <a:gd name="T9" fmla="*/ 67 h 68"/>
                  <a:gd name="T10" fmla="*/ 252 w 253"/>
                  <a:gd name="T11" fmla="*/ 68 h 68"/>
                  <a:gd name="T12" fmla="*/ 252 w 253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8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7"/>
                      <a:pt x="252" y="68"/>
                    </a:cubicBezTo>
                    <a:cubicBezTo>
                      <a:pt x="252" y="68"/>
                      <a:pt x="252" y="68"/>
                      <a:pt x="252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208">
                <a:extLst>
                  <a:ext uri="{FF2B5EF4-FFF2-40B4-BE49-F238E27FC236}">
                    <a16:creationId xmlns:a16="http://schemas.microsoft.com/office/drawing/2014/main" id="{2ABE8BC9-3174-430E-89B0-0F09902AA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5" y="2402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1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2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8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209">
                <a:extLst>
                  <a:ext uri="{FF2B5EF4-FFF2-40B4-BE49-F238E27FC236}">
                    <a16:creationId xmlns:a16="http://schemas.microsoft.com/office/drawing/2014/main" id="{8C8B4ACF-C1DB-4164-9EF5-BA6B276939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2" y="2414"/>
                <a:ext cx="138" cy="38"/>
              </a:xfrm>
              <a:custGeom>
                <a:avLst/>
                <a:gdLst>
                  <a:gd name="T0" fmla="*/ 251 w 252"/>
                  <a:gd name="T1" fmla="*/ 68 h 69"/>
                  <a:gd name="T2" fmla="*/ 0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9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210">
                <a:extLst>
                  <a:ext uri="{FF2B5EF4-FFF2-40B4-BE49-F238E27FC236}">
                    <a16:creationId xmlns:a16="http://schemas.microsoft.com/office/drawing/2014/main" id="{95729F69-4135-42E8-84F4-D115D9BD5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8" y="2427"/>
                <a:ext cx="138" cy="37"/>
              </a:xfrm>
              <a:custGeom>
                <a:avLst/>
                <a:gdLst>
                  <a:gd name="T0" fmla="*/ 251 w 252"/>
                  <a:gd name="T1" fmla="*/ 68 h 69"/>
                  <a:gd name="T2" fmla="*/ 0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1 w 252"/>
                  <a:gd name="T9" fmla="*/ 67 h 69"/>
                  <a:gd name="T10" fmla="*/ 252 w 252"/>
                  <a:gd name="T11" fmla="*/ 68 h 69"/>
                  <a:gd name="T12" fmla="*/ 251 w 252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8"/>
                      <a:pt x="251" y="69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211">
                <a:extLst>
                  <a:ext uri="{FF2B5EF4-FFF2-40B4-BE49-F238E27FC236}">
                    <a16:creationId xmlns:a16="http://schemas.microsoft.com/office/drawing/2014/main" id="{B35A6572-A9D5-42F2-B142-EB51E9581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" y="2439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8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212">
                <a:extLst>
                  <a:ext uri="{FF2B5EF4-FFF2-40B4-BE49-F238E27FC236}">
                    <a16:creationId xmlns:a16="http://schemas.microsoft.com/office/drawing/2014/main" id="{724AF34D-A7CA-4631-A3DE-D64054DA3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1" y="2452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3" y="68"/>
                    </a:cubicBezTo>
                    <a:cubicBezTo>
                      <a:pt x="252" y="68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213">
                <a:extLst>
                  <a:ext uri="{FF2B5EF4-FFF2-40B4-BE49-F238E27FC236}">
                    <a16:creationId xmlns:a16="http://schemas.microsoft.com/office/drawing/2014/main" id="{929E761E-EEA1-43E0-8A22-F8E3A7D36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8" y="2464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1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214">
                <a:extLst>
                  <a:ext uri="{FF2B5EF4-FFF2-40B4-BE49-F238E27FC236}">
                    <a16:creationId xmlns:a16="http://schemas.microsoft.com/office/drawing/2014/main" id="{961B78A1-2549-45D1-8A96-69A74B297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8" y="2339"/>
                <a:ext cx="47" cy="14"/>
              </a:xfrm>
              <a:custGeom>
                <a:avLst/>
                <a:gdLst>
                  <a:gd name="T0" fmla="*/ 83 w 85"/>
                  <a:gd name="T1" fmla="*/ 24 h 24"/>
                  <a:gd name="T2" fmla="*/ 0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2 h 24"/>
                  <a:gd name="T10" fmla="*/ 84 w 85"/>
                  <a:gd name="T11" fmla="*/ 23 h 24"/>
                  <a:gd name="T12" fmla="*/ 83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3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84" y="22"/>
                      <a:pt x="84" y="22"/>
                      <a:pt x="84" y="22"/>
                    </a:cubicBezTo>
                    <a:cubicBezTo>
                      <a:pt x="84" y="23"/>
                      <a:pt x="85" y="23"/>
                      <a:pt x="84" y="23"/>
                    </a:cubicBezTo>
                    <a:cubicBezTo>
                      <a:pt x="84" y="24"/>
                      <a:pt x="84" y="24"/>
                      <a:pt x="83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Freeform 215">
                <a:extLst>
                  <a:ext uri="{FF2B5EF4-FFF2-40B4-BE49-F238E27FC236}">
                    <a16:creationId xmlns:a16="http://schemas.microsoft.com/office/drawing/2014/main" id="{F71F5D83-F820-4831-971A-332CBD4782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" y="2352"/>
                <a:ext cx="46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1 w 85"/>
                  <a:gd name="T5" fmla="*/ 1 h 24"/>
                  <a:gd name="T6" fmla="*/ 1 w 85"/>
                  <a:gd name="T7" fmla="*/ 0 h 24"/>
                  <a:gd name="T8" fmla="*/ 85 w 85"/>
                  <a:gd name="T9" fmla="*/ 22 h 24"/>
                  <a:gd name="T10" fmla="*/ 85 w 85"/>
                  <a:gd name="T11" fmla="*/ 23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85" y="22"/>
                      <a:pt x="85" y="22"/>
                      <a:pt x="85" y="22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4"/>
                      <a:pt x="85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Freeform 216">
                <a:extLst>
                  <a:ext uri="{FF2B5EF4-FFF2-40B4-BE49-F238E27FC236}">
                    <a16:creationId xmlns:a16="http://schemas.microsoft.com/office/drawing/2014/main" id="{D85BCA8D-A4C0-45BE-8163-CD5B7F2CCD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" y="2365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5 w 85"/>
                  <a:gd name="T9" fmla="*/ 23 h 24"/>
                  <a:gd name="T10" fmla="*/ 85 w 85"/>
                  <a:gd name="T11" fmla="*/ 23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4"/>
                      <a:pt x="85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8" name="Freeform 217">
                <a:extLst>
                  <a:ext uri="{FF2B5EF4-FFF2-40B4-BE49-F238E27FC236}">
                    <a16:creationId xmlns:a16="http://schemas.microsoft.com/office/drawing/2014/main" id="{B6A3291E-0158-4ED9-9B71-A1C0A37DC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8" y="2377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5" y="23"/>
                      <a:pt x="85" y="23"/>
                      <a:pt x="85" y="24"/>
                    </a:cubicBezTo>
                    <a:cubicBezTo>
                      <a:pt x="85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Freeform 218">
                <a:extLst>
                  <a:ext uri="{FF2B5EF4-FFF2-40B4-BE49-F238E27FC236}">
                    <a16:creationId xmlns:a16="http://schemas.microsoft.com/office/drawing/2014/main" id="{1E7A9B52-08CC-4676-BC25-BED9AA389F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" y="2390"/>
                <a:ext cx="46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5" y="23"/>
                      <a:pt x="85" y="23"/>
                      <a:pt x="85" y="24"/>
                    </a:cubicBezTo>
                    <a:cubicBezTo>
                      <a:pt x="85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Freeform 219">
                <a:extLst>
                  <a:ext uri="{FF2B5EF4-FFF2-40B4-BE49-F238E27FC236}">
                    <a16:creationId xmlns:a16="http://schemas.microsoft.com/office/drawing/2014/main" id="{7A375989-39E0-48AF-98E8-BD16A064E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1" y="2402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0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4" y="23"/>
                      <a:pt x="85" y="23"/>
                      <a:pt x="85" y="24"/>
                    </a:cubicBezTo>
                    <a:cubicBezTo>
                      <a:pt x="84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Freeform 220">
                <a:extLst>
                  <a:ext uri="{FF2B5EF4-FFF2-40B4-BE49-F238E27FC236}">
                    <a16:creationId xmlns:a16="http://schemas.microsoft.com/office/drawing/2014/main" id="{4D436458-25E7-4C60-B0D1-74FC0A19F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15"/>
                <a:ext cx="46" cy="13"/>
              </a:xfrm>
              <a:custGeom>
                <a:avLst/>
                <a:gdLst>
                  <a:gd name="T0" fmla="*/ 83 w 84"/>
                  <a:gd name="T1" fmla="*/ 24 h 24"/>
                  <a:gd name="T2" fmla="*/ 0 w 84"/>
                  <a:gd name="T3" fmla="*/ 2 h 24"/>
                  <a:gd name="T4" fmla="*/ 0 w 84"/>
                  <a:gd name="T5" fmla="*/ 1 h 24"/>
                  <a:gd name="T6" fmla="*/ 1 w 84"/>
                  <a:gd name="T7" fmla="*/ 0 h 24"/>
                  <a:gd name="T8" fmla="*/ 84 w 84"/>
                  <a:gd name="T9" fmla="*/ 23 h 24"/>
                  <a:gd name="T10" fmla="*/ 84 w 84"/>
                  <a:gd name="T11" fmla="*/ 24 h 24"/>
                  <a:gd name="T12" fmla="*/ 83 w 84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24">
                    <a:moveTo>
                      <a:pt x="83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4" y="23"/>
                      <a:pt x="84" y="23"/>
                      <a:pt x="84" y="24"/>
                    </a:cubicBezTo>
                    <a:cubicBezTo>
                      <a:pt x="84" y="24"/>
                      <a:pt x="84" y="24"/>
                      <a:pt x="83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Freeform 221">
                <a:extLst>
                  <a:ext uri="{FF2B5EF4-FFF2-40B4-BE49-F238E27FC236}">
                    <a16:creationId xmlns:a16="http://schemas.microsoft.com/office/drawing/2014/main" id="{2E21A502-C4FF-4D97-8827-90BAF8BCC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3" y="2403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0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2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8"/>
                      <a:pt x="251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Freeform 222">
                <a:extLst>
                  <a:ext uri="{FF2B5EF4-FFF2-40B4-BE49-F238E27FC236}">
                    <a16:creationId xmlns:a16="http://schemas.microsoft.com/office/drawing/2014/main" id="{A4140B52-F92F-4B4A-8EFE-AF18F4E24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0" y="2416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0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1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1" y="68"/>
                      <a:pt x="251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Freeform 223">
                <a:extLst>
                  <a:ext uri="{FF2B5EF4-FFF2-40B4-BE49-F238E27FC236}">
                    <a16:creationId xmlns:a16="http://schemas.microsoft.com/office/drawing/2014/main" id="{3138074F-679D-4718-A5C3-37FFE83E42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6" y="2428"/>
                <a:ext cx="138" cy="38"/>
              </a:xfrm>
              <a:custGeom>
                <a:avLst/>
                <a:gdLst>
                  <a:gd name="T0" fmla="*/ 252 w 253"/>
                  <a:gd name="T1" fmla="*/ 68 h 69"/>
                  <a:gd name="T2" fmla="*/ 1 w 253"/>
                  <a:gd name="T3" fmla="*/ 1 h 69"/>
                  <a:gd name="T4" fmla="*/ 1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7"/>
                      <a:pt x="253" y="68"/>
                    </a:cubicBezTo>
                    <a:cubicBezTo>
                      <a:pt x="253" y="68"/>
                      <a:pt x="252" y="69"/>
                      <a:pt x="252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Freeform 224">
                <a:extLst>
                  <a:ext uri="{FF2B5EF4-FFF2-40B4-BE49-F238E27FC236}">
                    <a16:creationId xmlns:a16="http://schemas.microsoft.com/office/drawing/2014/main" id="{52A93AF8-AC8B-4347-97FD-C2D1A5EAB7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2" y="2441"/>
                <a:ext cx="139" cy="38"/>
              </a:xfrm>
              <a:custGeom>
                <a:avLst/>
                <a:gdLst>
                  <a:gd name="T0" fmla="*/ 252 w 253"/>
                  <a:gd name="T1" fmla="*/ 68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8"/>
                      <a:pt x="252" y="69"/>
                      <a:pt x="252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Freeform 225">
                <a:extLst>
                  <a:ext uri="{FF2B5EF4-FFF2-40B4-BE49-F238E27FC236}">
                    <a16:creationId xmlns:a16="http://schemas.microsoft.com/office/drawing/2014/main" id="{4D9DEC18-B19B-4FAF-B9F3-3383055F13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9" y="2454"/>
                <a:ext cx="139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2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2" y="68"/>
                    </a:cubicBezTo>
                    <a:cubicBezTo>
                      <a:pt x="252" y="68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Freeform 226">
                <a:extLst>
                  <a:ext uri="{FF2B5EF4-FFF2-40B4-BE49-F238E27FC236}">
                    <a16:creationId xmlns:a16="http://schemas.microsoft.com/office/drawing/2014/main" id="{971BE79F-923D-4A4D-A416-053168D78A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6" y="2466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8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Freeform 227">
                <a:extLst>
                  <a:ext uri="{FF2B5EF4-FFF2-40B4-BE49-F238E27FC236}">
                    <a16:creationId xmlns:a16="http://schemas.microsoft.com/office/drawing/2014/main" id="{494E53A7-3C3F-4CDC-BD0B-DA2147628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479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1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Freeform 228">
                <a:extLst>
                  <a:ext uri="{FF2B5EF4-FFF2-40B4-BE49-F238E27FC236}">
                    <a16:creationId xmlns:a16="http://schemas.microsoft.com/office/drawing/2014/main" id="{78080B31-D1DB-46E4-883D-13E1FA5F22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9" y="2491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1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1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Freeform 229">
                <a:extLst>
                  <a:ext uri="{FF2B5EF4-FFF2-40B4-BE49-F238E27FC236}">
                    <a16:creationId xmlns:a16="http://schemas.microsoft.com/office/drawing/2014/main" id="{C6491041-D199-46E5-82B5-55AF5BABF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2504"/>
                <a:ext cx="138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Freeform 230">
                <a:extLst>
                  <a:ext uri="{FF2B5EF4-FFF2-40B4-BE49-F238E27FC236}">
                    <a16:creationId xmlns:a16="http://schemas.microsoft.com/office/drawing/2014/main" id="{5ADE6041-EDAB-41C0-B9E2-699796B8C0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516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3" y="68"/>
                    </a:cubicBezTo>
                    <a:cubicBezTo>
                      <a:pt x="252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Freeform 231">
                <a:extLst>
                  <a:ext uri="{FF2B5EF4-FFF2-40B4-BE49-F238E27FC236}">
                    <a16:creationId xmlns:a16="http://schemas.microsoft.com/office/drawing/2014/main" id="{89D26C9E-77DB-439C-A41A-D935B7734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9" y="2314"/>
                <a:ext cx="22" cy="79"/>
              </a:xfrm>
              <a:custGeom>
                <a:avLst/>
                <a:gdLst>
                  <a:gd name="T0" fmla="*/ 1 w 41"/>
                  <a:gd name="T1" fmla="*/ 146 h 146"/>
                  <a:gd name="T2" fmla="*/ 1 w 41"/>
                  <a:gd name="T3" fmla="*/ 145 h 146"/>
                  <a:gd name="T4" fmla="*/ 39 w 41"/>
                  <a:gd name="T5" fmla="*/ 0 h 146"/>
                  <a:gd name="T6" fmla="*/ 40 w 41"/>
                  <a:gd name="T7" fmla="*/ 0 h 146"/>
                  <a:gd name="T8" fmla="*/ 41 w 41"/>
                  <a:gd name="T9" fmla="*/ 1 h 146"/>
                  <a:gd name="T10" fmla="*/ 2 w 41"/>
                  <a:gd name="T11" fmla="*/ 146 h 146"/>
                  <a:gd name="T12" fmla="*/ 1 w 41"/>
                  <a:gd name="T13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146">
                    <a:moveTo>
                      <a:pt x="1" y="146"/>
                    </a:moveTo>
                    <a:cubicBezTo>
                      <a:pt x="1" y="146"/>
                      <a:pt x="0" y="146"/>
                      <a:pt x="1" y="14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40" y="0"/>
                      <a:pt x="40" y="0"/>
                    </a:cubicBezTo>
                    <a:cubicBezTo>
                      <a:pt x="41" y="0"/>
                      <a:pt x="41" y="0"/>
                      <a:pt x="41" y="1"/>
                    </a:cubicBezTo>
                    <a:cubicBezTo>
                      <a:pt x="2" y="146"/>
                      <a:pt x="2" y="146"/>
                      <a:pt x="2" y="146"/>
                    </a:cubicBezTo>
                    <a:cubicBezTo>
                      <a:pt x="2" y="146"/>
                      <a:pt x="1" y="146"/>
                      <a:pt x="1" y="146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Freeform 232">
                <a:extLst>
                  <a:ext uri="{FF2B5EF4-FFF2-40B4-BE49-F238E27FC236}">
                    <a16:creationId xmlns:a16="http://schemas.microsoft.com/office/drawing/2014/main" id="{14C0270B-D41F-4ACE-8E23-9E39D785C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6" y="2387"/>
                <a:ext cx="81" cy="23"/>
              </a:xfrm>
              <a:custGeom>
                <a:avLst/>
                <a:gdLst>
                  <a:gd name="T0" fmla="*/ 146 w 148"/>
                  <a:gd name="T1" fmla="*/ 41 h 41"/>
                  <a:gd name="T2" fmla="*/ 1 w 148"/>
                  <a:gd name="T3" fmla="*/ 2 h 41"/>
                  <a:gd name="T4" fmla="*/ 0 w 148"/>
                  <a:gd name="T5" fmla="*/ 1 h 41"/>
                  <a:gd name="T6" fmla="*/ 1 w 148"/>
                  <a:gd name="T7" fmla="*/ 0 h 41"/>
                  <a:gd name="T8" fmla="*/ 147 w 148"/>
                  <a:gd name="T9" fmla="*/ 39 h 41"/>
                  <a:gd name="T10" fmla="*/ 147 w 148"/>
                  <a:gd name="T11" fmla="*/ 40 h 41"/>
                  <a:gd name="T12" fmla="*/ 146 w 148"/>
                  <a:gd name="T13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" h="41">
                    <a:moveTo>
                      <a:pt x="146" y="41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47" y="39"/>
                      <a:pt x="147" y="39"/>
                      <a:pt x="147" y="39"/>
                    </a:cubicBezTo>
                    <a:cubicBezTo>
                      <a:pt x="147" y="39"/>
                      <a:pt x="148" y="40"/>
                      <a:pt x="147" y="40"/>
                    </a:cubicBezTo>
                    <a:cubicBezTo>
                      <a:pt x="147" y="41"/>
                      <a:pt x="147" y="41"/>
                      <a:pt x="146" y="41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Freeform 233">
                <a:extLst>
                  <a:ext uri="{FF2B5EF4-FFF2-40B4-BE49-F238E27FC236}">
                    <a16:creationId xmlns:a16="http://schemas.microsoft.com/office/drawing/2014/main" id="{B3A106E9-D298-477B-9D94-C48936C46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0" y="2334"/>
                <a:ext cx="87" cy="52"/>
              </a:xfrm>
              <a:custGeom>
                <a:avLst/>
                <a:gdLst>
                  <a:gd name="T0" fmla="*/ 0 w 87"/>
                  <a:gd name="T1" fmla="*/ 47 h 52"/>
                  <a:gd name="T2" fmla="*/ 0 w 87"/>
                  <a:gd name="T3" fmla="*/ 47 h 52"/>
                  <a:gd name="T4" fmla="*/ 0 w 87"/>
                  <a:gd name="T5" fmla="*/ 47 h 52"/>
                  <a:gd name="T6" fmla="*/ 21 w 87"/>
                  <a:gd name="T7" fmla="*/ 27 h 52"/>
                  <a:gd name="T8" fmla="*/ 21 w 87"/>
                  <a:gd name="T9" fmla="*/ 27 h 52"/>
                  <a:gd name="T10" fmla="*/ 22 w 87"/>
                  <a:gd name="T11" fmla="*/ 27 h 52"/>
                  <a:gd name="T12" fmla="*/ 28 w 87"/>
                  <a:gd name="T13" fmla="*/ 35 h 52"/>
                  <a:gd name="T14" fmla="*/ 43 w 87"/>
                  <a:gd name="T15" fmla="*/ 15 h 52"/>
                  <a:gd name="T16" fmla="*/ 43 w 87"/>
                  <a:gd name="T17" fmla="*/ 15 h 52"/>
                  <a:gd name="T18" fmla="*/ 43 w 87"/>
                  <a:gd name="T19" fmla="*/ 15 h 52"/>
                  <a:gd name="T20" fmla="*/ 43 w 87"/>
                  <a:gd name="T21" fmla="*/ 15 h 52"/>
                  <a:gd name="T22" fmla="*/ 46 w 87"/>
                  <a:gd name="T23" fmla="*/ 50 h 52"/>
                  <a:gd name="T24" fmla="*/ 56 w 87"/>
                  <a:gd name="T25" fmla="*/ 31 h 52"/>
                  <a:gd name="T26" fmla="*/ 57 w 87"/>
                  <a:gd name="T27" fmla="*/ 30 h 52"/>
                  <a:gd name="T28" fmla="*/ 57 w 87"/>
                  <a:gd name="T29" fmla="*/ 31 h 52"/>
                  <a:gd name="T30" fmla="*/ 60 w 87"/>
                  <a:gd name="T31" fmla="*/ 39 h 52"/>
                  <a:gd name="T32" fmla="*/ 70 w 87"/>
                  <a:gd name="T33" fmla="*/ 17 h 52"/>
                  <a:gd name="T34" fmla="*/ 70 w 87"/>
                  <a:gd name="T35" fmla="*/ 17 h 52"/>
                  <a:gd name="T36" fmla="*/ 70 w 87"/>
                  <a:gd name="T37" fmla="*/ 17 h 52"/>
                  <a:gd name="T38" fmla="*/ 73 w 87"/>
                  <a:gd name="T39" fmla="*/ 22 h 52"/>
                  <a:gd name="T40" fmla="*/ 86 w 87"/>
                  <a:gd name="T41" fmla="*/ 0 h 52"/>
                  <a:gd name="T42" fmla="*/ 87 w 87"/>
                  <a:gd name="T43" fmla="*/ 0 h 52"/>
                  <a:gd name="T44" fmla="*/ 87 w 87"/>
                  <a:gd name="T45" fmla="*/ 1 h 52"/>
                  <a:gd name="T46" fmla="*/ 73 w 87"/>
                  <a:gd name="T47" fmla="*/ 23 h 52"/>
                  <a:gd name="T48" fmla="*/ 73 w 87"/>
                  <a:gd name="T49" fmla="*/ 23 h 52"/>
                  <a:gd name="T50" fmla="*/ 72 w 87"/>
                  <a:gd name="T51" fmla="*/ 23 h 52"/>
                  <a:gd name="T52" fmla="*/ 70 w 87"/>
                  <a:gd name="T53" fmla="*/ 19 h 52"/>
                  <a:gd name="T54" fmla="*/ 60 w 87"/>
                  <a:gd name="T55" fmla="*/ 40 h 52"/>
                  <a:gd name="T56" fmla="*/ 60 w 87"/>
                  <a:gd name="T57" fmla="*/ 40 h 52"/>
                  <a:gd name="T58" fmla="*/ 60 w 87"/>
                  <a:gd name="T59" fmla="*/ 40 h 52"/>
                  <a:gd name="T60" fmla="*/ 57 w 87"/>
                  <a:gd name="T61" fmla="*/ 32 h 52"/>
                  <a:gd name="T62" fmla="*/ 46 w 87"/>
                  <a:gd name="T63" fmla="*/ 52 h 52"/>
                  <a:gd name="T64" fmla="*/ 45 w 87"/>
                  <a:gd name="T65" fmla="*/ 52 h 52"/>
                  <a:gd name="T66" fmla="*/ 45 w 87"/>
                  <a:gd name="T67" fmla="*/ 52 h 52"/>
                  <a:gd name="T68" fmla="*/ 43 w 87"/>
                  <a:gd name="T69" fmla="*/ 16 h 52"/>
                  <a:gd name="T70" fmla="*/ 28 w 87"/>
                  <a:gd name="T71" fmla="*/ 36 h 52"/>
                  <a:gd name="T72" fmla="*/ 28 w 87"/>
                  <a:gd name="T73" fmla="*/ 36 h 52"/>
                  <a:gd name="T74" fmla="*/ 28 w 87"/>
                  <a:gd name="T75" fmla="*/ 36 h 52"/>
                  <a:gd name="T76" fmla="*/ 21 w 87"/>
                  <a:gd name="T77" fmla="*/ 28 h 52"/>
                  <a:gd name="T78" fmla="*/ 0 w 87"/>
                  <a:gd name="T79" fmla="*/ 47 h 52"/>
                  <a:gd name="T80" fmla="*/ 0 w 87"/>
                  <a:gd name="T81" fmla="*/ 47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7" h="52">
                    <a:moveTo>
                      <a:pt x="0" y="47"/>
                    </a:moveTo>
                    <a:lnTo>
                      <a:pt x="0" y="47"/>
                    </a:lnTo>
                    <a:lnTo>
                      <a:pt x="0" y="47"/>
                    </a:lnTo>
                    <a:lnTo>
                      <a:pt x="21" y="27"/>
                    </a:lnTo>
                    <a:lnTo>
                      <a:pt x="21" y="27"/>
                    </a:lnTo>
                    <a:lnTo>
                      <a:pt x="22" y="27"/>
                    </a:lnTo>
                    <a:lnTo>
                      <a:pt x="28" y="3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6" y="50"/>
                    </a:lnTo>
                    <a:lnTo>
                      <a:pt x="56" y="31"/>
                    </a:lnTo>
                    <a:lnTo>
                      <a:pt x="57" y="30"/>
                    </a:lnTo>
                    <a:lnTo>
                      <a:pt x="57" y="31"/>
                    </a:lnTo>
                    <a:lnTo>
                      <a:pt x="60" y="39"/>
                    </a:lnTo>
                    <a:lnTo>
                      <a:pt x="70" y="17"/>
                    </a:lnTo>
                    <a:lnTo>
                      <a:pt x="70" y="17"/>
                    </a:lnTo>
                    <a:lnTo>
                      <a:pt x="70" y="17"/>
                    </a:lnTo>
                    <a:lnTo>
                      <a:pt x="73" y="22"/>
                    </a:lnTo>
                    <a:lnTo>
                      <a:pt x="86" y="0"/>
                    </a:lnTo>
                    <a:lnTo>
                      <a:pt x="87" y="0"/>
                    </a:lnTo>
                    <a:lnTo>
                      <a:pt x="87" y="1"/>
                    </a:lnTo>
                    <a:lnTo>
                      <a:pt x="73" y="23"/>
                    </a:lnTo>
                    <a:lnTo>
                      <a:pt x="73" y="23"/>
                    </a:lnTo>
                    <a:lnTo>
                      <a:pt x="72" y="23"/>
                    </a:lnTo>
                    <a:lnTo>
                      <a:pt x="70" y="19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57" y="32"/>
                    </a:lnTo>
                    <a:lnTo>
                      <a:pt x="46" y="52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43" y="1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1" y="28"/>
                    </a:lnTo>
                    <a:lnTo>
                      <a:pt x="0" y="47"/>
                    </a:lnTo>
                    <a:lnTo>
                      <a:pt x="0" y="47"/>
                    </a:ln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Freeform 234">
                <a:extLst>
                  <a:ext uri="{FF2B5EF4-FFF2-40B4-BE49-F238E27FC236}">
                    <a16:creationId xmlns:a16="http://schemas.microsoft.com/office/drawing/2014/main" id="{4D1DCA91-FFF0-4EFE-986A-F086172B8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2" y="2334"/>
                <a:ext cx="5" cy="7"/>
              </a:xfrm>
              <a:custGeom>
                <a:avLst/>
                <a:gdLst>
                  <a:gd name="T0" fmla="*/ 6 w 9"/>
                  <a:gd name="T1" fmla="*/ 12 h 12"/>
                  <a:gd name="T2" fmla="*/ 5 w 9"/>
                  <a:gd name="T3" fmla="*/ 11 h 12"/>
                  <a:gd name="T4" fmla="*/ 7 w 9"/>
                  <a:gd name="T5" fmla="*/ 3 h 12"/>
                  <a:gd name="T6" fmla="*/ 1 w 9"/>
                  <a:gd name="T7" fmla="*/ 8 h 12"/>
                  <a:gd name="T8" fmla="*/ 0 w 9"/>
                  <a:gd name="T9" fmla="*/ 8 h 12"/>
                  <a:gd name="T10" fmla="*/ 0 w 9"/>
                  <a:gd name="T11" fmla="*/ 7 h 12"/>
                  <a:gd name="T12" fmla="*/ 8 w 9"/>
                  <a:gd name="T13" fmla="*/ 0 h 12"/>
                  <a:gd name="T14" fmla="*/ 9 w 9"/>
                  <a:gd name="T15" fmla="*/ 0 h 12"/>
                  <a:gd name="T16" fmla="*/ 9 w 9"/>
                  <a:gd name="T17" fmla="*/ 1 h 12"/>
                  <a:gd name="T18" fmla="*/ 7 w 9"/>
                  <a:gd name="T19" fmla="*/ 11 h 12"/>
                  <a:gd name="T20" fmla="*/ 6 w 9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12">
                    <a:moveTo>
                      <a:pt x="6" y="12"/>
                    </a:moveTo>
                    <a:cubicBezTo>
                      <a:pt x="5" y="11"/>
                      <a:pt x="5" y="11"/>
                      <a:pt x="5" y="1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11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Freeform 235">
                <a:extLst>
                  <a:ext uri="{FF2B5EF4-FFF2-40B4-BE49-F238E27FC236}">
                    <a16:creationId xmlns:a16="http://schemas.microsoft.com/office/drawing/2014/main" id="{6732AD72-9403-4264-A93A-E3AE94C5E0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8" y="2307"/>
                <a:ext cx="85" cy="288"/>
              </a:xfrm>
              <a:custGeom>
                <a:avLst/>
                <a:gdLst>
                  <a:gd name="T0" fmla="*/ 8 w 85"/>
                  <a:gd name="T1" fmla="*/ 288 h 288"/>
                  <a:gd name="T2" fmla="*/ 0 w 85"/>
                  <a:gd name="T3" fmla="*/ 286 h 288"/>
                  <a:gd name="T4" fmla="*/ 77 w 85"/>
                  <a:gd name="T5" fmla="*/ 0 h 288"/>
                  <a:gd name="T6" fmla="*/ 85 w 85"/>
                  <a:gd name="T7" fmla="*/ 2 h 288"/>
                  <a:gd name="T8" fmla="*/ 8 w 85"/>
                  <a:gd name="T9" fmla="*/ 288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288">
                    <a:moveTo>
                      <a:pt x="8" y="288"/>
                    </a:moveTo>
                    <a:lnTo>
                      <a:pt x="0" y="286"/>
                    </a:lnTo>
                    <a:lnTo>
                      <a:pt x="77" y="0"/>
                    </a:lnTo>
                    <a:lnTo>
                      <a:pt x="85" y="2"/>
                    </a:lnTo>
                    <a:lnTo>
                      <a:pt x="8" y="288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Freeform 236">
                <a:extLst>
                  <a:ext uri="{FF2B5EF4-FFF2-40B4-BE49-F238E27FC236}">
                    <a16:creationId xmlns:a16="http://schemas.microsoft.com/office/drawing/2014/main" id="{BA9D7340-C884-488F-B991-4DAEE78E1D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4" y="2159"/>
                <a:ext cx="13" cy="30"/>
              </a:xfrm>
              <a:custGeom>
                <a:avLst/>
                <a:gdLst>
                  <a:gd name="T0" fmla="*/ 1 w 24"/>
                  <a:gd name="T1" fmla="*/ 40 h 55"/>
                  <a:gd name="T2" fmla="*/ 8 w 24"/>
                  <a:gd name="T3" fmla="*/ 11 h 55"/>
                  <a:gd name="T4" fmla="*/ 23 w 24"/>
                  <a:gd name="T5" fmla="*/ 2 h 55"/>
                  <a:gd name="T6" fmla="*/ 24 w 24"/>
                  <a:gd name="T7" fmla="*/ 2 h 55"/>
                  <a:gd name="T8" fmla="*/ 12 w 24"/>
                  <a:gd name="T9" fmla="*/ 55 h 55"/>
                  <a:gd name="T10" fmla="*/ 10 w 24"/>
                  <a:gd name="T11" fmla="*/ 54 h 55"/>
                  <a:gd name="T12" fmla="*/ 1 w 24"/>
                  <a:gd name="T13" fmla="*/ 4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55">
                    <a:moveTo>
                      <a:pt x="1" y="40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10" y="4"/>
                      <a:pt x="16" y="0"/>
                      <a:pt x="23" y="2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0" y="54"/>
                      <a:pt x="10" y="54"/>
                      <a:pt x="10" y="54"/>
                    </a:cubicBezTo>
                    <a:cubicBezTo>
                      <a:pt x="4" y="53"/>
                      <a:pt x="0" y="46"/>
                      <a:pt x="1" y="4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Freeform 237">
                <a:extLst>
                  <a:ext uri="{FF2B5EF4-FFF2-40B4-BE49-F238E27FC236}">
                    <a16:creationId xmlns:a16="http://schemas.microsoft.com/office/drawing/2014/main" id="{99F5156E-9E47-4592-807E-FD36680F7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7" y="2154"/>
                <a:ext cx="132" cy="66"/>
              </a:xfrm>
              <a:custGeom>
                <a:avLst/>
                <a:gdLst>
                  <a:gd name="T0" fmla="*/ 196 w 240"/>
                  <a:gd name="T1" fmla="*/ 120 h 121"/>
                  <a:gd name="T2" fmla="*/ 17 w 240"/>
                  <a:gd name="T3" fmla="*/ 79 h 121"/>
                  <a:gd name="T4" fmla="*/ 2 w 240"/>
                  <a:gd name="T5" fmla="*/ 61 h 121"/>
                  <a:gd name="T6" fmla="*/ 13 w 240"/>
                  <a:gd name="T7" fmla="*/ 12 h 121"/>
                  <a:gd name="T8" fmla="*/ 35 w 240"/>
                  <a:gd name="T9" fmla="*/ 2 h 121"/>
                  <a:gd name="T10" fmla="*/ 214 w 240"/>
                  <a:gd name="T11" fmla="*/ 43 h 121"/>
                  <a:gd name="T12" fmla="*/ 216 w 240"/>
                  <a:gd name="T13" fmla="*/ 44 h 121"/>
                  <a:gd name="T14" fmla="*/ 229 w 240"/>
                  <a:gd name="T15" fmla="*/ 74 h 121"/>
                  <a:gd name="T16" fmla="*/ 229 w 240"/>
                  <a:gd name="T17" fmla="*/ 73 h 121"/>
                  <a:gd name="T18" fmla="*/ 240 w 240"/>
                  <a:gd name="T19" fmla="*/ 76 h 121"/>
                  <a:gd name="T20" fmla="*/ 234 w 240"/>
                  <a:gd name="T21" fmla="*/ 102 h 121"/>
                  <a:gd name="T22" fmla="*/ 223 w 240"/>
                  <a:gd name="T23" fmla="*/ 100 h 121"/>
                  <a:gd name="T24" fmla="*/ 223 w 240"/>
                  <a:gd name="T25" fmla="*/ 100 h 121"/>
                  <a:gd name="T26" fmla="*/ 198 w 240"/>
                  <a:gd name="T27" fmla="*/ 121 h 121"/>
                  <a:gd name="T28" fmla="*/ 196 w 240"/>
                  <a:gd name="T29" fmla="*/ 12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0" h="121">
                    <a:moveTo>
                      <a:pt x="196" y="120"/>
                    </a:moveTo>
                    <a:cubicBezTo>
                      <a:pt x="17" y="79"/>
                      <a:pt x="17" y="79"/>
                      <a:pt x="17" y="79"/>
                    </a:cubicBezTo>
                    <a:cubicBezTo>
                      <a:pt x="7" y="77"/>
                      <a:pt x="0" y="69"/>
                      <a:pt x="2" y="61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5" y="4"/>
                      <a:pt x="25" y="0"/>
                      <a:pt x="35" y="2"/>
                    </a:cubicBezTo>
                    <a:cubicBezTo>
                      <a:pt x="214" y="43"/>
                      <a:pt x="214" y="43"/>
                      <a:pt x="214" y="43"/>
                    </a:cubicBezTo>
                    <a:cubicBezTo>
                      <a:pt x="215" y="43"/>
                      <a:pt x="215" y="43"/>
                      <a:pt x="216" y="44"/>
                    </a:cubicBezTo>
                    <a:cubicBezTo>
                      <a:pt x="225" y="49"/>
                      <a:pt x="229" y="74"/>
                      <a:pt x="229" y="74"/>
                    </a:cubicBezTo>
                    <a:cubicBezTo>
                      <a:pt x="229" y="73"/>
                      <a:pt x="229" y="73"/>
                      <a:pt x="229" y="73"/>
                    </a:cubicBezTo>
                    <a:cubicBezTo>
                      <a:pt x="240" y="76"/>
                      <a:pt x="240" y="76"/>
                      <a:pt x="240" y="76"/>
                    </a:cubicBezTo>
                    <a:cubicBezTo>
                      <a:pt x="234" y="102"/>
                      <a:pt x="234" y="102"/>
                      <a:pt x="234" y="102"/>
                    </a:cubicBezTo>
                    <a:cubicBezTo>
                      <a:pt x="223" y="100"/>
                      <a:pt x="223" y="100"/>
                      <a:pt x="223" y="100"/>
                    </a:cubicBezTo>
                    <a:cubicBezTo>
                      <a:pt x="223" y="100"/>
                      <a:pt x="223" y="100"/>
                      <a:pt x="223" y="100"/>
                    </a:cubicBezTo>
                    <a:cubicBezTo>
                      <a:pt x="223" y="100"/>
                      <a:pt x="208" y="120"/>
                      <a:pt x="198" y="121"/>
                    </a:cubicBezTo>
                    <a:cubicBezTo>
                      <a:pt x="197" y="121"/>
                      <a:pt x="197" y="121"/>
                      <a:pt x="196" y="12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Freeform 238">
                <a:extLst>
                  <a:ext uri="{FF2B5EF4-FFF2-40B4-BE49-F238E27FC236}">
                    <a16:creationId xmlns:a16="http://schemas.microsoft.com/office/drawing/2014/main" id="{D7EAC1EA-79E6-4716-AF50-A81473C58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6" y="2178"/>
                <a:ext cx="23" cy="42"/>
              </a:xfrm>
              <a:custGeom>
                <a:avLst/>
                <a:gdLst>
                  <a:gd name="T0" fmla="*/ 0 w 42"/>
                  <a:gd name="T1" fmla="*/ 77 h 77"/>
                  <a:gd name="T2" fmla="*/ 18 w 42"/>
                  <a:gd name="T3" fmla="*/ 0 h 77"/>
                  <a:gd name="T4" fmla="*/ 31 w 42"/>
                  <a:gd name="T5" fmla="*/ 30 h 77"/>
                  <a:gd name="T6" fmla="*/ 31 w 42"/>
                  <a:gd name="T7" fmla="*/ 29 h 77"/>
                  <a:gd name="T8" fmla="*/ 42 w 42"/>
                  <a:gd name="T9" fmla="*/ 32 h 77"/>
                  <a:gd name="T10" fmla="*/ 36 w 42"/>
                  <a:gd name="T11" fmla="*/ 58 h 77"/>
                  <a:gd name="T12" fmla="*/ 25 w 42"/>
                  <a:gd name="T13" fmla="*/ 56 h 77"/>
                  <a:gd name="T14" fmla="*/ 25 w 42"/>
                  <a:gd name="T15" fmla="*/ 56 h 77"/>
                  <a:gd name="T16" fmla="*/ 0 w 42"/>
                  <a:gd name="T17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77">
                    <a:moveTo>
                      <a:pt x="0" y="77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27" y="5"/>
                      <a:pt x="31" y="30"/>
                      <a:pt x="31" y="30"/>
                    </a:cubicBezTo>
                    <a:cubicBezTo>
                      <a:pt x="31" y="29"/>
                      <a:pt x="31" y="29"/>
                      <a:pt x="31" y="29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25" y="56"/>
                      <a:pt x="25" y="56"/>
                      <a:pt x="25" y="56"/>
                    </a:cubicBezTo>
                    <a:cubicBezTo>
                      <a:pt x="25" y="56"/>
                      <a:pt x="25" y="56"/>
                      <a:pt x="25" y="56"/>
                    </a:cubicBezTo>
                    <a:cubicBezTo>
                      <a:pt x="25" y="56"/>
                      <a:pt x="10" y="76"/>
                      <a:pt x="0" y="77"/>
                    </a:cubicBezTo>
                  </a:path>
                </a:pathLst>
              </a:custGeom>
              <a:solidFill>
                <a:srgbClr val="C9B6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0" name="Freeform 239">
                <a:extLst>
                  <a:ext uri="{FF2B5EF4-FFF2-40B4-BE49-F238E27FC236}">
                    <a16:creationId xmlns:a16="http://schemas.microsoft.com/office/drawing/2014/main" id="{5BD6F254-7E97-4564-AEA1-6414D5897D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5" y="2197"/>
                <a:ext cx="14" cy="12"/>
              </a:xfrm>
              <a:custGeom>
                <a:avLst/>
                <a:gdLst>
                  <a:gd name="T0" fmla="*/ 0 w 24"/>
                  <a:gd name="T1" fmla="*/ 20 h 22"/>
                  <a:gd name="T2" fmla="*/ 5 w 24"/>
                  <a:gd name="T3" fmla="*/ 0 h 22"/>
                  <a:gd name="T4" fmla="*/ 23 w 24"/>
                  <a:gd name="T5" fmla="*/ 7 h 22"/>
                  <a:gd name="T6" fmla="*/ 24 w 24"/>
                  <a:gd name="T7" fmla="*/ 7 h 22"/>
                  <a:gd name="T8" fmla="*/ 24 w 24"/>
                  <a:gd name="T9" fmla="*/ 8 h 22"/>
                  <a:gd name="T10" fmla="*/ 21 w 24"/>
                  <a:gd name="T11" fmla="*/ 21 h 22"/>
                  <a:gd name="T12" fmla="*/ 20 w 24"/>
                  <a:gd name="T13" fmla="*/ 22 h 22"/>
                  <a:gd name="T14" fmla="*/ 19 w 24"/>
                  <a:gd name="T15" fmla="*/ 22 h 22"/>
                  <a:gd name="T16" fmla="*/ 0 w 24"/>
                  <a:gd name="T17" fmla="*/ 2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2">
                    <a:moveTo>
                      <a:pt x="0" y="2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7"/>
                      <a:pt x="24" y="8"/>
                      <a:pt x="24" y="8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1" y="21"/>
                      <a:pt x="21" y="22"/>
                      <a:pt x="20" y="22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0" y="20"/>
                      <a:pt x="0" y="20"/>
                      <a:pt x="0" y="2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1" name="Freeform 240">
                <a:extLst>
                  <a:ext uri="{FF2B5EF4-FFF2-40B4-BE49-F238E27FC236}">
                    <a16:creationId xmlns:a16="http://schemas.microsoft.com/office/drawing/2014/main" id="{DED403AA-BD71-4D1A-9A26-3218B38871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6" y="2201"/>
                <a:ext cx="3" cy="8"/>
              </a:xfrm>
              <a:custGeom>
                <a:avLst/>
                <a:gdLst>
                  <a:gd name="T0" fmla="*/ 0 w 5"/>
                  <a:gd name="T1" fmla="*/ 15 h 15"/>
                  <a:gd name="T2" fmla="*/ 4 w 5"/>
                  <a:gd name="T3" fmla="*/ 0 h 15"/>
                  <a:gd name="T4" fmla="*/ 5 w 5"/>
                  <a:gd name="T5" fmla="*/ 0 h 15"/>
                  <a:gd name="T6" fmla="*/ 5 w 5"/>
                  <a:gd name="T7" fmla="*/ 1 h 15"/>
                  <a:gd name="T8" fmla="*/ 2 w 5"/>
                  <a:gd name="T9" fmla="*/ 14 h 15"/>
                  <a:gd name="T10" fmla="*/ 1 w 5"/>
                  <a:gd name="T11" fmla="*/ 15 h 15"/>
                  <a:gd name="T12" fmla="*/ 0 w 5"/>
                  <a:gd name="T13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15">
                    <a:moveTo>
                      <a:pt x="0" y="15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2" y="14"/>
                      <a:pt x="2" y="15"/>
                      <a:pt x="1" y="15"/>
                    </a:cubicBez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30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2" name="Freeform 241">
                <a:extLst>
                  <a:ext uri="{FF2B5EF4-FFF2-40B4-BE49-F238E27FC236}">
                    <a16:creationId xmlns:a16="http://schemas.microsoft.com/office/drawing/2014/main" id="{6178053C-5132-4CEA-BFC7-65AB89BED1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54" y="2180"/>
                <a:ext cx="112" cy="40"/>
              </a:xfrm>
              <a:custGeom>
                <a:avLst/>
                <a:gdLst>
                  <a:gd name="T0" fmla="*/ 204 w 204"/>
                  <a:gd name="T1" fmla="*/ 74 h 74"/>
                  <a:gd name="T2" fmla="*/ 204 w 204"/>
                  <a:gd name="T3" fmla="*/ 74 h 74"/>
                  <a:gd name="T4" fmla="*/ 204 w 204"/>
                  <a:gd name="T5" fmla="*/ 74 h 74"/>
                  <a:gd name="T6" fmla="*/ 204 w 204"/>
                  <a:gd name="T7" fmla="*/ 74 h 74"/>
                  <a:gd name="T8" fmla="*/ 204 w 204"/>
                  <a:gd name="T9" fmla="*/ 74 h 74"/>
                  <a:gd name="T10" fmla="*/ 204 w 204"/>
                  <a:gd name="T11" fmla="*/ 74 h 74"/>
                  <a:gd name="T12" fmla="*/ 204 w 204"/>
                  <a:gd name="T13" fmla="*/ 74 h 74"/>
                  <a:gd name="T14" fmla="*/ 23 w 204"/>
                  <a:gd name="T15" fmla="*/ 32 h 74"/>
                  <a:gd name="T16" fmla="*/ 23 w 204"/>
                  <a:gd name="T17" fmla="*/ 32 h 74"/>
                  <a:gd name="T18" fmla="*/ 23 w 204"/>
                  <a:gd name="T19" fmla="*/ 32 h 74"/>
                  <a:gd name="T20" fmla="*/ 23 w 204"/>
                  <a:gd name="T21" fmla="*/ 32 h 74"/>
                  <a:gd name="T22" fmla="*/ 23 w 204"/>
                  <a:gd name="T23" fmla="*/ 32 h 74"/>
                  <a:gd name="T24" fmla="*/ 23 w 204"/>
                  <a:gd name="T25" fmla="*/ 32 h 74"/>
                  <a:gd name="T26" fmla="*/ 23 w 204"/>
                  <a:gd name="T27" fmla="*/ 32 h 74"/>
                  <a:gd name="T28" fmla="*/ 23 w 204"/>
                  <a:gd name="T29" fmla="*/ 32 h 74"/>
                  <a:gd name="T30" fmla="*/ 23 w 204"/>
                  <a:gd name="T31" fmla="*/ 32 h 74"/>
                  <a:gd name="T32" fmla="*/ 23 w 204"/>
                  <a:gd name="T33" fmla="*/ 32 h 74"/>
                  <a:gd name="T34" fmla="*/ 23 w 204"/>
                  <a:gd name="T35" fmla="*/ 32 h 74"/>
                  <a:gd name="T36" fmla="*/ 23 w 204"/>
                  <a:gd name="T37" fmla="*/ 32 h 74"/>
                  <a:gd name="T38" fmla="*/ 18 w 204"/>
                  <a:gd name="T39" fmla="*/ 30 h 74"/>
                  <a:gd name="T40" fmla="*/ 23 w 204"/>
                  <a:gd name="T41" fmla="*/ 32 h 74"/>
                  <a:gd name="T42" fmla="*/ 18 w 204"/>
                  <a:gd name="T43" fmla="*/ 30 h 74"/>
                  <a:gd name="T44" fmla="*/ 18 w 204"/>
                  <a:gd name="T45" fmla="*/ 30 h 74"/>
                  <a:gd name="T46" fmla="*/ 18 w 204"/>
                  <a:gd name="T47" fmla="*/ 30 h 74"/>
                  <a:gd name="T48" fmla="*/ 18 w 204"/>
                  <a:gd name="T49" fmla="*/ 30 h 74"/>
                  <a:gd name="T50" fmla="*/ 18 w 204"/>
                  <a:gd name="T51" fmla="*/ 30 h 74"/>
                  <a:gd name="T52" fmla="*/ 18 w 204"/>
                  <a:gd name="T53" fmla="*/ 30 h 74"/>
                  <a:gd name="T54" fmla="*/ 18 w 204"/>
                  <a:gd name="T55" fmla="*/ 30 h 74"/>
                  <a:gd name="T56" fmla="*/ 1 w 204"/>
                  <a:gd name="T57" fmla="*/ 0 h 74"/>
                  <a:gd name="T58" fmla="*/ 0 w 204"/>
                  <a:gd name="T59" fmla="*/ 3 h 74"/>
                  <a:gd name="T60" fmla="*/ 2 w 204"/>
                  <a:gd name="T61" fmla="*/ 11 h 74"/>
                  <a:gd name="T62" fmla="*/ 0 w 204"/>
                  <a:gd name="T63" fmla="*/ 2 h 74"/>
                  <a:gd name="T64" fmla="*/ 1 w 204"/>
                  <a:gd name="T6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4" h="74">
                    <a:moveTo>
                      <a:pt x="204" y="74"/>
                    </a:move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moveTo>
                      <a:pt x="204" y="74"/>
                    </a:move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18" y="30"/>
                    </a:moveTo>
                    <a:cubicBezTo>
                      <a:pt x="19" y="31"/>
                      <a:pt x="21" y="32"/>
                      <a:pt x="23" y="32"/>
                    </a:cubicBezTo>
                    <a:cubicBezTo>
                      <a:pt x="21" y="32"/>
                      <a:pt x="19" y="31"/>
                      <a:pt x="18" y="30"/>
                    </a:cubicBezTo>
                    <a:moveTo>
                      <a:pt x="18" y="30"/>
                    </a:moveTo>
                    <a:cubicBezTo>
                      <a:pt x="18" y="30"/>
                      <a:pt x="18" y="30"/>
                      <a:pt x="18" y="30"/>
                    </a:cubicBezTo>
                    <a:cubicBezTo>
                      <a:pt x="18" y="30"/>
                      <a:pt x="18" y="30"/>
                      <a:pt x="18" y="30"/>
                    </a:cubicBezTo>
                    <a:moveTo>
                      <a:pt x="18" y="30"/>
                    </a:moveTo>
                    <a:cubicBezTo>
                      <a:pt x="18" y="30"/>
                      <a:pt x="18" y="30"/>
                      <a:pt x="18" y="30"/>
                    </a:cubicBezTo>
                    <a:cubicBezTo>
                      <a:pt x="18" y="30"/>
                      <a:pt x="18" y="30"/>
                      <a:pt x="18" y="30"/>
                    </a:cubicBezTo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6"/>
                      <a:pt x="0" y="9"/>
                      <a:pt x="2" y="11"/>
                    </a:cubicBezTo>
                    <a:cubicBezTo>
                      <a:pt x="0" y="8"/>
                      <a:pt x="0" y="5"/>
                      <a:pt x="0" y="2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3" name="Freeform 242">
                <a:extLst>
                  <a:ext uri="{FF2B5EF4-FFF2-40B4-BE49-F238E27FC236}">
                    <a16:creationId xmlns:a16="http://schemas.microsoft.com/office/drawing/2014/main" id="{8449E19B-FD82-4876-ACCA-CAA9E3B42F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4" y="2178"/>
                <a:ext cx="5" cy="10"/>
              </a:xfrm>
              <a:custGeom>
                <a:avLst/>
                <a:gdLst>
                  <a:gd name="T0" fmla="*/ 2 w 9"/>
                  <a:gd name="T1" fmla="*/ 0 h 18"/>
                  <a:gd name="T2" fmla="*/ 1 w 9"/>
                  <a:gd name="T3" fmla="*/ 3 h 18"/>
                  <a:gd name="T4" fmla="*/ 0 w 9"/>
                  <a:gd name="T5" fmla="*/ 5 h 18"/>
                  <a:gd name="T6" fmla="*/ 2 w 9"/>
                  <a:gd name="T7" fmla="*/ 14 h 18"/>
                  <a:gd name="T8" fmla="*/ 8 w 9"/>
                  <a:gd name="T9" fmla="*/ 18 h 18"/>
                  <a:gd name="T10" fmla="*/ 8 w 9"/>
                  <a:gd name="T11" fmla="*/ 17 h 18"/>
                  <a:gd name="T12" fmla="*/ 9 w 9"/>
                  <a:gd name="T13" fmla="*/ 12 h 18"/>
                  <a:gd name="T14" fmla="*/ 2 w 9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8">
                    <a:moveTo>
                      <a:pt x="2" y="0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8"/>
                      <a:pt x="0" y="11"/>
                      <a:pt x="2" y="14"/>
                    </a:cubicBezTo>
                    <a:cubicBezTo>
                      <a:pt x="3" y="16"/>
                      <a:pt x="5" y="17"/>
                      <a:pt x="8" y="18"/>
                    </a:cubicBezTo>
                    <a:cubicBezTo>
                      <a:pt x="8" y="18"/>
                      <a:pt x="8" y="17"/>
                      <a:pt x="8" y="17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4" y="9"/>
                      <a:pt x="1" y="4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4" name="Freeform 243">
                <a:extLst>
                  <a:ext uri="{FF2B5EF4-FFF2-40B4-BE49-F238E27FC236}">
                    <a16:creationId xmlns:a16="http://schemas.microsoft.com/office/drawing/2014/main" id="{264C59A7-6688-4C1A-810A-A22053853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8" y="2185"/>
                <a:ext cx="109" cy="35"/>
              </a:xfrm>
              <a:custGeom>
                <a:avLst/>
                <a:gdLst>
                  <a:gd name="T0" fmla="*/ 2 w 199"/>
                  <a:gd name="T1" fmla="*/ 0 h 65"/>
                  <a:gd name="T2" fmla="*/ 1 w 199"/>
                  <a:gd name="T3" fmla="*/ 5 h 65"/>
                  <a:gd name="T4" fmla="*/ 1 w 199"/>
                  <a:gd name="T5" fmla="*/ 6 h 65"/>
                  <a:gd name="T6" fmla="*/ 1 w 199"/>
                  <a:gd name="T7" fmla="*/ 6 h 65"/>
                  <a:gd name="T8" fmla="*/ 11 w 199"/>
                  <a:gd name="T9" fmla="*/ 21 h 65"/>
                  <a:gd name="T10" fmla="*/ 11 w 199"/>
                  <a:gd name="T11" fmla="*/ 21 h 65"/>
                  <a:gd name="T12" fmla="*/ 11 w 199"/>
                  <a:gd name="T13" fmla="*/ 21 h 65"/>
                  <a:gd name="T14" fmla="*/ 11 w 199"/>
                  <a:gd name="T15" fmla="*/ 21 h 65"/>
                  <a:gd name="T16" fmla="*/ 11 w 199"/>
                  <a:gd name="T17" fmla="*/ 21 h 65"/>
                  <a:gd name="T18" fmla="*/ 16 w 199"/>
                  <a:gd name="T19" fmla="*/ 23 h 65"/>
                  <a:gd name="T20" fmla="*/ 16 w 199"/>
                  <a:gd name="T21" fmla="*/ 23 h 65"/>
                  <a:gd name="T22" fmla="*/ 16 w 199"/>
                  <a:gd name="T23" fmla="*/ 23 h 65"/>
                  <a:gd name="T24" fmla="*/ 16 w 199"/>
                  <a:gd name="T25" fmla="*/ 23 h 65"/>
                  <a:gd name="T26" fmla="*/ 16 w 199"/>
                  <a:gd name="T27" fmla="*/ 23 h 65"/>
                  <a:gd name="T28" fmla="*/ 16 w 199"/>
                  <a:gd name="T29" fmla="*/ 23 h 65"/>
                  <a:gd name="T30" fmla="*/ 16 w 199"/>
                  <a:gd name="T31" fmla="*/ 23 h 65"/>
                  <a:gd name="T32" fmla="*/ 16 w 199"/>
                  <a:gd name="T33" fmla="*/ 23 h 65"/>
                  <a:gd name="T34" fmla="*/ 16 w 199"/>
                  <a:gd name="T35" fmla="*/ 23 h 65"/>
                  <a:gd name="T36" fmla="*/ 16 w 199"/>
                  <a:gd name="T37" fmla="*/ 23 h 65"/>
                  <a:gd name="T38" fmla="*/ 195 w 199"/>
                  <a:gd name="T39" fmla="*/ 64 h 65"/>
                  <a:gd name="T40" fmla="*/ 197 w 199"/>
                  <a:gd name="T41" fmla="*/ 65 h 65"/>
                  <a:gd name="T42" fmla="*/ 197 w 199"/>
                  <a:gd name="T43" fmla="*/ 65 h 65"/>
                  <a:gd name="T44" fmla="*/ 197 w 199"/>
                  <a:gd name="T45" fmla="*/ 65 h 65"/>
                  <a:gd name="T46" fmla="*/ 197 w 199"/>
                  <a:gd name="T47" fmla="*/ 65 h 65"/>
                  <a:gd name="T48" fmla="*/ 197 w 199"/>
                  <a:gd name="T49" fmla="*/ 65 h 65"/>
                  <a:gd name="T50" fmla="*/ 197 w 199"/>
                  <a:gd name="T51" fmla="*/ 65 h 65"/>
                  <a:gd name="T52" fmla="*/ 199 w 199"/>
                  <a:gd name="T53" fmla="*/ 58 h 65"/>
                  <a:gd name="T54" fmla="*/ 198 w 199"/>
                  <a:gd name="T55" fmla="*/ 58 h 65"/>
                  <a:gd name="T56" fmla="*/ 197 w 199"/>
                  <a:gd name="T57" fmla="*/ 58 h 65"/>
                  <a:gd name="T58" fmla="*/ 18 w 199"/>
                  <a:gd name="T59" fmla="*/ 17 h 65"/>
                  <a:gd name="T60" fmla="*/ 2 w 199"/>
                  <a:gd name="T61" fmla="*/ 0 h 65"/>
                  <a:gd name="T62" fmla="*/ 2 w 199"/>
                  <a:gd name="T6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9" h="65">
                    <a:moveTo>
                      <a:pt x="2" y="0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12"/>
                      <a:pt x="4" y="18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2" y="22"/>
                      <a:pt x="14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95" y="64"/>
                      <a:pt x="195" y="64"/>
                      <a:pt x="195" y="64"/>
                    </a:cubicBezTo>
                    <a:cubicBezTo>
                      <a:pt x="196" y="65"/>
                      <a:pt x="196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9" y="58"/>
                      <a:pt x="199" y="58"/>
                      <a:pt x="199" y="58"/>
                    </a:cubicBezTo>
                    <a:cubicBezTo>
                      <a:pt x="198" y="58"/>
                      <a:pt x="198" y="58"/>
                      <a:pt x="198" y="58"/>
                    </a:cubicBezTo>
                    <a:cubicBezTo>
                      <a:pt x="198" y="58"/>
                      <a:pt x="197" y="58"/>
                      <a:pt x="197" y="58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8" y="15"/>
                      <a:pt x="2" y="7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5" name="Freeform 244">
                <a:extLst>
                  <a:ext uri="{FF2B5EF4-FFF2-40B4-BE49-F238E27FC236}">
                    <a16:creationId xmlns:a16="http://schemas.microsoft.com/office/drawing/2014/main" id="{DDC6264D-08B0-406A-82C6-5B73EEE51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6" y="2205"/>
                <a:ext cx="20" cy="15"/>
              </a:xfrm>
              <a:custGeom>
                <a:avLst/>
                <a:gdLst>
                  <a:gd name="T0" fmla="*/ 27 w 37"/>
                  <a:gd name="T1" fmla="*/ 0 h 28"/>
                  <a:gd name="T2" fmla="*/ 2 w 37"/>
                  <a:gd name="T3" fmla="*/ 21 h 28"/>
                  <a:gd name="T4" fmla="*/ 2 w 37"/>
                  <a:gd name="T5" fmla="*/ 21 h 28"/>
                  <a:gd name="T6" fmla="*/ 0 w 37"/>
                  <a:gd name="T7" fmla="*/ 28 h 28"/>
                  <a:gd name="T8" fmla="*/ 25 w 37"/>
                  <a:gd name="T9" fmla="*/ 7 h 28"/>
                  <a:gd name="T10" fmla="*/ 25 w 37"/>
                  <a:gd name="T11" fmla="*/ 7 h 28"/>
                  <a:gd name="T12" fmla="*/ 25 w 37"/>
                  <a:gd name="T13" fmla="*/ 7 h 28"/>
                  <a:gd name="T14" fmla="*/ 25 w 37"/>
                  <a:gd name="T15" fmla="*/ 7 h 28"/>
                  <a:gd name="T16" fmla="*/ 36 w 37"/>
                  <a:gd name="T17" fmla="*/ 9 h 28"/>
                  <a:gd name="T18" fmla="*/ 37 w 37"/>
                  <a:gd name="T19" fmla="*/ 3 h 28"/>
                  <a:gd name="T20" fmla="*/ 27 w 37"/>
                  <a:gd name="T21" fmla="*/ 0 h 28"/>
                  <a:gd name="T22" fmla="*/ 27 w 37"/>
                  <a:gd name="T2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28">
                    <a:moveTo>
                      <a:pt x="27" y="0"/>
                    </a:moveTo>
                    <a:cubicBezTo>
                      <a:pt x="27" y="0"/>
                      <a:pt x="12" y="21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10" y="2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0"/>
                      <a:pt x="27" y="0"/>
                      <a:pt x="27" y="0"/>
                    </a:cubicBezTo>
                  </a:path>
                </a:pathLst>
              </a:custGeom>
              <a:solidFill>
                <a:srgbClr val="9F9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6" name="Freeform 245">
                <a:extLst>
                  <a:ext uri="{FF2B5EF4-FFF2-40B4-BE49-F238E27FC236}">
                    <a16:creationId xmlns:a16="http://schemas.microsoft.com/office/drawing/2014/main" id="{A0E5697D-D1C9-4DFE-BB7E-7BD917635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3" y="2177"/>
                <a:ext cx="67" cy="19"/>
              </a:xfrm>
              <a:custGeom>
                <a:avLst/>
                <a:gdLst>
                  <a:gd name="T0" fmla="*/ 0 w 124"/>
                  <a:gd name="T1" fmla="*/ 3 h 35"/>
                  <a:gd name="T2" fmla="*/ 0 w 124"/>
                  <a:gd name="T3" fmla="*/ 3 h 35"/>
                  <a:gd name="T4" fmla="*/ 5 w 124"/>
                  <a:gd name="T5" fmla="*/ 0 h 35"/>
                  <a:gd name="T6" fmla="*/ 121 w 124"/>
                  <a:gd name="T7" fmla="*/ 27 h 35"/>
                  <a:gd name="T8" fmla="*/ 124 w 124"/>
                  <a:gd name="T9" fmla="*/ 32 h 35"/>
                  <a:gd name="T10" fmla="*/ 119 w 124"/>
                  <a:gd name="T11" fmla="*/ 34 h 35"/>
                  <a:gd name="T12" fmla="*/ 3 w 124"/>
                  <a:gd name="T13" fmla="*/ 8 h 35"/>
                  <a:gd name="T14" fmla="*/ 0 w 124"/>
                  <a:gd name="T15" fmla="*/ 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4" h="35">
                    <a:moveTo>
                      <a:pt x="0" y="3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121" y="27"/>
                      <a:pt x="121" y="27"/>
                      <a:pt x="121" y="27"/>
                    </a:cubicBezTo>
                    <a:cubicBezTo>
                      <a:pt x="123" y="28"/>
                      <a:pt x="124" y="30"/>
                      <a:pt x="124" y="32"/>
                    </a:cubicBezTo>
                    <a:cubicBezTo>
                      <a:pt x="123" y="34"/>
                      <a:pt x="121" y="35"/>
                      <a:pt x="119" y="34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lose/>
                  </a:path>
                </a:pathLst>
              </a:custGeom>
              <a:solidFill>
                <a:srgbClr val="C9B6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7" name="Freeform 246">
                <a:extLst>
                  <a:ext uri="{FF2B5EF4-FFF2-40B4-BE49-F238E27FC236}">
                    <a16:creationId xmlns:a16="http://schemas.microsoft.com/office/drawing/2014/main" id="{FE8B05E2-E65A-4E4F-9AFA-216D5FC52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3" y="1025"/>
                <a:ext cx="30" cy="7"/>
              </a:xfrm>
              <a:custGeom>
                <a:avLst/>
                <a:gdLst>
                  <a:gd name="T0" fmla="*/ 42 w 54"/>
                  <a:gd name="T1" fmla="*/ 0 h 14"/>
                  <a:gd name="T2" fmla="*/ 12 w 54"/>
                  <a:gd name="T3" fmla="*/ 0 h 14"/>
                  <a:gd name="T4" fmla="*/ 0 w 54"/>
                  <a:gd name="T5" fmla="*/ 12 h 14"/>
                  <a:gd name="T6" fmla="*/ 0 w 54"/>
                  <a:gd name="T7" fmla="*/ 14 h 14"/>
                  <a:gd name="T8" fmla="*/ 54 w 54"/>
                  <a:gd name="T9" fmla="*/ 14 h 14"/>
                  <a:gd name="T10" fmla="*/ 54 w 54"/>
                  <a:gd name="T11" fmla="*/ 12 h 14"/>
                  <a:gd name="T12" fmla="*/ 42 w 54"/>
                  <a:gd name="T1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14">
                    <a:moveTo>
                      <a:pt x="42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6"/>
                      <a:pt x="0" y="1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54" y="14"/>
                      <a:pt x="54" y="14"/>
                      <a:pt x="54" y="14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54" y="6"/>
                      <a:pt x="49" y="0"/>
                      <a:pt x="42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8" name="Freeform 247">
                <a:extLst>
                  <a:ext uri="{FF2B5EF4-FFF2-40B4-BE49-F238E27FC236}">
                    <a16:creationId xmlns:a16="http://schemas.microsoft.com/office/drawing/2014/main" id="{40C5B921-85EC-4D97-B1CB-6B01CA33D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1030"/>
                <a:ext cx="44" cy="159"/>
              </a:xfrm>
              <a:custGeom>
                <a:avLst/>
                <a:gdLst>
                  <a:gd name="T0" fmla="*/ 63 w 80"/>
                  <a:gd name="T1" fmla="*/ 0 h 291"/>
                  <a:gd name="T2" fmla="*/ 17 w 80"/>
                  <a:gd name="T3" fmla="*/ 0 h 291"/>
                  <a:gd name="T4" fmla="*/ 0 w 80"/>
                  <a:gd name="T5" fmla="*/ 17 h 291"/>
                  <a:gd name="T6" fmla="*/ 0 w 80"/>
                  <a:gd name="T7" fmla="*/ 275 h 291"/>
                  <a:gd name="T8" fmla="*/ 17 w 80"/>
                  <a:gd name="T9" fmla="*/ 291 h 291"/>
                  <a:gd name="T10" fmla="*/ 63 w 80"/>
                  <a:gd name="T11" fmla="*/ 291 h 291"/>
                  <a:gd name="T12" fmla="*/ 80 w 80"/>
                  <a:gd name="T13" fmla="*/ 275 h 291"/>
                  <a:gd name="T14" fmla="*/ 80 w 80"/>
                  <a:gd name="T15" fmla="*/ 17 h 291"/>
                  <a:gd name="T16" fmla="*/ 63 w 80"/>
                  <a:gd name="T17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291">
                    <a:moveTo>
                      <a:pt x="63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275"/>
                      <a:pt x="0" y="275"/>
                      <a:pt x="0" y="275"/>
                    </a:cubicBezTo>
                    <a:cubicBezTo>
                      <a:pt x="0" y="284"/>
                      <a:pt x="8" y="291"/>
                      <a:pt x="17" y="291"/>
                    </a:cubicBezTo>
                    <a:cubicBezTo>
                      <a:pt x="63" y="291"/>
                      <a:pt x="63" y="291"/>
                      <a:pt x="63" y="291"/>
                    </a:cubicBezTo>
                    <a:cubicBezTo>
                      <a:pt x="72" y="291"/>
                      <a:pt x="80" y="284"/>
                      <a:pt x="80" y="275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80" y="8"/>
                      <a:pt x="72" y="0"/>
                      <a:pt x="63" y="0"/>
                    </a:cubicBezTo>
                  </a:path>
                </a:pathLst>
              </a:custGeom>
              <a:solidFill>
                <a:srgbClr val="6550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9" name="Freeform 248">
                <a:extLst>
                  <a:ext uri="{FF2B5EF4-FFF2-40B4-BE49-F238E27FC236}">
                    <a16:creationId xmlns:a16="http://schemas.microsoft.com/office/drawing/2014/main" id="{655172B2-48DE-4394-A3EB-70C3F8E6B5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1141"/>
                <a:ext cx="44" cy="48"/>
              </a:xfrm>
              <a:custGeom>
                <a:avLst/>
                <a:gdLst>
                  <a:gd name="T0" fmla="*/ 80 w 80"/>
                  <a:gd name="T1" fmla="*/ 0 h 88"/>
                  <a:gd name="T2" fmla="*/ 80 w 80"/>
                  <a:gd name="T3" fmla="*/ 69 h 88"/>
                  <a:gd name="T4" fmla="*/ 65 w 80"/>
                  <a:gd name="T5" fmla="*/ 88 h 88"/>
                  <a:gd name="T6" fmla="*/ 15 w 80"/>
                  <a:gd name="T7" fmla="*/ 88 h 88"/>
                  <a:gd name="T8" fmla="*/ 0 w 80"/>
                  <a:gd name="T9" fmla="*/ 69 h 88"/>
                  <a:gd name="T10" fmla="*/ 0 w 80"/>
                  <a:gd name="T11" fmla="*/ 0 h 88"/>
                  <a:gd name="T12" fmla="*/ 80 w 80"/>
                  <a:gd name="T13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" h="88">
                    <a:moveTo>
                      <a:pt x="80" y="0"/>
                    </a:moveTo>
                    <a:cubicBezTo>
                      <a:pt x="80" y="69"/>
                      <a:pt x="80" y="69"/>
                      <a:pt x="80" y="69"/>
                    </a:cubicBezTo>
                    <a:cubicBezTo>
                      <a:pt x="80" y="80"/>
                      <a:pt x="73" y="88"/>
                      <a:pt x="65" y="88"/>
                    </a:cubicBezTo>
                    <a:cubicBezTo>
                      <a:pt x="15" y="88"/>
                      <a:pt x="15" y="88"/>
                      <a:pt x="15" y="88"/>
                    </a:cubicBezTo>
                    <a:cubicBezTo>
                      <a:pt x="7" y="88"/>
                      <a:pt x="0" y="80"/>
                      <a:pt x="0" y="6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0" y="0"/>
                      <a:pt x="80" y="0"/>
                      <a:pt x="80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0" name="Rectangle 249">
                <a:extLst>
                  <a:ext uri="{FF2B5EF4-FFF2-40B4-BE49-F238E27FC236}">
                    <a16:creationId xmlns:a16="http://schemas.microsoft.com/office/drawing/2014/main" id="{3091854D-1B18-4313-A1D8-42500ABA98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74"/>
                <a:ext cx="44" cy="4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1" name="Rectangle 250">
                <a:extLst>
                  <a:ext uri="{FF2B5EF4-FFF2-40B4-BE49-F238E27FC236}">
                    <a16:creationId xmlns:a16="http://schemas.microsoft.com/office/drawing/2014/main" id="{8DAD6FC0-0AA0-48A1-9D35-B1068558E2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74"/>
                <a:ext cx="44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2" name="Rectangle 251">
                <a:extLst>
                  <a:ext uri="{FF2B5EF4-FFF2-40B4-BE49-F238E27FC236}">
                    <a16:creationId xmlns:a16="http://schemas.microsoft.com/office/drawing/2014/main" id="{634E3984-85B7-43CE-9614-1B4FE2FC1D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9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3" name="Rectangle 252">
                <a:extLst>
                  <a:ext uri="{FF2B5EF4-FFF2-40B4-BE49-F238E27FC236}">
                    <a16:creationId xmlns:a16="http://schemas.microsoft.com/office/drawing/2014/main" id="{95DA32BD-DD37-4FB2-923E-367A8F69D9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9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4" name="Rectangle 253">
                <a:extLst>
                  <a:ext uri="{FF2B5EF4-FFF2-40B4-BE49-F238E27FC236}">
                    <a16:creationId xmlns:a16="http://schemas.microsoft.com/office/drawing/2014/main" id="{D168FD2D-C5E7-4C2D-98F7-88D25F7AB4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3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5" name="Rectangle 254">
                <a:extLst>
                  <a:ext uri="{FF2B5EF4-FFF2-40B4-BE49-F238E27FC236}">
                    <a16:creationId xmlns:a16="http://schemas.microsoft.com/office/drawing/2014/main" id="{F4E935A2-D583-43B9-9369-71B06A247D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3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6" name="Rectangle 255">
                <a:extLst>
                  <a:ext uri="{FF2B5EF4-FFF2-40B4-BE49-F238E27FC236}">
                    <a16:creationId xmlns:a16="http://schemas.microsoft.com/office/drawing/2014/main" id="{2F3219AB-F644-465D-A817-096816C80F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7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7" name="Rectangle 256">
                <a:extLst>
                  <a:ext uri="{FF2B5EF4-FFF2-40B4-BE49-F238E27FC236}">
                    <a16:creationId xmlns:a16="http://schemas.microsoft.com/office/drawing/2014/main" id="{B6C7A092-5083-49F0-B2DA-E660375B36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7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8" name="Rectangle 257">
                <a:extLst>
                  <a:ext uri="{FF2B5EF4-FFF2-40B4-BE49-F238E27FC236}">
                    <a16:creationId xmlns:a16="http://schemas.microsoft.com/office/drawing/2014/main" id="{C00B78D8-FE7E-43B5-8A11-09451E29D9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1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9" name="Rectangle 258">
                <a:extLst>
                  <a:ext uri="{FF2B5EF4-FFF2-40B4-BE49-F238E27FC236}">
                    <a16:creationId xmlns:a16="http://schemas.microsoft.com/office/drawing/2014/main" id="{E905F2BF-0198-4693-AC8D-E085EDA042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1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0" name="Rectangle 259">
                <a:extLst>
                  <a:ext uri="{FF2B5EF4-FFF2-40B4-BE49-F238E27FC236}">
                    <a16:creationId xmlns:a16="http://schemas.microsoft.com/office/drawing/2014/main" id="{42559889-AE7B-4CAE-B2D9-16ECDF2D3C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45"/>
                <a:ext cx="44" cy="4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1" name="Rectangle 260">
                <a:extLst>
                  <a:ext uri="{FF2B5EF4-FFF2-40B4-BE49-F238E27FC236}">
                    <a16:creationId xmlns:a16="http://schemas.microsoft.com/office/drawing/2014/main" id="{F716DB4A-6603-44C4-B6A5-5B961D5725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45"/>
                <a:ext cx="44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2" name="Freeform 261">
                <a:extLst>
                  <a:ext uri="{FF2B5EF4-FFF2-40B4-BE49-F238E27FC236}">
                    <a16:creationId xmlns:a16="http://schemas.microsoft.com/office/drawing/2014/main" id="{89B3A667-F707-4D14-8899-78F04E834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8" y="1123"/>
                <a:ext cx="23" cy="18"/>
              </a:xfrm>
              <a:custGeom>
                <a:avLst/>
                <a:gdLst>
                  <a:gd name="T0" fmla="*/ 29 w 41"/>
                  <a:gd name="T1" fmla="*/ 0 h 33"/>
                  <a:gd name="T2" fmla="*/ 11 w 41"/>
                  <a:gd name="T3" fmla="*/ 0 h 33"/>
                  <a:gd name="T4" fmla="*/ 0 w 41"/>
                  <a:gd name="T5" fmla="*/ 7 h 33"/>
                  <a:gd name="T6" fmla="*/ 8 w 41"/>
                  <a:gd name="T7" fmla="*/ 4 h 33"/>
                  <a:gd name="T8" fmla="*/ 26 w 41"/>
                  <a:gd name="T9" fmla="*/ 4 h 33"/>
                  <a:gd name="T10" fmla="*/ 38 w 41"/>
                  <a:gd name="T11" fmla="*/ 16 h 33"/>
                  <a:gd name="T12" fmla="*/ 38 w 41"/>
                  <a:gd name="T13" fmla="*/ 33 h 33"/>
                  <a:gd name="T14" fmla="*/ 41 w 41"/>
                  <a:gd name="T15" fmla="*/ 33 h 33"/>
                  <a:gd name="T16" fmla="*/ 41 w 41"/>
                  <a:gd name="T17" fmla="*/ 13 h 33"/>
                  <a:gd name="T18" fmla="*/ 29 w 41"/>
                  <a:gd name="T1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33">
                    <a:moveTo>
                      <a:pt x="29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6" y="0"/>
                      <a:pt x="2" y="3"/>
                      <a:pt x="0" y="7"/>
                    </a:cubicBezTo>
                    <a:cubicBezTo>
                      <a:pt x="2" y="5"/>
                      <a:pt x="5" y="4"/>
                      <a:pt x="8" y="4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32" y="4"/>
                      <a:pt x="38" y="9"/>
                      <a:pt x="38" y="16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41" y="6"/>
                      <a:pt x="35" y="0"/>
                      <a:pt x="29" y="0"/>
                    </a:cubicBezTo>
                  </a:path>
                </a:pathLst>
              </a:custGeom>
              <a:solidFill>
                <a:srgbClr val="503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3" name="Freeform 262">
                <a:extLst>
                  <a:ext uri="{FF2B5EF4-FFF2-40B4-BE49-F238E27FC236}">
                    <a16:creationId xmlns:a16="http://schemas.microsoft.com/office/drawing/2014/main" id="{FCA69BE7-CE15-473A-9C12-3BEAA70EB9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9" y="1141"/>
                <a:ext cx="2" cy="48"/>
              </a:xfrm>
              <a:custGeom>
                <a:avLst/>
                <a:gdLst>
                  <a:gd name="T0" fmla="*/ 3 w 3"/>
                  <a:gd name="T1" fmla="*/ 67 h 87"/>
                  <a:gd name="T2" fmla="*/ 0 w 3"/>
                  <a:gd name="T3" fmla="*/ 67 h 87"/>
                  <a:gd name="T4" fmla="*/ 0 w 3"/>
                  <a:gd name="T5" fmla="*/ 87 h 87"/>
                  <a:gd name="T6" fmla="*/ 3 w 3"/>
                  <a:gd name="T7" fmla="*/ 86 h 87"/>
                  <a:gd name="T8" fmla="*/ 3 w 3"/>
                  <a:gd name="T9" fmla="*/ 67 h 87"/>
                  <a:gd name="T10" fmla="*/ 3 w 3"/>
                  <a:gd name="T11" fmla="*/ 56 h 87"/>
                  <a:gd name="T12" fmla="*/ 0 w 3"/>
                  <a:gd name="T13" fmla="*/ 56 h 87"/>
                  <a:gd name="T14" fmla="*/ 0 w 3"/>
                  <a:gd name="T15" fmla="*/ 61 h 87"/>
                  <a:gd name="T16" fmla="*/ 3 w 3"/>
                  <a:gd name="T17" fmla="*/ 61 h 87"/>
                  <a:gd name="T18" fmla="*/ 3 w 3"/>
                  <a:gd name="T19" fmla="*/ 56 h 87"/>
                  <a:gd name="T20" fmla="*/ 3 w 3"/>
                  <a:gd name="T21" fmla="*/ 46 h 87"/>
                  <a:gd name="T22" fmla="*/ 0 w 3"/>
                  <a:gd name="T23" fmla="*/ 46 h 87"/>
                  <a:gd name="T24" fmla="*/ 0 w 3"/>
                  <a:gd name="T25" fmla="*/ 51 h 87"/>
                  <a:gd name="T26" fmla="*/ 3 w 3"/>
                  <a:gd name="T27" fmla="*/ 51 h 87"/>
                  <a:gd name="T28" fmla="*/ 3 w 3"/>
                  <a:gd name="T29" fmla="*/ 46 h 87"/>
                  <a:gd name="T30" fmla="*/ 3 w 3"/>
                  <a:gd name="T31" fmla="*/ 35 h 87"/>
                  <a:gd name="T32" fmla="*/ 0 w 3"/>
                  <a:gd name="T33" fmla="*/ 35 h 87"/>
                  <a:gd name="T34" fmla="*/ 0 w 3"/>
                  <a:gd name="T35" fmla="*/ 40 h 87"/>
                  <a:gd name="T36" fmla="*/ 3 w 3"/>
                  <a:gd name="T37" fmla="*/ 40 h 87"/>
                  <a:gd name="T38" fmla="*/ 3 w 3"/>
                  <a:gd name="T39" fmla="*/ 35 h 87"/>
                  <a:gd name="T40" fmla="*/ 3 w 3"/>
                  <a:gd name="T41" fmla="*/ 24 h 87"/>
                  <a:gd name="T42" fmla="*/ 0 w 3"/>
                  <a:gd name="T43" fmla="*/ 24 h 87"/>
                  <a:gd name="T44" fmla="*/ 0 w 3"/>
                  <a:gd name="T45" fmla="*/ 29 h 87"/>
                  <a:gd name="T46" fmla="*/ 3 w 3"/>
                  <a:gd name="T47" fmla="*/ 29 h 87"/>
                  <a:gd name="T48" fmla="*/ 3 w 3"/>
                  <a:gd name="T49" fmla="*/ 24 h 87"/>
                  <a:gd name="T50" fmla="*/ 3 w 3"/>
                  <a:gd name="T51" fmla="*/ 14 h 87"/>
                  <a:gd name="T52" fmla="*/ 0 w 3"/>
                  <a:gd name="T53" fmla="*/ 14 h 87"/>
                  <a:gd name="T54" fmla="*/ 0 w 3"/>
                  <a:gd name="T55" fmla="*/ 19 h 87"/>
                  <a:gd name="T56" fmla="*/ 3 w 3"/>
                  <a:gd name="T57" fmla="*/ 19 h 87"/>
                  <a:gd name="T58" fmla="*/ 3 w 3"/>
                  <a:gd name="T59" fmla="*/ 14 h 87"/>
                  <a:gd name="T60" fmla="*/ 3 w 3"/>
                  <a:gd name="T61" fmla="*/ 0 h 87"/>
                  <a:gd name="T62" fmla="*/ 0 w 3"/>
                  <a:gd name="T63" fmla="*/ 0 h 87"/>
                  <a:gd name="T64" fmla="*/ 0 w 3"/>
                  <a:gd name="T65" fmla="*/ 8 h 87"/>
                  <a:gd name="T66" fmla="*/ 3 w 3"/>
                  <a:gd name="T67" fmla="*/ 8 h 87"/>
                  <a:gd name="T68" fmla="*/ 3 w 3"/>
                  <a:gd name="T6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" h="87">
                    <a:moveTo>
                      <a:pt x="3" y="67"/>
                    </a:moveTo>
                    <a:cubicBezTo>
                      <a:pt x="0" y="67"/>
                      <a:pt x="0" y="67"/>
                      <a:pt x="0" y="67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1" y="87"/>
                      <a:pt x="2" y="86"/>
                      <a:pt x="3" y="86"/>
                    </a:cubicBezTo>
                    <a:cubicBezTo>
                      <a:pt x="3" y="67"/>
                      <a:pt x="3" y="67"/>
                      <a:pt x="3" y="67"/>
                    </a:cubicBezTo>
                    <a:moveTo>
                      <a:pt x="3" y="56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3" y="56"/>
                      <a:pt x="3" y="56"/>
                      <a:pt x="3" y="56"/>
                    </a:cubicBezTo>
                    <a:moveTo>
                      <a:pt x="3" y="46"/>
                    </a:moveTo>
                    <a:cubicBezTo>
                      <a:pt x="0" y="46"/>
                      <a:pt x="0" y="46"/>
                      <a:pt x="0" y="46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3" y="46"/>
                      <a:pt x="3" y="46"/>
                      <a:pt x="3" y="46"/>
                    </a:cubicBezTo>
                    <a:moveTo>
                      <a:pt x="3" y="35"/>
                    </a:moveTo>
                    <a:cubicBezTo>
                      <a:pt x="0" y="35"/>
                      <a:pt x="0" y="35"/>
                      <a:pt x="0" y="35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35"/>
                      <a:pt x="3" y="35"/>
                      <a:pt x="3" y="35"/>
                    </a:cubicBezTo>
                    <a:moveTo>
                      <a:pt x="3" y="24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24"/>
                      <a:pt x="3" y="24"/>
                      <a:pt x="3" y="24"/>
                    </a:cubicBezTo>
                    <a:moveTo>
                      <a:pt x="3" y="14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4"/>
                      <a:pt x="3" y="14"/>
                      <a:pt x="3" y="14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4" name="Rectangle 263">
                <a:extLst>
                  <a:ext uri="{FF2B5EF4-FFF2-40B4-BE49-F238E27FC236}">
                    <a16:creationId xmlns:a16="http://schemas.microsoft.com/office/drawing/2014/main" id="{B42DA2AE-55A1-41DC-958B-EAC0B85B07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74"/>
                <a:ext cx="2" cy="4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5" name="Rectangle 264">
                <a:extLst>
                  <a:ext uri="{FF2B5EF4-FFF2-40B4-BE49-F238E27FC236}">
                    <a16:creationId xmlns:a16="http://schemas.microsoft.com/office/drawing/2014/main" id="{B787B2DA-7C09-4B87-AC9E-E40B533173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74"/>
                <a:ext cx="2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6" name="Rectangle 265">
                <a:extLst>
                  <a:ext uri="{FF2B5EF4-FFF2-40B4-BE49-F238E27FC236}">
                    <a16:creationId xmlns:a16="http://schemas.microsoft.com/office/drawing/2014/main" id="{2D80265E-C8C5-47DE-BD66-729FEBE53E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9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7" name="Rectangle 266">
                <a:extLst>
                  <a:ext uri="{FF2B5EF4-FFF2-40B4-BE49-F238E27FC236}">
                    <a16:creationId xmlns:a16="http://schemas.microsoft.com/office/drawing/2014/main" id="{A863F956-6273-4925-9F5C-3F70B0571F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9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8" name="Rectangle 267">
                <a:extLst>
                  <a:ext uri="{FF2B5EF4-FFF2-40B4-BE49-F238E27FC236}">
                    <a16:creationId xmlns:a16="http://schemas.microsoft.com/office/drawing/2014/main" id="{759AEB5A-524C-4B0E-B4E0-AA8CB0F190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3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9" name="Rectangle 268">
                <a:extLst>
                  <a:ext uri="{FF2B5EF4-FFF2-40B4-BE49-F238E27FC236}">
                    <a16:creationId xmlns:a16="http://schemas.microsoft.com/office/drawing/2014/main" id="{6F6E782A-0381-43A6-867E-A7AAED6723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3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0" name="Rectangle 269">
                <a:extLst>
                  <a:ext uri="{FF2B5EF4-FFF2-40B4-BE49-F238E27FC236}">
                    <a16:creationId xmlns:a16="http://schemas.microsoft.com/office/drawing/2014/main" id="{CA3056B0-6482-4AD9-91A5-04C12019C9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7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1" name="Rectangle 270">
                <a:extLst>
                  <a:ext uri="{FF2B5EF4-FFF2-40B4-BE49-F238E27FC236}">
                    <a16:creationId xmlns:a16="http://schemas.microsoft.com/office/drawing/2014/main" id="{3DA2B673-739A-4FF9-A41E-A245EDB8A0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7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2" name="Rectangle 271">
                <a:extLst>
                  <a:ext uri="{FF2B5EF4-FFF2-40B4-BE49-F238E27FC236}">
                    <a16:creationId xmlns:a16="http://schemas.microsoft.com/office/drawing/2014/main" id="{22AEC0A4-FBA6-4428-AFE9-C18D3EBA04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1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3" name="Rectangle 272">
                <a:extLst>
                  <a:ext uri="{FF2B5EF4-FFF2-40B4-BE49-F238E27FC236}">
                    <a16:creationId xmlns:a16="http://schemas.microsoft.com/office/drawing/2014/main" id="{E72B4B22-E1B3-4D55-AAC3-A3464D176F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1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4" name="Rectangle 273">
                <a:extLst>
                  <a:ext uri="{FF2B5EF4-FFF2-40B4-BE49-F238E27FC236}">
                    <a16:creationId xmlns:a16="http://schemas.microsoft.com/office/drawing/2014/main" id="{29F5F830-D260-4DD1-8BF5-6403171634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45"/>
                <a:ext cx="2" cy="4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5" name="Rectangle 274">
                <a:extLst>
                  <a:ext uri="{FF2B5EF4-FFF2-40B4-BE49-F238E27FC236}">
                    <a16:creationId xmlns:a16="http://schemas.microsoft.com/office/drawing/2014/main" id="{CCED615F-7B5B-4F65-AD62-2E2A9CEDB9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45"/>
                <a:ext cx="2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6" name="Freeform 275">
                <a:extLst>
                  <a:ext uri="{FF2B5EF4-FFF2-40B4-BE49-F238E27FC236}">
                    <a16:creationId xmlns:a16="http://schemas.microsoft.com/office/drawing/2014/main" id="{82C17471-658F-4D79-86A8-6B7C1E3058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6" y="1125"/>
                <a:ext cx="23" cy="66"/>
              </a:xfrm>
              <a:custGeom>
                <a:avLst/>
                <a:gdLst>
                  <a:gd name="T0" fmla="*/ 30 w 42"/>
                  <a:gd name="T1" fmla="*/ 0 h 121"/>
                  <a:gd name="T2" fmla="*/ 12 w 42"/>
                  <a:gd name="T3" fmla="*/ 0 h 121"/>
                  <a:gd name="T4" fmla="*/ 0 w 42"/>
                  <a:gd name="T5" fmla="*/ 12 h 121"/>
                  <a:gd name="T6" fmla="*/ 0 w 42"/>
                  <a:gd name="T7" fmla="*/ 121 h 121"/>
                  <a:gd name="T8" fmla="*/ 42 w 42"/>
                  <a:gd name="T9" fmla="*/ 121 h 121"/>
                  <a:gd name="T10" fmla="*/ 42 w 42"/>
                  <a:gd name="T11" fmla="*/ 12 h 121"/>
                  <a:gd name="T12" fmla="*/ 30 w 42"/>
                  <a:gd name="T1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121">
                    <a:moveTo>
                      <a:pt x="30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5"/>
                      <a:pt x="0" y="12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42" y="121"/>
                      <a:pt x="42" y="121"/>
                      <a:pt x="42" y="121"/>
                    </a:cubicBezTo>
                    <a:cubicBezTo>
                      <a:pt x="42" y="12"/>
                      <a:pt x="42" y="12"/>
                      <a:pt x="42" y="12"/>
                    </a:cubicBezTo>
                    <a:cubicBezTo>
                      <a:pt x="42" y="5"/>
                      <a:pt x="36" y="0"/>
                      <a:pt x="30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7" name="Freeform 276">
                <a:extLst>
                  <a:ext uri="{FF2B5EF4-FFF2-40B4-BE49-F238E27FC236}">
                    <a16:creationId xmlns:a16="http://schemas.microsoft.com/office/drawing/2014/main" id="{2E44F01F-A831-45EE-83F9-BA19891841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2" y="1025"/>
                <a:ext cx="15" cy="8"/>
              </a:xfrm>
              <a:custGeom>
                <a:avLst/>
                <a:gdLst>
                  <a:gd name="T0" fmla="*/ 19 w 27"/>
                  <a:gd name="T1" fmla="*/ 11 h 16"/>
                  <a:gd name="T2" fmla="*/ 19 w 27"/>
                  <a:gd name="T3" fmla="*/ 11 h 16"/>
                  <a:gd name="T4" fmla="*/ 27 w 27"/>
                  <a:gd name="T5" fmla="*/ 16 h 16"/>
                  <a:gd name="T6" fmla="*/ 19 w 27"/>
                  <a:gd name="T7" fmla="*/ 11 h 16"/>
                  <a:gd name="T8" fmla="*/ 8 w 27"/>
                  <a:gd name="T9" fmla="*/ 0 h 16"/>
                  <a:gd name="T10" fmla="*/ 0 w 27"/>
                  <a:gd name="T11" fmla="*/ 0 h 16"/>
                  <a:gd name="T12" fmla="*/ 0 w 27"/>
                  <a:gd name="T13" fmla="*/ 0 h 16"/>
                  <a:gd name="T14" fmla="*/ 7 w 27"/>
                  <a:gd name="T15" fmla="*/ 0 h 16"/>
                  <a:gd name="T16" fmla="*/ 16 w 27"/>
                  <a:gd name="T17" fmla="*/ 4 h 16"/>
                  <a:gd name="T18" fmla="*/ 8 w 27"/>
                  <a:gd name="T1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16">
                    <a:moveTo>
                      <a:pt x="19" y="11"/>
                    </a:moveTo>
                    <a:cubicBezTo>
                      <a:pt x="19" y="11"/>
                      <a:pt x="19" y="11"/>
                      <a:pt x="19" y="11"/>
                    </a:cubicBezTo>
                    <a:cubicBezTo>
                      <a:pt x="22" y="12"/>
                      <a:pt x="25" y="13"/>
                      <a:pt x="27" y="16"/>
                    </a:cubicBezTo>
                    <a:cubicBezTo>
                      <a:pt x="25" y="13"/>
                      <a:pt x="22" y="11"/>
                      <a:pt x="19" y="11"/>
                    </a:cubicBezTo>
                    <a:moveTo>
                      <a:pt x="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0" y="0"/>
                      <a:pt x="13" y="2"/>
                      <a:pt x="16" y="4"/>
                    </a:cubicBezTo>
                    <a:cubicBezTo>
                      <a:pt x="14" y="2"/>
                      <a:pt x="11" y="0"/>
                      <a:pt x="8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8" name="Freeform 277">
                <a:extLst>
                  <a:ext uri="{FF2B5EF4-FFF2-40B4-BE49-F238E27FC236}">
                    <a16:creationId xmlns:a16="http://schemas.microsoft.com/office/drawing/2014/main" id="{69CFBF8E-5DC4-4762-9DBA-577BD6D609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" y="1025"/>
                <a:ext cx="11" cy="6"/>
              </a:xfrm>
              <a:custGeom>
                <a:avLst/>
                <a:gdLst>
                  <a:gd name="T0" fmla="*/ 7 w 19"/>
                  <a:gd name="T1" fmla="*/ 0 h 11"/>
                  <a:gd name="T2" fmla="*/ 0 w 19"/>
                  <a:gd name="T3" fmla="*/ 0 h 11"/>
                  <a:gd name="T4" fmla="*/ 10 w 19"/>
                  <a:gd name="T5" fmla="*/ 10 h 11"/>
                  <a:gd name="T6" fmla="*/ 15 w 19"/>
                  <a:gd name="T7" fmla="*/ 10 h 11"/>
                  <a:gd name="T8" fmla="*/ 19 w 19"/>
                  <a:gd name="T9" fmla="*/ 11 h 11"/>
                  <a:gd name="T10" fmla="*/ 19 w 19"/>
                  <a:gd name="T11" fmla="*/ 11 h 11"/>
                  <a:gd name="T12" fmla="*/ 19 w 19"/>
                  <a:gd name="T13" fmla="*/ 11 h 11"/>
                  <a:gd name="T14" fmla="*/ 16 w 19"/>
                  <a:gd name="T15" fmla="*/ 4 h 11"/>
                  <a:gd name="T16" fmla="*/ 7 w 19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1">
                    <a:moveTo>
                      <a:pt x="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0"/>
                      <a:pt x="9" y="5"/>
                      <a:pt x="10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6" y="10"/>
                      <a:pt x="18" y="11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8" y="8"/>
                      <a:pt x="17" y="6"/>
                      <a:pt x="16" y="4"/>
                    </a:cubicBezTo>
                    <a:cubicBezTo>
                      <a:pt x="13" y="2"/>
                      <a:pt x="10" y="0"/>
                      <a:pt x="7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9" name="Freeform 278">
                <a:extLst>
                  <a:ext uri="{FF2B5EF4-FFF2-40B4-BE49-F238E27FC236}">
                    <a16:creationId xmlns:a16="http://schemas.microsoft.com/office/drawing/2014/main" id="{1EE55227-8407-4DBC-9D2E-99CE025A8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8" y="1030"/>
                <a:ext cx="12" cy="111"/>
              </a:xfrm>
              <a:custGeom>
                <a:avLst/>
                <a:gdLst>
                  <a:gd name="T0" fmla="*/ 5 w 22"/>
                  <a:gd name="T1" fmla="*/ 0 h 203"/>
                  <a:gd name="T2" fmla="*/ 0 w 22"/>
                  <a:gd name="T3" fmla="*/ 0 h 203"/>
                  <a:gd name="T4" fmla="*/ 0 w 22"/>
                  <a:gd name="T5" fmla="*/ 1 h 203"/>
                  <a:gd name="T6" fmla="*/ 13 w 22"/>
                  <a:gd name="T7" fmla="*/ 20 h 203"/>
                  <a:gd name="T8" fmla="*/ 13 w 22"/>
                  <a:gd name="T9" fmla="*/ 203 h 203"/>
                  <a:gd name="T10" fmla="*/ 22 w 22"/>
                  <a:gd name="T11" fmla="*/ 203 h 203"/>
                  <a:gd name="T12" fmla="*/ 22 w 22"/>
                  <a:gd name="T13" fmla="*/ 20 h 203"/>
                  <a:gd name="T14" fmla="*/ 17 w 22"/>
                  <a:gd name="T15" fmla="*/ 6 h 203"/>
                  <a:gd name="T16" fmla="*/ 9 w 22"/>
                  <a:gd name="T17" fmla="*/ 1 h 203"/>
                  <a:gd name="T18" fmla="*/ 5 w 22"/>
                  <a:gd name="T19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03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7" y="2"/>
                      <a:pt x="13" y="10"/>
                      <a:pt x="13" y="20"/>
                    </a:cubicBezTo>
                    <a:cubicBezTo>
                      <a:pt x="13" y="203"/>
                      <a:pt x="13" y="203"/>
                      <a:pt x="13" y="203"/>
                    </a:cubicBezTo>
                    <a:cubicBezTo>
                      <a:pt x="22" y="203"/>
                      <a:pt x="22" y="203"/>
                      <a:pt x="22" y="203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2" y="14"/>
                      <a:pt x="20" y="9"/>
                      <a:pt x="17" y="6"/>
                    </a:cubicBezTo>
                    <a:cubicBezTo>
                      <a:pt x="15" y="3"/>
                      <a:pt x="12" y="2"/>
                      <a:pt x="9" y="1"/>
                    </a:cubicBezTo>
                    <a:cubicBezTo>
                      <a:pt x="8" y="1"/>
                      <a:pt x="6" y="0"/>
                      <a:pt x="5" y="0"/>
                    </a:cubicBezTo>
                  </a:path>
                </a:pathLst>
              </a:custGeom>
              <a:solidFill>
                <a:srgbClr val="503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0" name="Freeform 279">
                <a:extLst>
                  <a:ext uri="{FF2B5EF4-FFF2-40B4-BE49-F238E27FC236}">
                    <a16:creationId xmlns:a16="http://schemas.microsoft.com/office/drawing/2014/main" id="{714F2CF0-A580-4F7B-B7E0-C32E076A34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1" y="1141"/>
                <a:ext cx="9" cy="48"/>
              </a:xfrm>
              <a:custGeom>
                <a:avLst/>
                <a:gdLst>
                  <a:gd name="T0" fmla="*/ 16 w 16"/>
                  <a:gd name="T1" fmla="*/ 67 h 88"/>
                  <a:gd name="T2" fmla="*/ 7 w 16"/>
                  <a:gd name="T3" fmla="*/ 67 h 88"/>
                  <a:gd name="T4" fmla="*/ 7 w 16"/>
                  <a:gd name="T5" fmla="*/ 69 h 88"/>
                  <a:gd name="T6" fmla="*/ 0 w 16"/>
                  <a:gd name="T7" fmla="*/ 86 h 88"/>
                  <a:gd name="T8" fmla="*/ 0 w 16"/>
                  <a:gd name="T9" fmla="*/ 88 h 88"/>
                  <a:gd name="T10" fmla="*/ 1 w 16"/>
                  <a:gd name="T11" fmla="*/ 88 h 88"/>
                  <a:gd name="T12" fmla="*/ 16 w 16"/>
                  <a:gd name="T13" fmla="*/ 69 h 88"/>
                  <a:gd name="T14" fmla="*/ 16 w 16"/>
                  <a:gd name="T15" fmla="*/ 67 h 88"/>
                  <a:gd name="T16" fmla="*/ 16 w 16"/>
                  <a:gd name="T17" fmla="*/ 56 h 88"/>
                  <a:gd name="T18" fmla="*/ 7 w 16"/>
                  <a:gd name="T19" fmla="*/ 56 h 88"/>
                  <a:gd name="T20" fmla="*/ 7 w 16"/>
                  <a:gd name="T21" fmla="*/ 61 h 88"/>
                  <a:gd name="T22" fmla="*/ 16 w 16"/>
                  <a:gd name="T23" fmla="*/ 61 h 88"/>
                  <a:gd name="T24" fmla="*/ 16 w 16"/>
                  <a:gd name="T25" fmla="*/ 56 h 88"/>
                  <a:gd name="T26" fmla="*/ 16 w 16"/>
                  <a:gd name="T27" fmla="*/ 46 h 88"/>
                  <a:gd name="T28" fmla="*/ 7 w 16"/>
                  <a:gd name="T29" fmla="*/ 46 h 88"/>
                  <a:gd name="T30" fmla="*/ 7 w 16"/>
                  <a:gd name="T31" fmla="*/ 51 h 88"/>
                  <a:gd name="T32" fmla="*/ 16 w 16"/>
                  <a:gd name="T33" fmla="*/ 51 h 88"/>
                  <a:gd name="T34" fmla="*/ 16 w 16"/>
                  <a:gd name="T35" fmla="*/ 46 h 88"/>
                  <a:gd name="T36" fmla="*/ 16 w 16"/>
                  <a:gd name="T37" fmla="*/ 35 h 88"/>
                  <a:gd name="T38" fmla="*/ 7 w 16"/>
                  <a:gd name="T39" fmla="*/ 35 h 88"/>
                  <a:gd name="T40" fmla="*/ 7 w 16"/>
                  <a:gd name="T41" fmla="*/ 40 h 88"/>
                  <a:gd name="T42" fmla="*/ 16 w 16"/>
                  <a:gd name="T43" fmla="*/ 40 h 88"/>
                  <a:gd name="T44" fmla="*/ 16 w 16"/>
                  <a:gd name="T45" fmla="*/ 35 h 88"/>
                  <a:gd name="T46" fmla="*/ 16 w 16"/>
                  <a:gd name="T47" fmla="*/ 24 h 88"/>
                  <a:gd name="T48" fmla="*/ 7 w 16"/>
                  <a:gd name="T49" fmla="*/ 24 h 88"/>
                  <a:gd name="T50" fmla="*/ 7 w 16"/>
                  <a:gd name="T51" fmla="*/ 29 h 88"/>
                  <a:gd name="T52" fmla="*/ 16 w 16"/>
                  <a:gd name="T53" fmla="*/ 29 h 88"/>
                  <a:gd name="T54" fmla="*/ 16 w 16"/>
                  <a:gd name="T55" fmla="*/ 24 h 88"/>
                  <a:gd name="T56" fmla="*/ 16 w 16"/>
                  <a:gd name="T57" fmla="*/ 14 h 88"/>
                  <a:gd name="T58" fmla="*/ 7 w 16"/>
                  <a:gd name="T59" fmla="*/ 14 h 88"/>
                  <a:gd name="T60" fmla="*/ 7 w 16"/>
                  <a:gd name="T61" fmla="*/ 19 h 88"/>
                  <a:gd name="T62" fmla="*/ 16 w 16"/>
                  <a:gd name="T63" fmla="*/ 19 h 88"/>
                  <a:gd name="T64" fmla="*/ 16 w 16"/>
                  <a:gd name="T65" fmla="*/ 14 h 88"/>
                  <a:gd name="T66" fmla="*/ 16 w 16"/>
                  <a:gd name="T67" fmla="*/ 0 h 88"/>
                  <a:gd name="T68" fmla="*/ 16 w 16"/>
                  <a:gd name="T69" fmla="*/ 0 h 88"/>
                  <a:gd name="T70" fmla="*/ 7 w 16"/>
                  <a:gd name="T71" fmla="*/ 0 h 88"/>
                  <a:gd name="T72" fmla="*/ 7 w 16"/>
                  <a:gd name="T73" fmla="*/ 8 h 88"/>
                  <a:gd name="T74" fmla="*/ 16 w 16"/>
                  <a:gd name="T75" fmla="*/ 8 h 88"/>
                  <a:gd name="T76" fmla="*/ 16 w 16"/>
                  <a:gd name="T77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6" h="88">
                    <a:moveTo>
                      <a:pt x="16" y="67"/>
                    </a:moveTo>
                    <a:cubicBezTo>
                      <a:pt x="7" y="67"/>
                      <a:pt x="7" y="67"/>
                      <a:pt x="7" y="67"/>
                    </a:cubicBezTo>
                    <a:cubicBezTo>
                      <a:pt x="7" y="69"/>
                      <a:pt x="7" y="69"/>
                      <a:pt x="7" y="69"/>
                    </a:cubicBezTo>
                    <a:cubicBezTo>
                      <a:pt x="7" y="76"/>
                      <a:pt x="4" y="82"/>
                      <a:pt x="0" y="86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1" y="88"/>
                      <a:pt x="1" y="88"/>
                      <a:pt x="1" y="88"/>
                    </a:cubicBezTo>
                    <a:cubicBezTo>
                      <a:pt x="9" y="88"/>
                      <a:pt x="16" y="80"/>
                      <a:pt x="16" y="69"/>
                    </a:cubicBezTo>
                    <a:cubicBezTo>
                      <a:pt x="16" y="67"/>
                      <a:pt x="16" y="67"/>
                      <a:pt x="16" y="67"/>
                    </a:cubicBezTo>
                    <a:moveTo>
                      <a:pt x="16" y="56"/>
                    </a:moveTo>
                    <a:cubicBezTo>
                      <a:pt x="7" y="56"/>
                      <a:pt x="7" y="56"/>
                      <a:pt x="7" y="56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16" y="61"/>
                      <a:pt x="16" y="61"/>
                      <a:pt x="16" y="61"/>
                    </a:cubicBezTo>
                    <a:cubicBezTo>
                      <a:pt x="16" y="56"/>
                      <a:pt x="16" y="56"/>
                      <a:pt x="16" y="56"/>
                    </a:cubicBezTo>
                    <a:moveTo>
                      <a:pt x="16" y="4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7" y="51"/>
                      <a:pt x="7" y="51"/>
                      <a:pt x="7" y="51"/>
                    </a:cubicBezTo>
                    <a:cubicBezTo>
                      <a:pt x="16" y="51"/>
                      <a:pt x="16" y="51"/>
                      <a:pt x="16" y="51"/>
                    </a:cubicBezTo>
                    <a:cubicBezTo>
                      <a:pt x="16" y="46"/>
                      <a:pt x="16" y="46"/>
                      <a:pt x="16" y="46"/>
                    </a:cubicBezTo>
                    <a:moveTo>
                      <a:pt x="16" y="35"/>
                    </a:moveTo>
                    <a:cubicBezTo>
                      <a:pt x="7" y="35"/>
                      <a:pt x="7" y="35"/>
                      <a:pt x="7" y="35"/>
                    </a:cubicBezTo>
                    <a:cubicBezTo>
                      <a:pt x="7" y="40"/>
                      <a:pt x="7" y="40"/>
                      <a:pt x="7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35"/>
                      <a:pt x="16" y="35"/>
                      <a:pt x="16" y="35"/>
                    </a:cubicBezTo>
                    <a:moveTo>
                      <a:pt x="16" y="24"/>
                    </a:moveTo>
                    <a:cubicBezTo>
                      <a:pt x="7" y="24"/>
                      <a:pt x="7" y="24"/>
                      <a:pt x="7" y="24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16" y="29"/>
                      <a:pt x="16" y="29"/>
                      <a:pt x="16" y="29"/>
                    </a:cubicBezTo>
                    <a:cubicBezTo>
                      <a:pt x="16" y="24"/>
                      <a:pt x="16" y="24"/>
                      <a:pt x="16" y="24"/>
                    </a:cubicBezTo>
                    <a:moveTo>
                      <a:pt x="16" y="14"/>
                    </a:moveTo>
                    <a:cubicBezTo>
                      <a:pt x="7" y="14"/>
                      <a:pt x="7" y="14"/>
                      <a:pt x="7" y="14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6" y="14"/>
                      <a:pt x="16" y="14"/>
                      <a:pt x="16" y="14"/>
                    </a:cubicBezTo>
                    <a:moveTo>
                      <a:pt x="16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1" name="Freeform 280">
                <a:extLst>
                  <a:ext uri="{FF2B5EF4-FFF2-40B4-BE49-F238E27FC236}">
                    <a16:creationId xmlns:a16="http://schemas.microsoft.com/office/drawing/2014/main" id="{2270E81A-102E-4936-91D0-812548463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74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2" name="Freeform 281">
                <a:extLst>
                  <a:ext uri="{FF2B5EF4-FFF2-40B4-BE49-F238E27FC236}">
                    <a16:creationId xmlns:a16="http://schemas.microsoft.com/office/drawing/2014/main" id="{09F69975-325F-42CF-B807-6624B0AE9F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74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3" name="Freeform 282">
                <a:extLst>
                  <a:ext uri="{FF2B5EF4-FFF2-40B4-BE49-F238E27FC236}">
                    <a16:creationId xmlns:a16="http://schemas.microsoft.com/office/drawing/2014/main" id="{951B4EB7-E605-4E02-BA09-2F95858BA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9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4" name="Freeform 283">
                <a:extLst>
                  <a:ext uri="{FF2B5EF4-FFF2-40B4-BE49-F238E27FC236}">
                    <a16:creationId xmlns:a16="http://schemas.microsoft.com/office/drawing/2014/main" id="{EF6D7A92-7B17-483F-B642-C4C7A47B3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9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5" name="Freeform 284">
                <a:extLst>
                  <a:ext uri="{FF2B5EF4-FFF2-40B4-BE49-F238E27FC236}">
                    <a16:creationId xmlns:a16="http://schemas.microsoft.com/office/drawing/2014/main" id="{5D07A1D8-3975-43F5-A598-66C824FB90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3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6" name="Freeform 285">
                <a:extLst>
                  <a:ext uri="{FF2B5EF4-FFF2-40B4-BE49-F238E27FC236}">
                    <a16:creationId xmlns:a16="http://schemas.microsoft.com/office/drawing/2014/main" id="{CD701FCA-D437-40C4-9D03-97B7CE0E7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3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7" name="Freeform 286">
                <a:extLst>
                  <a:ext uri="{FF2B5EF4-FFF2-40B4-BE49-F238E27FC236}">
                    <a16:creationId xmlns:a16="http://schemas.microsoft.com/office/drawing/2014/main" id="{545F19E8-1BB1-447E-9442-D0B41BDC52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7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8" name="Freeform 287">
                <a:extLst>
                  <a:ext uri="{FF2B5EF4-FFF2-40B4-BE49-F238E27FC236}">
                    <a16:creationId xmlns:a16="http://schemas.microsoft.com/office/drawing/2014/main" id="{695DDBBF-D411-4075-A805-B01D419E5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7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9" name="Freeform 288">
                <a:extLst>
                  <a:ext uri="{FF2B5EF4-FFF2-40B4-BE49-F238E27FC236}">
                    <a16:creationId xmlns:a16="http://schemas.microsoft.com/office/drawing/2014/main" id="{BC93D625-0429-4893-B576-AB87808907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1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0" name="Freeform 289">
                <a:extLst>
                  <a:ext uri="{FF2B5EF4-FFF2-40B4-BE49-F238E27FC236}">
                    <a16:creationId xmlns:a16="http://schemas.microsoft.com/office/drawing/2014/main" id="{B8CD1789-9C34-4B88-BBF4-A567CFCC6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1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1" name="Freeform 290">
                <a:extLst>
                  <a:ext uri="{FF2B5EF4-FFF2-40B4-BE49-F238E27FC236}">
                    <a16:creationId xmlns:a16="http://schemas.microsoft.com/office/drawing/2014/main" id="{531DA057-D7F8-4ACA-9BEF-744E5D69AA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45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2" name="Freeform 291">
                <a:extLst>
                  <a:ext uri="{FF2B5EF4-FFF2-40B4-BE49-F238E27FC236}">
                    <a16:creationId xmlns:a16="http://schemas.microsoft.com/office/drawing/2014/main" id="{52BEA705-55B3-46D9-B40E-16B1BE0DE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45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292">
                <a:extLst>
                  <a:ext uri="{FF2B5EF4-FFF2-40B4-BE49-F238E27FC236}">
                    <a16:creationId xmlns:a16="http://schemas.microsoft.com/office/drawing/2014/main" id="{1EAD208A-8B4A-41A9-BC14-22C2B722E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9" y="1188"/>
                <a:ext cx="2" cy="1"/>
              </a:xfrm>
              <a:custGeom>
                <a:avLst/>
                <a:gdLst>
                  <a:gd name="T0" fmla="*/ 3 w 3"/>
                  <a:gd name="T1" fmla="*/ 0 h 2"/>
                  <a:gd name="T2" fmla="*/ 0 w 3"/>
                  <a:gd name="T3" fmla="*/ 1 h 2"/>
                  <a:gd name="T4" fmla="*/ 0 w 3"/>
                  <a:gd name="T5" fmla="*/ 2 h 2"/>
                  <a:gd name="T6" fmla="*/ 3 w 3"/>
                  <a:gd name="T7" fmla="*/ 2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cubicBezTo>
                      <a:pt x="2" y="0"/>
                      <a:pt x="1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2826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4" name="Freeform 293">
                <a:extLst>
                  <a:ext uri="{FF2B5EF4-FFF2-40B4-BE49-F238E27FC236}">
                    <a16:creationId xmlns:a16="http://schemas.microsoft.com/office/drawing/2014/main" id="{5B2A0D1D-51F1-4C0F-9A4C-52E6962CB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7" y="1189"/>
                <a:ext cx="2" cy="0"/>
              </a:xfrm>
              <a:custGeom>
                <a:avLst/>
                <a:gdLst>
                  <a:gd name="T0" fmla="*/ 5 w 5"/>
                  <a:gd name="T1" fmla="*/ 0 h 1"/>
                  <a:gd name="T2" fmla="*/ 0 w 5"/>
                  <a:gd name="T3" fmla="*/ 1 h 1"/>
                  <a:gd name="T4" fmla="*/ 5 w 5"/>
                  <a:gd name="T5" fmla="*/ 1 h 1"/>
                  <a:gd name="T6" fmla="*/ 5 w 5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cubicBezTo>
                      <a:pt x="3" y="1"/>
                      <a:pt x="2" y="1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5" name="Freeform 294">
                <a:extLst>
                  <a:ext uri="{FF2B5EF4-FFF2-40B4-BE49-F238E27FC236}">
                    <a16:creationId xmlns:a16="http://schemas.microsoft.com/office/drawing/2014/main" id="{0E474AF7-E52C-4349-9F8A-83BDC08518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1052"/>
                <a:ext cx="4" cy="69"/>
              </a:xfrm>
              <a:custGeom>
                <a:avLst/>
                <a:gdLst>
                  <a:gd name="T0" fmla="*/ 4 w 8"/>
                  <a:gd name="T1" fmla="*/ 0 h 127"/>
                  <a:gd name="T2" fmla="*/ 4 w 8"/>
                  <a:gd name="T3" fmla="*/ 0 h 127"/>
                  <a:gd name="T4" fmla="*/ 0 w 8"/>
                  <a:gd name="T5" fmla="*/ 4 h 127"/>
                  <a:gd name="T6" fmla="*/ 0 w 8"/>
                  <a:gd name="T7" fmla="*/ 123 h 127"/>
                  <a:gd name="T8" fmla="*/ 4 w 8"/>
                  <a:gd name="T9" fmla="*/ 127 h 127"/>
                  <a:gd name="T10" fmla="*/ 8 w 8"/>
                  <a:gd name="T11" fmla="*/ 123 h 127"/>
                  <a:gd name="T12" fmla="*/ 8 w 8"/>
                  <a:gd name="T13" fmla="*/ 4 h 127"/>
                  <a:gd name="T14" fmla="*/ 4 w 8"/>
                  <a:gd name="T15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27">
                    <a:moveTo>
                      <a:pt x="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23"/>
                      <a:pt x="0" y="123"/>
                      <a:pt x="0" y="123"/>
                    </a:cubicBezTo>
                    <a:cubicBezTo>
                      <a:pt x="0" y="125"/>
                      <a:pt x="2" y="127"/>
                      <a:pt x="4" y="127"/>
                    </a:cubicBezTo>
                    <a:cubicBezTo>
                      <a:pt x="6" y="127"/>
                      <a:pt x="8" y="125"/>
                      <a:pt x="8" y="12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solidFill>
                <a:srgbClr val="2C40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6" name="Freeform 295">
                <a:extLst>
                  <a:ext uri="{FF2B5EF4-FFF2-40B4-BE49-F238E27FC236}">
                    <a16:creationId xmlns:a16="http://schemas.microsoft.com/office/drawing/2014/main" id="{28EF8B93-35D6-4089-942A-986DA9C0FB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2" y="2184"/>
                <a:ext cx="57" cy="53"/>
              </a:xfrm>
              <a:custGeom>
                <a:avLst/>
                <a:gdLst>
                  <a:gd name="T0" fmla="*/ 0 w 103"/>
                  <a:gd name="T1" fmla="*/ 78 h 96"/>
                  <a:gd name="T2" fmla="*/ 68 w 103"/>
                  <a:gd name="T3" fmla="*/ 93 h 96"/>
                  <a:gd name="T4" fmla="*/ 90 w 103"/>
                  <a:gd name="T5" fmla="*/ 83 h 96"/>
                  <a:gd name="T6" fmla="*/ 101 w 103"/>
                  <a:gd name="T7" fmla="*/ 35 h 96"/>
                  <a:gd name="T8" fmla="*/ 85 w 103"/>
                  <a:gd name="T9" fmla="*/ 16 h 96"/>
                  <a:gd name="T10" fmla="*/ 18 w 103"/>
                  <a:gd name="T11" fmla="*/ 0 h 96"/>
                  <a:gd name="T12" fmla="*/ 0 w 103"/>
                  <a:gd name="T13" fmla="*/ 7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96">
                    <a:moveTo>
                      <a:pt x="0" y="78"/>
                    </a:moveTo>
                    <a:cubicBezTo>
                      <a:pt x="68" y="93"/>
                      <a:pt x="68" y="93"/>
                      <a:pt x="68" y="93"/>
                    </a:cubicBezTo>
                    <a:cubicBezTo>
                      <a:pt x="78" y="96"/>
                      <a:pt x="88" y="91"/>
                      <a:pt x="90" y="8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3" y="27"/>
                      <a:pt x="96" y="18"/>
                      <a:pt x="85" y="16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78"/>
                      <a:pt x="0" y="78"/>
                      <a:pt x="0" y="78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7" name="Freeform 296">
                <a:extLst>
                  <a:ext uri="{FF2B5EF4-FFF2-40B4-BE49-F238E27FC236}">
                    <a16:creationId xmlns:a16="http://schemas.microsoft.com/office/drawing/2014/main" id="{886F9BDC-91E4-4B2C-9794-425A0303F5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192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8" name="Freeform 297">
                <a:extLst>
                  <a:ext uri="{FF2B5EF4-FFF2-40B4-BE49-F238E27FC236}">
                    <a16:creationId xmlns:a16="http://schemas.microsoft.com/office/drawing/2014/main" id="{84AB0C22-5AE4-4D9E-9B55-0BB9821442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192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9" name="Freeform 298">
                <a:extLst>
                  <a:ext uri="{FF2B5EF4-FFF2-40B4-BE49-F238E27FC236}">
                    <a16:creationId xmlns:a16="http://schemas.microsoft.com/office/drawing/2014/main" id="{ED5D00F5-4E26-4B35-A14B-7F5A5B9345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191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0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0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0" name="Freeform 299">
                <a:extLst>
                  <a:ext uri="{FF2B5EF4-FFF2-40B4-BE49-F238E27FC236}">
                    <a16:creationId xmlns:a16="http://schemas.microsoft.com/office/drawing/2014/main" id="{7096A632-5CF5-4EC3-A707-026562DC84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191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0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0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" name="Freeform 300">
                <a:extLst>
                  <a:ext uri="{FF2B5EF4-FFF2-40B4-BE49-F238E27FC236}">
                    <a16:creationId xmlns:a16="http://schemas.microsoft.com/office/drawing/2014/main" id="{5985318C-571B-4BB7-9851-8A3BDCADE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189"/>
                <a:ext cx="12" cy="43"/>
              </a:xfrm>
              <a:custGeom>
                <a:avLst/>
                <a:gdLst>
                  <a:gd name="T0" fmla="*/ 0 w 12"/>
                  <a:gd name="T1" fmla="*/ 43 h 43"/>
                  <a:gd name="T2" fmla="*/ 10 w 12"/>
                  <a:gd name="T3" fmla="*/ 0 h 43"/>
                  <a:gd name="T4" fmla="*/ 12 w 12"/>
                  <a:gd name="T5" fmla="*/ 1 h 43"/>
                  <a:gd name="T6" fmla="*/ 3 w 12"/>
                  <a:gd name="T7" fmla="*/ 43 h 43"/>
                  <a:gd name="T8" fmla="*/ 0 w 12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2" name="Freeform 301">
                <a:extLst>
                  <a:ext uri="{FF2B5EF4-FFF2-40B4-BE49-F238E27FC236}">
                    <a16:creationId xmlns:a16="http://schemas.microsoft.com/office/drawing/2014/main" id="{4C03E55F-8F0E-4589-AB32-970271AD48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189"/>
                <a:ext cx="12" cy="43"/>
              </a:xfrm>
              <a:custGeom>
                <a:avLst/>
                <a:gdLst>
                  <a:gd name="T0" fmla="*/ 0 w 12"/>
                  <a:gd name="T1" fmla="*/ 43 h 43"/>
                  <a:gd name="T2" fmla="*/ 10 w 12"/>
                  <a:gd name="T3" fmla="*/ 0 h 43"/>
                  <a:gd name="T4" fmla="*/ 12 w 12"/>
                  <a:gd name="T5" fmla="*/ 1 h 43"/>
                  <a:gd name="T6" fmla="*/ 3 w 12"/>
                  <a:gd name="T7" fmla="*/ 43 h 43"/>
                  <a:gd name="T8" fmla="*/ 0 w 12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3" y="43"/>
                    </a:lnTo>
                    <a:lnTo>
                      <a:pt x="0" y="4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3" name="Freeform 302">
                <a:extLst>
                  <a:ext uri="{FF2B5EF4-FFF2-40B4-BE49-F238E27FC236}">
                    <a16:creationId xmlns:a16="http://schemas.microsoft.com/office/drawing/2014/main" id="{40E01002-F6F9-409B-82B6-2E3AD920C3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188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4" name="Freeform 303">
                <a:extLst>
                  <a:ext uri="{FF2B5EF4-FFF2-40B4-BE49-F238E27FC236}">
                    <a16:creationId xmlns:a16="http://schemas.microsoft.com/office/drawing/2014/main" id="{514269D5-5AE2-43F1-8CD5-D19B0031A6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188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Freeform 304">
                <a:extLst>
                  <a:ext uri="{FF2B5EF4-FFF2-40B4-BE49-F238E27FC236}">
                    <a16:creationId xmlns:a16="http://schemas.microsoft.com/office/drawing/2014/main" id="{D88CB003-30F5-44C9-91F2-8F929AC05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187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4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4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6" name="Freeform 305">
                <a:extLst>
                  <a:ext uri="{FF2B5EF4-FFF2-40B4-BE49-F238E27FC236}">
                    <a16:creationId xmlns:a16="http://schemas.microsoft.com/office/drawing/2014/main" id="{18128655-92FE-4A39-B224-A22A65942B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187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4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4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7" name="Freeform 306">
                <a:extLst>
                  <a:ext uri="{FF2B5EF4-FFF2-40B4-BE49-F238E27FC236}">
                    <a16:creationId xmlns:a16="http://schemas.microsoft.com/office/drawing/2014/main" id="{DF894BD8-8009-4004-8AD7-98B880818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185"/>
                <a:ext cx="12" cy="44"/>
              </a:xfrm>
              <a:custGeom>
                <a:avLst/>
                <a:gdLst>
                  <a:gd name="T0" fmla="*/ 0 w 12"/>
                  <a:gd name="T1" fmla="*/ 43 h 44"/>
                  <a:gd name="T2" fmla="*/ 10 w 12"/>
                  <a:gd name="T3" fmla="*/ 0 h 44"/>
                  <a:gd name="T4" fmla="*/ 12 w 12"/>
                  <a:gd name="T5" fmla="*/ 1 h 44"/>
                  <a:gd name="T6" fmla="*/ 2 w 12"/>
                  <a:gd name="T7" fmla="*/ 44 h 44"/>
                  <a:gd name="T8" fmla="*/ 0 w 12"/>
                  <a:gd name="T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4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2" y="44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Freeform 307">
                <a:extLst>
                  <a:ext uri="{FF2B5EF4-FFF2-40B4-BE49-F238E27FC236}">
                    <a16:creationId xmlns:a16="http://schemas.microsoft.com/office/drawing/2014/main" id="{0E3E2912-A20B-4CB7-BF00-981DE897C7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185"/>
                <a:ext cx="12" cy="44"/>
              </a:xfrm>
              <a:custGeom>
                <a:avLst/>
                <a:gdLst>
                  <a:gd name="T0" fmla="*/ 0 w 12"/>
                  <a:gd name="T1" fmla="*/ 43 h 44"/>
                  <a:gd name="T2" fmla="*/ 10 w 12"/>
                  <a:gd name="T3" fmla="*/ 0 h 44"/>
                  <a:gd name="T4" fmla="*/ 12 w 12"/>
                  <a:gd name="T5" fmla="*/ 1 h 44"/>
                  <a:gd name="T6" fmla="*/ 2 w 12"/>
                  <a:gd name="T7" fmla="*/ 44 h 44"/>
                  <a:gd name="T8" fmla="*/ 0 w 12"/>
                  <a:gd name="T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4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2" y="44"/>
                    </a:lnTo>
                    <a:lnTo>
                      <a:pt x="0" y="4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9" name="Freeform 308">
                <a:extLst>
                  <a:ext uri="{FF2B5EF4-FFF2-40B4-BE49-F238E27FC236}">
                    <a16:creationId xmlns:a16="http://schemas.microsoft.com/office/drawing/2014/main" id="{EBD39137-F98F-4BF3-8DEA-DBF39B935F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194"/>
                <a:ext cx="17" cy="24"/>
              </a:xfrm>
              <a:custGeom>
                <a:avLst/>
                <a:gdLst>
                  <a:gd name="T0" fmla="*/ 14 w 31"/>
                  <a:gd name="T1" fmla="*/ 0 h 45"/>
                  <a:gd name="T2" fmla="*/ 5 w 31"/>
                  <a:gd name="T3" fmla="*/ 9 h 45"/>
                  <a:gd name="T4" fmla="*/ 2 w 31"/>
                  <a:gd name="T5" fmla="*/ 26 h 45"/>
                  <a:gd name="T6" fmla="*/ 11 w 31"/>
                  <a:gd name="T7" fmla="*/ 41 h 45"/>
                  <a:gd name="T8" fmla="*/ 31 w 31"/>
                  <a:gd name="T9" fmla="*/ 45 h 45"/>
                  <a:gd name="T10" fmla="*/ 31 w 31"/>
                  <a:gd name="T11" fmla="*/ 43 h 45"/>
                  <a:gd name="T12" fmla="*/ 15 w 31"/>
                  <a:gd name="T13" fmla="*/ 39 h 45"/>
                  <a:gd name="T14" fmla="*/ 6 w 31"/>
                  <a:gd name="T15" fmla="*/ 24 h 45"/>
                  <a:gd name="T16" fmla="*/ 10 w 31"/>
                  <a:gd name="T17" fmla="*/ 7 h 45"/>
                  <a:gd name="T18" fmla="*/ 14 w 31"/>
                  <a:gd name="T1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14" y="0"/>
                    </a:moveTo>
                    <a:cubicBezTo>
                      <a:pt x="10" y="1"/>
                      <a:pt x="7" y="4"/>
                      <a:pt x="5" y="9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0" y="33"/>
                      <a:pt x="4" y="39"/>
                      <a:pt x="11" y="41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8" y="37"/>
                      <a:pt x="4" y="31"/>
                      <a:pt x="6" y="24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4"/>
                      <a:pt x="12" y="1"/>
                      <a:pt x="14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0" name="Freeform 309">
                <a:extLst>
                  <a:ext uri="{FF2B5EF4-FFF2-40B4-BE49-F238E27FC236}">
                    <a16:creationId xmlns:a16="http://schemas.microsoft.com/office/drawing/2014/main" id="{6D0CC0B9-E9A3-402A-99CC-8B0F579216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5" y="2217"/>
                <a:ext cx="27" cy="8"/>
              </a:xfrm>
              <a:custGeom>
                <a:avLst/>
                <a:gdLst>
                  <a:gd name="T0" fmla="*/ 24 w 27"/>
                  <a:gd name="T1" fmla="*/ 6 h 8"/>
                  <a:gd name="T2" fmla="*/ 24 w 27"/>
                  <a:gd name="T3" fmla="*/ 7 h 8"/>
                  <a:gd name="T4" fmla="*/ 26 w 27"/>
                  <a:gd name="T5" fmla="*/ 8 h 8"/>
                  <a:gd name="T6" fmla="*/ 27 w 27"/>
                  <a:gd name="T7" fmla="*/ 6 h 8"/>
                  <a:gd name="T8" fmla="*/ 24 w 27"/>
                  <a:gd name="T9" fmla="*/ 6 h 8"/>
                  <a:gd name="T10" fmla="*/ 18 w 27"/>
                  <a:gd name="T11" fmla="*/ 4 h 8"/>
                  <a:gd name="T12" fmla="*/ 18 w 27"/>
                  <a:gd name="T13" fmla="*/ 6 h 8"/>
                  <a:gd name="T14" fmla="*/ 21 w 27"/>
                  <a:gd name="T15" fmla="*/ 6 h 8"/>
                  <a:gd name="T16" fmla="*/ 21 w 27"/>
                  <a:gd name="T17" fmla="*/ 5 h 8"/>
                  <a:gd name="T18" fmla="*/ 18 w 27"/>
                  <a:gd name="T19" fmla="*/ 4 h 8"/>
                  <a:gd name="T20" fmla="*/ 13 w 27"/>
                  <a:gd name="T21" fmla="*/ 3 h 8"/>
                  <a:gd name="T22" fmla="*/ 12 w 27"/>
                  <a:gd name="T23" fmla="*/ 4 h 8"/>
                  <a:gd name="T24" fmla="*/ 15 w 27"/>
                  <a:gd name="T25" fmla="*/ 5 h 8"/>
                  <a:gd name="T26" fmla="*/ 15 w 27"/>
                  <a:gd name="T27" fmla="*/ 3 h 8"/>
                  <a:gd name="T28" fmla="*/ 13 w 27"/>
                  <a:gd name="T29" fmla="*/ 3 h 8"/>
                  <a:gd name="T30" fmla="*/ 7 w 27"/>
                  <a:gd name="T31" fmla="*/ 2 h 8"/>
                  <a:gd name="T32" fmla="*/ 7 w 27"/>
                  <a:gd name="T33" fmla="*/ 3 h 8"/>
                  <a:gd name="T34" fmla="*/ 9 w 27"/>
                  <a:gd name="T35" fmla="*/ 4 h 8"/>
                  <a:gd name="T36" fmla="*/ 10 w 27"/>
                  <a:gd name="T37" fmla="*/ 2 h 8"/>
                  <a:gd name="T38" fmla="*/ 7 w 27"/>
                  <a:gd name="T39" fmla="*/ 2 h 8"/>
                  <a:gd name="T40" fmla="*/ 0 w 27"/>
                  <a:gd name="T41" fmla="*/ 0 h 8"/>
                  <a:gd name="T42" fmla="*/ 0 w 27"/>
                  <a:gd name="T43" fmla="*/ 1 h 8"/>
                  <a:gd name="T44" fmla="*/ 4 w 27"/>
                  <a:gd name="T45" fmla="*/ 2 h 8"/>
                  <a:gd name="T46" fmla="*/ 4 w 27"/>
                  <a:gd name="T47" fmla="*/ 1 h 8"/>
                  <a:gd name="T48" fmla="*/ 0 w 27"/>
                  <a:gd name="T4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" h="8">
                    <a:moveTo>
                      <a:pt x="24" y="6"/>
                    </a:moveTo>
                    <a:lnTo>
                      <a:pt x="24" y="7"/>
                    </a:lnTo>
                    <a:lnTo>
                      <a:pt x="26" y="8"/>
                    </a:lnTo>
                    <a:lnTo>
                      <a:pt x="27" y="6"/>
                    </a:lnTo>
                    <a:lnTo>
                      <a:pt x="24" y="6"/>
                    </a:lnTo>
                    <a:close/>
                    <a:moveTo>
                      <a:pt x="18" y="4"/>
                    </a:moveTo>
                    <a:lnTo>
                      <a:pt x="18" y="6"/>
                    </a:lnTo>
                    <a:lnTo>
                      <a:pt x="21" y="6"/>
                    </a:lnTo>
                    <a:lnTo>
                      <a:pt x="21" y="5"/>
                    </a:lnTo>
                    <a:lnTo>
                      <a:pt x="18" y="4"/>
                    </a:lnTo>
                    <a:close/>
                    <a:moveTo>
                      <a:pt x="13" y="3"/>
                    </a:moveTo>
                    <a:lnTo>
                      <a:pt x="12" y="4"/>
                    </a:lnTo>
                    <a:lnTo>
                      <a:pt x="15" y="5"/>
                    </a:lnTo>
                    <a:lnTo>
                      <a:pt x="15" y="3"/>
                    </a:lnTo>
                    <a:lnTo>
                      <a:pt x="13" y="3"/>
                    </a:lnTo>
                    <a:close/>
                    <a:moveTo>
                      <a:pt x="7" y="2"/>
                    </a:moveTo>
                    <a:lnTo>
                      <a:pt x="7" y="3"/>
                    </a:lnTo>
                    <a:lnTo>
                      <a:pt x="9" y="4"/>
                    </a:lnTo>
                    <a:lnTo>
                      <a:pt x="10" y="2"/>
                    </a:lnTo>
                    <a:lnTo>
                      <a:pt x="7" y="2"/>
                    </a:lnTo>
                    <a:close/>
                    <a:moveTo>
                      <a:pt x="0" y="0"/>
                    </a:moveTo>
                    <a:lnTo>
                      <a:pt x="0" y="1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1" name="Freeform 310">
                <a:extLst>
                  <a:ext uri="{FF2B5EF4-FFF2-40B4-BE49-F238E27FC236}">
                    <a16:creationId xmlns:a16="http://schemas.microsoft.com/office/drawing/2014/main" id="{5E59173D-37ED-4261-A904-5F33C8416A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5" y="2217"/>
                <a:ext cx="27" cy="8"/>
              </a:xfrm>
              <a:custGeom>
                <a:avLst/>
                <a:gdLst>
                  <a:gd name="T0" fmla="*/ 24 w 27"/>
                  <a:gd name="T1" fmla="*/ 6 h 8"/>
                  <a:gd name="T2" fmla="*/ 24 w 27"/>
                  <a:gd name="T3" fmla="*/ 7 h 8"/>
                  <a:gd name="T4" fmla="*/ 26 w 27"/>
                  <a:gd name="T5" fmla="*/ 8 h 8"/>
                  <a:gd name="T6" fmla="*/ 27 w 27"/>
                  <a:gd name="T7" fmla="*/ 6 h 8"/>
                  <a:gd name="T8" fmla="*/ 24 w 27"/>
                  <a:gd name="T9" fmla="*/ 6 h 8"/>
                  <a:gd name="T10" fmla="*/ 18 w 27"/>
                  <a:gd name="T11" fmla="*/ 4 h 8"/>
                  <a:gd name="T12" fmla="*/ 18 w 27"/>
                  <a:gd name="T13" fmla="*/ 6 h 8"/>
                  <a:gd name="T14" fmla="*/ 21 w 27"/>
                  <a:gd name="T15" fmla="*/ 6 h 8"/>
                  <a:gd name="T16" fmla="*/ 21 w 27"/>
                  <a:gd name="T17" fmla="*/ 5 h 8"/>
                  <a:gd name="T18" fmla="*/ 18 w 27"/>
                  <a:gd name="T19" fmla="*/ 4 h 8"/>
                  <a:gd name="T20" fmla="*/ 13 w 27"/>
                  <a:gd name="T21" fmla="*/ 3 h 8"/>
                  <a:gd name="T22" fmla="*/ 12 w 27"/>
                  <a:gd name="T23" fmla="*/ 4 h 8"/>
                  <a:gd name="T24" fmla="*/ 15 w 27"/>
                  <a:gd name="T25" fmla="*/ 5 h 8"/>
                  <a:gd name="T26" fmla="*/ 15 w 27"/>
                  <a:gd name="T27" fmla="*/ 3 h 8"/>
                  <a:gd name="T28" fmla="*/ 13 w 27"/>
                  <a:gd name="T29" fmla="*/ 3 h 8"/>
                  <a:gd name="T30" fmla="*/ 7 w 27"/>
                  <a:gd name="T31" fmla="*/ 2 h 8"/>
                  <a:gd name="T32" fmla="*/ 7 w 27"/>
                  <a:gd name="T33" fmla="*/ 3 h 8"/>
                  <a:gd name="T34" fmla="*/ 9 w 27"/>
                  <a:gd name="T35" fmla="*/ 4 h 8"/>
                  <a:gd name="T36" fmla="*/ 10 w 27"/>
                  <a:gd name="T37" fmla="*/ 2 h 8"/>
                  <a:gd name="T38" fmla="*/ 7 w 27"/>
                  <a:gd name="T39" fmla="*/ 2 h 8"/>
                  <a:gd name="T40" fmla="*/ 0 w 27"/>
                  <a:gd name="T41" fmla="*/ 0 h 8"/>
                  <a:gd name="T42" fmla="*/ 0 w 27"/>
                  <a:gd name="T43" fmla="*/ 1 h 8"/>
                  <a:gd name="T44" fmla="*/ 4 w 27"/>
                  <a:gd name="T45" fmla="*/ 2 h 8"/>
                  <a:gd name="T46" fmla="*/ 4 w 27"/>
                  <a:gd name="T47" fmla="*/ 1 h 8"/>
                  <a:gd name="T48" fmla="*/ 0 w 27"/>
                  <a:gd name="T4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" h="8">
                    <a:moveTo>
                      <a:pt x="24" y="6"/>
                    </a:moveTo>
                    <a:lnTo>
                      <a:pt x="24" y="7"/>
                    </a:lnTo>
                    <a:lnTo>
                      <a:pt x="26" y="8"/>
                    </a:lnTo>
                    <a:lnTo>
                      <a:pt x="27" y="6"/>
                    </a:lnTo>
                    <a:lnTo>
                      <a:pt x="24" y="6"/>
                    </a:lnTo>
                    <a:moveTo>
                      <a:pt x="18" y="4"/>
                    </a:moveTo>
                    <a:lnTo>
                      <a:pt x="18" y="6"/>
                    </a:lnTo>
                    <a:lnTo>
                      <a:pt x="21" y="6"/>
                    </a:lnTo>
                    <a:lnTo>
                      <a:pt x="21" y="5"/>
                    </a:lnTo>
                    <a:lnTo>
                      <a:pt x="18" y="4"/>
                    </a:lnTo>
                    <a:moveTo>
                      <a:pt x="13" y="3"/>
                    </a:moveTo>
                    <a:lnTo>
                      <a:pt x="12" y="4"/>
                    </a:lnTo>
                    <a:lnTo>
                      <a:pt x="15" y="5"/>
                    </a:lnTo>
                    <a:lnTo>
                      <a:pt x="15" y="3"/>
                    </a:lnTo>
                    <a:lnTo>
                      <a:pt x="13" y="3"/>
                    </a:lnTo>
                    <a:moveTo>
                      <a:pt x="7" y="2"/>
                    </a:moveTo>
                    <a:lnTo>
                      <a:pt x="7" y="3"/>
                    </a:lnTo>
                    <a:lnTo>
                      <a:pt x="9" y="4"/>
                    </a:lnTo>
                    <a:lnTo>
                      <a:pt x="10" y="2"/>
                    </a:lnTo>
                    <a:lnTo>
                      <a:pt x="7" y="2"/>
                    </a:lnTo>
                    <a:moveTo>
                      <a:pt x="0" y="0"/>
                    </a:moveTo>
                    <a:lnTo>
                      <a:pt x="0" y="1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2" name="Rectangle 311">
                <a:extLst>
                  <a:ext uri="{FF2B5EF4-FFF2-40B4-BE49-F238E27FC236}">
                    <a16:creationId xmlns:a16="http://schemas.microsoft.com/office/drawing/2014/main" id="{9AD7DE13-AAFE-4369-97FD-05FE5D5484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3" name="Rectangle 312">
                <a:extLst>
                  <a:ext uri="{FF2B5EF4-FFF2-40B4-BE49-F238E27FC236}">
                    <a16:creationId xmlns:a16="http://schemas.microsoft.com/office/drawing/2014/main" id="{E16D78B7-27DA-4CF0-AB57-CE645A0478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4" name="Freeform 313">
                <a:extLst>
                  <a:ext uri="{FF2B5EF4-FFF2-40B4-BE49-F238E27FC236}">
                    <a16:creationId xmlns:a16="http://schemas.microsoft.com/office/drawing/2014/main" id="{0E19076A-7656-4EE8-B50C-E5DC6D5129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4" y="2224"/>
                <a:ext cx="18" cy="5"/>
              </a:xfrm>
              <a:custGeom>
                <a:avLst/>
                <a:gdLst>
                  <a:gd name="T0" fmla="*/ 11 w 32"/>
                  <a:gd name="T1" fmla="*/ 3 h 10"/>
                  <a:gd name="T2" fmla="*/ 11 w 32"/>
                  <a:gd name="T3" fmla="*/ 5 h 10"/>
                  <a:gd name="T4" fmla="*/ 29 w 32"/>
                  <a:gd name="T5" fmla="*/ 10 h 10"/>
                  <a:gd name="T6" fmla="*/ 32 w 32"/>
                  <a:gd name="T7" fmla="*/ 7 h 10"/>
                  <a:gd name="T8" fmla="*/ 11 w 32"/>
                  <a:gd name="T9" fmla="*/ 3 h 10"/>
                  <a:gd name="T10" fmla="*/ 1 w 32"/>
                  <a:gd name="T11" fmla="*/ 0 h 10"/>
                  <a:gd name="T12" fmla="*/ 0 w 32"/>
                  <a:gd name="T13" fmla="*/ 3 h 10"/>
                  <a:gd name="T14" fmla="*/ 5 w 32"/>
                  <a:gd name="T15" fmla="*/ 4 h 10"/>
                  <a:gd name="T16" fmla="*/ 6 w 32"/>
                  <a:gd name="T17" fmla="*/ 1 h 10"/>
                  <a:gd name="T18" fmla="*/ 1 w 32"/>
                  <a:gd name="T1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10">
                    <a:moveTo>
                      <a:pt x="11" y="3"/>
                    </a:moveTo>
                    <a:cubicBezTo>
                      <a:pt x="11" y="5"/>
                      <a:pt x="11" y="5"/>
                      <a:pt x="11" y="5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9"/>
                      <a:pt x="31" y="8"/>
                      <a:pt x="32" y="7"/>
                    </a:cubicBezTo>
                    <a:cubicBezTo>
                      <a:pt x="11" y="3"/>
                      <a:pt x="11" y="3"/>
                      <a:pt x="11" y="3"/>
                    </a:cubicBezTo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5" name="Freeform 314">
                <a:extLst>
                  <a:ext uri="{FF2B5EF4-FFF2-40B4-BE49-F238E27FC236}">
                    <a16:creationId xmlns:a16="http://schemas.microsoft.com/office/drawing/2014/main" id="{0F5D374D-8AC1-4BE4-A086-993889EA1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2224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6" name="Freeform 315">
                <a:extLst>
                  <a:ext uri="{FF2B5EF4-FFF2-40B4-BE49-F238E27FC236}">
                    <a16:creationId xmlns:a16="http://schemas.microsoft.com/office/drawing/2014/main" id="{81F23A47-CC08-48D4-9BA2-AD20C80D5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2224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7" name="Freeform 316">
                <a:extLst>
                  <a:ext uri="{FF2B5EF4-FFF2-40B4-BE49-F238E27FC236}">
                    <a16:creationId xmlns:a16="http://schemas.microsoft.com/office/drawing/2014/main" id="{D46FC136-779D-41A1-9D55-5FDB87B0D5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1" y="2223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8" name="Freeform 317">
                <a:extLst>
                  <a:ext uri="{FF2B5EF4-FFF2-40B4-BE49-F238E27FC236}">
                    <a16:creationId xmlns:a16="http://schemas.microsoft.com/office/drawing/2014/main" id="{B5AA8F1A-8521-4D58-BC9C-E09B9EDDF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1" y="2223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9" name="Freeform 318">
                <a:extLst>
                  <a:ext uri="{FF2B5EF4-FFF2-40B4-BE49-F238E27FC236}">
                    <a16:creationId xmlns:a16="http://schemas.microsoft.com/office/drawing/2014/main" id="{76BE28C4-C918-4584-8495-E44E006D75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222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0" name="Freeform 319">
                <a:extLst>
                  <a:ext uri="{FF2B5EF4-FFF2-40B4-BE49-F238E27FC236}">
                    <a16:creationId xmlns:a16="http://schemas.microsoft.com/office/drawing/2014/main" id="{6548F4B1-5804-4316-9AE1-6E0A09DD6C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222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1" name="Freeform 320">
                <a:extLst>
                  <a:ext uri="{FF2B5EF4-FFF2-40B4-BE49-F238E27FC236}">
                    <a16:creationId xmlns:a16="http://schemas.microsoft.com/office/drawing/2014/main" id="{6697C27F-E433-44EC-9B30-1E9A525F7E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220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2 h 3"/>
                  <a:gd name="T4" fmla="*/ 3 w 3"/>
                  <a:gd name="T5" fmla="*/ 3 h 3"/>
                  <a:gd name="T6" fmla="*/ 3 w 3"/>
                  <a:gd name="T7" fmla="*/ 1 h 3"/>
                  <a:gd name="T8" fmla="*/ 0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2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2" name="Freeform 321">
                <a:extLst>
                  <a:ext uri="{FF2B5EF4-FFF2-40B4-BE49-F238E27FC236}">
                    <a16:creationId xmlns:a16="http://schemas.microsoft.com/office/drawing/2014/main" id="{F57788D8-1228-4FC8-9AB3-9CAB96A401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220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2 h 3"/>
                  <a:gd name="T4" fmla="*/ 3 w 3"/>
                  <a:gd name="T5" fmla="*/ 3 h 3"/>
                  <a:gd name="T6" fmla="*/ 3 w 3"/>
                  <a:gd name="T7" fmla="*/ 1 h 3"/>
                  <a:gd name="T8" fmla="*/ 0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2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3" name="Freeform 322">
                <a:extLst>
                  <a:ext uri="{FF2B5EF4-FFF2-40B4-BE49-F238E27FC236}">
                    <a16:creationId xmlns:a16="http://schemas.microsoft.com/office/drawing/2014/main" id="{D9B31C0A-69E9-43C9-ACA5-51FA9C524A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" y="2219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4" name="Freeform 323">
                <a:extLst>
                  <a:ext uri="{FF2B5EF4-FFF2-40B4-BE49-F238E27FC236}">
                    <a16:creationId xmlns:a16="http://schemas.microsoft.com/office/drawing/2014/main" id="{3691F7EC-B6B3-459C-AB5B-594B9A6C9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" y="2219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5" name="Freeform 324">
                <a:extLst>
                  <a:ext uri="{FF2B5EF4-FFF2-40B4-BE49-F238E27FC236}">
                    <a16:creationId xmlns:a16="http://schemas.microsoft.com/office/drawing/2014/main" id="{EFEBAD90-2B2E-489A-AA49-07C0D7568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9" y="2218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6" name="Freeform 325">
                <a:extLst>
                  <a:ext uri="{FF2B5EF4-FFF2-40B4-BE49-F238E27FC236}">
                    <a16:creationId xmlns:a16="http://schemas.microsoft.com/office/drawing/2014/main" id="{06A543B3-7B01-41BE-B670-A93CF0D15C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9" y="2218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7" name="Freeform 326">
                <a:extLst>
                  <a:ext uri="{FF2B5EF4-FFF2-40B4-BE49-F238E27FC236}">
                    <a16:creationId xmlns:a16="http://schemas.microsoft.com/office/drawing/2014/main" id="{DC857BAD-B7EF-4914-A165-A6D9BF742B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0" y="2191"/>
                <a:ext cx="69" cy="37"/>
              </a:xfrm>
              <a:custGeom>
                <a:avLst/>
                <a:gdLst>
                  <a:gd name="T0" fmla="*/ 2 w 127"/>
                  <a:gd name="T1" fmla="*/ 28 h 67"/>
                  <a:gd name="T2" fmla="*/ 6 w 127"/>
                  <a:gd name="T3" fmla="*/ 11 h 67"/>
                  <a:gd name="T4" fmla="*/ 20 w 127"/>
                  <a:gd name="T5" fmla="*/ 2 h 67"/>
                  <a:gd name="T6" fmla="*/ 127 w 127"/>
                  <a:gd name="T7" fmla="*/ 26 h 67"/>
                  <a:gd name="T8" fmla="*/ 117 w 127"/>
                  <a:gd name="T9" fmla="*/ 67 h 67"/>
                  <a:gd name="T10" fmla="*/ 11 w 127"/>
                  <a:gd name="T11" fmla="*/ 43 h 67"/>
                  <a:gd name="T12" fmla="*/ 2 w 127"/>
                  <a:gd name="T13" fmla="*/ 2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67">
                    <a:moveTo>
                      <a:pt x="2" y="28"/>
                    </a:moveTo>
                    <a:cubicBezTo>
                      <a:pt x="6" y="11"/>
                      <a:pt x="6" y="11"/>
                      <a:pt x="6" y="11"/>
                    </a:cubicBezTo>
                    <a:cubicBezTo>
                      <a:pt x="7" y="4"/>
                      <a:pt x="14" y="0"/>
                      <a:pt x="20" y="2"/>
                    </a:cubicBezTo>
                    <a:cubicBezTo>
                      <a:pt x="127" y="26"/>
                      <a:pt x="127" y="26"/>
                      <a:pt x="127" y="26"/>
                    </a:cubicBezTo>
                    <a:cubicBezTo>
                      <a:pt x="117" y="67"/>
                      <a:pt x="117" y="67"/>
                      <a:pt x="117" y="67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4" y="41"/>
                      <a:pt x="0" y="35"/>
                      <a:pt x="2" y="28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8" name="Freeform 327">
                <a:extLst>
                  <a:ext uri="{FF2B5EF4-FFF2-40B4-BE49-F238E27FC236}">
                    <a16:creationId xmlns:a16="http://schemas.microsoft.com/office/drawing/2014/main" id="{46CC2F71-F3D1-4BA3-8BB9-D25AA38881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1" y="2229"/>
                <a:ext cx="1" cy="3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0 w 2"/>
                  <a:gd name="T5" fmla="*/ 5 h 5"/>
                  <a:gd name="T6" fmla="*/ 0 w 2"/>
                  <a:gd name="T7" fmla="*/ 5 h 5"/>
                  <a:gd name="T8" fmla="*/ 0 w 2"/>
                  <a:gd name="T9" fmla="*/ 5 h 5"/>
                  <a:gd name="T10" fmla="*/ 0 w 2"/>
                  <a:gd name="T11" fmla="*/ 5 h 5"/>
                  <a:gd name="T12" fmla="*/ 0 w 2"/>
                  <a:gd name="T13" fmla="*/ 5 h 5"/>
                  <a:gd name="T14" fmla="*/ 0 w 2"/>
                  <a:gd name="T15" fmla="*/ 5 h 5"/>
                  <a:gd name="T16" fmla="*/ 0 w 2"/>
                  <a:gd name="T17" fmla="*/ 5 h 5"/>
                  <a:gd name="T18" fmla="*/ 0 w 2"/>
                  <a:gd name="T19" fmla="*/ 5 h 5"/>
                  <a:gd name="T20" fmla="*/ 0 w 2"/>
                  <a:gd name="T21" fmla="*/ 5 h 5"/>
                  <a:gd name="T22" fmla="*/ 0 w 2"/>
                  <a:gd name="T23" fmla="*/ 5 h 5"/>
                  <a:gd name="T24" fmla="*/ 1 w 2"/>
                  <a:gd name="T25" fmla="*/ 4 h 5"/>
                  <a:gd name="T26" fmla="*/ 0 w 2"/>
                  <a:gd name="T27" fmla="*/ 4 h 5"/>
                  <a:gd name="T28" fmla="*/ 1 w 2"/>
                  <a:gd name="T29" fmla="*/ 4 h 5"/>
                  <a:gd name="T30" fmla="*/ 1 w 2"/>
                  <a:gd name="T31" fmla="*/ 4 h 5"/>
                  <a:gd name="T32" fmla="*/ 1 w 2"/>
                  <a:gd name="T33" fmla="*/ 4 h 5"/>
                  <a:gd name="T34" fmla="*/ 1 w 2"/>
                  <a:gd name="T35" fmla="*/ 4 h 5"/>
                  <a:gd name="T36" fmla="*/ 1 w 2"/>
                  <a:gd name="T37" fmla="*/ 4 h 5"/>
                  <a:gd name="T38" fmla="*/ 1 w 2"/>
                  <a:gd name="T39" fmla="*/ 4 h 5"/>
                  <a:gd name="T40" fmla="*/ 1 w 2"/>
                  <a:gd name="T41" fmla="*/ 4 h 5"/>
                  <a:gd name="T42" fmla="*/ 1 w 2"/>
                  <a:gd name="T43" fmla="*/ 4 h 5"/>
                  <a:gd name="T44" fmla="*/ 1 w 2"/>
                  <a:gd name="T45" fmla="*/ 4 h 5"/>
                  <a:gd name="T46" fmla="*/ 1 w 2"/>
                  <a:gd name="T47" fmla="*/ 4 h 5"/>
                  <a:gd name="T48" fmla="*/ 1 w 2"/>
                  <a:gd name="T49" fmla="*/ 4 h 5"/>
                  <a:gd name="T50" fmla="*/ 1 w 2"/>
                  <a:gd name="T51" fmla="*/ 4 h 5"/>
                  <a:gd name="T52" fmla="*/ 1 w 2"/>
                  <a:gd name="T53" fmla="*/ 4 h 5"/>
                  <a:gd name="T54" fmla="*/ 1 w 2"/>
                  <a:gd name="T55" fmla="*/ 4 h 5"/>
                  <a:gd name="T56" fmla="*/ 1 w 2"/>
                  <a:gd name="T57" fmla="*/ 4 h 5"/>
                  <a:gd name="T58" fmla="*/ 1 w 2"/>
                  <a:gd name="T59" fmla="*/ 4 h 5"/>
                  <a:gd name="T60" fmla="*/ 1 w 2"/>
                  <a:gd name="T61" fmla="*/ 3 h 5"/>
                  <a:gd name="T62" fmla="*/ 1 w 2"/>
                  <a:gd name="T63" fmla="*/ 4 h 5"/>
                  <a:gd name="T64" fmla="*/ 1 w 2"/>
                  <a:gd name="T65" fmla="*/ 3 h 5"/>
                  <a:gd name="T66" fmla="*/ 1 w 2"/>
                  <a:gd name="T67" fmla="*/ 3 h 5"/>
                  <a:gd name="T68" fmla="*/ 1 w 2"/>
                  <a:gd name="T69" fmla="*/ 3 h 5"/>
                  <a:gd name="T70" fmla="*/ 1 w 2"/>
                  <a:gd name="T71" fmla="*/ 3 h 5"/>
                  <a:gd name="T72" fmla="*/ 1 w 2"/>
                  <a:gd name="T73" fmla="*/ 3 h 5"/>
                  <a:gd name="T74" fmla="*/ 1 w 2"/>
                  <a:gd name="T75" fmla="*/ 3 h 5"/>
                  <a:gd name="T76" fmla="*/ 1 w 2"/>
                  <a:gd name="T77" fmla="*/ 3 h 5"/>
                  <a:gd name="T78" fmla="*/ 1 w 2"/>
                  <a:gd name="T79" fmla="*/ 2 h 5"/>
                  <a:gd name="T80" fmla="*/ 1 w 2"/>
                  <a:gd name="T81" fmla="*/ 3 h 5"/>
                  <a:gd name="T82" fmla="*/ 1 w 2"/>
                  <a:gd name="T83" fmla="*/ 2 h 5"/>
                  <a:gd name="T84" fmla="*/ 1 w 2"/>
                  <a:gd name="T85" fmla="*/ 2 h 5"/>
                  <a:gd name="T86" fmla="*/ 1 w 2"/>
                  <a:gd name="T87" fmla="*/ 2 h 5"/>
                  <a:gd name="T88" fmla="*/ 1 w 2"/>
                  <a:gd name="T89" fmla="*/ 2 h 5"/>
                  <a:gd name="T90" fmla="*/ 2 w 2"/>
                  <a:gd name="T91" fmla="*/ 2 h 5"/>
                  <a:gd name="T92" fmla="*/ 2 w 2"/>
                  <a:gd name="T93" fmla="*/ 2 h 5"/>
                  <a:gd name="T94" fmla="*/ 2 w 2"/>
                  <a:gd name="T95" fmla="*/ 2 h 5"/>
                  <a:gd name="T96" fmla="*/ 2 w 2"/>
                  <a:gd name="T97" fmla="*/ 1 h 5"/>
                  <a:gd name="T98" fmla="*/ 2 w 2"/>
                  <a:gd name="T99" fmla="*/ 1 h 5"/>
                  <a:gd name="T100" fmla="*/ 2 w 2"/>
                  <a:gd name="T101" fmla="*/ 1 h 5"/>
                  <a:gd name="T102" fmla="*/ 2 w 2"/>
                  <a:gd name="T103" fmla="*/ 1 h 5"/>
                  <a:gd name="T104" fmla="*/ 2 w 2"/>
                  <a:gd name="T105" fmla="*/ 1 h 5"/>
                  <a:gd name="T106" fmla="*/ 2 w 2"/>
                  <a:gd name="T107" fmla="*/ 1 h 5"/>
                  <a:gd name="T108" fmla="*/ 2 w 2"/>
                  <a:gd name="T109" fmla="*/ 0 h 5"/>
                  <a:gd name="T110" fmla="*/ 2 w 2"/>
                  <a:gd name="T111" fmla="*/ 1 h 5"/>
                  <a:gd name="T112" fmla="*/ 2 w 2"/>
                  <a:gd name="T113" fmla="*/ 0 h 5"/>
                  <a:gd name="T114" fmla="*/ 2 w 2"/>
                  <a:gd name="T1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1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3"/>
                    </a:moveTo>
                    <a:cubicBezTo>
                      <a:pt x="1" y="3"/>
                      <a:pt x="1" y="4"/>
                      <a:pt x="1" y="4"/>
                    </a:cubicBezTo>
                    <a:cubicBezTo>
                      <a:pt x="1" y="4"/>
                      <a:pt x="1" y="3"/>
                      <a:pt x="1" y="3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2"/>
                      <a:pt x="1" y="2"/>
                    </a:cubicBezTo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moveTo>
                      <a:pt x="2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moveTo>
                      <a:pt x="2" y="0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9" name="Freeform 328">
                <a:extLst>
                  <a:ext uri="{FF2B5EF4-FFF2-40B4-BE49-F238E27FC236}">
                    <a16:creationId xmlns:a16="http://schemas.microsoft.com/office/drawing/2014/main" id="{FDE0045B-5F4A-41EC-8206-2957640CB2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2" y="2222"/>
                <a:ext cx="50" cy="14"/>
              </a:xfrm>
              <a:custGeom>
                <a:avLst/>
                <a:gdLst>
                  <a:gd name="T0" fmla="*/ 55 w 90"/>
                  <a:gd name="T1" fmla="*/ 21 h 25"/>
                  <a:gd name="T2" fmla="*/ 62 w 90"/>
                  <a:gd name="T3" fmla="*/ 14 h 25"/>
                  <a:gd name="T4" fmla="*/ 87 w 90"/>
                  <a:gd name="T5" fmla="*/ 13 h 25"/>
                  <a:gd name="T6" fmla="*/ 70 w 90"/>
                  <a:gd name="T7" fmla="*/ 16 h 25"/>
                  <a:gd name="T8" fmla="*/ 65 w 90"/>
                  <a:gd name="T9" fmla="*/ 24 h 25"/>
                  <a:gd name="T10" fmla="*/ 73 w 90"/>
                  <a:gd name="T11" fmla="*/ 25 h 25"/>
                  <a:gd name="T12" fmla="*/ 88 w 90"/>
                  <a:gd name="T13" fmla="*/ 18 h 25"/>
                  <a:gd name="T14" fmla="*/ 88 w 90"/>
                  <a:gd name="T15" fmla="*/ 18 h 25"/>
                  <a:gd name="T16" fmla="*/ 88 w 90"/>
                  <a:gd name="T17" fmla="*/ 18 h 25"/>
                  <a:gd name="T18" fmla="*/ 88 w 90"/>
                  <a:gd name="T19" fmla="*/ 18 h 25"/>
                  <a:gd name="T20" fmla="*/ 89 w 90"/>
                  <a:gd name="T21" fmla="*/ 17 h 25"/>
                  <a:gd name="T22" fmla="*/ 89 w 90"/>
                  <a:gd name="T23" fmla="*/ 17 h 25"/>
                  <a:gd name="T24" fmla="*/ 89 w 90"/>
                  <a:gd name="T25" fmla="*/ 17 h 25"/>
                  <a:gd name="T26" fmla="*/ 89 w 90"/>
                  <a:gd name="T27" fmla="*/ 17 h 25"/>
                  <a:gd name="T28" fmla="*/ 89 w 90"/>
                  <a:gd name="T29" fmla="*/ 17 h 25"/>
                  <a:gd name="T30" fmla="*/ 89 w 90"/>
                  <a:gd name="T31" fmla="*/ 17 h 25"/>
                  <a:gd name="T32" fmla="*/ 89 w 90"/>
                  <a:gd name="T33" fmla="*/ 16 h 25"/>
                  <a:gd name="T34" fmla="*/ 89 w 90"/>
                  <a:gd name="T35" fmla="*/ 16 h 25"/>
                  <a:gd name="T36" fmla="*/ 89 w 90"/>
                  <a:gd name="T37" fmla="*/ 16 h 25"/>
                  <a:gd name="T38" fmla="*/ 89 w 90"/>
                  <a:gd name="T39" fmla="*/ 15 h 25"/>
                  <a:gd name="T40" fmla="*/ 89 w 90"/>
                  <a:gd name="T41" fmla="*/ 15 h 25"/>
                  <a:gd name="T42" fmla="*/ 90 w 90"/>
                  <a:gd name="T43" fmla="*/ 15 h 25"/>
                  <a:gd name="T44" fmla="*/ 90 w 90"/>
                  <a:gd name="T45" fmla="*/ 14 h 25"/>
                  <a:gd name="T46" fmla="*/ 90 w 90"/>
                  <a:gd name="T47" fmla="*/ 14 h 25"/>
                  <a:gd name="T48" fmla="*/ 90 w 90"/>
                  <a:gd name="T49" fmla="*/ 13 h 25"/>
                  <a:gd name="T50" fmla="*/ 46 w 90"/>
                  <a:gd name="T51" fmla="*/ 11 h 25"/>
                  <a:gd name="T52" fmla="*/ 49 w 90"/>
                  <a:gd name="T53" fmla="*/ 20 h 25"/>
                  <a:gd name="T54" fmla="*/ 46 w 90"/>
                  <a:gd name="T55" fmla="*/ 11 h 25"/>
                  <a:gd name="T56" fmla="*/ 34 w 90"/>
                  <a:gd name="T57" fmla="*/ 17 h 25"/>
                  <a:gd name="T58" fmla="*/ 39 w 90"/>
                  <a:gd name="T59" fmla="*/ 18 h 25"/>
                  <a:gd name="T60" fmla="*/ 36 w 90"/>
                  <a:gd name="T61" fmla="*/ 8 h 25"/>
                  <a:gd name="T62" fmla="*/ 24 w 90"/>
                  <a:gd name="T63" fmla="*/ 14 h 25"/>
                  <a:gd name="T64" fmla="*/ 31 w 90"/>
                  <a:gd name="T65" fmla="*/ 7 h 25"/>
                  <a:gd name="T66" fmla="*/ 15 w 90"/>
                  <a:gd name="T67" fmla="*/ 3 h 25"/>
                  <a:gd name="T68" fmla="*/ 18 w 90"/>
                  <a:gd name="T69" fmla="*/ 13 h 25"/>
                  <a:gd name="T70" fmla="*/ 15 w 90"/>
                  <a:gd name="T71" fmla="*/ 3 h 25"/>
                  <a:gd name="T72" fmla="*/ 0 w 90"/>
                  <a:gd name="T73" fmla="*/ 9 h 25"/>
                  <a:gd name="T74" fmla="*/ 8 w 90"/>
                  <a:gd name="T75" fmla="*/ 11 h 25"/>
                  <a:gd name="T76" fmla="*/ 2 w 90"/>
                  <a:gd name="T7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0" h="25">
                    <a:moveTo>
                      <a:pt x="57" y="13"/>
                    </a:moveTo>
                    <a:cubicBezTo>
                      <a:pt x="55" y="21"/>
                      <a:pt x="55" y="21"/>
                      <a:pt x="55" y="21"/>
                    </a:cubicBezTo>
                    <a:cubicBezTo>
                      <a:pt x="60" y="22"/>
                      <a:pt x="60" y="22"/>
                      <a:pt x="60" y="22"/>
                    </a:cubicBezTo>
                    <a:cubicBezTo>
                      <a:pt x="62" y="14"/>
                      <a:pt x="62" y="14"/>
                      <a:pt x="62" y="14"/>
                    </a:cubicBezTo>
                    <a:cubicBezTo>
                      <a:pt x="57" y="13"/>
                      <a:pt x="57" y="13"/>
                      <a:pt x="57" y="13"/>
                    </a:cubicBezTo>
                    <a:moveTo>
                      <a:pt x="87" y="13"/>
                    </a:moveTo>
                    <a:cubicBezTo>
                      <a:pt x="84" y="15"/>
                      <a:pt x="80" y="17"/>
                      <a:pt x="75" y="17"/>
                    </a:cubicBezTo>
                    <a:cubicBezTo>
                      <a:pt x="73" y="17"/>
                      <a:pt x="72" y="16"/>
                      <a:pt x="70" y="16"/>
                    </a:cubicBezTo>
                    <a:cubicBezTo>
                      <a:pt x="67" y="15"/>
                      <a:pt x="67" y="15"/>
                      <a:pt x="67" y="15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70" y="25"/>
                      <a:pt x="71" y="25"/>
                      <a:pt x="73" y="25"/>
                    </a:cubicBezTo>
                    <a:cubicBezTo>
                      <a:pt x="80" y="25"/>
                      <a:pt x="85" y="22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7"/>
                      <a:pt x="88" y="17"/>
                      <a:pt x="88" y="17"/>
                    </a:cubicBezTo>
                    <a:cubicBezTo>
                      <a:pt x="88" y="17"/>
                      <a:pt x="88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90" y="15"/>
                    </a:cubicBezTo>
                    <a:cubicBezTo>
                      <a:pt x="90" y="15"/>
                      <a:pt x="90" y="15"/>
                      <a:pt x="90" y="15"/>
                    </a:cubicBezTo>
                    <a:cubicBezTo>
                      <a:pt x="90" y="15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3"/>
                      <a:pt x="90" y="13"/>
                      <a:pt x="90" y="13"/>
                    </a:cubicBezTo>
                    <a:cubicBezTo>
                      <a:pt x="87" y="13"/>
                      <a:pt x="87" y="13"/>
                      <a:pt x="87" y="13"/>
                    </a:cubicBezTo>
                    <a:moveTo>
                      <a:pt x="46" y="11"/>
                    </a:moveTo>
                    <a:cubicBezTo>
                      <a:pt x="45" y="19"/>
                      <a:pt x="45" y="19"/>
                      <a:pt x="45" y="19"/>
                    </a:cubicBezTo>
                    <a:cubicBezTo>
                      <a:pt x="49" y="20"/>
                      <a:pt x="49" y="20"/>
                      <a:pt x="49" y="20"/>
                    </a:cubicBezTo>
                    <a:cubicBezTo>
                      <a:pt x="51" y="12"/>
                      <a:pt x="51" y="12"/>
                      <a:pt x="51" y="12"/>
                    </a:cubicBezTo>
                    <a:cubicBezTo>
                      <a:pt x="46" y="11"/>
                      <a:pt x="46" y="11"/>
                      <a:pt x="46" y="11"/>
                    </a:cubicBezTo>
                    <a:moveTo>
                      <a:pt x="36" y="8"/>
                    </a:moveTo>
                    <a:cubicBezTo>
                      <a:pt x="34" y="17"/>
                      <a:pt x="34" y="17"/>
                      <a:pt x="34" y="17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36" y="8"/>
                      <a:pt x="36" y="8"/>
                      <a:pt x="36" y="8"/>
                    </a:cubicBezTo>
                    <a:moveTo>
                      <a:pt x="26" y="6"/>
                    </a:moveTo>
                    <a:cubicBezTo>
                      <a:pt x="24" y="14"/>
                      <a:pt x="24" y="14"/>
                      <a:pt x="24" y="14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6" y="6"/>
                      <a:pt x="26" y="6"/>
                      <a:pt x="26" y="6"/>
                    </a:cubicBezTo>
                    <a:moveTo>
                      <a:pt x="15" y="3"/>
                    </a:moveTo>
                    <a:cubicBezTo>
                      <a:pt x="13" y="12"/>
                      <a:pt x="13" y="12"/>
                      <a:pt x="13" y="12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15" y="3"/>
                      <a:pt x="15" y="3"/>
                      <a:pt x="15" y="3"/>
                    </a:cubicBezTo>
                    <a:moveTo>
                      <a:pt x="2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0" name="Freeform 329">
                <a:extLst>
                  <a:ext uri="{FF2B5EF4-FFF2-40B4-BE49-F238E27FC236}">
                    <a16:creationId xmlns:a16="http://schemas.microsoft.com/office/drawing/2014/main" id="{21C40211-3DF2-4900-B294-5FC56038D0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230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3 w 4"/>
                  <a:gd name="T5" fmla="*/ 5 h 5"/>
                  <a:gd name="T6" fmla="*/ 4 w 4"/>
                  <a:gd name="T7" fmla="*/ 0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1" name="Freeform 330">
                <a:extLst>
                  <a:ext uri="{FF2B5EF4-FFF2-40B4-BE49-F238E27FC236}">
                    <a16:creationId xmlns:a16="http://schemas.microsoft.com/office/drawing/2014/main" id="{84EF45CB-FA20-423D-90C9-6D206FB469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230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3 w 4"/>
                  <a:gd name="T5" fmla="*/ 5 h 5"/>
                  <a:gd name="T6" fmla="*/ 4 w 4"/>
                  <a:gd name="T7" fmla="*/ 0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2" name="Freeform 331">
                <a:extLst>
                  <a:ext uri="{FF2B5EF4-FFF2-40B4-BE49-F238E27FC236}">
                    <a16:creationId xmlns:a16="http://schemas.microsoft.com/office/drawing/2014/main" id="{03FC9952-746E-49A8-B733-CF602BB6E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229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3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3" name="Freeform 332">
                <a:extLst>
                  <a:ext uri="{FF2B5EF4-FFF2-40B4-BE49-F238E27FC236}">
                    <a16:creationId xmlns:a16="http://schemas.microsoft.com/office/drawing/2014/main" id="{3D573F7C-4178-4BF1-8E36-14411A4291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229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3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5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4" name="Freeform 333">
                <a:extLst>
                  <a:ext uri="{FF2B5EF4-FFF2-40B4-BE49-F238E27FC236}">
                    <a16:creationId xmlns:a16="http://schemas.microsoft.com/office/drawing/2014/main" id="{F5765AE4-2359-4CFF-A084-003A85E242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227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5 h 5"/>
                  <a:gd name="T4" fmla="*/ 3 w 4"/>
                  <a:gd name="T5" fmla="*/ 5 h 5"/>
                  <a:gd name="T6" fmla="*/ 4 w 4"/>
                  <a:gd name="T7" fmla="*/ 1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5"/>
                    </a:lnTo>
                    <a:lnTo>
                      <a:pt x="3" y="5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5" name="Freeform 334">
                <a:extLst>
                  <a:ext uri="{FF2B5EF4-FFF2-40B4-BE49-F238E27FC236}">
                    <a16:creationId xmlns:a16="http://schemas.microsoft.com/office/drawing/2014/main" id="{99A1B14B-E957-4900-AA63-4B65096A4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227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5 h 5"/>
                  <a:gd name="T4" fmla="*/ 3 w 4"/>
                  <a:gd name="T5" fmla="*/ 5 h 5"/>
                  <a:gd name="T6" fmla="*/ 4 w 4"/>
                  <a:gd name="T7" fmla="*/ 1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5"/>
                    </a:lnTo>
                    <a:lnTo>
                      <a:pt x="3" y="5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6" name="Freeform 335">
                <a:extLst>
                  <a:ext uri="{FF2B5EF4-FFF2-40B4-BE49-F238E27FC236}">
                    <a16:creationId xmlns:a16="http://schemas.microsoft.com/office/drawing/2014/main" id="{0FF797DB-6F86-476D-8B85-9EB86E6F0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226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1 w 4"/>
                  <a:gd name="T5" fmla="*/ 5 h 5"/>
                  <a:gd name="T6" fmla="*/ 3 w 4"/>
                  <a:gd name="T7" fmla="*/ 5 h 5"/>
                  <a:gd name="T8" fmla="*/ 4 w 4"/>
                  <a:gd name="T9" fmla="*/ 0 h 5"/>
                  <a:gd name="T10" fmla="*/ 1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7" name="Freeform 336">
                <a:extLst>
                  <a:ext uri="{FF2B5EF4-FFF2-40B4-BE49-F238E27FC236}">
                    <a16:creationId xmlns:a16="http://schemas.microsoft.com/office/drawing/2014/main" id="{26FB6D40-410D-4E60-AB29-3E9A9A367E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226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1 w 4"/>
                  <a:gd name="T5" fmla="*/ 5 h 5"/>
                  <a:gd name="T6" fmla="*/ 3 w 4"/>
                  <a:gd name="T7" fmla="*/ 5 h 5"/>
                  <a:gd name="T8" fmla="*/ 4 w 4"/>
                  <a:gd name="T9" fmla="*/ 0 h 5"/>
                  <a:gd name="T10" fmla="*/ 1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8" name="Freeform 337">
                <a:extLst>
                  <a:ext uri="{FF2B5EF4-FFF2-40B4-BE49-F238E27FC236}">
                    <a16:creationId xmlns:a16="http://schemas.microsoft.com/office/drawing/2014/main" id="{FACBE5FC-1D07-48C0-9EDC-2DBE50E98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225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4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4" y="5"/>
                    </a:lnTo>
                    <a:lnTo>
                      <a:pt x="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9" name="Freeform 338">
                <a:extLst>
                  <a:ext uri="{FF2B5EF4-FFF2-40B4-BE49-F238E27FC236}">
                    <a16:creationId xmlns:a16="http://schemas.microsoft.com/office/drawing/2014/main" id="{CF4A6D40-44DF-4F96-B013-6513621F0B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225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4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4" y="5"/>
                    </a:lnTo>
                    <a:lnTo>
                      <a:pt x="5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0" name="Freeform 339">
                <a:extLst>
                  <a:ext uri="{FF2B5EF4-FFF2-40B4-BE49-F238E27FC236}">
                    <a16:creationId xmlns:a16="http://schemas.microsoft.com/office/drawing/2014/main" id="{757DF09E-3DD4-4BEF-813D-995F0C97DE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223"/>
                <a:ext cx="4" cy="6"/>
              </a:xfrm>
              <a:custGeom>
                <a:avLst/>
                <a:gdLst>
                  <a:gd name="T0" fmla="*/ 1 w 4"/>
                  <a:gd name="T1" fmla="*/ 0 h 6"/>
                  <a:gd name="T2" fmla="*/ 0 w 4"/>
                  <a:gd name="T3" fmla="*/ 5 h 6"/>
                  <a:gd name="T4" fmla="*/ 0 w 4"/>
                  <a:gd name="T5" fmla="*/ 5 h 6"/>
                  <a:gd name="T6" fmla="*/ 2 w 4"/>
                  <a:gd name="T7" fmla="*/ 6 h 6"/>
                  <a:gd name="T8" fmla="*/ 4 w 4"/>
                  <a:gd name="T9" fmla="*/ 1 h 6"/>
                  <a:gd name="T10" fmla="*/ 1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2" y="6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1" name="Freeform 340">
                <a:extLst>
                  <a:ext uri="{FF2B5EF4-FFF2-40B4-BE49-F238E27FC236}">
                    <a16:creationId xmlns:a16="http://schemas.microsoft.com/office/drawing/2014/main" id="{871A3B9E-3D28-4AEE-A16C-0B3B09715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223"/>
                <a:ext cx="4" cy="6"/>
              </a:xfrm>
              <a:custGeom>
                <a:avLst/>
                <a:gdLst>
                  <a:gd name="T0" fmla="*/ 1 w 4"/>
                  <a:gd name="T1" fmla="*/ 0 h 6"/>
                  <a:gd name="T2" fmla="*/ 0 w 4"/>
                  <a:gd name="T3" fmla="*/ 5 h 6"/>
                  <a:gd name="T4" fmla="*/ 0 w 4"/>
                  <a:gd name="T5" fmla="*/ 5 h 6"/>
                  <a:gd name="T6" fmla="*/ 2 w 4"/>
                  <a:gd name="T7" fmla="*/ 6 h 6"/>
                  <a:gd name="T8" fmla="*/ 4 w 4"/>
                  <a:gd name="T9" fmla="*/ 1 h 6"/>
                  <a:gd name="T10" fmla="*/ 1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2" y="6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2" name="Rectangle 341">
                <a:extLst>
                  <a:ext uri="{FF2B5EF4-FFF2-40B4-BE49-F238E27FC236}">
                    <a16:creationId xmlns:a16="http://schemas.microsoft.com/office/drawing/2014/main" id="{60536545-BC3E-4D2A-9F3A-1BEEF422CF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solidFill>
                <a:srgbClr val="7862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3" name="Rectangle 342">
                <a:extLst>
                  <a:ext uri="{FF2B5EF4-FFF2-40B4-BE49-F238E27FC236}">
                    <a16:creationId xmlns:a16="http://schemas.microsoft.com/office/drawing/2014/main" id="{EB03FCEA-5C19-4BDE-B21B-1511E3A3E3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4" name="Freeform 343">
                <a:extLst>
                  <a:ext uri="{FF2B5EF4-FFF2-40B4-BE49-F238E27FC236}">
                    <a16:creationId xmlns:a16="http://schemas.microsoft.com/office/drawing/2014/main" id="{17ED124B-52DC-4AC7-8ECE-D64F1DA15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228"/>
                <a:ext cx="2" cy="1"/>
              </a:xfrm>
              <a:custGeom>
                <a:avLst/>
                <a:gdLst>
                  <a:gd name="T0" fmla="*/ 3 w 4"/>
                  <a:gd name="T1" fmla="*/ 0 h 3"/>
                  <a:gd name="T2" fmla="*/ 0 w 4"/>
                  <a:gd name="T3" fmla="*/ 3 h 3"/>
                  <a:gd name="T4" fmla="*/ 3 w 4"/>
                  <a:gd name="T5" fmla="*/ 3 h 3"/>
                  <a:gd name="T6" fmla="*/ 4 w 4"/>
                  <a:gd name="T7" fmla="*/ 0 h 3"/>
                  <a:gd name="T8" fmla="*/ 3 w 4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3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2826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5" name="Freeform 344">
                <a:extLst>
                  <a:ext uri="{FF2B5EF4-FFF2-40B4-BE49-F238E27FC236}">
                    <a16:creationId xmlns:a16="http://schemas.microsoft.com/office/drawing/2014/main" id="{1B1A09E1-7067-4370-9829-7EDFBAD324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" y="2225"/>
                <a:ext cx="1" cy="3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4 h 4"/>
                  <a:gd name="T4" fmla="*/ 1 w 2"/>
                  <a:gd name="T5" fmla="*/ 4 h 4"/>
                  <a:gd name="T6" fmla="*/ 1 w 2"/>
                  <a:gd name="T7" fmla="*/ 4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cubicBezTo>
                      <a:pt x="1" y="1"/>
                      <a:pt x="1" y="3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6" name="Freeform 345">
                <a:extLst>
                  <a:ext uri="{FF2B5EF4-FFF2-40B4-BE49-F238E27FC236}">
                    <a16:creationId xmlns:a16="http://schemas.microsoft.com/office/drawing/2014/main" id="{05E34CA3-275D-4C3F-9CCA-E4345264F8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8" y="863"/>
                <a:ext cx="397" cy="316"/>
              </a:xfrm>
              <a:custGeom>
                <a:avLst/>
                <a:gdLst>
                  <a:gd name="T0" fmla="*/ 205 w 397"/>
                  <a:gd name="T1" fmla="*/ 285 h 316"/>
                  <a:gd name="T2" fmla="*/ 164 w 397"/>
                  <a:gd name="T3" fmla="*/ 285 h 316"/>
                  <a:gd name="T4" fmla="*/ 0 w 397"/>
                  <a:gd name="T5" fmla="*/ 310 h 316"/>
                  <a:gd name="T6" fmla="*/ 1 w 397"/>
                  <a:gd name="T7" fmla="*/ 316 h 316"/>
                  <a:gd name="T8" fmla="*/ 205 w 397"/>
                  <a:gd name="T9" fmla="*/ 285 h 316"/>
                  <a:gd name="T10" fmla="*/ 379 w 397"/>
                  <a:gd name="T11" fmla="*/ 142 h 316"/>
                  <a:gd name="T12" fmla="*/ 379 w 397"/>
                  <a:gd name="T13" fmla="*/ 181 h 316"/>
                  <a:gd name="T14" fmla="*/ 390 w 397"/>
                  <a:gd name="T15" fmla="*/ 251 h 316"/>
                  <a:gd name="T16" fmla="*/ 379 w 397"/>
                  <a:gd name="T17" fmla="*/ 253 h 316"/>
                  <a:gd name="T18" fmla="*/ 379 w 397"/>
                  <a:gd name="T19" fmla="*/ 259 h 316"/>
                  <a:gd name="T20" fmla="*/ 397 w 397"/>
                  <a:gd name="T21" fmla="*/ 256 h 316"/>
                  <a:gd name="T22" fmla="*/ 379 w 397"/>
                  <a:gd name="T23" fmla="*/ 142 h 316"/>
                  <a:gd name="T24" fmla="*/ 358 w 397"/>
                  <a:gd name="T25" fmla="*/ 0 h 316"/>
                  <a:gd name="T26" fmla="*/ 352 w 397"/>
                  <a:gd name="T27" fmla="*/ 0 h 316"/>
                  <a:gd name="T28" fmla="*/ 356 w 397"/>
                  <a:gd name="T29" fmla="*/ 25 h 316"/>
                  <a:gd name="T30" fmla="*/ 362 w 397"/>
                  <a:gd name="T31" fmla="*/ 25 h 316"/>
                  <a:gd name="T32" fmla="*/ 358 w 397"/>
                  <a:gd name="T33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7" h="316">
                    <a:moveTo>
                      <a:pt x="205" y="285"/>
                    </a:moveTo>
                    <a:lnTo>
                      <a:pt x="164" y="285"/>
                    </a:lnTo>
                    <a:lnTo>
                      <a:pt x="0" y="310"/>
                    </a:lnTo>
                    <a:lnTo>
                      <a:pt x="1" y="316"/>
                    </a:lnTo>
                    <a:lnTo>
                      <a:pt x="205" y="285"/>
                    </a:lnTo>
                    <a:close/>
                    <a:moveTo>
                      <a:pt x="379" y="142"/>
                    </a:moveTo>
                    <a:lnTo>
                      <a:pt x="379" y="181"/>
                    </a:lnTo>
                    <a:lnTo>
                      <a:pt x="390" y="251"/>
                    </a:lnTo>
                    <a:lnTo>
                      <a:pt x="379" y="253"/>
                    </a:lnTo>
                    <a:lnTo>
                      <a:pt x="379" y="259"/>
                    </a:lnTo>
                    <a:lnTo>
                      <a:pt x="397" y="256"/>
                    </a:lnTo>
                    <a:lnTo>
                      <a:pt x="379" y="142"/>
                    </a:lnTo>
                    <a:close/>
                    <a:moveTo>
                      <a:pt x="358" y="0"/>
                    </a:moveTo>
                    <a:lnTo>
                      <a:pt x="352" y="0"/>
                    </a:lnTo>
                    <a:lnTo>
                      <a:pt x="356" y="25"/>
                    </a:lnTo>
                    <a:lnTo>
                      <a:pt x="362" y="25"/>
                    </a:lnTo>
                    <a:lnTo>
                      <a:pt x="358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7" name="Freeform 346">
                <a:extLst>
                  <a:ext uri="{FF2B5EF4-FFF2-40B4-BE49-F238E27FC236}">
                    <a16:creationId xmlns:a16="http://schemas.microsoft.com/office/drawing/2014/main" id="{211DC401-82E8-464C-8C3E-10BD8D2690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8" y="863"/>
                <a:ext cx="397" cy="316"/>
              </a:xfrm>
              <a:custGeom>
                <a:avLst/>
                <a:gdLst>
                  <a:gd name="T0" fmla="*/ 205 w 397"/>
                  <a:gd name="T1" fmla="*/ 285 h 316"/>
                  <a:gd name="T2" fmla="*/ 164 w 397"/>
                  <a:gd name="T3" fmla="*/ 285 h 316"/>
                  <a:gd name="T4" fmla="*/ 0 w 397"/>
                  <a:gd name="T5" fmla="*/ 310 h 316"/>
                  <a:gd name="T6" fmla="*/ 1 w 397"/>
                  <a:gd name="T7" fmla="*/ 316 h 316"/>
                  <a:gd name="T8" fmla="*/ 205 w 397"/>
                  <a:gd name="T9" fmla="*/ 285 h 316"/>
                  <a:gd name="T10" fmla="*/ 379 w 397"/>
                  <a:gd name="T11" fmla="*/ 142 h 316"/>
                  <a:gd name="T12" fmla="*/ 379 w 397"/>
                  <a:gd name="T13" fmla="*/ 181 h 316"/>
                  <a:gd name="T14" fmla="*/ 390 w 397"/>
                  <a:gd name="T15" fmla="*/ 251 h 316"/>
                  <a:gd name="T16" fmla="*/ 379 w 397"/>
                  <a:gd name="T17" fmla="*/ 253 h 316"/>
                  <a:gd name="T18" fmla="*/ 379 w 397"/>
                  <a:gd name="T19" fmla="*/ 259 h 316"/>
                  <a:gd name="T20" fmla="*/ 397 w 397"/>
                  <a:gd name="T21" fmla="*/ 256 h 316"/>
                  <a:gd name="T22" fmla="*/ 379 w 397"/>
                  <a:gd name="T23" fmla="*/ 142 h 316"/>
                  <a:gd name="T24" fmla="*/ 358 w 397"/>
                  <a:gd name="T25" fmla="*/ 0 h 316"/>
                  <a:gd name="T26" fmla="*/ 352 w 397"/>
                  <a:gd name="T27" fmla="*/ 0 h 316"/>
                  <a:gd name="T28" fmla="*/ 356 w 397"/>
                  <a:gd name="T29" fmla="*/ 25 h 316"/>
                  <a:gd name="T30" fmla="*/ 362 w 397"/>
                  <a:gd name="T31" fmla="*/ 25 h 316"/>
                  <a:gd name="T32" fmla="*/ 358 w 397"/>
                  <a:gd name="T33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7" h="316">
                    <a:moveTo>
                      <a:pt x="205" y="285"/>
                    </a:moveTo>
                    <a:lnTo>
                      <a:pt x="164" y="285"/>
                    </a:lnTo>
                    <a:lnTo>
                      <a:pt x="0" y="310"/>
                    </a:lnTo>
                    <a:lnTo>
                      <a:pt x="1" y="316"/>
                    </a:lnTo>
                    <a:lnTo>
                      <a:pt x="205" y="285"/>
                    </a:lnTo>
                    <a:moveTo>
                      <a:pt x="379" y="142"/>
                    </a:moveTo>
                    <a:lnTo>
                      <a:pt x="379" y="181"/>
                    </a:lnTo>
                    <a:lnTo>
                      <a:pt x="390" y="251"/>
                    </a:lnTo>
                    <a:lnTo>
                      <a:pt x="379" y="253"/>
                    </a:lnTo>
                    <a:lnTo>
                      <a:pt x="379" y="259"/>
                    </a:lnTo>
                    <a:lnTo>
                      <a:pt x="397" y="256"/>
                    </a:lnTo>
                    <a:lnTo>
                      <a:pt x="379" y="142"/>
                    </a:lnTo>
                    <a:moveTo>
                      <a:pt x="358" y="0"/>
                    </a:moveTo>
                    <a:lnTo>
                      <a:pt x="352" y="0"/>
                    </a:lnTo>
                    <a:lnTo>
                      <a:pt x="356" y="25"/>
                    </a:lnTo>
                    <a:lnTo>
                      <a:pt x="362" y="25"/>
                    </a:lnTo>
                    <a:lnTo>
                      <a:pt x="3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8" name="Freeform 347">
                <a:extLst>
                  <a:ext uri="{FF2B5EF4-FFF2-40B4-BE49-F238E27FC236}">
                    <a16:creationId xmlns:a16="http://schemas.microsoft.com/office/drawing/2014/main" id="{B43D8D5F-F283-4466-90DA-E186C0D946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3" y="857"/>
                <a:ext cx="435" cy="317"/>
              </a:xfrm>
              <a:custGeom>
                <a:avLst/>
                <a:gdLst>
                  <a:gd name="T0" fmla="*/ 435 w 435"/>
                  <a:gd name="T1" fmla="*/ 257 h 317"/>
                  <a:gd name="T2" fmla="*/ 39 w 435"/>
                  <a:gd name="T3" fmla="*/ 317 h 317"/>
                  <a:gd name="T4" fmla="*/ 0 w 435"/>
                  <a:gd name="T5" fmla="*/ 60 h 317"/>
                  <a:gd name="T6" fmla="*/ 396 w 435"/>
                  <a:gd name="T7" fmla="*/ 0 h 317"/>
                  <a:gd name="T8" fmla="*/ 435 w 435"/>
                  <a:gd name="T9" fmla="*/ 25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5" h="317">
                    <a:moveTo>
                      <a:pt x="435" y="257"/>
                    </a:moveTo>
                    <a:lnTo>
                      <a:pt x="39" y="317"/>
                    </a:lnTo>
                    <a:lnTo>
                      <a:pt x="0" y="60"/>
                    </a:lnTo>
                    <a:lnTo>
                      <a:pt x="396" y="0"/>
                    </a:lnTo>
                    <a:lnTo>
                      <a:pt x="435" y="257"/>
                    </a:lnTo>
                    <a:close/>
                  </a:path>
                </a:pathLst>
              </a:custGeom>
              <a:solidFill>
                <a:srgbClr val="E2DD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9" name="Freeform 348">
                <a:extLst>
                  <a:ext uri="{FF2B5EF4-FFF2-40B4-BE49-F238E27FC236}">
                    <a16:creationId xmlns:a16="http://schemas.microsoft.com/office/drawing/2014/main" id="{ADE9F6AA-1DF4-4685-9D61-5DA0738AB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3" y="857"/>
                <a:ext cx="435" cy="317"/>
              </a:xfrm>
              <a:custGeom>
                <a:avLst/>
                <a:gdLst>
                  <a:gd name="T0" fmla="*/ 435 w 435"/>
                  <a:gd name="T1" fmla="*/ 257 h 317"/>
                  <a:gd name="T2" fmla="*/ 39 w 435"/>
                  <a:gd name="T3" fmla="*/ 317 h 317"/>
                  <a:gd name="T4" fmla="*/ 0 w 435"/>
                  <a:gd name="T5" fmla="*/ 60 h 317"/>
                  <a:gd name="T6" fmla="*/ 396 w 435"/>
                  <a:gd name="T7" fmla="*/ 0 h 317"/>
                  <a:gd name="T8" fmla="*/ 435 w 435"/>
                  <a:gd name="T9" fmla="*/ 25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5" h="317">
                    <a:moveTo>
                      <a:pt x="435" y="257"/>
                    </a:moveTo>
                    <a:lnTo>
                      <a:pt x="39" y="317"/>
                    </a:lnTo>
                    <a:lnTo>
                      <a:pt x="0" y="60"/>
                    </a:lnTo>
                    <a:lnTo>
                      <a:pt x="396" y="0"/>
                    </a:lnTo>
                    <a:lnTo>
                      <a:pt x="435" y="25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0" name="Freeform 349">
                <a:extLst>
                  <a:ext uri="{FF2B5EF4-FFF2-40B4-BE49-F238E27FC236}">
                    <a16:creationId xmlns:a16="http://schemas.microsoft.com/office/drawing/2014/main" id="{EEDA03AD-1B6C-450A-82F1-3E3B1857AE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400 w 400"/>
                  <a:gd name="T1" fmla="*/ 234 h 260"/>
                  <a:gd name="T2" fmla="*/ 226 w 400"/>
                  <a:gd name="T3" fmla="*/ 260 h 260"/>
                  <a:gd name="T4" fmla="*/ 400 w 400"/>
                  <a:gd name="T5" fmla="*/ 260 h 260"/>
                  <a:gd name="T6" fmla="*/ 400 w 400"/>
                  <a:gd name="T7" fmla="*/ 234 h 260"/>
                  <a:gd name="T8" fmla="*/ 0 w 400"/>
                  <a:gd name="T9" fmla="*/ 186 h 260"/>
                  <a:gd name="T10" fmla="*/ 0 w 400"/>
                  <a:gd name="T11" fmla="*/ 260 h 260"/>
                  <a:gd name="T12" fmla="*/ 12 w 400"/>
                  <a:gd name="T13" fmla="*/ 260 h 260"/>
                  <a:gd name="T14" fmla="*/ 0 w 400"/>
                  <a:gd name="T15" fmla="*/ 186 h 260"/>
                  <a:gd name="T16" fmla="*/ 165 w 400"/>
                  <a:gd name="T17" fmla="*/ 0 h 260"/>
                  <a:gd name="T18" fmla="*/ 0 w 400"/>
                  <a:gd name="T19" fmla="*/ 0 h 260"/>
                  <a:gd name="T20" fmla="*/ 0 w 400"/>
                  <a:gd name="T21" fmla="*/ 25 h 260"/>
                  <a:gd name="T22" fmla="*/ 165 w 400"/>
                  <a:gd name="T23" fmla="*/ 0 h 260"/>
                  <a:gd name="T24" fmla="*/ 400 w 400"/>
                  <a:gd name="T25" fmla="*/ 0 h 260"/>
                  <a:gd name="T26" fmla="*/ 383 w 400"/>
                  <a:gd name="T27" fmla="*/ 0 h 260"/>
                  <a:gd name="T28" fmla="*/ 400 w 400"/>
                  <a:gd name="T29" fmla="*/ 117 h 260"/>
                  <a:gd name="T30" fmla="*/ 400 w 400"/>
                  <a:gd name="T3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0" h="260">
                    <a:moveTo>
                      <a:pt x="400" y="234"/>
                    </a:moveTo>
                    <a:lnTo>
                      <a:pt x="226" y="260"/>
                    </a:lnTo>
                    <a:lnTo>
                      <a:pt x="400" y="260"/>
                    </a:lnTo>
                    <a:lnTo>
                      <a:pt x="400" y="234"/>
                    </a:lnTo>
                    <a:close/>
                    <a:moveTo>
                      <a:pt x="0" y="186"/>
                    </a:moveTo>
                    <a:lnTo>
                      <a:pt x="0" y="260"/>
                    </a:lnTo>
                    <a:lnTo>
                      <a:pt x="12" y="260"/>
                    </a:lnTo>
                    <a:lnTo>
                      <a:pt x="0" y="186"/>
                    </a:lnTo>
                    <a:close/>
                    <a:moveTo>
                      <a:pt x="165" y="0"/>
                    </a:moveTo>
                    <a:lnTo>
                      <a:pt x="0" y="0"/>
                    </a:lnTo>
                    <a:lnTo>
                      <a:pt x="0" y="25"/>
                    </a:lnTo>
                    <a:lnTo>
                      <a:pt x="165" y="0"/>
                    </a:lnTo>
                    <a:close/>
                    <a:moveTo>
                      <a:pt x="400" y="0"/>
                    </a:moveTo>
                    <a:lnTo>
                      <a:pt x="383" y="0"/>
                    </a:lnTo>
                    <a:lnTo>
                      <a:pt x="400" y="117"/>
                    </a:lnTo>
                    <a:lnTo>
                      <a:pt x="400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1" name="Freeform 350">
                <a:extLst>
                  <a:ext uri="{FF2B5EF4-FFF2-40B4-BE49-F238E27FC236}">
                    <a16:creationId xmlns:a16="http://schemas.microsoft.com/office/drawing/2014/main" id="{94EA1242-9382-4D61-B59C-E324C0CEF9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400 w 400"/>
                  <a:gd name="T1" fmla="*/ 234 h 260"/>
                  <a:gd name="T2" fmla="*/ 226 w 400"/>
                  <a:gd name="T3" fmla="*/ 260 h 260"/>
                  <a:gd name="T4" fmla="*/ 400 w 400"/>
                  <a:gd name="T5" fmla="*/ 260 h 260"/>
                  <a:gd name="T6" fmla="*/ 400 w 400"/>
                  <a:gd name="T7" fmla="*/ 234 h 260"/>
                  <a:gd name="T8" fmla="*/ 0 w 400"/>
                  <a:gd name="T9" fmla="*/ 186 h 260"/>
                  <a:gd name="T10" fmla="*/ 0 w 400"/>
                  <a:gd name="T11" fmla="*/ 260 h 260"/>
                  <a:gd name="T12" fmla="*/ 12 w 400"/>
                  <a:gd name="T13" fmla="*/ 260 h 260"/>
                  <a:gd name="T14" fmla="*/ 0 w 400"/>
                  <a:gd name="T15" fmla="*/ 186 h 260"/>
                  <a:gd name="T16" fmla="*/ 165 w 400"/>
                  <a:gd name="T17" fmla="*/ 0 h 260"/>
                  <a:gd name="T18" fmla="*/ 0 w 400"/>
                  <a:gd name="T19" fmla="*/ 0 h 260"/>
                  <a:gd name="T20" fmla="*/ 0 w 400"/>
                  <a:gd name="T21" fmla="*/ 25 h 260"/>
                  <a:gd name="T22" fmla="*/ 165 w 400"/>
                  <a:gd name="T23" fmla="*/ 0 h 260"/>
                  <a:gd name="T24" fmla="*/ 400 w 400"/>
                  <a:gd name="T25" fmla="*/ 0 h 260"/>
                  <a:gd name="T26" fmla="*/ 383 w 400"/>
                  <a:gd name="T27" fmla="*/ 0 h 260"/>
                  <a:gd name="T28" fmla="*/ 400 w 400"/>
                  <a:gd name="T29" fmla="*/ 117 h 260"/>
                  <a:gd name="T30" fmla="*/ 400 w 400"/>
                  <a:gd name="T3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0" h="260">
                    <a:moveTo>
                      <a:pt x="400" y="234"/>
                    </a:moveTo>
                    <a:lnTo>
                      <a:pt x="226" y="260"/>
                    </a:lnTo>
                    <a:lnTo>
                      <a:pt x="400" y="260"/>
                    </a:lnTo>
                    <a:lnTo>
                      <a:pt x="400" y="234"/>
                    </a:lnTo>
                    <a:moveTo>
                      <a:pt x="0" y="186"/>
                    </a:moveTo>
                    <a:lnTo>
                      <a:pt x="0" y="260"/>
                    </a:lnTo>
                    <a:lnTo>
                      <a:pt x="12" y="260"/>
                    </a:lnTo>
                    <a:lnTo>
                      <a:pt x="0" y="186"/>
                    </a:lnTo>
                    <a:moveTo>
                      <a:pt x="165" y="0"/>
                    </a:moveTo>
                    <a:lnTo>
                      <a:pt x="0" y="0"/>
                    </a:lnTo>
                    <a:lnTo>
                      <a:pt x="0" y="25"/>
                    </a:lnTo>
                    <a:lnTo>
                      <a:pt x="165" y="0"/>
                    </a:lnTo>
                    <a:moveTo>
                      <a:pt x="400" y="0"/>
                    </a:moveTo>
                    <a:lnTo>
                      <a:pt x="383" y="0"/>
                    </a:lnTo>
                    <a:lnTo>
                      <a:pt x="400" y="117"/>
                    </a:lnTo>
                    <a:lnTo>
                      <a:pt x="40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2" name="Freeform 351">
                <a:extLst>
                  <a:ext uri="{FF2B5EF4-FFF2-40B4-BE49-F238E27FC236}">
                    <a16:creationId xmlns:a16="http://schemas.microsoft.com/office/drawing/2014/main" id="{50A2B9DA-02EA-4494-ADD1-5E28ED918D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62" y="888"/>
                <a:ext cx="215" cy="260"/>
              </a:xfrm>
              <a:custGeom>
                <a:avLst/>
                <a:gdLst>
                  <a:gd name="T0" fmla="*/ 215 w 215"/>
                  <a:gd name="T1" fmla="*/ 228 h 260"/>
                  <a:gd name="T2" fmla="*/ 0 w 215"/>
                  <a:gd name="T3" fmla="*/ 260 h 260"/>
                  <a:gd name="T4" fmla="*/ 41 w 215"/>
                  <a:gd name="T5" fmla="*/ 260 h 260"/>
                  <a:gd name="T6" fmla="*/ 215 w 215"/>
                  <a:gd name="T7" fmla="*/ 234 h 260"/>
                  <a:gd name="T8" fmla="*/ 215 w 215"/>
                  <a:gd name="T9" fmla="*/ 228 h 260"/>
                  <a:gd name="T10" fmla="*/ 198 w 215"/>
                  <a:gd name="T11" fmla="*/ 0 h 260"/>
                  <a:gd name="T12" fmla="*/ 192 w 215"/>
                  <a:gd name="T13" fmla="*/ 0 h 260"/>
                  <a:gd name="T14" fmla="*/ 215 w 215"/>
                  <a:gd name="T15" fmla="*/ 156 h 260"/>
                  <a:gd name="T16" fmla="*/ 215 w 215"/>
                  <a:gd name="T17" fmla="*/ 117 h 260"/>
                  <a:gd name="T18" fmla="*/ 198 w 215"/>
                  <a:gd name="T1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5" h="260">
                    <a:moveTo>
                      <a:pt x="215" y="228"/>
                    </a:moveTo>
                    <a:lnTo>
                      <a:pt x="0" y="260"/>
                    </a:lnTo>
                    <a:lnTo>
                      <a:pt x="41" y="260"/>
                    </a:lnTo>
                    <a:lnTo>
                      <a:pt x="215" y="234"/>
                    </a:lnTo>
                    <a:lnTo>
                      <a:pt x="215" y="228"/>
                    </a:lnTo>
                    <a:close/>
                    <a:moveTo>
                      <a:pt x="198" y="0"/>
                    </a:moveTo>
                    <a:lnTo>
                      <a:pt x="192" y="0"/>
                    </a:lnTo>
                    <a:lnTo>
                      <a:pt x="215" y="156"/>
                    </a:lnTo>
                    <a:lnTo>
                      <a:pt x="215" y="117"/>
                    </a:lnTo>
                    <a:lnTo>
                      <a:pt x="198" y="0"/>
                    </a:lnTo>
                    <a:close/>
                  </a:path>
                </a:pathLst>
              </a:custGeom>
              <a:solidFill>
                <a:srgbClr val="7862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3" name="Freeform 352">
                <a:extLst>
                  <a:ext uri="{FF2B5EF4-FFF2-40B4-BE49-F238E27FC236}">
                    <a16:creationId xmlns:a16="http://schemas.microsoft.com/office/drawing/2014/main" id="{FE8C425A-8CEB-4F94-988E-EC904B03D0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62" y="888"/>
                <a:ext cx="215" cy="260"/>
              </a:xfrm>
              <a:custGeom>
                <a:avLst/>
                <a:gdLst>
                  <a:gd name="T0" fmla="*/ 215 w 215"/>
                  <a:gd name="T1" fmla="*/ 228 h 260"/>
                  <a:gd name="T2" fmla="*/ 0 w 215"/>
                  <a:gd name="T3" fmla="*/ 260 h 260"/>
                  <a:gd name="T4" fmla="*/ 41 w 215"/>
                  <a:gd name="T5" fmla="*/ 260 h 260"/>
                  <a:gd name="T6" fmla="*/ 215 w 215"/>
                  <a:gd name="T7" fmla="*/ 234 h 260"/>
                  <a:gd name="T8" fmla="*/ 215 w 215"/>
                  <a:gd name="T9" fmla="*/ 228 h 260"/>
                  <a:gd name="T10" fmla="*/ 198 w 215"/>
                  <a:gd name="T11" fmla="*/ 0 h 260"/>
                  <a:gd name="T12" fmla="*/ 192 w 215"/>
                  <a:gd name="T13" fmla="*/ 0 h 260"/>
                  <a:gd name="T14" fmla="*/ 215 w 215"/>
                  <a:gd name="T15" fmla="*/ 156 h 260"/>
                  <a:gd name="T16" fmla="*/ 215 w 215"/>
                  <a:gd name="T17" fmla="*/ 117 h 260"/>
                  <a:gd name="T18" fmla="*/ 198 w 215"/>
                  <a:gd name="T1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5" h="260">
                    <a:moveTo>
                      <a:pt x="215" y="228"/>
                    </a:moveTo>
                    <a:lnTo>
                      <a:pt x="0" y="260"/>
                    </a:lnTo>
                    <a:lnTo>
                      <a:pt x="41" y="260"/>
                    </a:lnTo>
                    <a:lnTo>
                      <a:pt x="215" y="234"/>
                    </a:lnTo>
                    <a:lnTo>
                      <a:pt x="215" y="228"/>
                    </a:lnTo>
                    <a:moveTo>
                      <a:pt x="198" y="0"/>
                    </a:moveTo>
                    <a:lnTo>
                      <a:pt x="192" y="0"/>
                    </a:lnTo>
                    <a:lnTo>
                      <a:pt x="215" y="156"/>
                    </a:lnTo>
                    <a:lnTo>
                      <a:pt x="215" y="117"/>
                    </a:lnTo>
                    <a:lnTo>
                      <a:pt x="19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4" name="Freeform 353">
                <a:extLst>
                  <a:ext uri="{FF2B5EF4-FFF2-40B4-BE49-F238E27FC236}">
                    <a16:creationId xmlns:a16="http://schemas.microsoft.com/office/drawing/2014/main" id="{CE36DA48-5493-42CA-A086-D0F41E39A2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377 w 400"/>
                  <a:gd name="T1" fmla="*/ 0 h 260"/>
                  <a:gd name="T2" fmla="*/ 165 w 400"/>
                  <a:gd name="T3" fmla="*/ 0 h 260"/>
                  <a:gd name="T4" fmla="*/ 0 w 400"/>
                  <a:gd name="T5" fmla="*/ 25 h 260"/>
                  <a:gd name="T6" fmla="*/ 0 w 400"/>
                  <a:gd name="T7" fmla="*/ 186 h 260"/>
                  <a:gd name="T8" fmla="*/ 12 w 400"/>
                  <a:gd name="T9" fmla="*/ 260 h 260"/>
                  <a:gd name="T10" fmla="*/ 185 w 400"/>
                  <a:gd name="T11" fmla="*/ 260 h 260"/>
                  <a:gd name="T12" fmla="*/ 400 w 400"/>
                  <a:gd name="T13" fmla="*/ 228 h 260"/>
                  <a:gd name="T14" fmla="*/ 400 w 400"/>
                  <a:gd name="T15" fmla="*/ 156 h 260"/>
                  <a:gd name="T16" fmla="*/ 377 w 400"/>
                  <a:gd name="T17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0" h="260">
                    <a:moveTo>
                      <a:pt x="377" y="0"/>
                    </a:moveTo>
                    <a:lnTo>
                      <a:pt x="165" y="0"/>
                    </a:lnTo>
                    <a:lnTo>
                      <a:pt x="0" y="25"/>
                    </a:lnTo>
                    <a:lnTo>
                      <a:pt x="0" y="186"/>
                    </a:lnTo>
                    <a:lnTo>
                      <a:pt x="12" y="260"/>
                    </a:lnTo>
                    <a:lnTo>
                      <a:pt x="185" y="260"/>
                    </a:lnTo>
                    <a:lnTo>
                      <a:pt x="400" y="228"/>
                    </a:lnTo>
                    <a:lnTo>
                      <a:pt x="400" y="156"/>
                    </a:lnTo>
                    <a:lnTo>
                      <a:pt x="377" y="0"/>
                    </a:lnTo>
                    <a:close/>
                  </a:path>
                </a:pathLst>
              </a:custGeom>
              <a:solidFill>
                <a:srgbClr val="B3AF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5" name="Freeform 354">
                <a:extLst>
                  <a:ext uri="{FF2B5EF4-FFF2-40B4-BE49-F238E27FC236}">
                    <a16:creationId xmlns:a16="http://schemas.microsoft.com/office/drawing/2014/main" id="{65256C17-12CD-499C-9879-5224FE64A9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377 w 400"/>
                  <a:gd name="T1" fmla="*/ 0 h 260"/>
                  <a:gd name="T2" fmla="*/ 165 w 400"/>
                  <a:gd name="T3" fmla="*/ 0 h 260"/>
                  <a:gd name="T4" fmla="*/ 0 w 400"/>
                  <a:gd name="T5" fmla="*/ 25 h 260"/>
                  <a:gd name="T6" fmla="*/ 0 w 400"/>
                  <a:gd name="T7" fmla="*/ 186 h 260"/>
                  <a:gd name="T8" fmla="*/ 12 w 400"/>
                  <a:gd name="T9" fmla="*/ 260 h 260"/>
                  <a:gd name="T10" fmla="*/ 185 w 400"/>
                  <a:gd name="T11" fmla="*/ 260 h 260"/>
                  <a:gd name="T12" fmla="*/ 400 w 400"/>
                  <a:gd name="T13" fmla="*/ 228 h 260"/>
                  <a:gd name="T14" fmla="*/ 400 w 400"/>
                  <a:gd name="T15" fmla="*/ 156 h 260"/>
                  <a:gd name="T16" fmla="*/ 377 w 400"/>
                  <a:gd name="T17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0" h="260">
                    <a:moveTo>
                      <a:pt x="377" y="0"/>
                    </a:moveTo>
                    <a:lnTo>
                      <a:pt x="165" y="0"/>
                    </a:lnTo>
                    <a:lnTo>
                      <a:pt x="0" y="25"/>
                    </a:lnTo>
                    <a:lnTo>
                      <a:pt x="0" y="186"/>
                    </a:lnTo>
                    <a:lnTo>
                      <a:pt x="12" y="260"/>
                    </a:lnTo>
                    <a:lnTo>
                      <a:pt x="185" y="260"/>
                    </a:lnTo>
                    <a:lnTo>
                      <a:pt x="400" y="228"/>
                    </a:lnTo>
                    <a:lnTo>
                      <a:pt x="400" y="156"/>
                    </a:lnTo>
                    <a:lnTo>
                      <a:pt x="37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6" name="Rectangle 355">
                <a:extLst>
                  <a:ext uri="{FF2B5EF4-FFF2-40B4-BE49-F238E27FC236}">
                    <a16:creationId xmlns:a16="http://schemas.microsoft.com/office/drawing/2014/main" id="{5D9088E9-EE67-4A3E-BF04-C976C2EF6B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2" y="882"/>
                <a:ext cx="400" cy="26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7" name="Freeform 356">
                <a:extLst>
                  <a:ext uri="{FF2B5EF4-FFF2-40B4-BE49-F238E27FC236}">
                    <a16:creationId xmlns:a16="http://schemas.microsoft.com/office/drawing/2014/main" id="{00D702F8-A621-4BA8-BEC2-7F5C99C23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4" y="1270"/>
                <a:ext cx="166" cy="100"/>
              </a:xfrm>
              <a:custGeom>
                <a:avLst/>
                <a:gdLst>
                  <a:gd name="T0" fmla="*/ 304 w 304"/>
                  <a:gd name="T1" fmla="*/ 172 h 183"/>
                  <a:gd name="T2" fmla="*/ 98 w 304"/>
                  <a:gd name="T3" fmla="*/ 4 h 183"/>
                  <a:gd name="T4" fmla="*/ 8 w 304"/>
                  <a:gd name="T5" fmla="*/ 0 h 183"/>
                  <a:gd name="T6" fmla="*/ 0 w 304"/>
                  <a:gd name="T7" fmla="*/ 7 h 183"/>
                  <a:gd name="T8" fmla="*/ 0 w 304"/>
                  <a:gd name="T9" fmla="*/ 9 h 183"/>
                  <a:gd name="T10" fmla="*/ 44 w 304"/>
                  <a:gd name="T11" fmla="*/ 17 h 183"/>
                  <a:gd name="T12" fmla="*/ 95 w 304"/>
                  <a:gd name="T13" fmla="*/ 14 h 183"/>
                  <a:gd name="T14" fmla="*/ 302 w 304"/>
                  <a:gd name="T15" fmla="*/ 183 h 183"/>
                  <a:gd name="T16" fmla="*/ 304 w 304"/>
                  <a:gd name="T17" fmla="*/ 172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4" h="183">
                    <a:moveTo>
                      <a:pt x="304" y="172"/>
                    </a:moveTo>
                    <a:cubicBezTo>
                      <a:pt x="304" y="172"/>
                      <a:pt x="123" y="13"/>
                      <a:pt x="98" y="4"/>
                    </a:cubicBezTo>
                    <a:cubicBezTo>
                      <a:pt x="76" y="2"/>
                      <a:pt x="25" y="0"/>
                      <a:pt x="8" y="0"/>
                    </a:cubicBezTo>
                    <a:cubicBezTo>
                      <a:pt x="4" y="0"/>
                      <a:pt x="0" y="3"/>
                      <a:pt x="0" y="7"/>
                    </a:cubicBezTo>
                    <a:cubicBezTo>
                      <a:pt x="0" y="8"/>
                      <a:pt x="0" y="8"/>
                      <a:pt x="0" y="9"/>
                    </a:cubicBezTo>
                    <a:cubicBezTo>
                      <a:pt x="6" y="18"/>
                      <a:pt x="33" y="17"/>
                      <a:pt x="44" y="17"/>
                    </a:cubicBezTo>
                    <a:cubicBezTo>
                      <a:pt x="56" y="16"/>
                      <a:pt x="83" y="11"/>
                      <a:pt x="95" y="14"/>
                    </a:cubicBezTo>
                    <a:cubicBezTo>
                      <a:pt x="147" y="43"/>
                      <a:pt x="302" y="183"/>
                      <a:pt x="302" y="183"/>
                    </a:cubicBezTo>
                    <a:cubicBezTo>
                      <a:pt x="304" y="172"/>
                      <a:pt x="304" y="172"/>
                      <a:pt x="304" y="172"/>
                    </a:cubicBezTo>
                  </a:path>
                </a:pathLst>
              </a:custGeom>
              <a:solidFill>
                <a:srgbClr val="19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8" name="Freeform 357">
                <a:extLst>
                  <a:ext uri="{FF2B5EF4-FFF2-40B4-BE49-F238E27FC236}">
                    <a16:creationId xmlns:a16="http://schemas.microsoft.com/office/drawing/2014/main" id="{3F852924-712C-458F-8648-8A2C247DBA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4" y="1234"/>
                <a:ext cx="101" cy="166"/>
              </a:xfrm>
              <a:custGeom>
                <a:avLst/>
                <a:gdLst>
                  <a:gd name="T0" fmla="*/ 11 w 184"/>
                  <a:gd name="T1" fmla="*/ 0 h 304"/>
                  <a:gd name="T2" fmla="*/ 179 w 184"/>
                  <a:gd name="T3" fmla="*/ 205 h 304"/>
                  <a:gd name="T4" fmla="*/ 184 w 184"/>
                  <a:gd name="T5" fmla="*/ 295 h 304"/>
                  <a:gd name="T6" fmla="*/ 176 w 184"/>
                  <a:gd name="T7" fmla="*/ 304 h 304"/>
                  <a:gd name="T8" fmla="*/ 175 w 184"/>
                  <a:gd name="T9" fmla="*/ 304 h 304"/>
                  <a:gd name="T10" fmla="*/ 167 w 184"/>
                  <a:gd name="T11" fmla="*/ 259 h 304"/>
                  <a:gd name="T12" fmla="*/ 169 w 184"/>
                  <a:gd name="T13" fmla="*/ 209 h 304"/>
                  <a:gd name="T14" fmla="*/ 0 w 184"/>
                  <a:gd name="T15" fmla="*/ 2 h 304"/>
                  <a:gd name="T16" fmla="*/ 11 w 184"/>
                  <a:gd name="T17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4" h="304">
                    <a:moveTo>
                      <a:pt x="11" y="0"/>
                    </a:moveTo>
                    <a:cubicBezTo>
                      <a:pt x="11" y="0"/>
                      <a:pt x="170" y="180"/>
                      <a:pt x="179" y="205"/>
                    </a:cubicBezTo>
                    <a:cubicBezTo>
                      <a:pt x="181" y="228"/>
                      <a:pt x="183" y="278"/>
                      <a:pt x="184" y="295"/>
                    </a:cubicBezTo>
                    <a:cubicBezTo>
                      <a:pt x="184" y="300"/>
                      <a:pt x="181" y="304"/>
                      <a:pt x="176" y="304"/>
                    </a:cubicBezTo>
                    <a:cubicBezTo>
                      <a:pt x="176" y="304"/>
                      <a:pt x="175" y="304"/>
                      <a:pt x="175" y="304"/>
                    </a:cubicBezTo>
                    <a:cubicBezTo>
                      <a:pt x="165" y="298"/>
                      <a:pt x="166" y="271"/>
                      <a:pt x="167" y="259"/>
                    </a:cubicBezTo>
                    <a:cubicBezTo>
                      <a:pt x="168" y="247"/>
                      <a:pt x="172" y="220"/>
                      <a:pt x="169" y="209"/>
                    </a:cubicBezTo>
                    <a:cubicBezTo>
                      <a:pt x="140" y="156"/>
                      <a:pt x="0" y="2"/>
                      <a:pt x="0" y="2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19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9" name="Freeform 358">
                <a:extLst>
                  <a:ext uri="{FF2B5EF4-FFF2-40B4-BE49-F238E27FC236}">
                    <a16:creationId xmlns:a16="http://schemas.microsoft.com/office/drawing/2014/main" id="{5E5CC89C-BE8D-4F18-9042-5B9C3B1F75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0" y="1305"/>
                <a:ext cx="86" cy="91"/>
              </a:xfrm>
              <a:custGeom>
                <a:avLst/>
                <a:gdLst>
                  <a:gd name="T0" fmla="*/ 148 w 156"/>
                  <a:gd name="T1" fmla="*/ 104 h 167"/>
                  <a:gd name="T2" fmla="*/ 48 w 156"/>
                  <a:gd name="T3" fmla="*/ 3 h 167"/>
                  <a:gd name="T4" fmla="*/ 36 w 156"/>
                  <a:gd name="T5" fmla="*/ 3 h 167"/>
                  <a:gd name="T6" fmla="*/ 30 w 156"/>
                  <a:gd name="T7" fmla="*/ 10 h 167"/>
                  <a:gd name="T8" fmla="*/ 0 w 156"/>
                  <a:gd name="T9" fmla="*/ 76 h 167"/>
                  <a:gd name="T10" fmla="*/ 16 w 156"/>
                  <a:gd name="T11" fmla="*/ 121 h 167"/>
                  <a:gd name="T12" fmla="*/ 53 w 156"/>
                  <a:gd name="T13" fmla="*/ 154 h 167"/>
                  <a:gd name="T14" fmla="*/ 129 w 156"/>
                  <a:gd name="T15" fmla="*/ 138 h 167"/>
                  <a:gd name="T16" fmla="*/ 148 w 156"/>
                  <a:gd name="T17" fmla="*/ 104 h 167"/>
                  <a:gd name="T18" fmla="*/ 124 w 156"/>
                  <a:gd name="T19" fmla="*/ 130 h 167"/>
                  <a:gd name="T20" fmla="*/ 57 w 156"/>
                  <a:gd name="T21" fmla="*/ 146 h 167"/>
                  <a:gd name="T22" fmla="*/ 34 w 156"/>
                  <a:gd name="T23" fmla="*/ 129 h 167"/>
                  <a:gd name="T24" fmla="*/ 23 w 156"/>
                  <a:gd name="T25" fmla="*/ 116 h 167"/>
                  <a:gd name="T26" fmla="*/ 8 w 156"/>
                  <a:gd name="T27" fmla="*/ 76 h 167"/>
                  <a:gd name="T28" fmla="*/ 36 w 156"/>
                  <a:gd name="T29" fmla="*/ 16 h 167"/>
                  <a:gd name="T30" fmla="*/ 41 w 156"/>
                  <a:gd name="T31" fmla="*/ 10 h 167"/>
                  <a:gd name="T32" fmla="*/ 43 w 156"/>
                  <a:gd name="T33" fmla="*/ 11 h 167"/>
                  <a:gd name="T34" fmla="*/ 94 w 156"/>
                  <a:gd name="T35" fmla="*/ 53 h 167"/>
                  <a:gd name="T36" fmla="*/ 141 w 156"/>
                  <a:gd name="T37" fmla="*/ 108 h 167"/>
                  <a:gd name="T38" fmla="*/ 124 w 156"/>
                  <a:gd name="T39" fmla="*/ 13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6" h="167">
                    <a:moveTo>
                      <a:pt x="148" y="104"/>
                    </a:moveTo>
                    <a:cubicBezTo>
                      <a:pt x="129" y="74"/>
                      <a:pt x="78" y="22"/>
                      <a:pt x="48" y="3"/>
                    </a:cubicBezTo>
                    <a:cubicBezTo>
                      <a:pt x="45" y="2"/>
                      <a:pt x="39" y="0"/>
                      <a:pt x="36" y="3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12" y="27"/>
                      <a:pt x="0" y="51"/>
                      <a:pt x="0" y="76"/>
                    </a:cubicBezTo>
                    <a:cubicBezTo>
                      <a:pt x="0" y="91"/>
                      <a:pt x="6" y="107"/>
                      <a:pt x="16" y="121"/>
                    </a:cubicBezTo>
                    <a:cubicBezTo>
                      <a:pt x="26" y="135"/>
                      <a:pt x="39" y="147"/>
                      <a:pt x="53" y="154"/>
                    </a:cubicBezTo>
                    <a:cubicBezTo>
                      <a:pt x="79" y="167"/>
                      <a:pt x="113" y="149"/>
                      <a:pt x="129" y="138"/>
                    </a:cubicBezTo>
                    <a:cubicBezTo>
                      <a:pt x="136" y="132"/>
                      <a:pt x="156" y="115"/>
                      <a:pt x="148" y="104"/>
                    </a:cubicBezTo>
                    <a:moveTo>
                      <a:pt x="124" y="130"/>
                    </a:moveTo>
                    <a:cubicBezTo>
                      <a:pt x="112" y="139"/>
                      <a:pt x="80" y="158"/>
                      <a:pt x="57" y="146"/>
                    </a:cubicBezTo>
                    <a:cubicBezTo>
                      <a:pt x="49" y="142"/>
                      <a:pt x="41" y="136"/>
                      <a:pt x="34" y="129"/>
                    </a:cubicBezTo>
                    <a:cubicBezTo>
                      <a:pt x="30" y="125"/>
                      <a:pt x="26" y="120"/>
                      <a:pt x="23" y="116"/>
                    </a:cubicBezTo>
                    <a:cubicBezTo>
                      <a:pt x="13" y="102"/>
                      <a:pt x="8" y="88"/>
                      <a:pt x="8" y="76"/>
                    </a:cubicBezTo>
                    <a:cubicBezTo>
                      <a:pt x="8" y="55"/>
                      <a:pt x="18" y="33"/>
                      <a:pt x="36" y="16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2" y="10"/>
                      <a:pt x="43" y="11"/>
                      <a:pt x="43" y="11"/>
                    </a:cubicBezTo>
                    <a:cubicBezTo>
                      <a:pt x="56" y="19"/>
                      <a:pt x="75" y="34"/>
                      <a:pt x="94" y="53"/>
                    </a:cubicBezTo>
                    <a:cubicBezTo>
                      <a:pt x="113" y="73"/>
                      <a:pt x="131" y="94"/>
                      <a:pt x="141" y="108"/>
                    </a:cubicBezTo>
                    <a:cubicBezTo>
                      <a:pt x="143" y="112"/>
                      <a:pt x="133" y="124"/>
                      <a:pt x="124" y="13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0" name="Freeform 359">
                <a:extLst>
                  <a:ext uri="{FF2B5EF4-FFF2-40B4-BE49-F238E27FC236}">
                    <a16:creationId xmlns:a16="http://schemas.microsoft.com/office/drawing/2014/main" id="{62940D13-D518-489A-B1ED-431F94A1F9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0" y="1310"/>
                <a:ext cx="56" cy="76"/>
              </a:xfrm>
              <a:custGeom>
                <a:avLst/>
                <a:gdLst>
                  <a:gd name="T0" fmla="*/ 10 w 102"/>
                  <a:gd name="T1" fmla="*/ 24 h 139"/>
                  <a:gd name="T2" fmla="*/ 39 w 102"/>
                  <a:gd name="T3" fmla="*/ 66 h 139"/>
                  <a:gd name="T4" fmla="*/ 43 w 102"/>
                  <a:gd name="T5" fmla="*/ 139 h 139"/>
                  <a:gd name="T6" fmla="*/ 86 w 102"/>
                  <a:gd name="T7" fmla="*/ 121 h 139"/>
                  <a:gd name="T8" fmla="*/ 86 w 102"/>
                  <a:gd name="T9" fmla="*/ 121 h 139"/>
                  <a:gd name="T10" fmla="*/ 87 w 102"/>
                  <a:gd name="T11" fmla="*/ 121 h 139"/>
                  <a:gd name="T12" fmla="*/ 87 w 102"/>
                  <a:gd name="T13" fmla="*/ 121 h 139"/>
                  <a:gd name="T14" fmla="*/ 87 w 102"/>
                  <a:gd name="T15" fmla="*/ 120 h 139"/>
                  <a:gd name="T16" fmla="*/ 87 w 102"/>
                  <a:gd name="T17" fmla="*/ 120 h 139"/>
                  <a:gd name="T18" fmla="*/ 102 w 102"/>
                  <a:gd name="T19" fmla="*/ 105 h 139"/>
                  <a:gd name="T20" fmla="*/ 10 w 102"/>
                  <a:gd name="T21" fmla="*/ 24 h 139"/>
                  <a:gd name="T22" fmla="*/ 4 w 102"/>
                  <a:gd name="T23" fmla="*/ 0 h 139"/>
                  <a:gd name="T24" fmla="*/ 0 w 102"/>
                  <a:gd name="T25" fmla="*/ 5 h 139"/>
                  <a:gd name="T26" fmla="*/ 95 w 102"/>
                  <a:gd name="T27" fmla="*/ 86 h 139"/>
                  <a:gd name="T28" fmla="*/ 57 w 102"/>
                  <a:gd name="T29" fmla="*/ 43 h 139"/>
                  <a:gd name="T30" fmla="*/ 6 w 102"/>
                  <a:gd name="T31" fmla="*/ 1 h 139"/>
                  <a:gd name="T32" fmla="*/ 4 w 102"/>
                  <a:gd name="T33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2" h="139">
                    <a:moveTo>
                      <a:pt x="10" y="24"/>
                    </a:moveTo>
                    <a:cubicBezTo>
                      <a:pt x="26" y="44"/>
                      <a:pt x="37" y="60"/>
                      <a:pt x="39" y="66"/>
                    </a:cubicBezTo>
                    <a:cubicBezTo>
                      <a:pt x="41" y="83"/>
                      <a:pt x="42" y="117"/>
                      <a:pt x="43" y="139"/>
                    </a:cubicBezTo>
                    <a:cubicBezTo>
                      <a:pt x="60" y="137"/>
                      <a:pt x="77" y="127"/>
                      <a:pt x="86" y="121"/>
                    </a:cubicBezTo>
                    <a:cubicBezTo>
                      <a:pt x="86" y="121"/>
                      <a:pt x="86" y="121"/>
                      <a:pt x="86" y="121"/>
                    </a:cubicBezTo>
                    <a:cubicBezTo>
                      <a:pt x="86" y="121"/>
                      <a:pt x="86" y="121"/>
                      <a:pt x="87" y="121"/>
                    </a:cubicBezTo>
                    <a:cubicBezTo>
                      <a:pt x="87" y="121"/>
                      <a:pt x="87" y="121"/>
                      <a:pt x="87" y="121"/>
                    </a:cubicBezTo>
                    <a:cubicBezTo>
                      <a:pt x="87" y="121"/>
                      <a:pt x="87" y="120"/>
                      <a:pt x="87" y="120"/>
                    </a:cubicBezTo>
                    <a:cubicBezTo>
                      <a:pt x="87" y="120"/>
                      <a:pt x="87" y="120"/>
                      <a:pt x="87" y="120"/>
                    </a:cubicBezTo>
                    <a:cubicBezTo>
                      <a:pt x="93" y="116"/>
                      <a:pt x="99" y="110"/>
                      <a:pt x="102" y="105"/>
                    </a:cubicBezTo>
                    <a:cubicBezTo>
                      <a:pt x="89" y="93"/>
                      <a:pt x="51" y="59"/>
                      <a:pt x="10" y="24"/>
                    </a:cubicBezTo>
                    <a:moveTo>
                      <a:pt x="4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37" y="36"/>
                      <a:pt x="75" y="69"/>
                      <a:pt x="95" y="86"/>
                    </a:cubicBezTo>
                    <a:cubicBezTo>
                      <a:pt x="85" y="73"/>
                      <a:pt x="71" y="58"/>
                      <a:pt x="57" y="43"/>
                    </a:cubicBezTo>
                    <a:cubicBezTo>
                      <a:pt x="38" y="24"/>
                      <a:pt x="19" y="9"/>
                      <a:pt x="6" y="1"/>
                    </a:cubicBezTo>
                    <a:cubicBezTo>
                      <a:pt x="6" y="1"/>
                      <a:pt x="5" y="0"/>
                      <a:pt x="4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1" name="Freeform 360">
                <a:extLst>
                  <a:ext uri="{FF2B5EF4-FFF2-40B4-BE49-F238E27FC236}">
                    <a16:creationId xmlns:a16="http://schemas.microsoft.com/office/drawing/2014/main" id="{B5214982-566F-44C0-88CA-121AF66844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9" y="1313"/>
                <a:ext cx="58" cy="55"/>
              </a:xfrm>
              <a:custGeom>
                <a:avLst/>
                <a:gdLst>
                  <a:gd name="T0" fmla="*/ 3 w 107"/>
                  <a:gd name="T1" fmla="*/ 0 h 100"/>
                  <a:gd name="T2" fmla="*/ 2 w 107"/>
                  <a:gd name="T3" fmla="*/ 1 h 100"/>
                  <a:gd name="T4" fmla="*/ 0 w 107"/>
                  <a:gd name="T5" fmla="*/ 3 h 100"/>
                  <a:gd name="T6" fmla="*/ 13 w 107"/>
                  <a:gd name="T7" fmla="*/ 19 h 100"/>
                  <a:gd name="T8" fmla="*/ 105 w 107"/>
                  <a:gd name="T9" fmla="*/ 100 h 100"/>
                  <a:gd name="T10" fmla="*/ 107 w 107"/>
                  <a:gd name="T11" fmla="*/ 95 h 100"/>
                  <a:gd name="T12" fmla="*/ 107 w 107"/>
                  <a:gd name="T13" fmla="*/ 93 h 100"/>
                  <a:gd name="T14" fmla="*/ 98 w 107"/>
                  <a:gd name="T15" fmla="*/ 81 h 100"/>
                  <a:gd name="T16" fmla="*/ 3 w 107"/>
                  <a:gd name="T17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7" h="100">
                    <a:moveTo>
                      <a:pt x="3" y="0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1" y="2"/>
                      <a:pt x="0" y="2"/>
                      <a:pt x="0" y="3"/>
                    </a:cubicBezTo>
                    <a:cubicBezTo>
                      <a:pt x="4" y="9"/>
                      <a:pt x="9" y="14"/>
                      <a:pt x="13" y="19"/>
                    </a:cubicBezTo>
                    <a:cubicBezTo>
                      <a:pt x="54" y="54"/>
                      <a:pt x="92" y="88"/>
                      <a:pt x="105" y="100"/>
                    </a:cubicBezTo>
                    <a:cubicBezTo>
                      <a:pt x="106" y="98"/>
                      <a:pt x="107" y="96"/>
                      <a:pt x="107" y="95"/>
                    </a:cubicBezTo>
                    <a:cubicBezTo>
                      <a:pt x="107" y="94"/>
                      <a:pt x="107" y="94"/>
                      <a:pt x="107" y="93"/>
                    </a:cubicBezTo>
                    <a:cubicBezTo>
                      <a:pt x="104" y="90"/>
                      <a:pt x="101" y="86"/>
                      <a:pt x="98" y="81"/>
                    </a:cubicBezTo>
                    <a:cubicBezTo>
                      <a:pt x="78" y="64"/>
                      <a:pt x="40" y="31"/>
                      <a:pt x="3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2" name="Freeform 361">
                <a:extLst>
                  <a:ext uri="{FF2B5EF4-FFF2-40B4-BE49-F238E27FC236}">
                    <a16:creationId xmlns:a16="http://schemas.microsoft.com/office/drawing/2014/main" id="{55FDCFF2-EA98-4569-8E96-FBEA99DE9F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1318"/>
                <a:ext cx="33" cy="68"/>
              </a:xfrm>
              <a:custGeom>
                <a:avLst/>
                <a:gdLst>
                  <a:gd name="T0" fmla="*/ 20 w 61"/>
                  <a:gd name="T1" fmla="*/ 0 h 123"/>
                  <a:gd name="T2" fmla="*/ 0 w 61"/>
                  <a:gd name="T3" fmla="*/ 51 h 123"/>
                  <a:gd name="T4" fmla="*/ 0 w 61"/>
                  <a:gd name="T5" fmla="*/ 51 h 123"/>
                  <a:gd name="T6" fmla="*/ 15 w 61"/>
                  <a:gd name="T7" fmla="*/ 91 h 123"/>
                  <a:gd name="T8" fmla="*/ 26 w 61"/>
                  <a:gd name="T9" fmla="*/ 104 h 123"/>
                  <a:gd name="T10" fmla="*/ 49 w 61"/>
                  <a:gd name="T11" fmla="*/ 121 h 123"/>
                  <a:gd name="T12" fmla="*/ 56 w 61"/>
                  <a:gd name="T13" fmla="*/ 123 h 123"/>
                  <a:gd name="T14" fmla="*/ 56 w 61"/>
                  <a:gd name="T15" fmla="*/ 105 h 123"/>
                  <a:gd name="T16" fmla="*/ 58 w 61"/>
                  <a:gd name="T17" fmla="*/ 55 h 123"/>
                  <a:gd name="T18" fmla="*/ 20 w 61"/>
                  <a:gd name="T19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123">
                    <a:moveTo>
                      <a:pt x="20" y="0"/>
                    </a:moveTo>
                    <a:cubicBezTo>
                      <a:pt x="7" y="16"/>
                      <a:pt x="0" y="34"/>
                      <a:pt x="0" y="51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63"/>
                      <a:pt x="5" y="78"/>
                      <a:pt x="15" y="91"/>
                    </a:cubicBezTo>
                    <a:cubicBezTo>
                      <a:pt x="18" y="95"/>
                      <a:pt x="22" y="100"/>
                      <a:pt x="26" y="104"/>
                    </a:cubicBezTo>
                    <a:cubicBezTo>
                      <a:pt x="33" y="111"/>
                      <a:pt x="41" y="117"/>
                      <a:pt x="49" y="121"/>
                    </a:cubicBezTo>
                    <a:cubicBezTo>
                      <a:pt x="51" y="122"/>
                      <a:pt x="53" y="123"/>
                      <a:pt x="56" y="123"/>
                    </a:cubicBezTo>
                    <a:cubicBezTo>
                      <a:pt x="55" y="117"/>
                      <a:pt x="56" y="110"/>
                      <a:pt x="56" y="105"/>
                    </a:cubicBezTo>
                    <a:cubicBezTo>
                      <a:pt x="57" y="93"/>
                      <a:pt x="61" y="66"/>
                      <a:pt x="58" y="55"/>
                    </a:cubicBezTo>
                    <a:cubicBezTo>
                      <a:pt x="51" y="42"/>
                      <a:pt x="37" y="22"/>
                      <a:pt x="20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3" name="Freeform 362">
                <a:extLst>
                  <a:ext uri="{FF2B5EF4-FFF2-40B4-BE49-F238E27FC236}">
                    <a16:creationId xmlns:a16="http://schemas.microsoft.com/office/drawing/2014/main" id="{51BBE0B3-C676-4902-BAD3-0FB9B903F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1315"/>
                <a:ext cx="28" cy="72"/>
              </a:xfrm>
              <a:custGeom>
                <a:avLst/>
                <a:gdLst>
                  <a:gd name="T0" fmla="*/ 6 w 52"/>
                  <a:gd name="T1" fmla="*/ 0 h 132"/>
                  <a:gd name="T2" fmla="*/ 0 w 52"/>
                  <a:gd name="T3" fmla="*/ 7 h 132"/>
                  <a:gd name="T4" fmla="*/ 38 w 52"/>
                  <a:gd name="T5" fmla="*/ 62 h 132"/>
                  <a:gd name="T6" fmla="*/ 36 w 52"/>
                  <a:gd name="T7" fmla="*/ 112 h 132"/>
                  <a:gd name="T8" fmla="*/ 36 w 52"/>
                  <a:gd name="T9" fmla="*/ 130 h 132"/>
                  <a:gd name="T10" fmla="*/ 46 w 52"/>
                  <a:gd name="T11" fmla="*/ 132 h 132"/>
                  <a:gd name="T12" fmla="*/ 46 w 52"/>
                  <a:gd name="T13" fmla="*/ 132 h 132"/>
                  <a:gd name="T14" fmla="*/ 46 w 52"/>
                  <a:gd name="T15" fmla="*/ 132 h 132"/>
                  <a:gd name="T16" fmla="*/ 52 w 52"/>
                  <a:gd name="T17" fmla="*/ 131 h 132"/>
                  <a:gd name="T18" fmla="*/ 48 w 52"/>
                  <a:gd name="T19" fmla="*/ 58 h 132"/>
                  <a:gd name="T20" fmla="*/ 19 w 52"/>
                  <a:gd name="T21" fmla="*/ 16 h 132"/>
                  <a:gd name="T22" fmla="*/ 6 w 52"/>
                  <a:gd name="T23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2" h="132">
                    <a:moveTo>
                      <a:pt x="6" y="0"/>
                    </a:moveTo>
                    <a:cubicBezTo>
                      <a:pt x="4" y="2"/>
                      <a:pt x="2" y="5"/>
                      <a:pt x="0" y="7"/>
                    </a:cubicBezTo>
                    <a:cubicBezTo>
                      <a:pt x="17" y="29"/>
                      <a:pt x="31" y="49"/>
                      <a:pt x="38" y="62"/>
                    </a:cubicBezTo>
                    <a:cubicBezTo>
                      <a:pt x="41" y="73"/>
                      <a:pt x="37" y="100"/>
                      <a:pt x="36" y="112"/>
                    </a:cubicBezTo>
                    <a:cubicBezTo>
                      <a:pt x="36" y="117"/>
                      <a:pt x="35" y="124"/>
                      <a:pt x="36" y="130"/>
                    </a:cubicBezTo>
                    <a:cubicBezTo>
                      <a:pt x="39" y="131"/>
                      <a:pt x="42" y="132"/>
                      <a:pt x="46" y="132"/>
                    </a:cubicBezTo>
                    <a:cubicBezTo>
                      <a:pt x="46" y="132"/>
                      <a:pt x="46" y="132"/>
                      <a:pt x="46" y="132"/>
                    </a:cubicBezTo>
                    <a:cubicBezTo>
                      <a:pt x="46" y="132"/>
                      <a:pt x="46" y="132"/>
                      <a:pt x="46" y="132"/>
                    </a:cubicBezTo>
                    <a:cubicBezTo>
                      <a:pt x="48" y="132"/>
                      <a:pt x="50" y="132"/>
                      <a:pt x="52" y="131"/>
                    </a:cubicBezTo>
                    <a:cubicBezTo>
                      <a:pt x="51" y="109"/>
                      <a:pt x="50" y="75"/>
                      <a:pt x="48" y="58"/>
                    </a:cubicBezTo>
                    <a:cubicBezTo>
                      <a:pt x="46" y="52"/>
                      <a:pt x="35" y="36"/>
                      <a:pt x="19" y="16"/>
                    </a:cubicBezTo>
                    <a:cubicBezTo>
                      <a:pt x="15" y="11"/>
                      <a:pt x="10" y="6"/>
                      <a:pt x="6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4" name="Freeform 363">
                <a:extLst>
                  <a:ext uri="{FF2B5EF4-FFF2-40B4-BE49-F238E27FC236}">
                    <a16:creationId xmlns:a16="http://schemas.microsoft.com/office/drawing/2014/main" id="{0438741C-B16F-46F4-8F6C-3CE534E309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" y="1310"/>
                <a:ext cx="72" cy="77"/>
              </a:xfrm>
              <a:custGeom>
                <a:avLst/>
                <a:gdLst>
                  <a:gd name="T0" fmla="*/ 66 w 133"/>
                  <a:gd name="T1" fmla="*/ 140 h 140"/>
                  <a:gd name="T2" fmla="*/ 66 w 133"/>
                  <a:gd name="T3" fmla="*/ 140 h 140"/>
                  <a:gd name="T4" fmla="*/ 66 w 133"/>
                  <a:gd name="T5" fmla="*/ 140 h 140"/>
                  <a:gd name="T6" fmla="*/ 66 w 133"/>
                  <a:gd name="T7" fmla="*/ 140 h 140"/>
                  <a:gd name="T8" fmla="*/ 115 w 133"/>
                  <a:gd name="T9" fmla="*/ 121 h 140"/>
                  <a:gd name="T10" fmla="*/ 72 w 133"/>
                  <a:gd name="T11" fmla="*/ 139 h 140"/>
                  <a:gd name="T12" fmla="*/ 66 w 133"/>
                  <a:gd name="T13" fmla="*/ 140 h 140"/>
                  <a:gd name="T14" fmla="*/ 115 w 133"/>
                  <a:gd name="T15" fmla="*/ 121 h 140"/>
                  <a:gd name="T16" fmla="*/ 116 w 133"/>
                  <a:gd name="T17" fmla="*/ 121 h 140"/>
                  <a:gd name="T18" fmla="*/ 115 w 133"/>
                  <a:gd name="T19" fmla="*/ 121 h 140"/>
                  <a:gd name="T20" fmla="*/ 116 w 133"/>
                  <a:gd name="T21" fmla="*/ 121 h 140"/>
                  <a:gd name="T22" fmla="*/ 116 w 133"/>
                  <a:gd name="T23" fmla="*/ 120 h 140"/>
                  <a:gd name="T24" fmla="*/ 116 w 133"/>
                  <a:gd name="T25" fmla="*/ 121 h 140"/>
                  <a:gd name="T26" fmla="*/ 116 w 133"/>
                  <a:gd name="T27" fmla="*/ 120 h 140"/>
                  <a:gd name="T28" fmla="*/ 33 w 133"/>
                  <a:gd name="T29" fmla="*/ 0 h 140"/>
                  <a:gd name="T30" fmla="*/ 28 w 133"/>
                  <a:gd name="T31" fmla="*/ 6 h 140"/>
                  <a:gd name="T32" fmla="*/ 0 w 133"/>
                  <a:gd name="T33" fmla="*/ 66 h 140"/>
                  <a:gd name="T34" fmla="*/ 0 w 133"/>
                  <a:gd name="T35" fmla="*/ 66 h 140"/>
                  <a:gd name="T36" fmla="*/ 0 w 133"/>
                  <a:gd name="T37" fmla="*/ 66 h 140"/>
                  <a:gd name="T38" fmla="*/ 20 w 133"/>
                  <a:gd name="T39" fmla="*/ 15 h 140"/>
                  <a:gd name="T40" fmla="*/ 26 w 133"/>
                  <a:gd name="T41" fmla="*/ 8 h 140"/>
                  <a:gd name="T42" fmla="*/ 28 w 133"/>
                  <a:gd name="T43" fmla="*/ 6 h 140"/>
                  <a:gd name="T44" fmla="*/ 29 w 133"/>
                  <a:gd name="T45" fmla="*/ 5 h 140"/>
                  <a:gd name="T46" fmla="*/ 33 w 133"/>
                  <a:gd name="T47" fmla="*/ 0 h 140"/>
                  <a:gd name="T48" fmla="*/ 35 w 133"/>
                  <a:gd name="T49" fmla="*/ 1 h 140"/>
                  <a:gd name="T50" fmla="*/ 86 w 133"/>
                  <a:gd name="T51" fmla="*/ 43 h 140"/>
                  <a:gd name="T52" fmla="*/ 124 w 133"/>
                  <a:gd name="T53" fmla="*/ 86 h 140"/>
                  <a:gd name="T54" fmla="*/ 133 w 133"/>
                  <a:gd name="T55" fmla="*/ 98 h 140"/>
                  <a:gd name="T56" fmla="*/ 133 w 133"/>
                  <a:gd name="T57" fmla="*/ 100 h 140"/>
                  <a:gd name="T58" fmla="*/ 133 w 133"/>
                  <a:gd name="T59" fmla="*/ 98 h 140"/>
                  <a:gd name="T60" fmla="*/ 86 w 133"/>
                  <a:gd name="T61" fmla="*/ 43 h 140"/>
                  <a:gd name="T62" fmla="*/ 35 w 133"/>
                  <a:gd name="T63" fmla="*/ 1 h 140"/>
                  <a:gd name="T64" fmla="*/ 33 w 133"/>
                  <a:gd name="T65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3" h="140">
                    <a:moveTo>
                      <a:pt x="66" y="140"/>
                    </a:moveTo>
                    <a:cubicBezTo>
                      <a:pt x="66" y="140"/>
                      <a:pt x="66" y="140"/>
                      <a:pt x="66" y="140"/>
                    </a:cubicBezTo>
                    <a:cubicBezTo>
                      <a:pt x="66" y="140"/>
                      <a:pt x="66" y="140"/>
                      <a:pt x="66" y="140"/>
                    </a:cubicBezTo>
                    <a:cubicBezTo>
                      <a:pt x="66" y="140"/>
                      <a:pt x="66" y="140"/>
                      <a:pt x="66" y="140"/>
                    </a:cubicBezTo>
                    <a:moveTo>
                      <a:pt x="115" y="121"/>
                    </a:moveTo>
                    <a:cubicBezTo>
                      <a:pt x="106" y="127"/>
                      <a:pt x="89" y="137"/>
                      <a:pt x="72" y="139"/>
                    </a:cubicBezTo>
                    <a:cubicBezTo>
                      <a:pt x="70" y="140"/>
                      <a:pt x="68" y="140"/>
                      <a:pt x="66" y="140"/>
                    </a:cubicBezTo>
                    <a:cubicBezTo>
                      <a:pt x="85" y="140"/>
                      <a:pt x="105" y="128"/>
                      <a:pt x="115" y="121"/>
                    </a:cubicBezTo>
                    <a:moveTo>
                      <a:pt x="116" y="121"/>
                    </a:moveTo>
                    <a:cubicBezTo>
                      <a:pt x="115" y="121"/>
                      <a:pt x="115" y="121"/>
                      <a:pt x="115" y="121"/>
                    </a:cubicBezTo>
                    <a:cubicBezTo>
                      <a:pt x="115" y="121"/>
                      <a:pt x="115" y="121"/>
                      <a:pt x="116" y="121"/>
                    </a:cubicBezTo>
                    <a:moveTo>
                      <a:pt x="116" y="120"/>
                    </a:moveTo>
                    <a:cubicBezTo>
                      <a:pt x="116" y="120"/>
                      <a:pt x="116" y="121"/>
                      <a:pt x="116" y="121"/>
                    </a:cubicBezTo>
                    <a:cubicBezTo>
                      <a:pt x="116" y="121"/>
                      <a:pt x="116" y="120"/>
                      <a:pt x="116" y="120"/>
                    </a:cubicBezTo>
                    <a:moveTo>
                      <a:pt x="33" y="0"/>
                    </a:moveTo>
                    <a:cubicBezTo>
                      <a:pt x="28" y="6"/>
                      <a:pt x="28" y="6"/>
                      <a:pt x="28" y="6"/>
                    </a:cubicBezTo>
                    <a:cubicBezTo>
                      <a:pt x="10" y="23"/>
                      <a:pt x="0" y="45"/>
                      <a:pt x="0" y="66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49"/>
                      <a:pt x="7" y="31"/>
                      <a:pt x="20" y="15"/>
                    </a:cubicBezTo>
                    <a:cubicBezTo>
                      <a:pt x="22" y="13"/>
                      <a:pt x="24" y="10"/>
                      <a:pt x="26" y="8"/>
                    </a:cubicBezTo>
                    <a:cubicBezTo>
                      <a:pt x="26" y="7"/>
                      <a:pt x="27" y="7"/>
                      <a:pt x="28" y="6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4" y="0"/>
                      <a:pt x="35" y="1"/>
                      <a:pt x="35" y="1"/>
                    </a:cubicBezTo>
                    <a:cubicBezTo>
                      <a:pt x="48" y="9"/>
                      <a:pt x="67" y="24"/>
                      <a:pt x="86" y="43"/>
                    </a:cubicBezTo>
                    <a:cubicBezTo>
                      <a:pt x="100" y="58"/>
                      <a:pt x="114" y="73"/>
                      <a:pt x="124" y="86"/>
                    </a:cubicBezTo>
                    <a:cubicBezTo>
                      <a:pt x="127" y="91"/>
                      <a:pt x="130" y="95"/>
                      <a:pt x="133" y="98"/>
                    </a:cubicBezTo>
                    <a:cubicBezTo>
                      <a:pt x="133" y="99"/>
                      <a:pt x="133" y="99"/>
                      <a:pt x="133" y="100"/>
                    </a:cubicBezTo>
                    <a:cubicBezTo>
                      <a:pt x="133" y="99"/>
                      <a:pt x="133" y="99"/>
                      <a:pt x="133" y="98"/>
                    </a:cubicBezTo>
                    <a:cubicBezTo>
                      <a:pt x="123" y="84"/>
                      <a:pt x="105" y="63"/>
                      <a:pt x="86" y="43"/>
                    </a:cubicBezTo>
                    <a:cubicBezTo>
                      <a:pt x="67" y="24"/>
                      <a:pt x="48" y="9"/>
                      <a:pt x="35" y="1"/>
                    </a:cubicBezTo>
                    <a:cubicBezTo>
                      <a:pt x="35" y="1"/>
                      <a:pt x="34" y="0"/>
                      <a:pt x="33" y="0"/>
                    </a:cubicBezTo>
                  </a:path>
                </a:pathLst>
              </a:custGeom>
              <a:solidFill>
                <a:srgbClr val="48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5" name="Freeform 364">
                <a:extLst>
                  <a:ext uri="{FF2B5EF4-FFF2-40B4-BE49-F238E27FC236}">
                    <a16:creationId xmlns:a16="http://schemas.microsoft.com/office/drawing/2014/main" id="{495BA7B8-2B4A-4EB9-AF60-41D9BAC3B2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8" y="1229"/>
                <a:ext cx="91" cy="85"/>
              </a:xfrm>
              <a:custGeom>
                <a:avLst/>
                <a:gdLst>
                  <a:gd name="T0" fmla="*/ 163 w 167"/>
                  <a:gd name="T1" fmla="*/ 108 h 156"/>
                  <a:gd name="T2" fmla="*/ 63 w 167"/>
                  <a:gd name="T3" fmla="*/ 8 h 156"/>
                  <a:gd name="T4" fmla="*/ 29 w 167"/>
                  <a:gd name="T5" fmla="*/ 27 h 156"/>
                  <a:gd name="T6" fmla="*/ 13 w 167"/>
                  <a:gd name="T7" fmla="*/ 103 h 156"/>
                  <a:gd name="T8" fmla="*/ 46 w 167"/>
                  <a:gd name="T9" fmla="*/ 140 h 156"/>
                  <a:gd name="T10" fmla="*/ 91 w 167"/>
                  <a:gd name="T11" fmla="*/ 156 h 156"/>
                  <a:gd name="T12" fmla="*/ 157 w 167"/>
                  <a:gd name="T13" fmla="*/ 126 h 156"/>
                  <a:gd name="T14" fmla="*/ 163 w 167"/>
                  <a:gd name="T15" fmla="*/ 120 h 156"/>
                  <a:gd name="T16" fmla="*/ 163 w 167"/>
                  <a:gd name="T17" fmla="*/ 108 h 156"/>
                  <a:gd name="T18" fmla="*/ 151 w 167"/>
                  <a:gd name="T19" fmla="*/ 120 h 156"/>
                  <a:gd name="T20" fmla="*/ 91 w 167"/>
                  <a:gd name="T21" fmla="*/ 147 h 156"/>
                  <a:gd name="T22" fmla="*/ 51 w 167"/>
                  <a:gd name="T23" fmla="*/ 133 h 156"/>
                  <a:gd name="T24" fmla="*/ 38 w 167"/>
                  <a:gd name="T25" fmla="*/ 122 h 156"/>
                  <a:gd name="T26" fmla="*/ 21 w 167"/>
                  <a:gd name="T27" fmla="*/ 99 h 156"/>
                  <a:gd name="T28" fmla="*/ 36 w 167"/>
                  <a:gd name="T29" fmla="*/ 32 h 156"/>
                  <a:gd name="T30" fmla="*/ 58 w 167"/>
                  <a:gd name="T31" fmla="*/ 15 h 156"/>
                  <a:gd name="T32" fmla="*/ 114 w 167"/>
                  <a:gd name="T33" fmla="*/ 62 h 156"/>
                  <a:gd name="T34" fmla="*/ 156 w 167"/>
                  <a:gd name="T35" fmla="*/ 113 h 156"/>
                  <a:gd name="T36" fmla="*/ 157 w 167"/>
                  <a:gd name="T37" fmla="*/ 114 h 156"/>
                  <a:gd name="T38" fmla="*/ 151 w 167"/>
                  <a:gd name="T39" fmla="*/ 12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7" h="156">
                    <a:moveTo>
                      <a:pt x="163" y="108"/>
                    </a:moveTo>
                    <a:cubicBezTo>
                      <a:pt x="145" y="78"/>
                      <a:pt x="93" y="27"/>
                      <a:pt x="63" y="8"/>
                    </a:cubicBezTo>
                    <a:cubicBezTo>
                      <a:pt x="51" y="0"/>
                      <a:pt x="34" y="19"/>
                      <a:pt x="29" y="27"/>
                    </a:cubicBezTo>
                    <a:cubicBezTo>
                      <a:pt x="18" y="43"/>
                      <a:pt x="0" y="76"/>
                      <a:pt x="13" y="103"/>
                    </a:cubicBezTo>
                    <a:cubicBezTo>
                      <a:pt x="20" y="117"/>
                      <a:pt x="32" y="130"/>
                      <a:pt x="46" y="140"/>
                    </a:cubicBezTo>
                    <a:cubicBezTo>
                      <a:pt x="60" y="150"/>
                      <a:pt x="76" y="156"/>
                      <a:pt x="91" y="156"/>
                    </a:cubicBezTo>
                    <a:cubicBezTo>
                      <a:pt x="116" y="156"/>
                      <a:pt x="139" y="144"/>
                      <a:pt x="157" y="126"/>
                    </a:cubicBezTo>
                    <a:cubicBezTo>
                      <a:pt x="163" y="120"/>
                      <a:pt x="163" y="120"/>
                      <a:pt x="163" y="120"/>
                    </a:cubicBezTo>
                    <a:cubicBezTo>
                      <a:pt x="167" y="117"/>
                      <a:pt x="165" y="111"/>
                      <a:pt x="163" y="108"/>
                    </a:cubicBezTo>
                    <a:moveTo>
                      <a:pt x="151" y="120"/>
                    </a:moveTo>
                    <a:cubicBezTo>
                      <a:pt x="133" y="137"/>
                      <a:pt x="112" y="147"/>
                      <a:pt x="91" y="147"/>
                    </a:cubicBezTo>
                    <a:cubicBezTo>
                      <a:pt x="79" y="148"/>
                      <a:pt x="64" y="142"/>
                      <a:pt x="51" y="133"/>
                    </a:cubicBezTo>
                    <a:cubicBezTo>
                      <a:pt x="46" y="130"/>
                      <a:pt x="42" y="126"/>
                      <a:pt x="38" y="122"/>
                    </a:cubicBezTo>
                    <a:cubicBezTo>
                      <a:pt x="31" y="115"/>
                      <a:pt x="25" y="107"/>
                      <a:pt x="21" y="99"/>
                    </a:cubicBezTo>
                    <a:cubicBezTo>
                      <a:pt x="9" y="76"/>
                      <a:pt x="28" y="44"/>
                      <a:pt x="36" y="32"/>
                    </a:cubicBezTo>
                    <a:cubicBezTo>
                      <a:pt x="43" y="22"/>
                      <a:pt x="55" y="13"/>
                      <a:pt x="58" y="15"/>
                    </a:cubicBezTo>
                    <a:cubicBezTo>
                      <a:pt x="73" y="24"/>
                      <a:pt x="94" y="42"/>
                      <a:pt x="114" y="62"/>
                    </a:cubicBezTo>
                    <a:cubicBezTo>
                      <a:pt x="133" y="81"/>
                      <a:pt x="148" y="100"/>
                      <a:pt x="156" y="113"/>
                    </a:cubicBezTo>
                    <a:cubicBezTo>
                      <a:pt x="156" y="113"/>
                      <a:pt x="156" y="114"/>
                      <a:pt x="157" y="114"/>
                    </a:cubicBezTo>
                    <a:cubicBezTo>
                      <a:pt x="151" y="120"/>
                      <a:pt x="151" y="120"/>
                      <a:pt x="151" y="12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6" name="Freeform 365">
                <a:extLst>
                  <a:ext uri="{FF2B5EF4-FFF2-40B4-BE49-F238E27FC236}">
                    <a16:creationId xmlns:a16="http://schemas.microsoft.com/office/drawing/2014/main" id="{CACDA52B-611F-4AF0-99C4-8B0470C53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9" y="1294"/>
                <a:ext cx="21" cy="21"/>
              </a:xfrm>
              <a:custGeom>
                <a:avLst/>
                <a:gdLst>
                  <a:gd name="T0" fmla="*/ 39 w 39"/>
                  <a:gd name="T1" fmla="*/ 29 h 38"/>
                  <a:gd name="T2" fmla="*/ 8 w 39"/>
                  <a:gd name="T3" fmla="*/ 0 h 38"/>
                  <a:gd name="T4" fmla="*/ 0 w 39"/>
                  <a:gd name="T5" fmla="*/ 9 h 38"/>
                  <a:gd name="T6" fmla="*/ 31 w 39"/>
                  <a:gd name="T7" fmla="*/ 38 h 38"/>
                  <a:gd name="T8" fmla="*/ 39 w 39"/>
                  <a:gd name="T9" fmla="*/ 2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8">
                    <a:moveTo>
                      <a:pt x="39" y="29"/>
                    </a:moveTo>
                    <a:cubicBezTo>
                      <a:pt x="31" y="17"/>
                      <a:pt x="21" y="7"/>
                      <a:pt x="8" y="0"/>
                    </a:cubicBezTo>
                    <a:cubicBezTo>
                      <a:pt x="6" y="3"/>
                      <a:pt x="3" y="6"/>
                      <a:pt x="0" y="9"/>
                    </a:cubicBezTo>
                    <a:cubicBezTo>
                      <a:pt x="12" y="16"/>
                      <a:pt x="23" y="26"/>
                      <a:pt x="31" y="38"/>
                    </a:cubicBezTo>
                    <a:cubicBezTo>
                      <a:pt x="33" y="35"/>
                      <a:pt x="36" y="32"/>
                      <a:pt x="39" y="29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7" name="Freeform 366">
                <a:extLst>
                  <a:ext uri="{FF2B5EF4-FFF2-40B4-BE49-F238E27FC236}">
                    <a16:creationId xmlns:a16="http://schemas.microsoft.com/office/drawing/2014/main" id="{BD44EC43-DBC3-48DB-8578-B56C5C6CC9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18" y="1238"/>
                <a:ext cx="68" cy="71"/>
              </a:xfrm>
              <a:custGeom>
                <a:avLst/>
                <a:gdLst>
                  <a:gd name="T0" fmla="*/ 58 w 124"/>
                  <a:gd name="T1" fmla="*/ 71 h 130"/>
                  <a:gd name="T2" fmla="*/ 18 w 124"/>
                  <a:gd name="T3" fmla="*/ 75 h 130"/>
                  <a:gd name="T4" fmla="*/ 5 w 124"/>
                  <a:gd name="T5" fmla="*/ 75 h 130"/>
                  <a:gd name="T6" fmla="*/ 0 w 124"/>
                  <a:gd name="T7" fmla="*/ 75 h 130"/>
                  <a:gd name="T8" fmla="*/ 3 w 124"/>
                  <a:gd name="T9" fmla="*/ 82 h 130"/>
                  <a:gd name="T10" fmla="*/ 20 w 124"/>
                  <a:gd name="T11" fmla="*/ 105 h 130"/>
                  <a:gd name="T12" fmla="*/ 33 w 124"/>
                  <a:gd name="T13" fmla="*/ 116 h 130"/>
                  <a:gd name="T14" fmla="*/ 73 w 124"/>
                  <a:gd name="T15" fmla="*/ 130 h 130"/>
                  <a:gd name="T16" fmla="*/ 73 w 124"/>
                  <a:gd name="T17" fmla="*/ 130 h 130"/>
                  <a:gd name="T18" fmla="*/ 124 w 124"/>
                  <a:gd name="T19" fmla="*/ 111 h 130"/>
                  <a:gd name="T20" fmla="*/ 69 w 124"/>
                  <a:gd name="T21" fmla="*/ 72 h 130"/>
                  <a:gd name="T22" fmla="*/ 58 w 124"/>
                  <a:gd name="T23" fmla="*/ 71 h 130"/>
                  <a:gd name="T24" fmla="*/ 34 w 124"/>
                  <a:gd name="T25" fmla="*/ 0 h 130"/>
                  <a:gd name="T26" fmla="*/ 18 w 124"/>
                  <a:gd name="T27" fmla="*/ 15 h 130"/>
                  <a:gd name="T28" fmla="*/ 0 w 124"/>
                  <a:gd name="T29" fmla="*/ 58 h 130"/>
                  <a:gd name="T30" fmla="*/ 72 w 124"/>
                  <a:gd name="T31" fmla="*/ 62 h 130"/>
                  <a:gd name="T32" fmla="*/ 114 w 124"/>
                  <a:gd name="T33" fmla="*/ 92 h 130"/>
                  <a:gd name="T34" fmla="*/ 34 w 124"/>
                  <a:gd name="T35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4" h="130">
                    <a:moveTo>
                      <a:pt x="58" y="71"/>
                    </a:moveTo>
                    <a:cubicBezTo>
                      <a:pt x="45" y="71"/>
                      <a:pt x="27" y="74"/>
                      <a:pt x="18" y="75"/>
                    </a:cubicBezTo>
                    <a:cubicBezTo>
                      <a:pt x="15" y="75"/>
                      <a:pt x="10" y="75"/>
                      <a:pt x="5" y="75"/>
                    </a:cubicBezTo>
                    <a:cubicBezTo>
                      <a:pt x="4" y="75"/>
                      <a:pt x="2" y="75"/>
                      <a:pt x="0" y="75"/>
                    </a:cubicBezTo>
                    <a:cubicBezTo>
                      <a:pt x="1" y="77"/>
                      <a:pt x="2" y="80"/>
                      <a:pt x="3" y="82"/>
                    </a:cubicBezTo>
                    <a:cubicBezTo>
                      <a:pt x="7" y="90"/>
                      <a:pt x="13" y="98"/>
                      <a:pt x="20" y="105"/>
                    </a:cubicBezTo>
                    <a:cubicBezTo>
                      <a:pt x="24" y="109"/>
                      <a:pt x="28" y="113"/>
                      <a:pt x="33" y="116"/>
                    </a:cubicBezTo>
                    <a:cubicBezTo>
                      <a:pt x="46" y="125"/>
                      <a:pt x="60" y="130"/>
                      <a:pt x="73" y="130"/>
                    </a:cubicBezTo>
                    <a:cubicBezTo>
                      <a:pt x="73" y="130"/>
                      <a:pt x="73" y="130"/>
                      <a:pt x="73" y="130"/>
                    </a:cubicBezTo>
                    <a:cubicBezTo>
                      <a:pt x="90" y="130"/>
                      <a:pt x="108" y="124"/>
                      <a:pt x="124" y="111"/>
                    </a:cubicBezTo>
                    <a:cubicBezTo>
                      <a:pt x="102" y="94"/>
                      <a:pt x="82" y="79"/>
                      <a:pt x="69" y="72"/>
                    </a:cubicBezTo>
                    <a:cubicBezTo>
                      <a:pt x="66" y="72"/>
                      <a:pt x="62" y="71"/>
                      <a:pt x="58" y="71"/>
                    </a:cubicBezTo>
                    <a:moveTo>
                      <a:pt x="34" y="0"/>
                    </a:moveTo>
                    <a:cubicBezTo>
                      <a:pt x="29" y="3"/>
                      <a:pt x="23" y="9"/>
                      <a:pt x="18" y="15"/>
                    </a:cubicBezTo>
                    <a:cubicBezTo>
                      <a:pt x="13" y="23"/>
                      <a:pt x="2" y="41"/>
                      <a:pt x="0" y="58"/>
                    </a:cubicBezTo>
                    <a:cubicBezTo>
                      <a:pt x="22" y="59"/>
                      <a:pt x="55" y="61"/>
                      <a:pt x="72" y="62"/>
                    </a:cubicBezTo>
                    <a:cubicBezTo>
                      <a:pt x="79" y="64"/>
                      <a:pt x="94" y="76"/>
                      <a:pt x="114" y="92"/>
                    </a:cubicBezTo>
                    <a:cubicBezTo>
                      <a:pt x="80" y="51"/>
                      <a:pt x="46" y="13"/>
                      <a:pt x="34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8" name="Freeform 367">
                <a:extLst>
                  <a:ext uri="{FF2B5EF4-FFF2-40B4-BE49-F238E27FC236}">
                    <a16:creationId xmlns:a16="http://schemas.microsoft.com/office/drawing/2014/main" id="{620DCD07-A940-42F3-BCA2-B54A631486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270"/>
                <a:ext cx="71" cy="29"/>
              </a:xfrm>
              <a:custGeom>
                <a:avLst/>
                <a:gdLst>
                  <a:gd name="T0" fmla="*/ 1 w 129"/>
                  <a:gd name="T1" fmla="*/ 0 h 53"/>
                  <a:gd name="T2" fmla="*/ 0 w 129"/>
                  <a:gd name="T3" fmla="*/ 7 h 53"/>
                  <a:gd name="T4" fmla="*/ 1 w 129"/>
                  <a:gd name="T5" fmla="*/ 17 h 53"/>
                  <a:gd name="T6" fmla="*/ 6 w 129"/>
                  <a:gd name="T7" fmla="*/ 17 h 53"/>
                  <a:gd name="T8" fmla="*/ 19 w 129"/>
                  <a:gd name="T9" fmla="*/ 17 h 53"/>
                  <a:gd name="T10" fmla="*/ 59 w 129"/>
                  <a:gd name="T11" fmla="*/ 13 h 53"/>
                  <a:gd name="T12" fmla="*/ 70 w 129"/>
                  <a:gd name="T13" fmla="*/ 14 h 53"/>
                  <a:gd name="T14" fmla="*/ 125 w 129"/>
                  <a:gd name="T15" fmla="*/ 53 h 53"/>
                  <a:gd name="T16" fmla="*/ 129 w 129"/>
                  <a:gd name="T17" fmla="*/ 50 h 53"/>
                  <a:gd name="T18" fmla="*/ 115 w 129"/>
                  <a:gd name="T19" fmla="*/ 34 h 53"/>
                  <a:gd name="T20" fmla="*/ 73 w 129"/>
                  <a:gd name="T21" fmla="*/ 4 h 53"/>
                  <a:gd name="T22" fmla="*/ 1 w 129"/>
                  <a:gd name="T23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9" h="53">
                    <a:moveTo>
                      <a:pt x="1" y="0"/>
                    </a:moveTo>
                    <a:cubicBezTo>
                      <a:pt x="0" y="3"/>
                      <a:pt x="0" y="5"/>
                      <a:pt x="0" y="7"/>
                    </a:cubicBezTo>
                    <a:cubicBezTo>
                      <a:pt x="0" y="11"/>
                      <a:pt x="1" y="14"/>
                      <a:pt x="1" y="17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11" y="17"/>
                      <a:pt x="16" y="17"/>
                      <a:pt x="19" y="17"/>
                    </a:cubicBezTo>
                    <a:cubicBezTo>
                      <a:pt x="28" y="16"/>
                      <a:pt x="46" y="13"/>
                      <a:pt x="59" y="13"/>
                    </a:cubicBezTo>
                    <a:cubicBezTo>
                      <a:pt x="63" y="13"/>
                      <a:pt x="67" y="14"/>
                      <a:pt x="70" y="14"/>
                    </a:cubicBezTo>
                    <a:cubicBezTo>
                      <a:pt x="83" y="21"/>
                      <a:pt x="103" y="36"/>
                      <a:pt x="125" y="53"/>
                    </a:cubicBezTo>
                    <a:cubicBezTo>
                      <a:pt x="126" y="52"/>
                      <a:pt x="127" y="51"/>
                      <a:pt x="129" y="50"/>
                    </a:cubicBezTo>
                    <a:cubicBezTo>
                      <a:pt x="124" y="44"/>
                      <a:pt x="120" y="39"/>
                      <a:pt x="115" y="34"/>
                    </a:cubicBezTo>
                    <a:cubicBezTo>
                      <a:pt x="95" y="18"/>
                      <a:pt x="80" y="6"/>
                      <a:pt x="73" y="4"/>
                    </a:cubicBezTo>
                    <a:cubicBezTo>
                      <a:pt x="56" y="3"/>
                      <a:pt x="23" y="1"/>
                      <a:pt x="1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9" name="Freeform 368">
                <a:extLst>
                  <a:ext uri="{FF2B5EF4-FFF2-40B4-BE49-F238E27FC236}">
                    <a16:creationId xmlns:a16="http://schemas.microsoft.com/office/drawing/2014/main" id="{7BE2DF5E-8710-4894-8955-1D8FCC9B1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7" y="1242"/>
                <a:ext cx="47" cy="52"/>
              </a:xfrm>
              <a:custGeom>
                <a:avLst/>
                <a:gdLst>
                  <a:gd name="T0" fmla="*/ 0 w 86"/>
                  <a:gd name="T1" fmla="*/ 0 h 95"/>
                  <a:gd name="T2" fmla="*/ 81 w 86"/>
                  <a:gd name="T3" fmla="*/ 95 h 95"/>
                  <a:gd name="T4" fmla="*/ 86 w 86"/>
                  <a:gd name="T5" fmla="*/ 90 h 95"/>
                  <a:gd name="T6" fmla="*/ 85 w 86"/>
                  <a:gd name="T7" fmla="*/ 89 h 95"/>
                  <a:gd name="T8" fmla="*/ 43 w 86"/>
                  <a:gd name="T9" fmla="*/ 38 h 95"/>
                  <a:gd name="T10" fmla="*/ 0 w 86"/>
                  <a:gd name="T11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6" h="95">
                    <a:moveTo>
                      <a:pt x="0" y="0"/>
                    </a:moveTo>
                    <a:cubicBezTo>
                      <a:pt x="17" y="20"/>
                      <a:pt x="50" y="58"/>
                      <a:pt x="81" y="95"/>
                    </a:cubicBezTo>
                    <a:cubicBezTo>
                      <a:pt x="86" y="90"/>
                      <a:pt x="86" y="90"/>
                      <a:pt x="86" y="90"/>
                    </a:cubicBezTo>
                    <a:cubicBezTo>
                      <a:pt x="85" y="90"/>
                      <a:pt x="85" y="89"/>
                      <a:pt x="85" y="89"/>
                    </a:cubicBezTo>
                    <a:cubicBezTo>
                      <a:pt x="77" y="76"/>
                      <a:pt x="62" y="57"/>
                      <a:pt x="43" y="38"/>
                    </a:cubicBezTo>
                    <a:cubicBezTo>
                      <a:pt x="28" y="23"/>
                      <a:pt x="12" y="10"/>
                      <a:pt x="0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0" name="Freeform 369">
                <a:extLst>
                  <a:ext uri="{FF2B5EF4-FFF2-40B4-BE49-F238E27FC236}">
                    <a16:creationId xmlns:a16="http://schemas.microsoft.com/office/drawing/2014/main" id="{37102B75-C423-4133-9187-B00C03598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7" y="1237"/>
                <a:ext cx="54" cy="60"/>
              </a:xfrm>
              <a:custGeom>
                <a:avLst/>
                <a:gdLst>
                  <a:gd name="T0" fmla="*/ 5 w 100"/>
                  <a:gd name="T1" fmla="*/ 0 h 110"/>
                  <a:gd name="T2" fmla="*/ 0 w 100"/>
                  <a:gd name="T3" fmla="*/ 2 h 110"/>
                  <a:gd name="T4" fmla="*/ 80 w 100"/>
                  <a:gd name="T5" fmla="*/ 94 h 110"/>
                  <a:gd name="T6" fmla="*/ 94 w 100"/>
                  <a:gd name="T7" fmla="*/ 110 h 110"/>
                  <a:gd name="T8" fmla="*/ 99 w 100"/>
                  <a:gd name="T9" fmla="*/ 105 h 110"/>
                  <a:gd name="T10" fmla="*/ 100 w 100"/>
                  <a:gd name="T11" fmla="*/ 104 h 110"/>
                  <a:gd name="T12" fmla="*/ 19 w 100"/>
                  <a:gd name="T13" fmla="*/ 9 h 110"/>
                  <a:gd name="T14" fmla="*/ 6 w 100"/>
                  <a:gd name="T15" fmla="*/ 0 h 110"/>
                  <a:gd name="T16" fmla="*/ 5 w 100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110">
                    <a:moveTo>
                      <a:pt x="5" y="0"/>
                    </a:moveTo>
                    <a:cubicBezTo>
                      <a:pt x="4" y="0"/>
                      <a:pt x="2" y="0"/>
                      <a:pt x="0" y="2"/>
                    </a:cubicBezTo>
                    <a:cubicBezTo>
                      <a:pt x="12" y="15"/>
                      <a:pt x="46" y="53"/>
                      <a:pt x="80" y="94"/>
                    </a:cubicBezTo>
                    <a:cubicBezTo>
                      <a:pt x="85" y="99"/>
                      <a:pt x="89" y="104"/>
                      <a:pt x="94" y="110"/>
                    </a:cubicBezTo>
                    <a:cubicBezTo>
                      <a:pt x="95" y="108"/>
                      <a:pt x="97" y="107"/>
                      <a:pt x="99" y="105"/>
                    </a:cubicBezTo>
                    <a:cubicBezTo>
                      <a:pt x="100" y="104"/>
                      <a:pt x="100" y="104"/>
                      <a:pt x="100" y="104"/>
                    </a:cubicBezTo>
                    <a:cubicBezTo>
                      <a:pt x="69" y="67"/>
                      <a:pt x="36" y="29"/>
                      <a:pt x="19" y="9"/>
                    </a:cubicBezTo>
                    <a:cubicBezTo>
                      <a:pt x="14" y="5"/>
                      <a:pt x="10" y="3"/>
                      <a:pt x="6" y="0"/>
                    </a:cubicBezTo>
                    <a:cubicBezTo>
                      <a:pt x="6" y="0"/>
                      <a:pt x="6" y="0"/>
                      <a:pt x="5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1" name="Freeform 370">
                <a:extLst>
                  <a:ext uri="{FF2B5EF4-FFF2-40B4-BE49-F238E27FC236}">
                    <a16:creationId xmlns:a16="http://schemas.microsoft.com/office/drawing/2014/main" id="{82ADC757-9319-48E7-8A35-BC7A3D1D1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237"/>
                <a:ext cx="77" cy="54"/>
              </a:xfrm>
              <a:custGeom>
                <a:avLst/>
                <a:gdLst>
                  <a:gd name="T0" fmla="*/ 40 w 140"/>
                  <a:gd name="T1" fmla="*/ 0 h 99"/>
                  <a:gd name="T2" fmla="*/ 19 w 140"/>
                  <a:gd name="T3" fmla="*/ 17 h 99"/>
                  <a:gd name="T4" fmla="*/ 0 w 140"/>
                  <a:gd name="T5" fmla="*/ 67 h 99"/>
                  <a:gd name="T6" fmla="*/ 1 w 140"/>
                  <a:gd name="T7" fmla="*/ 60 h 99"/>
                  <a:gd name="T8" fmla="*/ 19 w 140"/>
                  <a:gd name="T9" fmla="*/ 17 h 99"/>
                  <a:gd name="T10" fmla="*/ 35 w 140"/>
                  <a:gd name="T11" fmla="*/ 2 h 99"/>
                  <a:gd name="T12" fmla="*/ 40 w 140"/>
                  <a:gd name="T13" fmla="*/ 0 h 99"/>
                  <a:gd name="T14" fmla="*/ 41 w 140"/>
                  <a:gd name="T15" fmla="*/ 0 h 99"/>
                  <a:gd name="T16" fmla="*/ 54 w 140"/>
                  <a:gd name="T17" fmla="*/ 9 h 99"/>
                  <a:gd name="T18" fmla="*/ 97 w 140"/>
                  <a:gd name="T19" fmla="*/ 47 h 99"/>
                  <a:gd name="T20" fmla="*/ 139 w 140"/>
                  <a:gd name="T21" fmla="*/ 98 h 99"/>
                  <a:gd name="T22" fmla="*/ 140 w 140"/>
                  <a:gd name="T23" fmla="*/ 99 h 99"/>
                  <a:gd name="T24" fmla="*/ 140 w 140"/>
                  <a:gd name="T25" fmla="*/ 99 h 99"/>
                  <a:gd name="T26" fmla="*/ 139 w 140"/>
                  <a:gd name="T27" fmla="*/ 98 h 99"/>
                  <a:gd name="T28" fmla="*/ 97 w 140"/>
                  <a:gd name="T29" fmla="*/ 47 h 99"/>
                  <a:gd name="T30" fmla="*/ 41 w 140"/>
                  <a:gd name="T31" fmla="*/ 0 h 99"/>
                  <a:gd name="T32" fmla="*/ 40 w 140"/>
                  <a:gd name="T3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0" h="99">
                    <a:moveTo>
                      <a:pt x="40" y="0"/>
                    </a:moveTo>
                    <a:cubicBezTo>
                      <a:pt x="35" y="0"/>
                      <a:pt x="25" y="8"/>
                      <a:pt x="19" y="17"/>
                    </a:cubicBezTo>
                    <a:cubicBezTo>
                      <a:pt x="13" y="26"/>
                      <a:pt x="0" y="48"/>
                      <a:pt x="0" y="67"/>
                    </a:cubicBezTo>
                    <a:cubicBezTo>
                      <a:pt x="0" y="65"/>
                      <a:pt x="0" y="63"/>
                      <a:pt x="1" y="60"/>
                    </a:cubicBezTo>
                    <a:cubicBezTo>
                      <a:pt x="3" y="43"/>
                      <a:pt x="14" y="25"/>
                      <a:pt x="19" y="17"/>
                    </a:cubicBezTo>
                    <a:cubicBezTo>
                      <a:pt x="24" y="11"/>
                      <a:pt x="30" y="5"/>
                      <a:pt x="35" y="2"/>
                    </a:cubicBezTo>
                    <a:cubicBezTo>
                      <a:pt x="37" y="0"/>
                      <a:pt x="39" y="0"/>
                      <a:pt x="40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5" y="3"/>
                      <a:pt x="49" y="5"/>
                      <a:pt x="54" y="9"/>
                    </a:cubicBezTo>
                    <a:cubicBezTo>
                      <a:pt x="66" y="19"/>
                      <a:pt x="82" y="32"/>
                      <a:pt x="97" y="47"/>
                    </a:cubicBezTo>
                    <a:cubicBezTo>
                      <a:pt x="116" y="66"/>
                      <a:pt x="131" y="85"/>
                      <a:pt x="139" y="98"/>
                    </a:cubicBezTo>
                    <a:cubicBezTo>
                      <a:pt x="139" y="98"/>
                      <a:pt x="139" y="99"/>
                      <a:pt x="140" y="99"/>
                    </a:cubicBezTo>
                    <a:cubicBezTo>
                      <a:pt x="140" y="99"/>
                      <a:pt x="140" y="99"/>
                      <a:pt x="140" y="99"/>
                    </a:cubicBezTo>
                    <a:cubicBezTo>
                      <a:pt x="139" y="99"/>
                      <a:pt x="139" y="98"/>
                      <a:pt x="139" y="98"/>
                    </a:cubicBezTo>
                    <a:cubicBezTo>
                      <a:pt x="131" y="85"/>
                      <a:pt x="116" y="66"/>
                      <a:pt x="97" y="47"/>
                    </a:cubicBezTo>
                    <a:cubicBezTo>
                      <a:pt x="77" y="27"/>
                      <a:pt x="56" y="9"/>
                      <a:pt x="41" y="0"/>
                    </a:cubicBezTo>
                    <a:cubicBezTo>
                      <a:pt x="41" y="0"/>
                      <a:pt x="41" y="0"/>
                      <a:pt x="40" y="0"/>
                    </a:cubicBezTo>
                  </a:path>
                </a:pathLst>
              </a:custGeom>
              <a:solidFill>
                <a:srgbClr val="48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2" name="Freeform 371">
                <a:extLst>
                  <a:ext uri="{FF2B5EF4-FFF2-40B4-BE49-F238E27FC236}">
                    <a16:creationId xmlns:a16="http://schemas.microsoft.com/office/drawing/2014/main" id="{B7909B09-4D75-4109-8EBE-ED2424720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0" y="1904"/>
                <a:ext cx="125" cy="31"/>
              </a:xfrm>
              <a:custGeom>
                <a:avLst/>
                <a:gdLst>
                  <a:gd name="T0" fmla="*/ 2 w 125"/>
                  <a:gd name="T1" fmla="*/ 0 h 31"/>
                  <a:gd name="T2" fmla="*/ 0 w 125"/>
                  <a:gd name="T3" fmla="*/ 10 h 31"/>
                  <a:gd name="T4" fmla="*/ 124 w 125"/>
                  <a:gd name="T5" fmla="*/ 31 h 31"/>
                  <a:gd name="T6" fmla="*/ 125 w 125"/>
                  <a:gd name="T7" fmla="*/ 22 h 31"/>
                  <a:gd name="T8" fmla="*/ 2 w 125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31">
                    <a:moveTo>
                      <a:pt x="2" y="0"/>
                    </a:moveTo>
                    <a:lnTo>
                      <a:pt x="0" y="10"/>
                    </a:lnTo>
                    <a:lnTo>
                      <a:pt x="124" y="31"/>
                    </a:lnTo>
                    <a:lnTo>
                      <a:pt x="125" y="2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3" name="Freeform 372">
                <a:extLst>
                  <a:ext uri="{FF2B5EF4-FFF2-40B4-BE49-F238E27FC236}">
                    <a16:creationId xmlns:a16="http://schemas.microsoft.com/office/drawing/2014/main" id="{D3AB4F54-6CC0-4126-829F-75E5416E5C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0" y="1904"/>
                <a:ext cx="125" cy="31"/>
              </a:xfrm>
              <a:custGeom>
                <a:avLst/>
                <a:gdLst>
                  <a:gd name="T0" fmla="*/ 2 w 125"/>
                  <a:gd name="T1" fmla="*/ 0 h 31"/>
                  <a:gd name="T2" fmla="*/ 0 w 125"/>
                  <a:gd name="T3" fmla="*/ 10 h 31"/>
                  <a:gd name="T4" fmla="*/ 124 w 125"/>
                  <a:gd name="T5" fmla="*/ 31 h 31"/>
                  <a:gd name="T6" fmla="*/ 125 w 125"/>
                  <a:gd name="T7" fmla="*/ 22 h 31"/>
                  <a:gd name="T8" fmla="*/ 2 w 125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31">
                    <a:moveTo>
                      <a:pt x="2" y="0"/>
                    </a:moveTo>
                    <a:lnTo>
                      <a:pt x="0" y="10"/>
                    </a:lnTo>
                    <a:lnTo>
                      <a:pt x="124" y="31"/>
                    </a:lnTo>
                    <a:lnTo>
                      <a:pt x="125" y="2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4" name="Freeform 373">
                <a:extLst>
                  <a:ext uri="{FF2B5EF4-FFF2-40B4-BE49-F238E27FC236}">
                    <a16:creationId xmlns:a16="http://schemas.microsoft.com/office/drawing/2014/main" id="{206A8866-9713-40EC-9FF2-84F59C938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8"/>
                <a:ext cx="124" cy="24"/>
              </a:xfrm>
              <a:custGeom>
                <a:avLst/>
                <a:gdLst>
                  <a:gd name="T0" fmla="*/ 0 w 124"/>
                  <a:gd name="T1" fmla="*/ 0 h 24"/>
                  <a:gd name="T2" fmla="*/ 0 w 124"/>
                  <a:gd name="T3" fmla="*/ 3 h 24"/>
                  <a:gd name="T4" fmla="*/ 123 w 124"/>
                  <a:gd name="T5" fmla="*/ 24 h 24"/>
                  <a:gd name="T6" fmla="*/ 124 w 124"/>
                  <a:gd name="T7" fmla="*/ 21 h 24"/>
                  <a:gd name="T8" fmla="*/ 0 w 1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4">
                    <a:moveTo>
                      <a:pt x="0" y="0"/>
                    </a:moveTo>
                    <a:lnTo>
                      <a:pt x="0" y="3"/>
                    </a:lnTo>
                    <a:lnTo>
                      <a:pt x="123" y="24"/>
                    </a:lnTo>
                    <a:lnTo>
                      <a:pt x="124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FD9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5" name="Freeform 374">
                <a:extLst>
                  <a:ext uri="{FF2B5EF4-FFF2-40B4-BE49-F238E27FC236}">
                    <a16:creationId xmlns:a16="http://schemas.microsoft.com/office/drawing/2014/main" id="{50F5B320-CEAB-4C99-AA4E-AA132BF9C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8"/>
                <a:ext cx="124" cy="24"/>
              </a:xfrm>
              <a:custGeom>
                <a:avLst/>
                <a:gdLst>
                  <a:gd name="T0" fmla="*/ 0 w 124"/>
                  <a:gd name="T1" fmla="*/ 0 h 24"/>
                  <a:gd name="T2" fmla="*/ 0 w 124"/>
                  <a:gd name="T3" fmla="*/ 3 h 24"/>
                  <a:gd name="T4" fmla="*/ 123 w 124"/>
                  <a:gd name="T5" fmla="*/ 24 h 24"/>
                  <a:gd name="T6" fmla="*/ 124 w 124"/>
                  <a:gd name="T7" fmla="*/ 21 h 24"/>
                  <a:gd name="T8" fmla="*/ 0 w 1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4">
                    <a:moveTo>
                      <a:pt x="0" y="0"/>
                    </a:moveTo>
                    <a:lnTo>
                      <a:pt x="0" y="3"/>
                    </a:lnTo>
                    <a:lnTo>
                      <a:pt x="123" y="24"/>
                    </a:lnTo>
                    <a:lnTo>
                      <a:pt x="124" y="2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6" name="Freeform 375">
                <a:extLst>
                  <a:ext uri="{FF2B5EF4-FFF2-40B4-BE49-F238E27FC236}">
                    <a16:creationId xmlns:a16="http://schemas.microsoft.com/office/drawing/2014/main" id="{0AFC7B68-01EE-4557-9C7D-F23C34DE6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4"/>
                <a:ext cx="124" cy="25"/>
              </a:xfrm>
              <a:custGeom>
                <a:avLst/>
                <a:gdLst>
                  <a:gd name="T0" fmla="*/ 1 w 124"/>
                  <a:gd name="T1" fmla="*/ 0 h 25"/>
                  <a:gd name="T2" fmla="*/ 0 w 124"/>
                  <a:gd name="T3" fmla="*/ 4 h 25"/>
                  <a:gd name="T4" fmla="*/ 124 w 124"/>
                  <a:gd name="T5" fmla="*/ 25 h 25"/>
                  <a:gd name="T6" fmla="*/ 124 w 124"/>
                  <a:gd name="T7" fmla="*/ 22 h 25"/>
                  <a:gd name="T8" fmla="*/ 1 w 12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5">
                    <a:moveTo>
                      <a:pt x="1" y="0"/>
                    </a:moveTo>
                    <a:lnTo>
                      <a:pt x="0" y="4"/>
                    </a:lnTo>
                    <a:lnTo>
                      <a:pt x="124" y="25"/>
                    </a:lnTo>
                    <a:lnTo>
                      <a:pt x="124" y="2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7" name="Freeform 376">
                <a:extLst>
                  <a:ext uri="{FF2B5EF4-FFF2-40B4-BE49-F238E27FC236}">
                    <a16:creationId xmlns:a16="http://schemas.microsoft.com/office/drawing/2014/main" id="{1299662E-305A-40E1-B984-1F2D961F72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4"/>
                <a:ext cx="124" cy="25"/>
              </a:xfrm>
              <a:custGeom>
                <a:avLst/>
                <a:gdLst>
                  <a:gd name="T0" fmla="*/ 1 w 124"/>
                  <a:gd name="T1" fmla="*/ 0 h 25"/>
                  <a:gd name="T2" fmla="*/ 0 w 124"/>
                  <a:gd name="T3" fmla="*/ 4 h 25"/>
                  <a:gd name="T4" fmla="*/ 124 w 124"/>
                  <a:gd name="T5" fmla="*/ 25 h 25"/>
                  <a:gd name="T6" fmla="*/ 124 w 124"/>
                  <a:gd name="T7" fmla="*/ 22 h 25"/>
                  <a:gd name="T8" fmla="*/ 1 w 12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5">
                    <a:moveTo>
                      <a:pt x="1" y="0"/>
                    </a:moveTo>
                    <a:lnTo>
                      <a:pt x="0" y="4"/>
                    </a:lnTo>
                    <a:lnTo>
                      <a:pt x="124" y="25"/>
                    </a:lnTo>
                    <a:lnTo>
                      <a:pt x="124" y="22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8" name="Freeform 377">
                <a:extLst>
                  <a:ext uri="{FF2B5EF4-FFF2-40B4-BE49-F238E27FC236}">
                    <a16:creationId xmlns:a16="http://schemas.microsoft.com/office/drawing/2014/main" id="{7C639E82-6AE7-440B-8C37-EA257EA9EE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3" y="1926"/>
                <a:ext cx="17" cy="9"/>
              </a:xfrm>
              <a:custGeom>
                <a:avLst/>
                <a:gdLst>
                  <a:gd name="T0" fmla="*/ 4 w 30"/>
                  <a:gd name="T1" fmla="*/ 0 h 18"/>
                  <a:gd name="T2" fmla="*/ 1 w 30"/>
                  <a:gd name="T3" fmla="*/ 9 h 18"/>
                  <a:gd name="T4" fmla="*/ 1 w 30"/>
                  <a:gd name="T5" fmla="*/ 18 h 18"/>
                  <a:gd name="T6" fmla="*/ 29 w 30"/>
                  <a:gd name="T7" fmla="*/ 14 h 18"/>
                  <a:gd name="T8" fmla="*/ 30 w 30"/>
                  <a:gd name="T9" fmla="*/ 14 h 18"/>
                  <a:gd name="T10" fmla="*/ 30 w 30"/>
                  <a:gd name="T11" fmla="*/ 13 h 18"/>
                  <a:gd name="T12" fmla="*/ 4 w 30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8">
                    <a:moveTo>
                      <a:pt x="4" y="0"/>
                    </a:moveTo>
                    <a:cubicBezTo>
                      <a:pt x="4" y="0"/>
                      <a:pt x="2" y="4"/>
                      <a:pt x="1" y="9"/>
                    </a:cubicBezTo>
                    <a:cubicBezTo>
                      <a:pt x="0" y="13"/>
                      <a:pt x="1" y="18"/>
                      <a:pt x="1" y="18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9" name="Freeform 378">
                <a:extLst>
                  <a:ext uri="{FF2B5EF4-FFF2-40B4-BE49-F238E27FC236}">
                    <a16:creationId xmlns:a16="http://schemas.microsoft.com/office/drawing/2014/main" id="{807C67F4-8BC0-44E5-956F-2CBD6556A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1902"/>
                <a:ext cx="17" cy="12"/>
              </a:xfrm>
              <a:custGeom>
                <a:avLst/>
                <a:gdLst>
                  <a:gd name="T0" fmla="*/ 31 w 31"/>
                  <a:gd name="T1" fmla="*/ 4 h 22"/>
                  <a:gd name="T2" fmla="*/ 8 w 31"/>
                  <a:gd name="T3" fmla="*/ 0 h 22"/>
                  <a:gd name="T4" fmla="*/ 2 w 31"/>
                  <a:gd name="T5" fmla="*/ 5 h 22"/>
                  <a:gd name="T6" fmla="*/ 0 w 31"/>
                  <a:gd name="T7" fmla="*/ 12 h 22"/>
                  <a:gd name="T8" fmla="*/ 5 w 31"/>
                  <a:gd name="T9" fmla="*/ 18 h 22"/>
                  <a:gd name="T10" fmla="*/ 28 w 31"/>
                  <a:gd name="T11" fmla="*/ 22 h 22"/>
                  <a:gd name="T12" fmla="*/ 31 w 31"/>
                  <a:gd name="T13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22">
                    <a:moveTo>
                      <a:pt x="31" y="4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5" y="0"/>
                      <a:pt x="2" y="2"/>
                      <a:pt x="2" y="5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5"/>
                      <a:pt x="2" y="18"/>
                      <a:pt x="5" y="18"/>
                    </a:cubicBezTo>
                    <a:cubicBezTo>
                      <a:pt x="28" y="22"/>
                      <a:pt x="28" y="22"/>
                      <a:pt x="28" y="22"/>
                    </a:cubicBezTo>
                    <a:cubicBezTo>
                      <a:pt x="31" y="4"/>
                      <a:pt x="31" y="4"/>
                      <a:pt x="31" y="4"/>
                    </a:cubicBezTo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0" name="Freeform 379">
                <a:extLst>
                  <a:ext uri="{FF2B5EF4-FFF2-40B4-BE49-F238E27FC236}">
                    <a16:creationId xmlns:a16="http://schemas.microsoft.com/office/drawing/2014/main" id="{B2516412-1948-4C95-A96F-92CFAEFCC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1903"/>
                <a:ext cx="9" cy="12"/>
              </a:xfrm>
              <a:custGeom>
                <a:avLst/>
                <a:gdLst>
                  <a:gd name="T0" fmla="*/ 9 w 9"/>
                  <a:gd name="T1" fmla="*/ 1 h 12"/>
                  <a:gd name="T2" fmla="*/ 2 w 9"/>
                  <a:gd name="T3" fmla="*/ 0 h 12"/>
                  <a:gd name="T4" fmla="*/ 0 w 9"/>
                  <a:gd name="T5" fmla="*/ 11 h 12"/>
                  <a:gd name="T6" fmla="*/ 7 w 9"/>
                  <a:gd name="T7" fmla="*/ 12 h 12"/>
                  <a:gd name="T8" fmla="*/ 9 w 9"/>
                  <a:gd name="T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2">
                    <a:moveTo>
                      <a:pt x="9" y="1"/>
                    </a:moveTo>
                    <a:lnTo>
                      <a:pt x="2" y="0"/>
                    </a:lnTo>
                    <a:lnTo>
                      <a:pt x="0" y="11"/>
                    </a:lnTo>
                    <a:lnTo>
                      <a:pt x="7" y="12"/>
                    </a:lnTo>
                    <a:lnTo>
                      <a:pt x="9" y="1"/>
                    </a:lnTo>
                    <a:close/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1" name="Freeform 380">
                <a:extLst>
                  <a:ext uri="{FF2B5EF4-FFF2-40B4-BE49-F238E27FC236}">
                    <a16:creationId xmlns:a16="http://schemas.microsoft.com/office/drawing/2014/main" id="{0105CCF7-99D8-4057-9645-B2FF25547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1903"/>
                <a:ext cx="9" cy="12"/>
              </a:xfrm>
              <a:custGeom>
                <a:avLst/>
                <a:gdLst>
                  <a:gd name="T0" fmla="*/ 9 w 9"/>
                  <a:gd name="T1" fmla="*/ 1 h 12"/>
                  <a:gd name="T2" fmla="*/ 2 w 9"/>
                  <a:gd name="T3" fmla="*/ 0 h 12"/>
                  <a:gd name="T4" fmla="*/ 0 w 9"/>
                  <a:gd name="T5" fmla="*/ 11 h 12"/>
                  <a:gd name="T6" fmla="*/ 7 w 9"/>
                  <a:gd name="T7" fmla="*/ 12 h 12"/>
                  <a:gd name="T8" fmla="*/ 9 w 9"/>
                  <a:gd name="T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2">
                    <a:moveTo>
                      <a:pt x="9" y="1"/>
                    </a:moveTo>
                    <a:lnTo>
                      <a:pt x="2" y="0"/>
                    </a:lnTo>
                    <a:lnTo>
                      <a:pt x="0" y="11"/>
                    </a:lnTo>
                    <a:lnTo>
                      <a:pt x="7" y="12"/>
                    </a:lnTo>
                    <a:lnTo>
                      <a:pt x="9" y="1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2" name="Freeform 381">
                <a:extLst>
                  <a:ext uri="{FF2B5EF4-FFF2-40B4-BE49-F238E27FC236}">
                    <a16:creationId xmlns:a16="http://schemas.microsoft.com/office/drawing/2014/main" id="{1E54C398-CFA7-465C-9B64-86DBB11A31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1930"/>
                <a:ext cx="7" cy="4"/>
              </a:xfrm>
              <a:custGeom>
                <a:avLst/>
                <a:gdLst>
                  <a:gd name="T0" fmla="*/ 2 w 12"/>
                  <a:gd name="T1" fmla="*/ 0 h 7"/>
                  <a:gd name="T2" fmla="*/ 12 w 12"/>
                  <a:gd name="T3" fmla="*/ 4 h 7"/>
                  <a:gd name="T4" fmla="*/ 11 w 12"/>
                  <a:gd name="T5" fmla="*/ 5 h 7"/>
                  <a:gd name="T6" fmla="*/ 1 w 12"/>
                  <a:gd name="T7" fmla="*/ 7 h 7"/>
                  <a:gd name="T8" fmla="*/ 0 w 12"/>
                  <a:gd name="T9" fmla="*/ 3 h 7"/>
                  <a:gd name="T10" fmla="*/ 2 w 12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7">
                    <a:moveTo>
                      <a:pt x="2" y="0"/>
                    </a:moveTo>
                    <a:cubicBezTo>
                      <a:pt x="12" y="4"/>
                      <a:pt x="12" y="4"/>
                      <a:pt x="12" y="4"/>
                    </a:cubicBezTo>
                    <a:cubicBezTo>
                      <a:pt x="12" y="5"/>
                      <a:pt x="12" y="5"/>
                      <a:pt x="11" y="5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2" y="0"/>
                      <a:pt x="2" y="0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3" name="Freeform 382">
                <a:extLst>
                  <a:ext uri="{FF2B5EF4-FFF2-40B4-BE49-F238E27FC236}">
                    <a16:creationId xmlns:a16="http://schemas.microsoft.com/office/drawing/2014/main" id="{896FB7CE-3B6B-42C6-9F7A-4563CB072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4" y="1926"/>
                <a:ext cx="10" cy="6"/>
              </a:xfrm>
              <a:custGeom>
                <a:avLst/>
                <a:gdLst>
                  <a:gd name="T0" fmla="*/ 3 w 19"/>
                  <a:gd name="T1" fmla="*/ 0 h 12"/>
                  <a:gd name="T2" fmla="*/ 3 w 19"/>
                  <a:gd name="T3" fmla="*/ 0 h 12"/>
                  <a:gd name="T4" fmla="*/ 0 w 19"/>
                  <a:gd name="T5" fmla="*/ 6 h 12"/>
                  <a:gd name="T6" fmla="*/ 0 w 19"/>
                  <a:gd name="T7" fmla="*/ 6 h 12"/>
                  <a:gd name="T8" fmla="*/ 0 w 19"/>
                  <a:gd name="T9" fmla="*/ 9 h 12"/>
                  <a:gd name="T10" fmla="*/ 17 w 19"/>
                  <a:gd name="T11" fmla="*/ 12 h 12"/>
                  <a:gd name="T12" fmla="*/ 17 w 19"/>
                  <a:gd name="T13" fmla="*/ 12 h 12"/>
                  <a:gd name="T14" fmla="*/ 19 w 19"/>
                  <a:gd name="T15" fmla="*/ 9 h 12"/>
                  <a:gd name="T16" fmla="*/ 3 w 19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2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1" y="3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8" y="10"/>
                      <a:pt x="19" y="9"/>
                      <a:pt x="19" y="9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4" name="Freeform 383">
                <a:extLst>
                  <a:ext uri="{FF2B5EF4-FFF2-40B4-BE49-F238E27FC236}">
                    <a16:creationId xmlns:a16="http://schemas.microsoft.com/office/drawing/2014/main" id="{05AC44AD-B32D-455B-A728-BC1AFAEC1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1930"/>
                <a:ext cx="7" cy="3"/>
              </a:xfrm>
              <a:custGeom>
                <a:avLst/>
                <a:gdLst>
                  <a:gd name="T0" fmla="*/ 2 w 12"/>
                  <a:gd name="T1" fmla="*/ 0 h 5"/>
                  <a:gd name="T2" fmla="*/ 2 w 12"/>
                  <a:gd name="T3" fmla="*/ 0 h 5"/>
                  <a:gd name="T4" fmla="*/ 0 w 12"/>
                  <a:gd name="T5" fmla="*/ 3 h 5"/>
                  <a:gd name="T6" fmla="*/ 0 w 12"/>
                  <a:gd name="T7" fmla="*/ 3 h 5"/>
                  <a:gd name="T8" fmla="*/ 12 w 12"/>
                  <a:gd name="T9" fmla="*/ 5 h 5"/>
                  <a:gd name="T10" fmla="*/ 12 w 12"/>
                  <a:gd name="T11" fmla="*/ 4 h 5"/>
                  <a:gd name="T12" fmla="*/ 12 w 12"/>
                  <a:gd name="T13" fmla="*/ 4 h 5"/>
                  <a:gd name="T14" fmla="*/ 2 w 12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5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1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5" name="Freeform 384">
                <a:extLst>
                  <a:ext uri="{FF2B5EF4-FFF2-40B4-BE49-F238E27FC236}">
                    <a16:creationId xmlns:a16="http://schemas.microsoft.com/office/drawing/2014/main" id="{6A4423B9-8FAC-403A-A409-FA8EDC1328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6" y="1902"/>
                <a:ext cx="16" cy="3"/>
              </a:xfrm>
              <a:custGeom>
                <a:avLst/>
                <a:gdLst>
                  <a:gd name="T0" fmla="*/ 30 w 30"/>
                  <a:gd name="T1" fmla="*/ 4 h 5"/>
                  <a:gd name="T2" fmla="*/ 29 w 30"/>
                  <a:gd name="T3" fmla="*/ 4 h 5"/>
                  <a:gd name="T4" fmla="*/ 29 w 30"/>
                  <a:gd name="T5" fmla="*/ 4 h 5"/>
                  <a:gd name="T6" fmla="*/ 30 w 30"/>
                  <a:gd name="T7" fmla="*/ 4 h 5"/>
                  <a:gd name="T8" fmla="*/ 5 w 30"/>
                  <a:gd name="T9" fmla="*/ 0 h 5"/>
                  <a:gd name="T10" fmla="*/ 0 w 30"/>
                  <a:gd name="T11" fmla="*/ 5 h 5"/>
                  <a:gd name="T12" fmla="*/ 0 w 30"/>
                  <a:gd name="T13" fmla="*/ 5 h 5"/>
                  <a:gd name="T14" fmla="*/ 5 w 30"/>
                  <a:gd name="T15" fmla="*/ 0 h 5"/>
                  <a:gd name="T16" fmla="*/ 6 w 30"/>
                  <a:gd name="T17" fmla="*/ 0 h 5"/>
                  <a:gd name="T18" fmla="*/ 17 w 30"/>
                  <a:gd name="T19" fmla="*/ 2 h 5"/>
                  <a:gd name="T20" fmla="*/ 17 w 30"/>
                  <a:gd name="T21" fmla="*/ 2 h 5"/>
                  <a:gd name="T22" fmla="*/ 6 w 30"/>
                  <a:gd name="T23" fmla="*/ 0 h 5"/>
                  <a:gd name="T24" fmla="*/ 5 w 30"/>
                  <a:gd name="T2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5">
                    <a:moveTo>
                      <a:pt x="30" y="4"/>
                    </a:moveTo>
                    <a:cubicBezTo>
                      <a:pt x="29" y="4"/>
                      <a:pt x="29" y="4"/>
                      <a:pt x="29" y="4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30" y="4"/>
                      <a:pt x="30" y="4"/>
                      <a:pt x="30" y="4"/>
                    </a:cubicBezTo>
                    <a:moveTo>
                      <a:pt x="5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6" y="0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6" name="Rectangle 385">
                <a:extLst>
                  <a:ext uri="{FF2B5EF4-FFF2-40B4-BE49-F238E27FC236}">
                    <a16:creationId xmlns:a16="http://schemas.microsoft.com/office/drawing/2014/main" id="{68D40DAB-CDA5-423B-96C9-AF66D0C451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1" y="1908"/>
                <a:ext cx="1" cy="1"/>
              </a:xfrm>
              <a:prstGeom prst="rect">
                <a:avLst/>
              </a:prstGeom>
              <a:solidFill>
                <a:srgbClr val="BDAC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7" name="Rectangle 386">
                <a:extLst>
                  <a:ext uri="{FF2B5EF4-FFF2-40B4-BE49-F238E27FC236}">
                    <a16:creationId xmlns:a16="http://schemas.microsoft.com/office/drawing/2014/main" id="{B459FC52-0A21-4E08-A17C-FA6A7353CA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1" y="190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8" name="Freeform 387">
                <a:extLst>
                  <a:ext uri="{FF2B5EF4-FFF2-40B4-BE49-F238E27FC236}">
                    <a16:creationId xmlns:a16="http://schemas.microsoft.com/office/drawing/2014/main" id="{10CE0AD1-52AE-4A55-9742-9BEBF5101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1" y="1904"/>
                <a:ext cx="1" cy="4"/>
              </a:xfrm>
              <a:custGeom>
                <a:avLst/>
                <a:gdLst>
                  <a:gd name="T0" fmla="*/ 1 w 1"/>
                  <a:gd name="T1" fmla="*/ 2 h 4"/>
                  <a:gd name="T2" fmla="*/ 0 w 1"/>
                  <a:gd name="T3" fmla="*/ 4 h 4"/>
                  <a:gd name="T4" fmla="*/ 0 w 1"/>
                  <a:gd name="T5" fmla="*/ 4 h 4"/>
                  <a:gd name="T6" fmla="*/ 1 w 1"/>
                  <a:gd name="T7" fmla="*/ 2 h 4"/>
                  <a:gd name="T8" fmla="*/ 1 w 1"/>
                  <a:gd name="T9" fmla="*/ 0 h 4"/>
                  <a:gd name="T10" fmla="*/ 1 w 1"/>
                  <a:gd name="T11" fmla="*/ 0 h 4"/>
                  <a:gd name="T12" fmla="*/ 1 w 1"/>
                  <a:gd name="T13" fmla="*/ 0 h 4"/>
                  <a:gd name="T14" fmla="*/ 1 w 1"/>
                  <a:gd name="T15" fmla="*/ 0 h 4"/>
                  <a:gd name="T16" fmla="*/ 1 w 1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4">
                    <a:moveTo>
                      <a:pt x="1" y="2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2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9" name="Freeform 388">
                <a:extLst>
                  <a:ext uri="{FF2B5EF4-FFF2-40B4-BE49-F238E27FC236}">
                    <a16:creationId xmlns:a16="http://schemas.microsoft.com/office/drawing/2014/main" id="{30BA4BB7-0EB6-4BE2-BBC8-7826FE917C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1" y="1904"/>
                <a:ext cx="1" cy="4"/>
              </a:xfrm>
              <a:custGeom>
                <a:avLst/>
                <a:gdLst>
                  <a:gd name="T0" fmla="*/ 1 w 1"/>
                  <a:gd name="T1" fmla="*/ 2 h 4"/>
                  <a:gd name="T2" fmla="*/ 0 w 1"/>
                  <a:gd name="T3" fmla="*/ 4 h 4"/>
                  <a:gd name="T4" fmla="*/ 0 w 1"/>
                  <a:gd name="T5" fmla="*/ 4 h 4"/>
                  <a:gd name="T6" fmla="*/ 1 w 1"/>
                  <a:gd name="T7" fmla="*/ 2 h 4"/>
                  <a:gd name="T8" fmla="*/ 1 w 1"/>
                  <a:gd name="T9" fmla="*/ 0 h 4"/>
                  <a:gd name="T10" fmla="*/ 1 w 1"/>
                  <a:gd name="T11" fmla="*/ 0 h 4"/>
                  <a:gd name="T12" fmla="*/ 1 w 1"/>
                  <a:gd name="T13" fmla="*/ 0 h 4"/>
                  <a:gd name="T14" fmla="*/ 1 w 1"/>
                  <a:gd name="T15" fmla="*/ 0 h 4"/>
                  <a:gd name="T16" fmla="*/ 1 w 1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4">
                    <a:moveTo>
                      <a:pt x="1" y="2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2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0" name="Freeform 389">
                <a:extLst>
                  <a:ext uri="{FF2B5EF4-FFF2-40B4-BE49-F238E27FC236}">
                    <a16:creationId xmlns:a16="http://schemas.microsoft.com/office/drawing/2014/main" id="{B47C0A6A-2F2B-4F94-9AC2-25F8CBEA58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5" y="1902"/>
                <a:ext cx="17" cy="7"/>
              </a:xfrm>
              <a:custGeom>
                <a:avLst/>
                <a:gdLst>
                  <a:gd name="T0" fmla="*/ 30 w 30"/>
                  <a:gd name="T1" fmla="*/ 4 h 13"/>
                  <a:gd name="T2" fmla="*/ 29 w 30"/>
                  <a:gd name="T3" fmla="*/ 13 h 13"/>
                  <a:gd name="T4" fmla="*/ 29 w 30"/>
                  <a:gd name="T5" fmla="*/ 13 h 13"/>
                  <a:gd name="T6" fmla="*/ 29 w 30"/>
                  <a:gd name="T7" fmla="*/ 10 h 13"/>
                  <a:gd name="T8" fmla="*/ 30 w 30"/>
                  <a:gd name="T9" fmla="*/ 8 h 13"/>
                  <a:gd name="T10" fmla="*/ 30 w 30"/>
                  <a:gd name="T11" fmla="*/ 4 h 13"/>
                  <a:gd name="T12" fmla="*/ 30 w 30"/>
                  <a:gd name="T13" fmla="*/ 4 h 13"/>
                  <a:gd name="T14" fmla="*/ 6 w 30"/>
                  <a:gd name="T15" fmla="*/ 0 h 13"/>
                  <a:gd name="T16" fmla="*/ 1 w 30"/>
                  <a:gd name="T17" fmla="*/ 5 h 13"/>
                  <a:gd name="T18" fmla="*/ 1 w 30"/>
                  <a:gd name="T19" fmla="*/ 5 h 13"/>
                  <a:gd name="T20" fmla="*/ 0 w 30"/>
                  <a:gd name="T21" fmla="*/ 8 h 13"/>
                  <a:gd name="T22" fmla="*/ 16 w 30"/>
                  <a:gd name="T23" fmla="*/ 11 h 13"/>
                  <a:gd name="T24" fmla="*/ 18 w 30"/>
                  <a:gd name="T25" fmla="*/ 2 h 13"/>
                  <a:gd name="T26" fmla="*/ 7 w 30"/>
                  <a:gd name="T27" fmla="*/ 0 h 13"/>
                  <a:gd name="T28" fmla="*/ 6 w 30"/>
                  <a:gd name="T2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" h="13">
                    <a:moveTo>
                      <a:pt x="30" y="4"/>
                    </a:move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4"/>
                    </a:cubicBezTo>
                    <a:moveTo>
                      <a:pt x="6" y="0"/>
                    </a:moveTo>
                    <a:cubicBezTo>
                      <a:pt x="3" y="0"/>
                      <a:pt x="1" y="2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1" name="Freeform 390">
                <a:extLst>
                  <a:ext uri="{FF2B5EF4-FFF2-40B4-BE49-F238E27FC236}">
                    <a16:creationId xmlns:a16="http://schemas.microsoft.com/office/drawing/2014/main" id="{DE41B888-30F9-4A71-8504-76A54546F1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1903"/>
                <a:ext cx="8" cy="6"/>
              </a:xfrm>
              <a:custGeom>
                <a:avLst/>
                <a:gdLst>
                  <a:gd name="T0" fmla="*/ 1 w 8"/>
                  <a:gd name="T1" fmla="*/ 0 h 6"/>
                  <a:gd name="T2" fmla="*/ 1 w 8"/>
                  <a:gd name="T3" fmla="*/ 0 h 6"/>
                  <a:gd name="T4" fmla="*/ 1 w 8"/>
                  <a:gd name="T5" fmla="*/ 0 h 6"/>
                  <a:gd name="T6" fmla="*/ 1 w 8"/>
                  <a:gd name="T7" fmla="*/ 0 h 6"/>
                  <a:gd name="T8" fmla="*/ 1 w 8"/>
                  <a:gd name="T9" fmla="*/ 0 h 6"/>
                  <a:gd name="T10" fmla="*/ 0 w 8"/>
                  <a:gd name="T11" fmla="*/ 5 h 6"/>
                  <a:gd name="T12" fmla="*/ 7 w 8"/>
                  <a:gd name="T13" fmla="*/ 6 h 6"/>
                  <a:gd name="T14" fmla="*/ 8 w 8"/>
                  <a:gd name="T15" fmla="*/ 1 h 6"/>
                  <a:gd name="T16" fmla="*/ 8 w 8"/>
                  <a:gd name="T17" fmla="*/ 1 h 6"/>
                  <a:gd name="T18" fmla="*/ 8 w 8"/>
                  <a:gd name="T19" fmla="*/ 1 h 6"/>
                  <a:gd name="T20" fmla="*/ 1 w 8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6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5"/>
                    </a:lnTo>
                    <a:lnTo>
                      <a:pt x="7" y="6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2" name="Freeform 391">
                <a:extLst>
                  <a:ext uri="{FF2B5EF4-FFF2-40B4-BE49-F238E27FC236}">
                    <a16:creationId xmlns:a16="http://schemas.microsoft.com/office/drawing/2014/main" id="{EA39F0BE-D5E8-4D02-8D6F-78E82ECE61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1903"/>
                <a:ext cx="8" cy="6"/>
              </a:xfrm>
              <a:custGeom>
                <a:avLst/>
                <a:gdLst>
                  <a:gd name="T0" fmla="*/ 1 w 8"/>
                  <a:gd name="T1" fmla="*/ 0 h 6"/>
                  <a:gd name="T2" fmla="*/ 1 w 8"/>
                  <a:gd name="T3" fmla="*/ 0 h 6"/>
                  <a:gd name="T4" fmla="*/ 1 w 8"/>
                  <a:gd name="T5" fmla="*/ 0 h 6"/>
                  <a:gd name="T6" fmla="*/ 1 w 8"/>
                  <a:gd name="T7" fmla="*/ 0 h 6"/>
                  <a:gd name="T8" fmla="*/ 1 w 8"/>
                  <a:gd name="T9" fmla="*/ 0 h 6"/>
                  <a:gd name="T10" fmla="*/ 0 w 8"/>
                  <a:gd name="T11" fmla="*/ 5 h 6"/>
                  <a:gd name="T12" fmla="*/ 7 w 8"/>
                  <a:gd name="T13" fmla="*/ 6 h 6"/>
                  <a:gd name="T14" fmla="*/ 8 w 8"/>
                  <a:gd name="T15" fmla="*/ 1 h 6"/>
                  <a:gd name="T16" fmla="*/ 8 w 8"/>
                  <a:gd name="T17" fmla="*/ 1 h 6"/>
                  <a:gd name="T18" fmla="*/ 8 w 8"/>
                  <a:gd name="T19" fmla="*/ 1 h 6"/>
                  <a:gd name="T20" fmla="*/ 1 w 8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6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5"/>
                    </a:lnTo>
                    <a:lnTo>
                      <a:pt x="7" y="6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" name="Freeform 392">
                <a:extLst>
                  <a:ext uri="{FF2B5EF4-FFF2-40B4-BE49-F238E27FC236}">
                    <a16:creationId xmlns:a16="http://schemas.microsoft.com/office/drawing/2014/main" id="{052A66CC-FBEC-47B5-AFD2-79C6DCACFA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7" cy="17"/>
              </a:xfrm>
              <a:custGeom>
                <a:avLst/>
                <a:gdLst>
                  <a:gd name="T0" fmla="*/ 0 w 107"/>
                  <a:gd name="T1" fmla="*/ 6 h 17"/>
                  <a:gd name="T2" fmla="*/ 1 w 107"/>
                  <a:gd name="T3" fmla="*/ 17 h 17"/>
                  <a:gd name="T4" fmla="*/ 107 w 107"/>
                  <a:gd name="T5" fmla="*/ 10 h 17"/>
                  <a:gd name="T6" fmla="*/ 106 w 107"/>
                  <a:gd name="T7" fmla="*/ 0 h 17"/>
                  <a:gd name="T8" fmla="*/ 0 w 107"/>
                  <a:gd name="T9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7">
                    <a:moveTo>
                      <a:pt x="0" y="6"/>
                    </a:moveTo>
                    <a:lnTo>
                      <a:pt x="1" y="17"/>
                    </a:lnTo>
                    <a:lnTo>
                      <a:pt x="107" y="10"/>
                    </a:lnTo>
                    <a:lnTo>
                      <a:pt x="106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66BF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" name="Freeform 393">
                <a:extLst>
                  <a:ext uri="{FF2B5EF4-FFF2-40B4-BE49-F238E27FC236}">
                    <a16:creationId xmlns:a16="http://schemas.microsoft.com/office/drawing/2014/main" id="{C839BD60-5C9C-400B-9A3D-5D672383F4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7" cy="17"/>
              </a:xfrm>
              <a:custGeom>
                <a:avLst/>
                <a:gdLst>
                  <a:gd name="T0" fmla="*/ 0 w 107"/>
                  <a:gd name="T1" fmla="*/ 6 h 17"/>
                  <a:gd name="T2" fmla="*/ 1 w 107"/>
                  <a:gd name="T3" fmla="*/ 17 h 17"/>
                  <a:gd name="T4" fmla="*/ 107 w 107"/>
                  <a:gd name="T5" fmla="*/ 10 h 17"/>
                  <a:gd name="T6" fmla="*/ 106 w 107"/>
                  <a:gd name="T7" fmla="*/ 0 h 17"/>
                  <a:gd name="T8" fmla="*/ 0 w 107"/>
                  <a:gd name="T9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7">
                    <a:moveTo>
                      <a:pt x="0" y="6"/>
                    </a:moveTo>
                    <a:lnTo>
                      <a:pt x="1" y="17"/>
                    </a:lnTo>
                    <a:lnTo>
                      <a:pt x="107" y="10"/>
                    </a:lnTo>
                    <a:lnTo>
                      <a:pt x="106" y="0"/>
                    </a:lnTo>
                    <a:lnTo>
                      <a:pt x="0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" name="Freeform 394">
                <a:extLst>
                  <a:ext uri="{FF2B5EF4-FFF2-40B4-BE49-F238E27FC236}">
                    <a16:creationId xmlns:a16="http://schemas.microsoft.com/office/drawing/2014/main" id="{04B1AC27-BEA5-4D97-AAA2-9EE67C00E8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51"/>
                <a:ext cx="106" cy="10"/>
              </a:xfrm>
              <a:custGeom>
                <a:avLst/>
                <a:gdLst>
                  <a:gd name="T0" fmla="*/ 0 w 106"/>
                  <a:gd name="T1" fmla="*/ 7 h 10"/>
                  <a:gd name="T2" fmla="*/ 0 w 106"/>
                  <a:gd name="T3" fmla="*/ 10 h 10"/>
                  <a:gd name="T4" fmla="*/ 106 w 106"/>
                  <a:gd name="T5" fmla="*/ 4 h 10"/>
                  <a:gd name="T6" fmla="*/ 106 w 106"/>
                  <a:gd name="T7" fmla="*/ 0 h 10"/>
                  <a:gd name="T8" fmla="*/ 0 w 106"/>
                  <a:gd name="T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7"/>
                    </a:moveTo>
                    <a:lnTo>
                      <a:pt x="0" y="10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8FE5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6" name="Freeform 395">
                <a:extLst>
                  <a:ext uri="{FF2B5EF4-FFF2-40B4-BE49-F238E27FC236}">
                    <a16:creationId xmlns:a16="http://schemas.microsoft.com/office/drawing/2014/main" id="{F44D9D01-632E-46E1-9698-5783EB5B1A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51"/>
                <a:ext cx="106" cy="10"/>
              </a:xfrm>
              <a:custGeom>
                <a:avLst/>
                <a:gdLst>
                  <a:gd name="T0" fmla="*/ 0 w 106"/>
                  <a:gd name="T1" fmla="*/ 7 h 10"/>
                  <a:gd name="T2" fmla="*/ 0 w 106"/>
                  <a:gd name="T3" fmla="*/ 10 h 10"/>
                  <a:gd name="T4" fmla="*/ 106 w 106"/>
                  <a:gd name="T5" fmla="*/ 4 h 10"/>
                  <a:gd name="T6" fmla="*/ 106 w 106"/>
                  <a:gd name="T7" fmla="*/ 0 h 10"/>
                  <a:gd name="T8" fmla="*/ 0 w 106"/>
                  <a:gd name="T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7"/>
                    </a:moveTo>
                    <a:lnTo>
                      <a:pt x="0" y="10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0" y="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396">
                <a:extLst>
                  <a:ext uri="{FF2B5EF4-FFF2-40B4-BE49-F238E27FC236}">
                    <a16:creationId xmlns:a16="http://schemas.microsoft.com/office/drawing/2014/main" id="{5EB20974-249B-4424-BE1E-6892BB0EA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6" cy="10"/>
              </a:xfrm>
              <a:custGeom>
                <a:avLst/>
                <a:gdLst>
                  <a:gd name="T0" fmla="*/ 0 w 106"/>
                  <a:gd name="T1" fmla="*/ 6 h 10"/>
                  <a:gd name="T2" fmla="*/ 0 w 106"/>
                  <a:gd name="T3" fmla="*/ 10 h 10"/>
                  <a:gd name="T4" fmla="*/ 106 w 106"/>
                  <a:gd name="T5" fmla="*/ 3 h 10"/>
                  <a:gd name="T6" fmla="*/ 106 w 106"/>
                  <a:gd name="T7" fmla="*/ 0 h 10"/>
                  <a:gd name="T8" fmla="*/ 0 w 106"/>
                  <a:gd name="T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6"/>
                    </a:moveTo>
                    <a:lnTo>
                      <a:pt x="0" y="10"/>
                    </a:lnTo>
                    <a:lnTo>
                      <a:pt x="106" y="3"/>
                    </a:lnTo>
                    <a:lnTo>
                      <a:pt x="106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78C9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397">
                <a:extLst>
                  <a:ext uri="{FF2B5EF4-FFF2-40B4-BE49-F238E27FC236}">
                    <a16:creationId xmlns:a16="http://schemas.microsoft.com/office/drawing/2014/main" id="{5DDA87C2-7823-429E-BDF5-99D072D6F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6" cy="10"/>
              </a:xfrm>
              <a:custGeom>
                <a:avLst/>
                <a:gdLst>
                  <a:gd name="T0" fmla="*/ 0 w 106"/>
                  <a:gd name="T1" fmla="*/ 6 h 10"/>
                  <a:gd name="T2" fmla="*/ 0 w 106"/>
                  <a:gd name="T3" fmla="*/ 10 h 10"/>
                  <a:gd name="T4" fmla="*/ 106 w 106"/>
                  <a:gd name="T5" fmla="*/ 3 h 10"/>
                  <a:gd name="T6" fmla="*/ 106 w 106"/>
                  <a:gd name="T7" fmla="*/ 0 h 10"/>
                  <a:gd name="T8" fmla="*/ 0 w 106"/>
                  <a:gd name="T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6"/>
                    </a:moveTo>
                    <a:lnTo>
                      <a:pt x="0" y="10"/>
                    </a:lnTo>
                    <a:lnTo>
                      <a:pt x="106" y="3"/>
                    </a:lnTo>
                    <a:lnTo>
                      <a:pt x="106" y="0"/>
                    </a:lnTo>
                    <a:lnTo>
                      <a:pt x="0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398">
                <a:extLst>
                  <a:ext uri="{FF2B5EF4-FFF2-40B4-BE49-F238E27FC236}">
                    <a16:creationId xmlns:a16="http://schemas.microsoft.com/office/drawing/2014/main" id="{28BBA9A9-0A1E-4465-ACBB-3A76F0BBE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5" y="1948"/>
                <a:ext cx="18" cy="10"/>
              </a:xfrm>
              <a:custGeom>
                <a:avLst/>
                <a:gdLst>
                  <a:gd name="T0" fmla="*/ 1 w 33"/>
                  <a:gd name="T1" fmla="*/ 0 h 19"/>
                  <a:gd name="T2" fmla="*/ 0 w 33"/>
                  <a:gd name="T3" fmla="*/ 10 h 19"/>
                  <a:gd name="T4" fmla="*/ 3 w 33"/>
                  <a:gd name="T5" fmla="*/ 19 h 19"/>
                  <a:gd name="T6" fmla="*/ 32 w 33"/>
                  <a:gd name="T7" fmla="*/ 8 h 19"/>
                  <a:gd name="T8" fmla="*/ 33 w 33"/>
                  <a:gd name="T9" fmla="*/ 8 h 19"/>
                  <a:gd name="T10" fmla="*/ 32 w 33"/>
                  <a:gd name="T11" fmla="*/ 7 h 19"/>
                  <a:gd name="T12" fmla="*/ 1 w 33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19">
                    <a:moveTo>
                      <a:pt x="1" y="0"/>
                    </a:moveTo>
                    <a:cubicBezTo>
                      <a:pt x="1" y="0"/>
                      <a:pt x="0" y="4"/>
                      <a:pt x="0" y="10"/>
                    </a:cubicBezTo>
                    <a:cubicBezTo>
                      <a:pt x="1" y="15"/>
                      <a:pt x="3" y="19"/>
                      <a:pt x="3" y="19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0" name="Freeform 399">
                <a:extLst>
                  <a:ext uri="{FF2B5EF4-FFF2-40B4-BE49-F238E27FC236}">
                    <a16:creationId xmlns:a16="http://schemas.microsoft.com/office/drawing/2014/main" id="{1EE99242-5520-4CF5-BAE3-8664A2F4C9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4"/>
                <a:ext cx="18" cy="12"/>
              </a:xfrm>
              <a:custGeom>
                <a:avLst/>
                <a:gdLst>
                  <a:gd name="T0" fmla="*/ 31 w 33"/>
                  <a:gd name="T1" fmla="*/ 0 h 22"/>
                  <a:gd name="T2" fmla="*/ 5 w 33"/>
                  <a:gd name="T3" fmla="*/ 2 h 22"/>
                  <a:gd name="T4" fmla="*/ 0 w 33"/>
                  <a:gd name="T5" fmla="*/ 8 h 22"/>
                  <a:gd name="T6" fmla="*/ 0 w 33"/>
                  <a:gd name="T7" fmla="*/ 16 h 22"/>
                  <a:gd name="T8" fmla="*/ 6 w 33"/>
                  <a:gd name="T9" fmla="*/ 21 h 22"/>
                  <a:gd name="T10" fmla="*/ 33 w 33"/>
                  <a:gd name="T11" fmla="*/ 20 h 22"/>
                  <a:gd name="T12" fmla="*/ 31 w 33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22">
                    <a:moveTo>
                      <a:pt x="31" y="0"/>
                    </a:moveTo>
                    <a:cubicBezTo>
                      <a:pt x="5" y="2"/>
                      <a:pt x="5" y="2"/>
                      <a:pt x="5" y="2"/>
                    </a:cubicBezTo>
                    <a:cubicBezTo>
                      <a:pt x="2" y="2"/>
                      <a:pt x="0" y="5"/>
                      <a:pt x="0" y="8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9"/>
                      <a:pt x="3" y="22"/>
                      <a:pt x="6" y="21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1" name="Freeform 400">
                <a:extLst>
                  <a:ext uri="{FF2B5EF4-FFF2-40B4-BE49-F238E27FC236}">
                    <a16:creationId xmlns:a16="http://schemas.microsoft.com/office/drawing/2014/main" id="{187C4E14-4B08-4E3F-B5BD-B26F5164DC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8" cy="12"/>
              </a:xfrm>
              <a:custGeom>
                <a:avLst/>
                <a:gdLst>
                  <a:gd name="T0" fmla="*/ 7 w 8"/>
                  <a:gd name="T1" fmla="*/ 0 h 12"/>
                  <a:gd name="T2" fmla="*/ 0 w 8"/>
                  <a:gd name="T3" fmla="*/ 1 h 12"/>
                  <a:gd name="T4" fmla="*/ 0 w 8"/>
                  <a:gd name="T5" fmla="*/ 12 h 12"/>
                  <a:gd name="T6" fmla="*/ 8 w 8"/>
                  <a:gd name="T7" fmla="*/ 12 h 12"/>
                  <a:gd name="T8" fmla="*/ 7 w 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7" y="0"/>
                    </a:moveTo>
                    <a:lnTo>
                      <a:pt x="0" y="1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2" name="Freeform 401">
                <a:extLst>
                  <a:ext uri="{FF2B5EF4-FFF2-40B4-BE49-F238E27FC236}">
                    <a16:creationId xmlns:a16="http://schemas.microsoft.com/office/drawing/2014/main" id="{CE005939-F5CB-48D9-BE55-FB84C10CA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8" cy="12"/>
              </a:xfrm>
              <a:custGeom>
                <a:avLst/>
                <a:gdLst>
                  <a:gd name="T0" fmla="*/ 7 w 8"/>
                  <a:gd name="T1" fmla="*/ 0 h 12"/>
                  <a:gd name="T2" fmla="*/ 0 w 8"/>
                  <a:gd name="T3" fmla="*/ 1 h 12"/>
                  <a:gd name="T4" fmla="*/ 0 w 8"/>
                  <a:gd name="T5" fmla="*/ 12 h 12"/>
                  <a:gd name="T6" fmla="*/ 8 w 8"/>
                  <a:gd name="T7" fmla="*/ 12 h 12"/>
                  <a:gd name="T8" fmla="*/ 7 w 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7" y="0"/>
                    </a:moveTo>
                    <a:lnTo>
                      <a:pt x="0" y="1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3" name="Freeform 402">
                <a:extLst>
                  <a:ext uri="{FF2B5EF4-FFF2-40B4-BE49-F238E27FC236}">
                    <a16:creationId xmlns:a16="http://schemas.microsoft.com/office/drawing/2014/main" id="{F20FE99A-1DAD-47C1-A931-3E0C34F63C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1950"/>
                <a:ext cx="7" cy="5"/>
              </a:xfrm>
              <a:custGeom>
                <a:avLst/>
                <a:gdLst>
                  <a:gd name="T0" fmla="*/ 1 w 13"/>
                  <a:gd name="T1" fmla="*/ 0 h 8"/>
                  <a:gd name="T2" fmla="*/ 12 w 13"/>
                  <a:gd name="T3" fmla="*/ 3 h 8"/>
                  <a:gd name="T4" fmla="*/ 12 w 13"/>
                  <a:gd name="T5" fmla="*/ 4 h 8"/>
                  <a:gd name="T6" fmla="*/ 1 w 13"/>
                  <a:gd name="T7" fmla="*/ 8 h 8"/>
                  <a:gd name="T8" fmla="*/ 0 w 13"/>
                  <a:gd name="T9" fmla="*/ 4 h 8"/>
                  <a:gd name="T10" fmla="*/ 1 w 13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8">
                    <a:moveTo>
                      <a:pt x="1" y="0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3" y="3"/>
                      <a:pt x="13" y="4"/>
                      <a:pt x="12" y="4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0" y="7"/>
                      <a:pt x="0" y="4"/>
                    </a:cubicBezTo>
                    <a:cubicBezTo>
                      <a:pt x="0" y="2"/>
                      <a:pt x="1" y="0"/>
                      <a:pt x="1" y="0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4" name="Freeform 403">
                <a:extLst>
                  <a:ext uri="{FF2B5EF4-FFF2-40B4-BE49-F238E27FC236}">
                    <a16:creationId xmlns:a16="http://schemas.microsoft.com/office/drawing/2014/main" id="{BBC9176D-253C-4D86-91D8-D737E2142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5" y="1948"/>
                <a:ext cx="12" cy="5"/>
              </a:xfrm>
              <a:custGeom>
                <a:avLst/>
                <a:gdLst>
                  <a:gd name="T0" fmla="*/ 1 w 21"/>
                  <a:gd name="T1" fmla="*/ 0 h 10"/>
                  <a:gd name="T2" fmla="*/ 1 w 21"/>
                  <a:gd name="T3" fmla="*/ 0 h 10"/>
                  <a:gd name="T4" fmla="*/ 0 w 21"/>
                  <a:gd name="T5" fmla="*/ 6 h 10"/>
                  <a:gd name="T6" fmla="*/ 0 w 21"/>
                  <a:gd name="T7" fmla="*/ 8 h 10"/>
                  <a:gd name="T8" fmla="*/ 0 w 21"/>
                  <a:gd name="T9" fmla="*/ 10 h 10"/>
                  <a:gd name="T10" fmla="*/ 20 w 21"/>
                  <a:gd name="T11" fmla="*/ 8 h 10"/>
                  <a:gd name="T12" fmla="*/ 20 w 21"/>
                  <a:gd name="T13" fmla="*/ 8 h 10"/>
                  <a:gd name="T14" fmla="*/ 21 w 21"/>
                  <a:gd name="T15" fmla="*/ 4 h 10"/>
                  <a:gd name="T16" fmla="*/ 1 w 21"/>
                  <a:gd name="T1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0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3"/>
                      <a:pt x="0" y="6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0" y="9"/>
                      <a:pt x="0" y="9"/>
                      <a:pt x="0" y="1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6"/>
                      <a:pt x="21" y="5"/>
                      <a:pt x="21" y="4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5" name="Freeform 404">
                <a:extLst>
                  <a:ext uri="{FF2B5EF4-FFF2-40B4-BE49-F238E27FC236}">
                    <a16:creationId xmlns:a16="http://schemas.microsoft.com/office/drawing/2014/main" id="{3DF9A79C-DC55-4DCC-BBE6-6FDBDFEB7F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1950"/>
                <a:ext cx="7" cy="2"/>
              </a:xfrm>
              <a:custGeom>
                <a:avLst/>
                <a:gdLst>
                  <a:gd name="T0" fmla="*/ 1 w 13"/>
                  <a:gd name="T1" fmla="*/ 0 h 4"/>
                  <a:gd name="T2" fmla="*/ 1 w 13"/>
                  <a:gd name="T3" fmla="*/ 0 h 4"/>
                  <a:gd name="T4" fmla="*/ 0 w 13"/>
                  <a:gd name="T5" fmla="*/ 4 h 4"/>
                  <a:gd name="T6" fmla="*/ 0 w 13"/>
                  <a:gd name="T7" fmla="*/ 4 h 4"/>
                  <a:gd name="T8" fmla="*/ 13 w 13"/>
                  <a:gd name="T9" fmla="*/ 4 h 4"/>
                  <a:gd name="T10" fmla="*/ 12 w 13"/>
                  <a:gd name="T11" fmla="*/ 3 h 4"/>
                  <a:gd name="T12" fmla="*/ 1 w 1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4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0" y="2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6" name="Rectangle 405">
                <a:extLst>
                  <a:ext uri="{FF2B5EF4-FFF2-40B4-BE49-F238E27FC236}">
                    <a16:creationId xmlns:a16="http://schemas.microsoft.com/office/drawing/2014/main" id="{6962ACA4-07CF-444F-956F-A4DAE82C3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03" y="1958"/>
                <a:ext cx="1" cy="3"/>
              </a:xfrm>
              <a:prstGeom prst="rect">
                <a:avLst/>
              </a:pr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" name="Group 607">
              <a:extLst>
                <a:ext uri="{FF2B5EF4-FFF2-40B4-BE49-F238E27FC236}">
                  <a16:creationId xmlns:a16="http://schemas.microsoft.com/office/drawing/2014/main" id="{764FAE67-B6EA-4418-A66F-411FBDDA76F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243888" y="3100388"/>
              <a:ext cx="2105025" cy="1087438"/>
              <a:chOff x="5193" y="1953"/>
              <a:chExt cx="1326" cy="685"/>
            </a:xfrm>
          </p:grpSpPr>
          <p:sp>
            <p:nvSpPr>
              <p:cNvPr id="167" name="Freeform 407">
                <a:extLst>
                  <a:ext uri="{FF2B5EF4-FFF2-40B4-BE49-F238E27FC236}">
                    <a16:creationId xmlns:a16="http://schemas.microsoft.com/office/drawing/2014/main" id="{2FB82784-21B0-41A2-98B7-841491C92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8"/>
                <a:ext cx="0" cy="3"/>
              </a:xfrm>
              <a:custGeom>
                <a:avLst/>
                <a:gdLst>
                  <a:gd name="T0" fmla="*/ 0 h 3"/>
                  <a:gd name="T1" fmla="*/ 3 h 3"/>
                  <a:gd name="T2" fmla="*/ 3 h 3"/>
                  <a:gd name="T3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408">
                <a:extLst>
                  <a:ext uri="{FF2B5EF4-FFF2-40B4-BE49-F238E27FC236}">
                    <a16:creationId xmlns:a16="http://schemas.microsoft.com/office/drawing/2014/main" id="{4F2C6425-3F72-4B3B-A922-09039E34A9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5"/>
                <a:ext cx="10" cy="6"/>
              </a:xfrm>
              <a:custGeom>
                <a:avLst/>
                <a:gdLst>
                  <a:gd name="T0" fmla="*/ 18 w 18"/>
                  <a:gd name="T1" fmla="*/ 0 h 11"/>
                  <a:gd name="T2" fmla="*/ 5 w 18"/>
                  <a:gd name="T3" fmla="*/ 1 h 11"/>
                  <a:gd name="T4" fmla="*/ 0 w 18"/>
                  <a:gd name="T5" fmla="*/ 6 h 11"/>
                  <a:gd name="T6" fmla="*/ 0 w 18"/>
                  <a:gd name="T7" fmla="*/ 7 h 11"/>
                  <a:gd name="T8" fmla="*/ 0 w 18"/>
                  <a:gd name="T9" fmla="*/ 7 h 11"/>
                  <a:gd name="T10" fmla="*/ 0 w 18"/>
                  <a:gd name="T11" fmla="*/ 11 h 11"/>
                  <a:gd name="T12" fmla="*/ 18 w 18"/>
                  <a:gd name="T13" fmla="*/ 10 h 11"/>
                  <a:gd name="T14" fmla="*/ 18 w 18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1">
                    <a:moveTo>
                      <a:pt x="18" y="0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2" y="1"/>
                      <a:pt x="0" y="3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409">
                <a:extLst>
                  <a:ext uri="{FF2B5EF4-FFF2-40B4-BE49-F238E27FC236}">
                    <a16:creationId xmlns:a16="http://schemas.microsoft.com/office/drawing/2014/main" id="{06414C1D-CF89-49FA-A974-B063A4BD2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7" cy="7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1 h 7"/>
                  <a:gd name="T4" fmla="*/ 0 w 7"/>
                  <a:gd name="T5" fmla="*/ 2 h 7"/>
                  <a:gd name="T6" fmla="*/ 0 w 7"/>
                  <a:gd name="T7" fmla="*/ 7 h 7"/>
                  <a:gd name="T8" fmla="*/ 7 w 7"/>
                  <a:gd name="T9" fmla="*/ 6 h 7"/>
                  <a:gd name="T10" fmla="*/ 7 w 7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7" y="6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410">
                <a:extLst>
                  <a:ext uri="{FF2B5EF4-FFF2-40B4-BE49-F238E27FC236}">
                    <a16:creationId xmlns:a16="http://schemas.microsoft.com/office/drawing/2014/main" id="{87D8F1AD-1B9A-4D51-91FF-7DEC390AC3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7" cy="7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1 h 7"/>
                  <a:gd name="T4" fmla="*/ 0 w 7"/>
                  <a:gd name="T5" fmla="*/ 2 h 7"/>
                  <a:gd name="T6" fmla="*/ 0 w 7"/>
                  <a:gd name="T7" fmla="*/ 7 h 7"/>
                  <a:gd name="T8" fmla="*/ 7 w 7"/>
                  <a:gd name="T9" fmla="*/ 6 h 7"/>
                  <a:gd name="T10" fmla="*/ 7 w 7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7" y="6"/>
                    </a:lnTo>
                    <a:lnTo>
                      <a:pt x="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Rectangle 411">
                <a:extLst>
                  <a:ext uri="{FF2B5EF4-FFF2-40B4-BE49-F238E27FC236}">
                    <a16:creationId xmlns:a16="http://schemas.microsoft.com/office/drawing/2014/main" id="{9F0AEB16-6BD2-492C-85F1-018DB75F40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1" y="2333"/>
                <a:ext cx="16" cy="160"/>
              </a:xfrm>
              <a:prstGeom prst="rect">
                <a:avLst/>
              </a:pr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Rectangle 412">
                <a:extLst>
                  <a:ext uri="{FF2B5EF4-FFF2-40B4-BE49-F238E27FC236}">
                    <a16:creationId xmlns:a16="http://schemas.microsoft.com/office/drawing/2014/main" id="{5D110498-6EEF-45C7-9826-A24360504D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1" y="2333"/>
                <a:ext cx="16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Rectangle 413">
                <a:extLst>
                  <a:ext uri="{FF2B5EF4-FFF2-40B4-BE49-F238E27FC236}">
                    <a16:creationId xmlns:a16="http://schemas.microsoft.com/office/drawing/2014/main" id="{8E2CBA07-3EF2-4BF4-8281-9BA3453C27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6" y="2333"/>
                <a:ext cx="6" cy="160"/>
              </a:xfrm>
              <a:prstGeom prst="rect">
                <a:avLst/>
              </a:prstGeom>
              <a:solidFill>
                <a:srgbClr val="CDDC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Rectangle 414">
                <a:extLst>
                  <a:ext uri="{FF2B5EF4-FFF2-40B4-BE49-F238E27FC236}">
                    <a16:creationId xmlns:a16="http://schemas.microsoft.com/office/drawing/2014/main" id="{80231E61-88F3-4C63-BF4C-EE9AEF9033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6" y="2333"/>
                <a:ext cx="6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Rectangle 415">
                <a:extLst>
                  <a:ext uri="{FF2B5EF4-FFF2-40B4-BE49-F238E27FC236}">
                    <a16:creationId xmlns:a16="http://schemas.microsoft.com/office/drawing/2014/main" id="{0C79B413-7483-48F8-9F17-43F3BE39B8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333"/>
                <a:ext cx="5" cy="160"/>
              </a:xfrm>
              <a:prstGeom prst="rect">
                <a:avLst/>
              </a:prstGeom>
              <a:solidFill>
                <a:srgbClr val="C0CA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Rectangle 416">
                <a:extLst>
                  <a:ext uri="{FF2B5EF4-FFF2-40B4-BE49-F238E27FC236}">
                    <a16:creationId xmlns:a16="http://schemas.microsoft.com/office/drawing/2014/main" id="{85B7D001-9571-4C1D-BBC1-C7B89A6BA6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333"/>
                <a:ext cx="5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417">
                <a:extLst>
                  <a:ext uri="{FF2B5EF4-FFF2-40B4-BE49-F238E27FC236}">
                    <a16:creationId xmlns:a16="http://schemas.microsoft.com/office/drawing/2014/main" id="{EBF15E9C-A22B-4DF9-99B7-E8F2FF3BAA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1" y="2308"/>
                <a:ext cx="16" cy="27"/>
              </a:xfrm>
              <a:custGeom>
                <a:avLst/>
                <a:gdLst>
                  <a:gd name="T0" fmla="*/ 30 w 30"/>
                  <a:gd name="T1" fmla="*/ 47 h 49"/>
                  <a:gd name="T2" fmla="*/ 15 w 30"/>
                  <a:gd name="T3" fmla="*/ 49 h 49"/>
                  <a:gd name="T4" fmla="*/ 0 w 30"/>
                  <a:gd name="T5" fmla="*/ 47 h 49"/>
                  <a:gd name="T6" fmla="*/ 15 w 30"/>
                  <a:gd name="T7" fmla="*/ 1 h 49"/>
                  <a:gd name="T8" fmla="*/ 15 w 30"/>
                  <a:gd name="T9" fmla="*/ 0 h 49"/>
                  <a:gd name="T10" fmla="*/ 16 w 30"/>
                  <a:gd name="T11" fmla="*/ 1 h 49"/>
                  <a:gd name="T12" fmla="*/ 30 w 30"/>
                  <a:gd name="T13" fmla="*/ 4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49">
                    <a:moveTo>
                      <a:pt x="30" y="47"/>
                    </a:moveTo>
                    <a:cubicBezTo>
                      <a:pt x="30" y="47"/>
                      <a:pt x="23" y="49"/>
                      <a:pt x="15" y="49"/>
                    </a:cubicBezTo>
                    <a:cubicBezTo>
                      <a:pt x="8" y="49"/>
                      <a:pt x="0" y="47"/>
                      <a:pt x="0" y="47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30" y="47"/>
                      <a:pt x="30" y="47"/>
                      <a:pt x="30" y="47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418">
                <a:extLst>
                  <a:ext uri="{FF2B5EF4-FFF2-40B4-BE49-F238E27FC236}">
                    <a16:creationId xmlns:a16="http://schemas.microsoft.com/office/drawing/2014/main" id="{F99FDF2B-1704-4AB2-8713-E55DAB23F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1" y="2493"/>
                <a:ext cx="16" cy="27"/>
              </a:xfrm>
              <a:custGeom>
                <a:avLst/>
                <a:gdLst>
                  <a:gd name="T0" fmla="*/ 30 w 30"/>
                  <a:gd name="T1" fmla="*/ 0 h 48"/>
                  <a:gd name="T2" fmla="*/ 30 w 30"/>
                  <a:gd name="T3" fmla="*/ 40 h 48"/>
                  <a:gd name="T4" fmla="*/ 21 w 30"/>
                  <a:gd name="T5" fmla="*/ 48 h 48"/>
                  <a:gd name="T6" fmla="*/ 9 w 30"/>
                  <a:gd name="T7" fmla="*/ 48 h 48"/>
                  <a:gd name="T8" fmla="*/ 0 w 30"/>
                  <a:gd name="T9" fmla="*/ 40 h 48"/>
                  <a:gd name="T10" fmla="*/ 0 w 30"/>
                  <a:gd name="T11" fmla="*/ 0 h 48"/>
                  <a:gd name="T12" fmla="*/ 30 w 30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48">
                    <a:moveTo>
                      <a:pt x="30" y="0"/>
                    </a:moveTo>
                    <a:cubicBezTo>
                      <a:pt x="30" y="40"/>
                      <a:pt x="30" y="40"/>
                      <a:pt x="30" y="40"/>
                    </a:cubicBezTo>
                    <a:cubicBezTo>
                      <a:pt x="30" y="44"/>
                      <a:pt x="26" y="48"/>
                      <a:pt x="21" y="48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4" y="48"/>
                      <a:pt x="0" y="44"/>
                      <a:pt x="0" y="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Rectangle 419">
                <a:extLst>
                  <a:ext uri="{FF2B5EF4-FFF2-40B4-BE49-F238E27FC236}">
                    <a16:creationId xmlns:a16="http://schemas.microsoft.com/office/drawing/2014/main" id="{AB32D940-7AB9-4119-B7AD-CE1E7069C1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3"/>
                <a:ext cx="18" cy="12"/>
              </a:xfrm>
              <a:prstGeom prst="rect">
                <a:avLst/>
              </a:pr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Rectangle 420">
                <a:extLst>
                  <a:ext uri="{FF2B5EF4-FFF2-40B4-BE49-F238E27FC236}">
                    <a16:creationId xmlns:a16="http://schemas.microsoft.com/office/drawing/2014/main" id="{915FFAA4-4731-4460-8283-CA7F6FEED5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3"/>
                <a:ext cx="18" cy="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Rectangle 421">
                <a:extLst>
                  <a:ext uri="{FF2B5EF4-FFF2-40B4-BE49-F238E27FC236}">
                    <a16:creationId xmlns:a16="http://schemas.microsoft.com/office/drawing/2014/main" id="{3CC23432-2C65-4058-B01C-81E1F175C1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8"/>
                <a:ext cx="18" cy="2"/>
              </a:xfrm>
              <a:prstGeom prst="rect">
                <a:avLst/>
              </a:prstGeom>
              <a:solidFill>
                <a:srgbClr val="38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Rectangle 422">
                <a:extLst>
                  <a:ext uri="{FF2B5EF4-FFF2-40B4-BE49-F238E27FC236}">
                    <a16:creationId xmlns:a16="http://schemas.microsoft.com/office/drawing/2014/main" id="{B219592C-59E5-46AB-A2E0-C53E1559F4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8"/>
                <a:ext cx="18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423">
                <a:extLst>
                  <a:ext uri="{FF2B5EF4-FFF2-40B4-BE49-F238E27FC236}">
                    <a16:creationId xmlns:a16="http://schemas.microsoft.com/office/drawing/2014/main" id="{D456BDCA-CED2-47A7-B09F-DF0A9333F2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6" y="2308"/>
                <a:ext cx="6" cy="11"/>
              </a:xfrm>
              <a:custGeom>
                <a:avLst/>
                <a:gdLst>
                  <a:gd name="T0" fmla="*/ 12 w 12"/>
                  <a:gd name="T1" fmla="*/ 18 h 20"/>
                  <a:gd name="T2" fmla="*/ 7 w 12"/>
                  <a:gd name="T3" fmla="*/ 1 h 20"/>
                  <a:gd name="T4" fmla="*/ 6 w 12"/>
                  <a:gd name="T5" fmla="*/ 1 h 20"/>
                  <a:gd name="T6" fmla="*/ 0 w 12"/>
                  <a:gd name="T7" fmla="*/ 18 h 20"/>
                  <a:gd name="T8" fmla="*/ 6 w 12"/>
                  <a:gd name="T9" fmla="*/ 20 h 20"/>
                  <a:gd name="T10" fmla="*/ 12 w 12"/>
                  <a:gd name="T11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20">
                    <a:moveTo>
                      <a:pt x="12" y="18"/>
                    </a:moveTo>
                    <a:cubicBezTo>
                      <a:pt x="7" y="1"/>
                      <a:pt x="7" y="1"/>
                      <a:pt x="7" y="1"/>
                    </a:cubicBezTo>
                    <a:cubicBezTo>
                      <a:pt x="7" y="0"/>
                      <a:pt x="6" y="0"/>
                      <a:pt x="6" y="1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2" y="20"/>
                      <a:pt x="6" y="20"/>
                    </a:cubicBezTo>
                    <a:cubicBezTo>
                      <a:pt x="10" y="20"/>
                      <a:pt x="12" y="18"/>
                      <a:pt x="12" y="18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424">
                <a:extLst>
                  <a:ext uri="{FF2B5EF4-FFF2-40B4-BE49-F238E27FC236}">
                    <a16:creationId xmlns:a16="http://schemas.microsoft.com/office/drawing/2014/main" id="{6B97EE5F-F13A-4ADC-9501-0DE1A1CB8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318"/>
                <a:ext cx="8" cy="17"/>
              </a:xfrm>
              <a:custGeom>
                <a:avLst/>
                <a:gdLst>
                  <a:gd name="T0" fmla="*/ 6 w 15"/>
                  <a:gd name="T1" fmla="*/ 0 h 31"/>
                  <a:gd name="T2" fmla="*/ 0 w 15"/>
                  <a:gd name="T3" fmla="*/ 2 h 31"/>
                  <a:gd name="T4" fmla="*/ 0 w 15"/>
                  <a:gd name="T5" fmla="*/ 2 h 31"/>
                  <a:gd name="T6" fmla="*/ 0 w 15"/>
                  <a:gd name="T7" fmla="*/ 31 h 31"/>
                  <a:gd name="T8" fmla="*/ 15 w 15"/>
                  <a:gd name="T9" fmla="*/ 29 h 31"/>
                  <a:gd name="T10" fmla="*/ 6 w 15"/>
                  <a:gd name="T1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1">
                    <a:moveTo>
                      <a:pt x="6" y="0"/>
                    </a:moveTo>
                    <a:cubicBezTo>
                      <a:pt x="6" y="0"/>
                      <a:pt x="4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8" y="31"/>
                      <a:pt x="15" y="29"/>
                      <a:pt x="15" y="29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425">
                <a:extLst>
                  <a:ext uri="{FF2B5EF4-FFF2-40B4-BE49-F238E27FC236}">
                    <a16:creationId xmlns:a16="http://schemas.microsoft.com/office/drawing/2014/main" id="{38DA11F0-0516-45BB-933F-FB12FCAFC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308"/>
                <a:ext cx="3" cy="11"/>
              </a:xfrm>
              <a:custGeom>
                <a:avLst/>
                <a:gdLst>
                  <a:gd name="T0" fmla="*/ 0 w 6"/>
                  <a:gd name="T1" fmla="*/ 0 h 20"/>
                  <a:gd name="T2" fmla="*/ 0 w 6"/>
                  <a:gd name="T3" fmla="*/ 20 h 20"/>
                  <a:gd name="T4" fmla="*/ 0 w 6"/>
                  <a:gd name="T5" fmla="*/ 20 h 20"/>
                  <a:gd name="T6" fmla="*/ 6 w 6"/>
                  <a:gd name="T7" fmla="*/ 18 h 20"/>
                  <a:gd name="T8" fmla="*/ 6 w 6"/>
                  <a:gd name="T9" fmla="*/ 18 h 20"/>
                  <a:gd name="T10" fmla="*/ 1 w 6"/>
                  <a:gd name="T11" fmla="*/ 1 h 20"/>
                  <a:gd name="T12" fmla="*/ 0 w 6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0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4" y="20"/>
                      <a:pt x="6" y="18"/>
                      <a:pt x="6" y="1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Rectangle 426">
                <a:extLst>
                  <a:ext uri="{FF2B5EF4-FFF2-40B4-BE49-F238E27FC236}">
                    <a16:creationId xmlns:a16="http://schemas.microsoft.com/office/drawing/2014/main" id="{1D2330FD-2ED4-42E1-8C03-B631E0A611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493"/>
                <a:ext cx="5" cy="1"/>
              </a:xfrm>
              <a:prstGeom prst="rect">
                <a:avLst/>
              </a:prstGeom>
              <a:solidFill>
                <a:srgbClr val="98A0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Rectangle 427">
                <a:extLst>
                  <a:ext uri="{FF2B5EF4-FFF2-40B4-BE49-F238E27FC236}">
                    <a16:creationId xmlns:a16="http://schemas.microsoft.com/office/drawing/2014/main" id="{5275919D-B33A-4F67-AC29-D8F3FB293C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493"/>
                <a:ext cx="5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428">
                <a:extLst>
                  <a:ext uri="{FF2B5EF4-FFF2-40B4-BE49-F238E27FC236}">
                    <a16:creationId xmlns:a16="http://schemas.microsoft.com/office/drawing/2014/main" id="{2CC03B84-B821-4FC4-9137-60DD32E4F0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505"/>
                <a:ext cx="8" cy="15"/>
              </a:xfrm>
              <a:custGeom>
                <a:avLst/>
                <a:gdLst>
                  <a:gd name="T0" fmla="*/ 15 w 15"/>
                  <a:gd name="T1" fmla="*/ 0 h 27"/>
                  <a:gd name="T2" fmla="*/ 0 w 15"/>
                  <a:gd name="T3" fmla="*/ 0 h 27"/>
                  <a:gd name="T4" fmla="*/ 0 w 15"/>
                  <a:gd name="T5" fmla="*/ 27 h 27"/>
                  <a:gd name="T6" fmla="*/ 6 w 15"/>
                  <a:gd name="T7" fmla="*/ 27 h 27"/>
                  <a:gd name="T8" fmla="*/ 15 w 15"/>
                  <a:gd name="T9" fmla="*/ 19 h 27"/>
                  <a:gd name="T10" fmla="*/ 15 w 15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27">
                    <a:moveTo>
                      <a:pt x="1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11" y="27"/>
                      <a:pt x="15" y="23"/>
                      <a:pt x="15" y="19"/>
                    </a:cubicBezTo>
                    <a:cubicBezTo>
                      <a:pt x="15" y="0"/>
                      <a:pt x="15" y="0"/>
                      <a:pt x="15" y="0"/>
                    </a:cubicBezTo>
                  </a:path>
                </a:pathLst>
              </a:custGeom>
              <a:solidFill>
                <a:srgbClr val="A8B2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429">
                <a:extLst>
                  <a:ext uri="{FF2B5EF4-FFF2-40B4-BE49-F238E27FC236}">
                    <a16:creationId xmlns:a16="http://schemas.microsoft.com/office/drawing/2014/main" id="{CE769E4A-16E2-4514-A8C7-8CF2C73B66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493"/>
                <a:ext cx="9" cy="12"/>
              </a:xfrm>
              <a:custGeom>
                <a:avLst/>
                <a:gdLst>
                  <a:gd name="T0" fmla="*/ 9 w 9"/>
                  <a:gd name="T1" fmla="*/ 0 h 12"/>
                  <a:gd name="T2" fmla="*/ 8 w 9"/>
                  <a:gd name="T3" fmla="*/ 0 h 12"/>
                  <a:gd name="T4" fmla="*/ 3 w 9"/>
                  <a:gd name="T5" fmla="*/ 0 h 12"/>
                  <a:gd name="T6" fmla="*/ 0 w 9"/>
                  <a:gd name="T7" fmla="*/ 0 h 12"/>
                  <a:gd name="T8" fmla="*/ 0 w 9"/>
                  <a:gd name="T9" fmla="*/ 5 h 12"/>
                  <a:gd name="T10" fmla="*/ 9 w 9"/>
                  <a:gd name="T11" fmla="*/ 5 h 12"/>
                  <a:gd name="T12" fmla="*/ 9 w 9"/>
                  <a:gd name="T13" fmla="*/ 7 h 12"/>
                  <a:gd name="T14" fmla="*/ 0 w 9"/>
                  <a:gd name="T15" fmla="*/ 7 h 12"/>
                  <a:gd name="T16" fmla="*/ 0 w 9"/>
                  <a:gd name="T17" fmla="*/ 12 h 12"/>
                  <a:gd name="T18" fmla="*/ 8 w 9"/>
                  <a:gd name="T19" fmla="*/ 12 h 12"/>
                  <a:gd name="T20" fmla="*/ 9 w 9"/>
                  <a:gd name="T21" fmla="*/ 12 h 12"/>
                  <a:gd name="T22" fmla="*/ 9 w 9"/>
                  <a:gd name="T2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2">
                    <a:moveTo>
                      <a:pt x="9" y="0"/>
                    </a:moveTo>
                    <a:lnTo>
                      <a:pt x="8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9" y="12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430">
                <a:extLst>
                  <a:ext uri="{FF2B5EF4-FFF2-40B4-BE49-F238E27FC236}">
                    <a16:creationId xmlns:a16="http://schemas.microsoft.com/office/drawing/2014/main" id="{776C5EAC-E3E3-42D5-A69A-F7F4CF1C8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493"/>
                <a:ext cx="9" cy="12"/>
              </a:xfrm>
              <a:custGeom>
                <a:avLst/>
                <a:gdLst>
                  <a:gd name="T0" fmla="*/ 9 w 9"/>
                  <a:gd name="T1" fmla="*/ 0 h 12"/>
                  <a:gd name="T2" fmla="*/ 8 w 9"/>
                  <a:gd name="T3" fmla="*/ 0 h 12"/>
                  <a:gd name="T4" fmla="*/ 3 w 9"/>
                  <a:gd name="T5" fmla="*/ 0 h 12"/>
                  <a:gd name="T6" fmla="*/ 0 w 9"/>
                  <a:gd name="T7" fmla="*/ 0 h 12"/>
                  <a:gd name="T8" fmla="*/ 0 w 9"/>
                  <a:gd name="T9" fmla="*/ 5 h 12"/>
                  <a:gd name="T10" fmla="*/ 9 w 9"/>
                  <a:gd name="T11" fmla="*/ 5 h 12"/>
                  <a:gd name="T12" fmla="*/ 9 w 9"/>
                  <a:gd name="T13" fmla="*/ 7 h 12"/>
                  <a:gd name="T14" fmla="*/ 0 w 9"/>
                  <a:gd name="T15" fmla="*/ 7 h 12"/>
                  <a:gd name="T16" fmla="*/ 0 w 9"/>
                  <a:gd name="T17" fmla="*/ 12 h 12"/>
                  <a:gd name="T18" fmla="*/ 8 w 9"/>
                  <a:gd name="T19" fmla="*/ 12 h 12"/>
                  <a:gd name="T20" fmla="*/ 9 w 9"/>
                  <a:gd name="T21" fmla="*/ 12 h 12"/>
                  <a:gd name="T22" fmla="*/ 9 w 9"/>
                  <a:gd name="T2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2">
                    <a:moveTo>
                      <a:pt x="9" y="0"/>
                    </a:moveTo>
                    <a:lnTo>
                      <a:pt x="8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9" y="12"/>
                    </a:lnTo>
                    <a:lnTo>
                      <a:pt x="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Rectangle 431">
                <a:extLst>
                  <a:ext uri="{FF2B5EF4-FFF2-40B4-BE49-F238E27FC236}">
                    <a16:creationId xmlns:a16="http://schemas.microsoft.com/office/drawing/2014/main" id="{EC6916E4-F3F3-4BED-AF79-F8BE3DAE4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9" y="2498"/>
                <a:ext cx="9" cy="2"/>
              </a:xfrm>
              <a:prstGeom prst="rect">
                <a:avLst/>
              </a:prstGeom>
              <a:solidFill>
                <a:srgbClr val="2C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Rectangle 432">
                <a:extLst>
                  <a:ext uri="{FF2B5EF4-FFF2-40B4-BE49-F238E27FC236}">
                    <a16:creationId xmlns:a16="http://schemas.microsoft.com/office/drawing/2014/main" id="{650A1F53-6689-40CE-977F-61ED93A8FA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9" y="2498"/>
                <a:ext cx="9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433">
                <a:extLst>
                  <a:ext uri="{FF2B5EF4-FFF2-40B4-BE49-F238E27FC236}">
                    <a16:creationId xmlns:a16="http://schemas.microsoft.com/office/drawing/2014/main" id="{88D422E1-3C21-464B-A7F6-70D63A512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368"/>
                <a:ext cx="19" cy="165"/>
              </a:xfrm>
              <a:custGeom>
                <a:avLst/>
                <a:gdLst>
                  <a:gd name="T0" fmla="*/ 5 w 36"/>
                  <a:gd name="T1" fmla="*/ 0 h 302"/>
                  <a:gd name="T2" fmla="*/ 31 w 36"/>
                  <a:gd name="T3" fmla="*/ 0 h 302"/>
                  <a:gd name="T4" fmla="*/ 36 w 36"/>
                  <a:gd name="T5" fmla="*/ 138 h 302"/>
                  <a:gd name="T6" fmla="*/ 36 w 36"/>
                  <a:gd name="T7" fmla="*/ 187 h 302"/>
                  <a:gd name="T8" fmla="*/ 36 w 36"/>
                  <a:gd name="T9" fmla="*/ 192 h 302"/>
                  <a:gd name="T10" fmla="*/ 36 w 36"/>
                  <a:gd name="T11" fmla="*/ 195 h 302"/>
                  <a:gd name="T12" fmla="*/ 31 w 36"/>
                  <a:gd name="T13" fmla="*/ 302 h 302"/>
                  <a:gd name="T14" fmla="*/ 31 w 36"/>
                  <a:gd name="T15" fmla="*/ 302 h 302"/>
                  <a:gd name="T16" fmla="*/ 6 w 36"/>
                  <a:gd name="T17" fmla="*/ 302 h 302"/>
                  <a:gd name="T18" fmla="*/ 1 w 36"/>
                  <a:gd name="T19" fmla="*/ 195 h 302"/>
                  <a:gd name="T20" fmla="*/ 1 w 36"/>
                  <a:gd name="T21" fmla="*/ 192 h 302"/>
                  <a:gd name="T22" fmla="*/ 0 w 36"/>
                  <a:gd name="T23" fmla="*/ 187 h 302"/>
                  <a:gd name="T24" fmla="*/ 0 w 36"/>
                  <a:gd name="T25" fmla="*/ 138 h 302"/>
                  <a:gd name="T26" fmla="*/ 5 w 36"/>
                  <a:gd name="T27" fmla="*/ 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302">
                    <a:moveTo>
                      <a:pt x="5" y="0"/>
                    </a:moveTo>
                    <a:cubicBezTo>
                      <a:pt x="31" y="0"/>
                      <a:pt x="31" y="0"/>
                      <a:pt x="31" y="0"/>
                    </a:cubicBezTo>
                    <a:cubicBezTo>
                      <a:pt x="33" y="50"/>
                      <a:pt x="36" y="88"/>
                      <a:pt x="36" y="138"/>
                    </a:cubicBezTo>
                    <a:cubicBezTo>
                      <a:pt x="36" y="149"/>
                      <a:pt x="36" y="174"/>
                      <a:pt x="36" y="187"/>
                    </a:cubicBezTo>
                    <a:cubicBezTo>
                      <a:pt x="36" y="188"/>
                      <a:pt x="36" y="190"/>
                      <a:pt x="36" y="192"/>
                    </a:cubicBezTo>
                    <a:cubicBezTo>
                      <a:pt x="36" y="193"/>
                      <a:pt x="36" y="194"/>
                      <a:pt x="36" y="195"/>
                    </a:cubicBezTo>
                    <a:cubicBezTo>
                      <a:pt x="34" y="239"/>
                      <a:pt x="32" y="265"/>
                      <a:pt x="31" y="302"/>
                    </a:cubicBezTo>
                    <a:cubicBezTo>
                      <a:pt x="31" y="302"/>
                      <a:pt x="31" y="302"/>
                      <a:pt x="31" y="302"/>
                    </a:cubicBezTo>
                    <a:cubicBezTo>
                      <a:pt x="6" y="302"/>
                      <a:pt x="6" y="302"/>
                      <a:pt x="6" y="302"/>
                    </a:cubicBezTo>
                    <a:cubicBezTo>
                      <a:pt x="4" y="265"/>
                      <a:pt x="2" y="239"/>
                      <a:pt x="1" y="195"/>
                    </a:cubicBezTo>
                    <a:cubicBezTo>
                      <a:pt x="1" y="194"/>
                      <a:pt x="1" y="193"/>
                      <a:pt x="1" y="192"/>
                    </a:cubicBezTo>
                    <a:cubicBezTo>
                      <a:pt x="0" y="190"/>
                      <a:pt x="0" y="188"/>
                      <a:pt x="0" y="187"/>
                    </a:cubicBezTo>
                    <a:cubicBezTo>
                      <a:pt x="0" y="174"/>
                      <a:pt x="0" y="149"/>
                      <a:pt x="0" y="138"/>
                    </a:cubicBezTo>
                    <a:cubicBezTo>
                      <a:pt x="0" y="88"/>
                      <a:pt x="3" y="50"/>
                      <a:pt x="5" y="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434">
                <a:extLst>
                  <a:ext uri="{FF2B5EF4-FFF2-40B4-BE49-F238E27FC236}">
                    <a16:creationId xmlns:a16="http://schemas.microsoft.com/office/drawing/2014/main" id="{E6F09E0B-81C2-44FC-8D67-2E5C7FB92E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5" y="2358"/>
                <a:ext cx="15" cy="10"/>
              </a:xfrm>
              <a:custGeom>
                <a:avLst/>
                <a:gdLst>
                  <a:gd name="T0" fmla="*/ 12 w 26"/>
                  <a:gd name="T1" fmla="*/ 0 h 19"/>
                  <a:gd name="T2" fmla="*/ 14 w 26"/>
                  <a:gd name="T3" fmla="*/ 0 h 19"/>
                  <a:gd name="T4" fmla="*/ 26 w 26"/>
                  <a:gd name="T5" fmla="*/ 13 h 19"/>
                  <a:gd name="T6" fmla="*/ 26 w 26"/>
                  <a:gd name="T7" fmla="*/ 19 h 19"/>
                  <a:gd name="T8" fmla="*/ 0 w 26"/>
                  <a:gd name="T9" fmla="*/ 19 h 19"/>
                  <a:gd name="T10" fmla="*/ 0 w 26"/>
                  <a:gd name="T11" fmla="*/ 13 h 19"/>
                  <a:gd name="T12" fmla="*/ 12 w 26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9">
                    <a:moveTo>
                      <a:pt x="12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21" y="0"/>
                      <a:pt x="26" y="6"/>
                      <a:pt x="26" y="13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5" y="0"/>
                      <a:pt x="12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Rectangle 435">
                <a:extLst>
                  <a:ext uri="{FF2B5EF4-FFF2-40B4-BE49-F238E27FC236}">
                    <a16:creationId xmlns:a16="http://schemas.microsoft.com/office/drawing/2014/main" id="{5E7221C1-7A6D-469B-9AC2-11A82827F4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9" y="2365"/>
                <a:ext cx="6" cy="2"/>
              </a:xfrm>
              <a:prstGeom prst="rect">
                <a:avLst/>
              </a:pr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Rectangle 436">
                <a:extLst>
                  <a:ext uri="{FF2B5EF4-FFF2-40B4-BE49-F238E27FC236}">
                    <a16:creationId xmlns:a16="http://schemas.microsoft.com/office/drawing/2014/main" id="{B0E087A0-E53B-4F17-86D1-EDEB80A62A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9" y="2365"/>
                <a:ext cx="6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437">
                <a:extLst>
                  <a:ext uri="{FF2B5EF4-FFF2-40B4-BE49-F238E27FC236}">
                    <a16:creationId xmlns:a16="http://schemas.microsoft.com/office/drawing/2014/main" id="{1828DB6B-1A57-49EC-BD7B-12E84713EB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4" y="2365"/>
                <a:ext cx="13" cy="65"/>
              </a:xfrm>
              <a:custGeom>
                <a:avLst/>
                <a:gdLst>
                  <a:gd name="T0" fmla="*/ 2 w 24"/>
                  <a:gd name="T1" fmla="*/ 0 h 118"/>
                  <a:gd name="T2" fmla="*/ 3 w 24"/>
                  <a:gd name="T3" fmla="*/ 0 h 118"/>
                  <a:gd name="T4" fmla="*/ 5 w 24"/>
                  <a:gd name="T5" fmla="*/ 1 h 118"/>
                  <a:gd name="T6" fmla="*/ 5 w 24"/>
                  <a:gd name="T7" fmla="*/ 112 h 118"/>
                  <a:gd name="T8" fmla="*/ 7 w 24"/>
                  <a:gd name="T9" fmla="*/ 113 h 118"/>
                  <a:gd name="T10" fmla="*/ 7 w 24"/>
                  <a:gd name="T11" fmla="*/ 117 h 118"/>
                  <a:gd name="T12" fmla="*/ 0 w 24"/>
                  <a:gd name="T13" fmla="*/ 117 h 118"/>
                  <a:gd name="T14" fmla="*/ 1 w 24"/>
                  <a:gd name="T15" fmla="*/ 3 h 118"/>
                  <a:gd name="T16" fmla="*/ 0 w 24"/>
                  <a:gd name="T17" fmla="*/ 1 h 118"/>
                  <a:gd name="T18" fmla="*/ 2 w 24"/>
                  <a:gd name="T19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118">
                    <a:moveTo>
                      <a:pt x="2" y="0"/>
                    </a:moveTo>
                    <a:cubicBezTo>
                      <a:pt x="2" y="0"/>
                      <a:pt x="3" y="0"/>
                      <a:pt x="3" y="0"/>
                    </a:cubicBezTo>
                    <a:cubicBezTo>
                      <a:pt x="4" y="1"/>
                      <a:pt x="5" y="1"/>
                      <a:pt x="5" y="1"/>
                    </a:cubicBezTo>
                    <a:cubicBezTo>
                      <a:pt x="24" y="20"/>
                      <a:pt x="8" y="101"/>
                      <a:pt x="5" y="112"/>
                    </a:cubicBezTo>
                    <a:cubicBezTo>
                      <a:pt x="6" y="112"/>
                      <a:pt x="7" y="112"/>
                      <a:pt x="7" y="113"/>
                    </a:cubicBezTo>
                    <a:cubicBezTo>
                      <a:pt x="8" y="113"/>
                      <a:pt x="8" y="116"/>
                      <a:pt x="7" y="117"/>
                    </a:cubicBezTo>
                    <a:cubicBezTo>
                      <a:pt x="6" y="118"/>
                      <a:pt x="0" y="117"/>
                      <a:pt x="0" y="117"/>
                    </a:cubicBezTo>
                    <a:cubicBezTo>
                      <a:pt x="0" y="117"/>
                      <a:pt x="9" y="27"/>
                      <a:pt x="1" y="3"/>
                    </a:cubicBezTo>
                    <a:cubicBezTo>
                      <a:pt x="1" y="3"/>
                      <a:pt x="1" y="2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438">
                <a:extLst>
                  <a:ext uri="{FF2B5EF4-FFF2-40B4-BE49-F238E27FC236}">
                    <a16:creationId xmlns:a16="http://schemas.microsoft.com/office/drawing/2014/main" id="{F890825E-E460-4351-B586-42A7BDEC9C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74"/>
                <a:ext cx="19" cy="59"/>
              </a:xfrm>
              <a:custGeom>
                <a:avLst/>
                <a:gdLst>
                  <a:gd name="T0" fmla="*/ 17 w 35"/>
                  <a:gd name="T1" fmla="*/ 0 h 109"/>
                  <a:gd name="T2" fmla="*/ 17 w 35"/>
                  <a:gd name="T3" fmla="*/ 0 h 109"/>
                  <a:gd name="T4" fmla="*/ 35 w 35"/>
                  <a:gd name="T5" fmla="*/ 2 h 109"/>
                  <a:gd name="T6" fmla="*/ 30 w 35"/>
                  <a:gd name="T7" fmla="*/ 109 h 109"/>
                  <a:gd name="T8" fmla="*/ 30 w 35"/>
                  <a:gd name="T9" fmla="*/ 109 h 109"/>
                  <a:gd name="T10" fmla="*/ 5 w 35"/>
                  <a:gd name="T11" fmla="*/ 109 h 109"/>
                  <a:gd name="T12" fmla="*/ 0 w 35"/>
                  <a:gd name="T13" fmla="*/ 2 h 109"/>
                  <a:gd name="T14" fmla="*/ 17 w 35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09">
                    <a:moveTo>
                      <a:pt x="1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26" y="0"/>
                      <a:pt x="35" y="2"/>
                      <a:pt x="35" y="2"/>
                    </a:cubicBezTo>
                    <a:cubicBezTo>
                      <a:pt x="33" y="46"/>
                      <a:pt x="31" y="72"/>
                      <a:pt x="30" y="109"/>
                    </a:cubicBezTo>
                    <a:cubicBezTo>
                      <a:pt x="30" y="109"/>
                      <a:pt x="30" y="109"/>
                      <a:pt x="30" y="109"/>
                    </a:cubicBezTo>
                    <a:cubicBezTo>
                      <a:pt x="5" y="109"/>
                      <a:pt x="5" y="109"/>
                      <a:pt x="5" y="109"/>
                    </a:cubicBezTo>
                    <a:cubicBezTo>
                      <a:pt x="3" y="72"/>
                      <a:pt x="1" y="46"/>
                      <a:pt x="0" y="2"/>
                    </a:cubicBezTo>
                    <a:cubicBezTo>
                      <a:pt x="0" y="2"/>
                      <a:pt x="10" y="0"/>
                      <a:pt x="17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439">
                <a:extLst>
                  <a:ext uri="{FF2B5EF4-FFF2-40B4-BE49-F238E27FC236}">
                    <a16:creationId xmlns:a16="http://schemas.microsoft.com/office/drawing/2014/main" id="{613367DD-F1E1-49C2-9C9E-E21C58B35D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74"/>
                <a:ext cx="19" cy="59"/>
              </a:xfrm>
              <a:custGeom>
                <a:avLst/>
                <a:gdLst>
                  <a:gd name="T0" fmla="*/ 17 w 35"/>
                  <a:gd name="T1" fmla="*/ 0 h 109"/>
                  <a:gd name="T2" fmla="*/ 17 w 35"/>
                  <a:gd name="T3" fmla="*/ 0 h 109"/>
                  <a:gd name="T4" fmla="*/ 35 w 35"/>
                  <a:gd name="T5" fmla="*/ 2 h 109"/>
                  <a:gd name="T6" fmla="*/ 30 w 35"/>
                  <a:gd name="T7" fmla="*/ 109 h 109"/>
                  <a:gd name="T8" fmla="*/ 30 w 35"/>
                  <a:gd name="T9" fmla="*/ 109 h 109"/>
                  <a:gd name="T10" fmla="*/ 5 w 35"/>
                  <a:gd name="T11" fmla="*/ 109 h 109"/>
                  <a:gd name="T12" fmla="*/ 0 w 35"/>
                  <a:gd name="T13" fmla="*/ 2 h 109"/>
                  <a:gd name="T14" fmla="*/ 17 w 35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09">
                    <a:moveTo>
                      <a:pt x="1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26" y="0"/>
                      <a:pt x="35" y="2"/>
                      <a:pt x="35" y="2"/>
                    </a:cubicBezTo>
                    <a:cubicBezTo>
                      <a:pt x="33" y="46"/>
                      <a:pt x="31" y="72"/>
                      <a:pt x="30" y="109"/>
                    </a:cubicBezTo>
                    <a:cubicBezTo>
                      <a:pt x="30" y="109"/>
                      <a:pt x="30" y="109"/>
                      <a:pt x="30" y="109"/>
                    </a:cubicBezTo>
                    <a:cubicBezTo>
                      <a:pt x="5" y="109"/>
                      <a:pt x="5" y="109"/>
                      <a:pt x="5" y="109"/>
                    </a:cubicBezTo>
                    <a:cubicBezTo>
                      <a:pt x="3" y="72"/>
                      <a:pt x="1" y="46"/>
                      <a:pt x="0" y="2"/>
                    </a:cubicBezTo>
                    <a:cubicBezTo>
                      <a:pt x="0" y="2"/>
                      <a:pt x="10" y="0"/>
                      <a:pt x="17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440">
                <a:extLst>
                  <a:ext uri="{FF2B5EF4-FFF2-40B4-BE49-F238E27FC236}">
                    <a16:creationId xmlns:a16="http://schemas.microsoft.com/office/drawing/2014/main" id="{DAE9DB01-7BDE-4644-9CE1-DA53CC765C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69"/>
                <a:ext cx="19" cy="4"/>
              </a:xfrm>
              <a:custGeom>
                <a:avLst/>
                <a:gdLst>
                  <a:gd name="T0" fmla="*/ 18 w 36"/>
                  <a:gd name="T1" fmla="*/ 0 h 7"/>
                  <a:gd name="T2" fmla="*/ 18 w 36"/>
                  <a:gd name="T3" fmla="*/ 0 h 7"/>
                  <a:gd name="T4" fmla="*/ 36 w 36"/>
                  <a:gd name="T5" fmla="*/ 2 h 7"/>
                  <a:gd name="T6" fmla="*/ 36 w 36"/>
                  <a:gd name="T7" fmla="*/ 7 h 7"/>
                  <a:gd name="T8" fmla="*/ 18 w 36"/>
                  <a:gd name="T9" fmla="*/ 5 h 7"/>
                  <a:gd name="T10" fmla="*/ 18 w 36"/>
                  <a:gd name="T11" fmla="*/ 5 h 7"/>
                  <a:gd name="T12" fmla="*/ 1 w 36"/>
                  <a:gd name="T13" fmla="*/ 7 h 7"/>
                  <a:gd name="T14" fmla="*/ 0 w 36"/>
                  <a:gd name="T15" fmla="*/ 2 h 7"/>
                  <a:gd name="T16" fmla="*/ 18 w 36"/>
                  <a:gd name="T1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" h="7">
                    <a:moveTo>
                      <a:pt x="18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26" y="0"/>
                      <a:pt x="34" y="1"/>
                      <a:pt x="36" y="2"/>
                    </a:cubicBezTo>
                    <a:cubicBezTo>
                      <a:pt x="36" y="3"/>
                      <a:pt x="36" y="5"/>
                      <a:pt x="36" y="7"/>
                    </a:cubicBezTo>
                    <a:cubicBezTo>
                      <a:pt x="34" y="6"/>
                      <a:pt x="26" y="5"/>
                      <a:pt x="18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2" y="5"/>
                      <a:pt x="2" y="6"/>
                      <a:pt x="1" y="7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2" y="1"/>
                      <a:pt x="11" y="0"/>
                      <a:pt x="18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441">
                <a:extLst>
                  <a:ext uri="{FF2B5EF4-FFF2-40B4-BE49-F238E27FC236}">
                    <a16:creationId xmlns:a16="http://schemas.microsoft.com/office/drawing/2014/main" id="{B7F23BCD-7291-42A1-A21F-BCA9489D4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2" y="2545"/>
                <a:ext cx="2" cy="6"/>
              </a:xfrm>
              <a:custGeom>
                <a:avLst/>
                <a:gdLst>
                  <a:gd name="T0" fmla="*/ 0 w 3"/>
                  <a:gd name="T1" fmla="*/ 0 h 11"/>
                  <a:gd name="T2" fmla="*/ 3 w 3"/>
                  <a:gd name="T3" fmla="*/ 0 h 11"/>
                  <a:gd name="T4" fmla="*/ 3 w 3"/>
                  <a:gd name="T5" fmla="*/ 9 h 11"/>
                  <a:gd name="T6" fmla="*/ 1 w 3"/>
                  <a:gd name="T7" fmla="*/ 11 h 11"/>
                  <a:gd name="T8" fmla="*/ 1 w 3"/>
                  <a:gd name="T9" fmla="*/ 11 h 11"/>
                  <a:gd name="T10" fmla="*/ 0 w 3"/>
                  <a:gd name="T11" fmla="*/ 11 h 11"/>
                  <a:gd name="T12" fmla="*/ 0 w 3"/>
                  <a:gd name="T13" fmla="*/ 9 h 11"/>
                  <a:gd name="T14" fmla="*/ 0 w 3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11">
                    <a:moveTo>
                      <a:pt x="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1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0" y="11"/>
                      <a:pt x="0" y="11"/>
                    </a:cubicBezTo>
                    <a:cubicBezTo>
                      <a:pt x="0" y="10"/>
                      <a:pt x="0" y="10"/>
                      <a:pt x="0" y="9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442">
                <a:extLst>
                  <a:ext uri="{FF2B5EF4-FFF2-40B4-BE49-F238E27FC236}">
                    <a16:creationId xmlns:a16="http://schemas.microsoft.com/office/drawing/2014/main" id="{9215A3D7-4A65-411A-8417-E89E3EB198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6" y="2532"/>
                <a:ext cx="14" cy="14"/>
              </a:xfrm>
              <a:custGeom>
                <a:avLst/>
                <a:gdLst>
                  <a:gd name="T0" fmla="*/ 12 w 25"/>
                  <a:gd name="T1" fmla="*/ 0 h 27"/>
                  <a:gd name="T2" fmla="*/ 25 w 25"/>
                  <a:gd name="T3" fmla="*/ 3 h 27"/>
                  <a:gd name="T4" fmla="*/ 25 w 25"/>
                  <a:gd name="T5" fmla="*/ 3 h 27"/>
                  <a:gd name="T6" fmla="*/ 15 w 25"/>
                  <a:gd name="T7" fmla="*/ 27 h 27"/>
                  <a:gd name="T8" fmla="*/ 14 w 25"/>
                  <a:gd name="T9" fmla="*/ 27 h 27"/>
                  <a:gd name="T10" fmla="*/ 12 w 25"/>
                  <a:gd name="T11" fmla="*/ 27 h 27"/>
                  <a:gd name="T12" fmla="*/ 12 w 25"/>
                  <a:gd name="T13" fmla="*/ 27 h 27"/>
                  <a:gd name="T14" fmla="*/ 11 w 25"/>
                  <a:gd name="T15" fmla="*/ 27 h 27"/>
                  <a:gd name="T16" fmla="*/ 10 w 25"/>
                  <a:gd name="T17" fmla="*/ 27 h 27"/>
                  <a:gd name="T18" fmla="*/ 0 w 25"/>
                  <a:gd name="T19" fmla="*/ 3 h 27"/>
                  <a:gd name="T20" fmla="*/ 12 w 25"/>
                  <a:gd name="T2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27">
                    <a:moveTo>
                      <a:pt x="12" y="0"/>
                    </a:moveTo>
                    <a:cubicBezTo>
                      <a:pt x="18" y="0"/>
                      <a:pt x="24" y="1"/>
                      <a:pt x="25" y="3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4" y="10"/>
                      <a:pt x="18" y="21"/>
                      <a:pt x="15" y="27"/>
                    </a:cubicBezTo>
                    <a:cubicBezTo>
                      <a:pt x="15" y="27"/>
                      <a:pt x="14" y="27"/>
                      <a:pt x="14" y="27"/>
                    </a:cubicBezTo>
                    <a:cubicBezTo>
                      <a:pt x="13" y="27"/>
                      <a:pt x="13" y="27"/>
                      <a:pt x="12" y="27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2" y="27"/>
                      <a:pt x="11" y="27"/>
                      <a:pt x="11" y="27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6" y="21"/>
                      <a:pt x="0" y="9"/>
                      <a:pt x="0" y="3"/>
                    </a:cubicBezTo>
                    <a:cubicBezTo>
                      <a:pt x="0" y="1"/>
                      <a:pt x="6" y="0"/>
                      <a:pt x="12" y="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443">
                <a:extLst>
                  <a:ext uri="{FF2B5EF4-FFF2-40B4-BE49-F238E27FC236}">
                    <a16:creationId xmlns:a16="http://schemas.microsoft.com/office/drawing/2014/main" id="{478B5557-FFF7-49A5-A64C-C85625664E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3" y="2368"/>
                <a:ext cx="9" cy="107"/>
              </a:xfrm>
              <a:custGeom>
                <a:avLst/>
                <a:gdLst>
                  <a:gd name="T0" fmla="*/ 0 w 18"/>
                  <a:gd name="T1" fmla="*/ 190 h 195"/>
                  <a:gd name="T2" fmla="*/ 0 w 18"/>
                  <a:gd name="T3" fmla="*/ 190 h 195"/>
                  <a:gd name="T4" fmla="*/ 0 w 18"/>
                  <a:gd name="T5" fmla="*/ 193 h 195"/>
                  <a:gd name="T6" fmla="*/ 0 w 18"/>
                  <a:gd name="T7" fmla="*/ 193 h 195"/>
                  <a:gd name="T8" fmla="*/ 18 w 18"/>
                  <a:gd name="T9" fmla="*/ 195 h 195"/>
                  <a:gd name="T10" fmla="*/ 18 w 18"/>
                  <a:gd name="T11" fmla="*/ 195 h 195"/>
                  <a:gd name="T12" fmla="*/ 18 w 18"/>
                  <a:gd name="T13" fmla="*/ 192 h 195"/>
                  <a:gd name="T14" fmla="*/ 0 w 18"/>
                  <a:gd name="T15" fmla="*/ 190 h 195"/>
                  <a:gd name="T16" fmla="*/ 13 w 18"/>
                  <a:gd name="T17" fmla="*/ 0 h 195"/>
                  <a:gd name="T18" fmla="*/ 0 w 18"/>
                  <a:gd name="T19" fmla="*/ 0 h 195"/>
                  <a:gd name="T20" fmla="*/ 0 w 18"/>
                  <a:gd name="T21" fmla="*/ 185 h 195"/>
                  <a:gd name="T22" fmla="*/ 0 w 18"/>
                  <a:gd name="T23" fmla="*/ 185 h 195"/>
                  <a:gd name="T24" fmla="*/ 18 w 18"/>
                  <a:gd name="T25" fmla="*/ 187 h 195"/>
                  <a:gd name="T26" fmla="*/ 18 w 18"/>
                  <a:gd name="T27" fmla="*/ 187 h 195"/>
                  <a:gd name="T28" fmla="*/ 18 w 18"/>
                  <a:gd name="T29" fmla="*/ 138 h 195"/>
                  <a:gd name="T30" fmla="*/ 13 w 18"/>
                  <a:gd name="T31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195">
                    <a:moveTo>
                      <a:pt x="0" y="190"/>
                    </a:move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9" y="193"/>
                      <a:pt x="18" y="195"/>
                      <a:pt x="18" y="195"/>
                    </a:cubicBezTo>
                    <a:cubicBezTo>
                      <a:pt x="18" y="195"/>
                      <a:pt x="18" y="195"/>
                      <a:pt x="18" y="195"/>
                    </a:cubicBezTo>
                    <a:cubicBezTo>
                      <a:pt x="18" y="194"/>
                      <a:pt x="18" y="193"/>
                      <a:pt x="18" y="192"/>
                    </a:cubicBezTo>
                    <a:cubicBezTo>
                      <a:pt x="16" y="191"/>
                      <a:pt x="8" y="190"/>
                      <a:pt x="0" y="190"/>
                    </a:cubicBezTo>
                    <a:moveTo>
                      <a:pt x="1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85"/>
                      <a:pt x="0" y="185"/>
                      <a:pt x="0" y="185"/>
                    </a:cubicBezTo>
                    <a:cubicBezTo>
                      <a:pt x="0" y="185"/>
                      <a:pt x="0" y="185"/>
                      <a:pt x="0" y="185"/>
                    </a:cubicBezTo>
                    <a:cubicBezTo>
                      <a:pt x="8" y="185"/>
                      <a:pt x="16" y="186"/>
                      <a:pt x="18" y="187"/>
                    </a:cubicBezTo>
                    <a:cubicBezTo>
                      <a:pt x="18" y="187"/>
                      <a:pt x="18" y="187"/>
                      <a:pt x="18" y="187"/>
                    </a:cubicBezTo>
                    <a:cubicBezTo>
                      <a:pt x="18" y="174"/>
                      <a:pt x="18" y="149"/>
                      <a:pt x="18" y="138"/>
                    </a:cubicBezTo>
                    <a:cubicBezTo>
                      <a:pt x="18" y="88"/>
                      <a:pt x="15" y="50"/>
                      <a:pt x="13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444">
                <a:extLst>
                  <a:ext uri="{FF2B5EF4-FFF2-40B4-BE49-F238E27FC236}">
                    <a16:creationId xmlns:a16="http://schemas.microsoft.com/office/drawing/2014/main" id="{17498DD3-4E74-4D0E-98A9-8B51249788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358"/>
                <a:ext cx="7" cy="10"/>
              </a:xfrm>
              <a:custGeom>
                <a:avLst/>
                <a:gdLst>
                  <a:gd name="T0" fmla="*/ 1 w 13"/>
                  <a:gd name="T1" fmla="*/ 0 h 19"/>
                  <a:gd name="T2" fmla="*/ 0 w 13"/>
                  <a:gd name="T3" fmla="*/ 0 h 19"/>
                  <a:gd name="T4" fmla="*/ 0 w 13"/>
                  <a:gd name="T5" fmla="*/ 19 h 19"/>
                  <a:gd name="T6" fmla="*/ 13 w 13"/>
                  <a:gd name="T7" fmla="*/ 19 h 19"/>
                  <a:gd name="T8" fmla="*/ 13 w 13"/>
                  <a:gd name="T9" fmla="*/ 16 h 19"/>
                  <a:gd name="T10" fmla="*/ 12 w 13"/>
                  <a:gd name="T11" fmla="*/ 16 h 19"/>
                  <a:gd name="T12" fmla="*/ 12 w 13"/>
                  <a:gd name="T13" fmla="*/ 13 h 19"/>
                  <a:gd name="T14" fmla="*/ 13 w 13"/>
                  <a:gd name="T15" fmla="*/ 13 h 19"/>
                  <a:gd name="T16" fmla="*/ 13 w 13"/>
                  <a:gd name="T17" fmla="*/ 13 h 19"/>
                  <a:gd name="T18" fmla="*/ 1 w 13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9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6"/>
                      <a:pt x="8" y="0"/>
                      <a:pt x="1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445">
                <a:extLst>
                  <a:ext uri="{FF2B5EF4-FFF2-40B4-BE49-F238E27FC236}">
                    <a16:creationId xmlns:a16="http://schemas.microsoft.com/office/drawing/2014/main" id="{64E4E2F8-6597-4EF0-BD7D-108BA247C7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9" y="2365"/>
                <a:ext cx="6" cy="2"/>
              </a:xfrm>
              <a:custGeom>
                <a:avLst/>
                <a:gdLst>
                  <a:gd name="T0" fmla="*/ 10 w 11"/>
                  <a:gd name="T1" fmla="*/ 0 h 3"/>
                  <a:gd name="T2" fmla="*/ 1 w 11"/>
                  <a:gd name="T3" fmla="*/ 0 h 3"/>
                  <a:gd name="T4" fmla="*/ 0 w 11"/>
                  <a:gd name="T5" fmla="*/ 0 h 3"/>
                  <a:gd name="T6" fmla="*/ 0 w 11"/>
                  <a:gd name="T7" fmla="*/ 3 h 3"/>
                  <a:gd name="T8" fmla="*/ 1 w 11"/>
                  <a:gd name="T9" fmla="*/ 3 h 3"/>
                  <a:gd name="T10" fmla="*/ 9 w 11"/>
                  <a:gd name="T11" fmla="*/ 3 h 3"/>
                  <a:gd name="T12" fmla="*/ 8 w 11"/>
                  <a:gd name="T13" fmla="*/ 1 h 3"/>
                  <a:gd name="T14" fmla="*/ 10 w 11"/>
                  <a:gd name="T15" fmla="*/ 0 h 3"/>
                  <a:gd name="T16" fmla="*/ 11 w 11"/>
                  <a:gd name="T17" fmla="*/ 0 h 3"/>
                  <a:gd name="T18" fmla="*/ 10 w 11"/>
                  <a:gd name="T19" fmla="*/ 0 h 3"/>
                  <a:gd name="T20" fmla="*/ 11 w 11"/>
                  <a:gd name="T21" fmla="*/ 0 h 3"/>
                  <a:gd name="T22" fmla="*/ 11 w 11"/>
                  <a:gd name="T2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3">
                    <a:moveTo>
                      <a:pt x="1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2"/>
                      <a:pt x="8" y="1"/>
                    </a:cubicBezTo>
                    <a:cubicBezTo>
                      <a:pt x="8" y="1"/>
                      <a:pt x="9" y="0"/>
                      <a:pt x="10" y="0"/>
                    </a:cubicBezTo>
                    <a:moveTo>
                      <a:pt x="1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446">
                <a:extLst>
                  <a:ext uri="{FF2B5EF4-FFF2-40B4-BE49-F238E27FC236}">
                    <a16:creationId xmlns:a16="http://schemas.microsoft.com/office/drawing/2014/main" id="{178BFD43-1F73-4C78-8572-DFDCE910C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4" y="2365"/>
                <a:ext cx="7" cy="64"/>
              </a:xfrm>
              <a:custGeom>
                <a:avLst/>
                <a:gdLst>
                  <a:gd name="T0" fmla="*/ 2 w 14"/>
                  <a:gd name="T1" fmla="*/ 0 h 117"/>
                  <a:gd name="T2" fmla="*/ 2 w 14"/>
                  <a:gd name="T3" fmla="*/ 0 h 117"/>
                  <a:gd name="T4" fmla="*/ 0 w 14"/>
                  <a:gd name="T5" fmla="*/ 1 h 117"/>
                  <a:gd name="T6" fmla="*/ 1 w 14"/>
                  <a:gd name="T7" fmla="*/ 3 h 117"/>
                  <a:gd name="T8" fmla="*/ 1 w 14"/>
                  <a:gd name="T9" fmla="*/ 3 h 117"/>
                  <a:gd name="T10" fmla="*/ 4 w 14"/>
                  <a:gd name="T11" fmla="*/ 40 h 117"/>
                  <a:gd name="T12" fmla="*/ 4 w 14"/>
                  <a:gd name="T13" fmla="*/ 61 h 117"/>
                  <a:gd name="T14" fmla="*/ 4 w 14"/>
                  <a:gd name="T15" fmla="*/ 63 h 117"/>
                  <a:gd name="T16" fmla="*/ 3 w 14"/>
                  <a:gd name="T17" fmla="*/ 86 h 117"/>
                  <a:gd name="T18" fmla="*/ 3 w 14"/>
                  <a:gd name="T19" fmla="*/ 87 h 117"/>
                  <a:gd name="T20" fmla="*/ 1 w 14"/>
                  <a:gd name="T21" fmla="*/ 110 h 117"/>
                  <a:gd name="T22" fmla="*/ 1 w 14"/>
                  <a:gd name="T23" fmla="*/ 112 h 117"/>
                  <a:gd name="T24" fmla="*/ 0 w 14"/>
                  <a:gd name="T25" fmla="*/ 117 h 117"/>
                  <a:gd name="T26" fmla="*/ 5 w 14"/>
                  <a:gd name="T27" fmla="*/ 117 h 117"/>
                  <a:gd name="T28" fmla="*/ 7 w 14"/>
                  <a:gd name="T29" fmla="*/ 117 h 117"/>
                  <a:gd name="T30" fmla="*/ 8 w 14"/>
                  <a:gd name="T31" fmla="*/ 115 h 117"/>
                  <a:gd name="T32" fmla="*/ 7 w 14"/>
                  <a:gd name="T33" fmla="*/ 113 h 117"/>
                  <a:gd name="T34" fmla="*/ 5 w 14"/>
                  <a:gd name="T35" fmla="*/ 112 h 117"/>
                  <a:gd name="T36" fmla="*/ 5 w 14"/>
                  <a:gd name="T37" fmla="*/ 112 h 117"/>
                  <a:gd name="T38" fmla="*/ 5 w 14"/>
                  <a:gd name="T39" fmla="*/ 112 h 117"/>
                  <a:gd name="T40" fmla="*/ 14 w 14"/>
                  <a:gd name="T41" fmla="*/ 39 h 117"/>
                  <a:gd name="T42" fmla="*/ 5 w 14"/>
                  <a:gd name="T43" fmla="*/ 1 h 117"/>
                  <a:gd name="T44" fmla="*/ 3 w 14"/>
                  <a:gd name="T45" fmla="*/ 0 h 117"/>
                  <a:gd name="T46" fmla="*/ 3 w 14"/>
                  <a:gd name="T47" fmla="*/ 0 h 117"/>
                  <a:gd name="T48" fmla="*/ 2 w 14"/>
                  <a:gd name="T49" fmla="*/ 0 h 117"/>
                  <a:gd name="T50" fmla="*/ 2 w 14"/>
                  <a:gd name="T51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" h="117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11"/>
                      <a:pt x="4" y="24"/>
                      <a:pt x="4" y="40"/>
                    </a:cubicBezTo>
                    <a:cubicBezTo>
                      <a:pt x="4" y="47"/>
                      <a:pt x="4" y="54"/>
                      <a:pt x="4" y="61"/>
                    </a:cubicBezTo>
                    <a:cubicBezTo>
                      <a:pt x="4" y="62"/>
                      <a:pt x="4" y="63"/>
                      <a:pt x="4" y="63"/>
                    </a:cubicBezTo>
                    <a:cubicBezTo>
                      <a:pt x="4" y="71"/>
                      <a:pt x="3" y="79"/>
                      <a:pt x="3" y="86"/>
                    </a:cubicBezTo>
                    <a:cubicBezTo>
                      <a:pt x="3" y="86"/>
                      <a:pt x="3" y="87"/>
                      <a:pt x="3" y="87"/>
                    </a:cubicBezTo>
                    <a:cubicBezTo>
                      <a:pt x="2" y="97"/>
                      <a:pt x="1" y="105"/>
                      <a:pt x="1" y="110"/>
                    </a:cubicBezTo>
                    <a:cubicBezTo>
                      <a:pt x="1" y="111"/>
                      <a:pt x="1" y="111"/>
                      <a:pt x="1" y="112"/>
                    </a:cubicBezTo>
                    <a:cubicBezTo>
                      <a:pt x="0" y="115"/>
                      <a:pt x="0" y="117"/>
                      <a:pt x="0" y="117"/>
                    </a:cubicBezTo>
                    <a:cubicBezTo>
                      <a:pt x="0" y="117"/>
                      <a:pt x="3" y="117"/>
                      <a:pt x="5" y="117"/>
                    </a:cubicBezTo>
                    <a:cubicBezTo>
                      <a:pt x="6" y="117"/>
                      <a:pt x="7" y="117"/>
                      <a:pt x="7" y="117"/>
                    </a:cubicBezTo>
                    <a:cubicBezTo>
                      <a:pt x="8" y="116"/>
                      <a:pt x="8" y="116"/>
                      <a:pt x="8" y="115"/>
                    </a:cubicBezTo>
                    <a:cubicBezTo>
                      <a:pt x="8" y="114"/>
                      <a:pt x="8" y="113"/>
                      <a:pt x="7" y="113"/>
                    </a:cubicBezTo>
                    <a:cubicBezTo>
                      <a:pt x="7" y="112"/>
                      <a:pt x="6" y="112"/>
                      <a:pt x="5" y="112"/>
                    </a:cubicBezTo>
                    <a:cubicBezTo>
                      <a:pt x="5" y="112"/>
                      <a:pt x="5" y="112"/>
                      <a:pt x="5" y="112"/>
                    </a:cubicBezTo>
                    <a:cubicBezTo>
                      <a:pt x="5" y="112"/>
                      <a:pt x="5" y="112"/>
                      <a:pt x="5" y="112"/>
                    </a:cubicBezTo>
                    <a:cubicBezTo>
                      <a:pt x="7" y="105"/>
                      <a:pt x="14" y="69"/>
                      <a:pt x="14" y="39"/>
                    </a:cubicBezTo>
                    <a:cubicBezTo>
                      <a:pt x="14" y="22"/>
                      <a:pt x="12" y="8"/>
                      <a:pt x="5" y="1"/>
                    </a:cubicBezTo>
                    <a:cubicBezTo>
                      <a:pt x="5" y="1"/>
                      <a:pt x="4" y="1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447">
                <a:extLst>
                  <a:ext uri="{FF2B5EF4-FFF2-40B4-BE49-F238E27FC236}">
                    <a16:creationId xmlns:a16="http://schemas.microsoft.com/office/drawing/2014/main" id="{DB9D77ED-B32C-4C0D-A146-982D2163D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474"/>
                <a:ext cx="9" cy="59"/>
              </a:xfrm>
              <a:custGeom>
                <a:avLst/>
                <a:gdLst>
                  <a:gd name="T0" fmla="*/ 0 w 18"/>
                  <a:gd name="T1" fmla="*/ 0 h 109"/>
                  <a:gd name="T2" fmla="*/ 0 w 18"/>
                  <a:gd name="T3" fmla="*/ 0 h 109"/>
                  <a:gd name="T4" fmla="*/ 0 w 18"/>
                  <a:gd name="T5" fmla="*/ 106 h 109"/>
                  <a:gd name="T6" fmla="*/ 13 w 18"/>
                  <a:gd name="T7" fmla="*/ 109 h 109"/>
                  <a:gd name="T8" fmla="*/ 13 w 18"/>
                  <a:gd name="T9" fmla="*/ 109 h 109"/>
                  <a:gd name="T10" fmla="*/ 13 w 18"/>
                  <a:gd name="T11" fmla="*/ 109 h 109"/>
                  <a:gd name="T12" fmla="*/ 18 w 18"/>
                  <a:gd name="T13" fmla="*/ 2 h 109"/>
                  <a:gd name="T14" fmla="*/ 0 w 18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09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6" y="106"/>
                      <a:pt x="12" y="107"/>
                      <a:pt x="13" y="109"/>
                    </a:cubicBezTo>
                    <a:cubicBezTo>
                      <a:pt x="13" y="109"/>
                      <a:pt x="13" y="109"/>
                      <a:pt x="13" y="109"/>
                    </a:cubicBezTo>
                    <a:cubicBezTo>
                      <a:pt x="13" y="109"/>
                      <a:pt x="13" y="109"/>
                      <a:pt x="13" y="109"/>
                    </a:cubicBezTo>
                    <a:cubicBezTo>
                      <a:pt x="14" y="72"/>
                      <a:pt x="16" y="46"/>
                      <a:pt x="18" y="2"/>
                    </a:cubicBezTo>
                    <a:cubicBezTo>
                      <a:pt x="18" y="2"/>
                      <a:pt x="9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448">
                <a:extLst>
                  <a:ext uri="{FF2B5EF4-FFF2-40B4-BE49-F238E27FC236}">
                    <a16:creationId xmlns:a16="http://schemas.microsoft.com/office/drawing/2014/main" id="{DFB48736-B053-4E47-8E66-2B69573E2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469"/>
                <a:ext cx="9" cy="4"/>
              </a:xfrm>
              <a:custGeom>
                <a:avLst/>
                <a:gdLst>
                  <a:gd name="T0" fmla="*/ 0 w 18"/>
                  <a:gd name="T1" fmla="*/ 0 h 7"/>
                  <a:gd name="T2" fmla="*/ 0 w 18"/>
                  <a:gd name="T3" fmla="*/ 0 h 7"/>
                  <a:gd name="T4" fmla="*/ 0 w 18"/>
                  <a:gd name="T5" fmla="*/ 5 h 7"/>
                  <a:gd name="T6" fmla="*/ 0 w 18"/>
                  <a:gd name="T7" fmla="*/ 5 h 7"/>
                  <a:gd name="T8" fmla="*/ 18 w 18"/>
                  <a:gd name="T9" fmla="*/ 7 h 7"/>
                  <a:gd name="T10" fmla="*/ 18 w 18"/>
                  <a:gd name="T11" fmla="*/ 7 h 7"/>
                  <a:gd name="T12" fmla="*/ 18 w 18"/>
                  <a:gd name="T13" fmla="*/ 2 h 7"/>
                  <a:gd name="T14" fmla="*/ 0 w 18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7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8" y="5"/>
                      <a:pt x="16" y="6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5"/>
                      <a:pt x="18" y="3"/>
                      <a:pt x="18" y="2"/>
                    </a:cubicBezTo>
                    <a:cubicBezTo>
                      <a:pt x="16" y="1"/>
                      <a:pt x="8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449">
                <a:extLst>
                  <a:ext uri="{FF2B5EF4-FFF2-40B4-BE49-F238E27FC236}">
                    <a16:creationId xmlns:a16="http://schemas.microsoft.com/office/drawing/2014/main" id="{EE67C20A-7262-451F-A13A-4FFB9B317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546"/>
                <a:ext cx="1" cy="5"/>
              </a:xfrm>
              <a:custGeom>
                <a:avLst/>
                <a:gdLst>
                  <a:gd name="T0" fmla="*/ 0 w 2"/>
                  <a:gd name="T1" fmla="*/ 0 h 8"/>
                  <a:gd name="T2" fmla="*/ 0 w 2"/>
                  <a:gd name="T3" fmla="*/ 0 h 8"/>
                  <a:gd name="T4" fmla="*/ 0 w 2"/>
                  <a:gd name="T5" fmla="*/ 8 h 8"/>
                  <a:gd name="T6" fmla="*/ 0 w 2"/>
                  <a:gd name="T7" fmla="*/ 8 h 8"/>
                  <a:gd name="T8" fmla="*/ 2 w 2"/>
                  <a:gd name="T9" fmla="*/ 6 h 8"/>
                  <a:gd name="T10" fmla="*/ 2 w 2"/>
                  <a:gd name="T11" fmla="*/ 0 h 8"/>
                  <a:gd name="T12" fmla="*/ 0 w 2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8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8"/>
                      <a:pt x="2" y="7"/>
                      <a:pt x="2" y="6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450">
                <a:extLst>
                  <a:ext uri="{FF2B5EF4-FFF2-40B4-BE49-F238E27FC236}">
                    <a16:creationId xmlns:a16="http://schemas.microsoft.com/office/drawing/2014/main" id="{19AA9A6F-C13A-4874-B973-48D06D31DD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532"/>
                <a:ext cx="7" cy="14"/>
              </a:xfrm>
              <a:custGeom>
                <a:avLst/>
                <a:gdLst>
                  <a:gd name="T0" fmla="*/ 0 w 13"/>
                  <a:gd name="T1" fmla="*/ 0 h 27"/>
                  <a:gd name="T2" fmla="*/ 0 w 13"/>
                  <a:gd name="T3" fmla="*/ 27 h 27"/>
                  <a:gd name="T4" fmla="*/ 0 w 13"/>
                  <a:gd name="T5" fmla="*/ 27 h 27"/>
                  <a:gd name="T6" fmla="*/ 2 w 13"/>
                  <a:gd name="T7" fmla="*/ 27 h 27"/>
                  <a:gd name="T8" fmla="*/ 2 w 13"/>
                  <a:gd name="T9" fmla="*/ 27 h 27"/>
                  <a:gd name="T10" fmla="*/ 2 w 13"/>
                  <a:gd name="T11" fmla="*/ 27 h 27"/>
                  <a:gd name="T12" fmla="*/ 3 w 13"/>
                  <a:gd name="T13" fmla="*/ 27 h 27"/>
                  <a:gd name="T14" fmla="*/ 13 w 13"/>
                  <a:gd name="T15" fmla="*/ 3 h 27"/>
                  <a:gd name="T16" fmla="*/ 13 w 13"/>
                  <a:gd name="T17" fmla="*/ 3 h 27"/>
                  <a:gd name="T18" fmla="*/ 0 w 13"/>
                  <a:gd name="T1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27">
                    <a:moveTo>
                      <a:pt x="0" y="0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27"/>
                      <a:pt x="1" y="27"/>
                      <a:pt x="2" y="2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7"/>
                      <a:pt x="3" y="27"/>
                      <a:pt x="3" y="27"/>
                    </a:cubicBezTo>
                    <a:cubicBezTo>
                      <a:pt x="6" y="21"/>
                      <a:pt x="12" y="10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2" y="1"/>
                      <a:pt x="6" y="0"/>
                      <a:pt x="0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451">
                <a:extLst>
                  <a:ext uri="{FF2B5EF4-FFF2-40B4-BE49-F238E27FC236}">
                    <a16:creationId xmlns:a16="http://schemas.microsoft.com/office/drawing/2014/main" id="{9E3CC415-918E-4FBB-8B4C-83A60F454C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4" y="2208"/>
                <a:ext cx="385" cy="430"/>
              </a:xfrm>
              <a:custGeom>
                <a:avLst/>
                <a:gdLst>
                  <a:gd name="T0" fmla="*/ 217 w 385"/>
                  <a:gd name="T1" fmla="*/ 0 h 430"/>
                  <a:gd name="T2" fmla="*/ 385 w 385"/>
                  <a:gd name="T3" fmla="*/ 33 h 430"/>
                  <a:gd name="T4" fmla="*/ 364 w 385"/>
                  <a:gd name="T5" fmla="*/ 172 h 430"/>
                  <a:gd name="T6" fmla="*/ 22 w 385"/>
                  <a:gd name="T7" fmla="*/ 430 h 430"/>
                  <a:gd name="T8" fmla="*/ 0 w 385"/>
                  <a:gd name="T9" fmla="*/ 387 h 430"/>
                  <a:gd name="T10" fmla="*/ 217 w 385"/>
                  <a:gd name="T11" fmla="*/ 0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5" h="430">
                    <a:moveTo>
                      <a:pt x="217" y="0"/>
                    </a:moveTo>
                    <a:lnTo>
                      <a:pt x="385" y="33"/>
                    </a:lnTo>
                    <a:lnTo>
                      <a:pt x="364" y="172"/>
                    </a:lnTo>
                    <a:lnTo>
                      <a:pt x="22" y="430"/>
                    </a:lnTo>
                    <a:lnTo>
                      <a:pt x="0" y="387"/>
                    </a:lnTo>
                    <a:lnTo>
                      <a:pt x="217" y="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452">
                <a:extLst>
                  <a:ext uri="{FF2B5EF4-FFF2-40B4-BE49-F238E27FC236}">
                    <a16:creationId xmlns:a16="http://schemas.microsoft.com/office/drawing/2014/main" id="{F0613E80-FB5E-4D05-A633-8025570994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8" y="2110"/>
                <a:ext cx="28" cy="27"/>
              </a:xfrm>
              <a:custGeom>
                <a:avLst/>
                <a:gdLst>
                  <a:gd name="T0" fmla="*/ 14 w 28"/>
                  <a:gd name="T1" fmla="*/ 0 h 27"/>
                  <a:gd name="T2" fmla="*/ 28 w 28"/>
                  <a:gd name="T3" fmla="*/ 13 h 27"/>
                  <a:gd name="T4" fmla="*/ 14 w 28"/>
                  <a:gd name="T5" fmla="*/ 27 h 27"/>
                  <a:gd name="T6" fmla="*/ 0 w 28"/>
                  <a:gd name="T7" fmla="*/ 14 h 27"/>
                  <a:gd name="T8" fmla="*/ 14 w 28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7">
                    <a:moveTo>
                      <a:pt x="14" y="0"/>
                    </a:moveTo>
                    <a:lnTo>
                      <a:pt x="28" y="13"/>
                    </a:lnTo>
                    <a:lnTo>
                      <a:pt x="14" y="27"/>
                    </a:lnTo>
                    <a:lnTo>
                      <a:pt x="0" y="14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6868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453">
                <a:extLst>
                  <a:ext uri="{FF2B5EF4-FFF2-40B4-BE49-F238E27FC236}">
                    <a16:creationId xmlns:a16="http://schemas.microsoft.com/office/drawing/2014/main" id="{8B4F3E16-AFD0-4119-90C0-591B01E65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8" y="2110"/>
                <a:ext cx="28" cy="27"/>
              </a:xfrm>
              <a:custGeom>
                <a:avLst/>
                <a:gdLst>
                  <a:gd name="T0" fmla="*/ 14 w 28"/>
                  <a:gd name="T1" fmla="*/ 0 h 27"/>
                  <a:gd name="T2" fmla="*/ 28 w 28"/>
                  <a:gd name="T3" fmla="*/ 13 h 27"/>
                  <a:gd name="T4" fmla="*/ 14 w 28"/>
                  <a:gd name="T5" fmla="*/ 27 h 27"/>
                  <a:gd name="T6" fmla="*/ 0 w 28"/>
                  <a:gd name="T7" fmla="*/ 14 h 27"/>
                  <a:gd name="T8" fmla="*/ 14 w 28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7">
                    <a:moveTo>
                      <a:pt x="14" y="0"/>
                    </a:moveTo>
                    <a:lnTo>
                      <a:pt x="28" y="13"/>
                    </a:lnTo>
                    <a:lnTo>
                      <a:pt x="14" y="27"/>
                    </a:lnTo>
                    <a:lnTo>
                      <a:pt x="0" y="14"/>
                    </a:lnTo>
                    <a:lnTo>
                      <a:pt x="1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454">
                <a:extLst>
                  <a:ext uri="{FF2B5EF4-FFF2-40B4-BE49-F238E27FC236}">
                    <a16:creationId xmlns:a16="http://schemas.microsoft.com/office/drawing/2014/main" id="{D3E7D7A5-8042-401A-BD13-13236A1BBB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04"/>
                <a:ext cx="24" cy="24"/>
              </a:xfrm>
              <a:custGeom>
                <a:avLst/>
                <a:gdLst>
                  <a:gd name="T0" fmla="*/ 6 w 24"/>
                  <a:gd name="T1" fmla="*/ 0 h 24"/>
                  <a:gd name="T2" fmla="*/ 24 w 24"/>
                  <a:gd name="T3" fmla="*/ 18 h 24"/>
                  <a:gd name="T4" fmla="*/ 18 w 24"/>
                  <a:gd name="T5" fmla="*/ 24 h 24"/>
                  <a:gd name="T6" fmla="*/ 0 w 24"/>
                  <a:gd name="T7" fmla="*/ 5 h 24"/>
                  <a:gd name="T8" fmla="*/ 6 w 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4">
                    <a:moveTo>
                      <a:pt x="6" y="0"/>
                    </a:moveTo>
                    <a:lnTo>
                      <a:pt x="24" y="18"/>
                    </a:lnTo>
                    <a:lnTo>
                      <a:pt x="18" y="24"/>
                    </a:lnTo>
                    <a:lnTo>
                      <a:pt x="0" y="5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455">
                <a:extLst>
                  <a:ext uri="{FF2B5EF4-FFF2-40B4-BE49-F238E27FC236}">
                    <a16:creationId xmlns:a16="http://schemas.microsoft.com/office/drawing/2014/main" id="{9C0C497F-D75E-4359-98A4-465AEE7A6B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04"/>
                <a:ext cx="24" cy="24"/>
              </a:xfrm>
              <a:custGeom>
                <a:avLst/>
                <a:gdLst>
                  <a:gd name="T0" fmla="*/ 6 w 24"/>
                  <a:gd name="T1" fmla="*/ 0 h 24"/>
                  <a:gd name="T2" fmla="*/ 24 w 24"/>
                  <a:gd name="T3" fmla="*/ 18 h 24"/>
                  <a:gd name="T4" fmla="*/ 18 w 24"/>
                  <a:gd name="T5" fmla="*/ 24 h 24"/>
                  <a:gd name="T6" fmla="*/ 0 w 24"/>
                  <a:gd name="T7" fmla="*/ 5 h 24"/>
                  <a:gd name="T8" fmla="*/ 6 w 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4">
                    <a:moveTo>
                      <a:pt x="6" y="0"/>
                    </a:moveTo>
                    <a:lnTo>
                      <a:pt x="24" y="18"/>
                    </a:lnTo>
                    <a:lnTo>
                      <a:pt x="18" y="24"/>
                    </a:lnTo>
                    <a:lnTo>
                      <a:pt x="0" y="5"/>
                    </a:lnTo>
                    <a:lnTo>
                      <a:pt x="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456">
                <a:extLst>
                  <a:ext uri="{FF2B5EF4-FFF2-40B4-BE49-F238E27FC236}">
                    <a16:creationId xmlns:a16="http://schemas.microsoft.com/office/drawing/2014/main" id="{FFA8D5FD-07C3-466A-97FA-4DE89C9BA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0" y="2052"/>
                <a:ext cx="74" cy="73"/>
              </a:xfrm>
              <a:custGeom>
                <a:avLst/>
                <a:gdLst>
                  <a:gd name="T0" fmla="*/ 96 w 135"/>
                  <a:gd name="T1" fmla="*/ 0 h 134"/>
                  <a:gd name="T2" fmla="*/ 135 w 135"/>
                  <a:gd name="T3" fmla="*/ 38 h 134"/>
                  <a:gd name="T4" fmla="*/ 39 w 135"/>
                  <a:gd name="T5" fmla="*/ 134 h 134"/>
                  <a:gd name="T6" fmla="*/ 0 w 135"/>
                  <a:gd name="T7" fmla="*/ 96 h 134"/>
                  <a:gd name="T8" fmla="*/ 96 w 135"/>
                  <a:gd name="T9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5" h="134">
                    <a:moveTo>
                      <a:pt x="96" y="0"/>
                    </a:moveTo>
                    <a:cubicBezTo>
                      <a:pt x="135" y="38"/>
                      <a:pt x="135" y="38"/>
                      <a:pt x="135" y="38"/>
                    </a:cubicBezTo>
                    <a:cubicBezTo>
                      <a:pt x="106" y="79"/>
                      <a:pt x="80" y="106"/>
                      <a:pt x="39" y="134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29" y="55"/>
                      <a:pt x="55" y="28"/>
                      <a:pt x="96" y="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457">
                <a:extLst>
                  <a:ext uri="{FF2B5EF4-FFF2-40B4-BE49-F238E27FC236}">
                    <a16:creationId xmlns:a16="http://schemas.microsoft.com/office/drawing/2014/main" id="{2DEDA6B9-13B8-4068-BB83-A64FD9172F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2067"/>
                <a:ext cx="44" cy="44"/>
              </a:xfrm>
              <a:custGeom>
                <a:avLst/>
                <a:gdLst>
                  <a:gd name="T0" fmla="*/ 78 w 81"/>
                  <a:gd name="T1" fmla="*/ 26 h 80"/>
                  <a:gd name="T2" fmla="*/ 27 w 81"/>
                  <a:gd name="T3" fmla="*/ 77 h 80"/>
                  <a:gd name="T4" fmla="*/ 16 w 81"/>
                  <a:gd name="T5" fmla="*/ 77 h 80"/>
                  <a:gd name="T6" fmla="*/ 3 w 81"/>
                  <a:gd name="T7" fmla="*/ 64 h 80"/>
                  <a:gd name="T8" fmla="*/ 3 w 81"/>
                  <a:gd name="T9" fmla="*/ 54 h 80"/>
                  <a:gd name="T10" fmla="*/ 54 w 81"/>
                  <a:gd name="T11" fmla="*/ 3 h 80"/>
                  <a:gd name="T12" fmla="*/ 65 w 81"/>
                  <a:gd name="T13" fmla="*/ 3 h 80"/>
                  <a:gd name="T14" fmla="*/ 78 w 81"/>
                  <a:gd name="T15" fmla="*/ 16 h 80"/>
                  <a:gd name="T16" fmla="*/ 78 w 81"/>
                  <a:gd name="T17" fmla="*/ 2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80">
                    <a:moveTo>
                      <a:pt x="78" y="26"/>
                    </a:moveTo>
                    <a:cubicBezTo>
                      <a:pt x="27" y="77"/>
                      <a:pt x="27" y="77"/>
                      <a:pt x="27" y="77"/>
                    </a:cubicBezTo>
                    <a:cubicBezTo>
                      <a:pt x="24" y="80"/>
                      <a:pt x="19" y="80"/>
                      <a:pt x="16" y="77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0" y="61"/>
                      <a:pt x="0" y="57"/>
                      <a:pt x="3" y="54"/>
                    </a:cubicBezTo>
                    <a:cubicBezTo>
                      <a:pt x="54" y="3"/>
                      <a:pt x="54" y="3"/>
                      <a:pt x="54" y="3"/>
                    </a:cubicBezTo>
                    <a:cubicBezTo>
                      <a:pt x="57" y="0"/>
                      <a:pt x="62" y="0"/>
                      <a:pt x="65" y="3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81" y="19"/>
                      <a:pt x="81" y="23"/>
                      <a:pt x="78" y="26"/>
                    </a:cubicBezTo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458">
                <a:extLst>
                  <a:ext uri="{FF2B5EF4-FFF2-40B4-BE49-F238E27FC236}">
                    <a16:creationId xmlns:a16="http://schemas.microsoft.com/office/drawing/2014/main" id="{975B9AE6-B436-4511-8B46-0245280CA9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17"/>
                <a:ext cx="5" cy="4"/>
              </a:xfrm>
              <a:custGeom>
                <a:avLst/>
                <a:gdLst>
                  <a:gd name="T0" fmla="*/ 5 w 5"/>
                  <a:gd name="T1" fmla="*/ 2 h 4"/>
                  <a:gd name="T2" fmla="*/ 2 w 5"/>
                  <a:gd name="T3" fmla="*/ 4 h 4"/>
                  <a:gd name="T4" fmla="*/ 0 w 5"/>
                  <a:gd name="T5" fmla="*/ 2 h 4"/>
                  <a:gd name="T6" fmla="*/ 2 w 5"/>
                  <a:gd name="T7" fmla="*/ 0 h 4"/>
                  <a:gd name="T8" fmla="*/ 5 w 5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4">
                    <a:moveTo>
                      <a:pt x="5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2A2A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459">
                <a:extLst>
                  <a:ext uri="{FF2B5EF4-FFF2-40B4-BE49-F238E27FC236}">
                    <a16:creationId xmlns:a16="http://schemas.microsoft.com/office/drawing/2014/main" id="{D2F387AD-0957-4D3C-8725-0DB78847E6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4 w 4"/>
                  <a:gd name="T1" fmla="*/ 2 h 4"/>
                  <a:gd name="T2" fmla="*/ 2 w 4"/>
                  <a:gd name="T3" fmla="*/ 4 h 4"/>
                  <a:gd name="T4" fmla="*/ 0 w 4"/>
                  <a:gd name="T5" fmla="*/ 2 h 4"/>
                  <a:gd name="T6" fmla="*/ 2 w 4"/>
                  <a:gd name="T7" fmla="*/ 0 h 4"/>
                  <a:gd name="T8" fmla="*/ 4 w 4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2A2A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460">
                <a:extLst>
                  <a:ext uri="{FF2B5EF4-FFF2-40B4-BE49-F238E27FC236}">
                    <a16:creationId xmlns:a16="http://schemas.microsoft.com/office/drawing/2014/main" id="{B6FD6709-28AB-4555-A625-0B49E6FF86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4 w 4"/>
                  <a:gd name="T1" fmla="*/ 2 h 4"/>
                  <a:gd name="T2" fmla="*/ 2 w 4"/>
                  <a:gd name="T3" fmla="*/ 4 h 4"/>
                  <a:gd name="T4" fmla="*/ 0 w 4"/>
                  <a:gd name="T5" fmla="*/ 2 h 4"/>
                  <a:gd name="T6" fmla="*/ 2 w 4"/>
                  <a:gd name="T7" fmla="*/ 0 h 4"/>
                  <a:gd name="T8" fmla="*/ 4 w 4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461">
                <a:extLst>
                  <a:ext uri="{FF2B5EF4-FFF2-40B4-BE49-F238E27FC236}">
                    <a16:creationId xmlns:a16="http://schemas.microsoft.com/office/drawing/2014/main" id="{D1BC37D3-EA04-4F1B-9613-BE00CAF458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2" y="2048"/>
                <a:ext cx="26" cy="25"/>
              </a:xfrm>
              <a:custGeom>
                <a:avLst/>
                <a:gdLst>
                  <a:gd name="T0" fmla="*/ 33 w 46"/>
                  <a:gd name="T1" fmla="*/ 13 h 46"/>
                  <a:gd name="T2" fmla="*/ 45 w 46"/>
                  <a:gd name="T3" fmla="*/ 32 h 46"/>
                  <a:gd name="T4" fmla="*/ 39 w 46"/>
                  <a:gd name="T5" fmla="*/ 46 h 46"/>
                  <a:gd name="T6" fmla="*/ 0 w 46"/>
                  <a:gd name="T7" fmla="*/ 8 h 46"/>
                  <a:gd name="T8" fmla="*/ 14 w 46"/>
                  <a:gd name="T9" fmla="*/ 1 h 46"/>
                  <a:gd name="T10" fmla="*/ 33 w 46"/>
                  <a:gd name="T11" fmla="*/ 1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46">
                    <a:moveTo>
                      <a:pt x="33" y="13"/>
                    </a:moveTo>
                    <a:cubicBezTo>
                      <a:pt x="39" y="20"/>
                      <a:pt x="44" y="27"/>
                      <a:pt x="45" y="32"/>
                    </a:cubicBezTo>
                    <a:cubicBezTo>
                      <a:pt x="46" y="36"/>
                      <a:pt x="39" y="46"/>
                      <a:pt x="39" y="46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10" y="0"/>
                      <a:pt x="14" y="1"/>
                    </a:cubicBezTo>
                    <a:cubicBezTo>
                      <a:pt x="19" y="2"/>
                      <a:pt x="27" y="7"/>
                      <a:pt x="33" y="13"/>
                    </a:cubicBezTo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462">
                <a:extLst>
                  <a:ext uri="{FF2B5EF4-FFF2-40B4-BE49-F238E27FC236}">
                    <a16:creationId xmlns:a16="http://schemas.microsoft.com/office/drawing/2014/main" id="{BCDDFEAA-A612-4F86-950C-01F1921BA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6" y="2087"/>
                <a:ext cx="7" cy="6"/>
              </a:xfrm>
              <a:custGeom>
                <a:avLst/>
                <a:gdLst>
                  <a:gd name="T0" fmla="*/ 5 w 7"/>
                  <a:gd name="T1" fmla="*/ 3 h 6"/>
                  <a:gd name="T2" fmla="*/ 2 w 7"/>
                  <a:gd name="T3" fmla="*/ 0 h 6"/>
                  <a:gd name="T4" fmla="*/ 0 w 7"/>
                  <a:gd name="T5" fmla="*/ 1 h 6"/>
                  <a:gd name="T6" fmla="*/ 1 w 7"/>
                  <a:gd name="T7" fmla="*/ 2 h 6"/>
                  <a:gd name="T8" fmla="*/ 2 w 7"/>
                  <a:gd name="T9" fmla="*/ 1 h 6"/>
                  <a:gd name="T10" fmla="*/ 4 w 7"/>
                  <a:gd name="T11" fmla="*/ 5 h 6"/>
                  <a:gd name="T12" fmla="*/ 4 w 7"/>
                  <a:gd name="T13" fmla="*/ 5 h 6"/>
                  <a:gd name="T14" fmla="*/ 4 w 7"/>
                  <a:gd name="T15" fmla="*/ 6 h 6"/>
                  <a:gd name="T16" fmla="*/ 7 w 7"/>
                  <a:gd name="T17" fmla="*/ 3 h 6"/>
                  <a:gd name="T18" fmla="*/ 6 w 7"/>
                  <a:gd name="T19" fmla="*/ 3 h 6"/>
                  <a:gd name="T20" fmla="*/ 5 w 7"/>
                  <a:gd name="T21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6">
                    <a:moveTo>
                      <a:pt x="5" y="3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5" y="3"/>
                    </a:lnTo>
                    <a:close/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463">
                <a:extLst>
                  <a:ext uri="{FF2B5EF4-FFF2-40B4-BE49-F238E27FC236}">
                    <a16:creationId xmlns:a16="http://schemas.microsoft.com/office/drawing/2014/main" id="{94D09D39-114B-4175-B2C8-D49670E6E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6" y="2087"/>
                <a:ext cx="7" cy="6"/>
              </a:xfrm>
              <a:custGeom>
                <a:avLst/>
                <a:gdLst>
                  <a:gd name="T0" fmla="*/ 5 w 7"/>
                  <a:gd name="T1" fmla="*/ 3 h 6"/>
                  <a:gd name="T2" fmla="*/ 2 w 7"/>
                  <a:gd name="T3" fmla="*/ 0 h 6"/>
                  <a:gd name="T4" fmla="*/ 0 w 7"/>
                  <a:gd name="T5" fmla="*/ 1 h 6"/>
                  <a:gd name="T6" fmla="*/ 1 w 7"/>
                  <a:gd name="T7" fmla="*/ 2 h 6"/>
                  <a:gd name="T8" fmla="*/ 2 w 7"/>
                  <a:gd name="T9" fmla="*/ 1 h 6"/>
                  <a:gd name="T10" fmla="*/ 4 w 7"/>
                  <a:gd name="T11" fmla="*/ 5 h 6"/>
                  <a:gd name="T12" fmla="*/ 4 w 7"/>
                  <a:gd name="T13" fmla="*/ 5 h 6"/>
                  <a:gd name="T14" fmla="*/ 4 w 7"/>
                  <a:gd name="T15" fmla="*/ 6 h 6"/>
                  <a:gd name="T16" fmla="*/ 7 w 7"/>
                  <a:gd name="T17" fmla="*/ 3 h 6"/>
                  <a:gd name="T18" fmla="*/ 6 w 7"/>
                  <a:gd name="T19" fmla="*/ 3 h 6"/>
                  <a:gd name="T20" fmla="*/ 5 w 7"/>
                  <a:gd name="T21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6">
                    <a:moveTo>
                      <a:pt x="5" y="3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5" y="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464">
                <a:extLst>
                  <a:ext uri="{FF2B5EF4-FFF2-40B4-BE49-F238E27FC236}">
                    <a16:creationId xmlns:a16="http://schemas.microsoft.com/office/drawing/2014/main" id="{E2250410-A058-4ACF-BA9F-0AB0093835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0" y="2083"/>
                <a:ext cx="6" cy="7"/>
              </a:xfrm>
              <a:custGeom>
                <a:avLst/>
                <a:gdLst>
                  <a:gd name="T0" fmla="*/ 4 w 11"/>
                  <a:gd name="T1" fmla="*/ 5 h 13"/>
                  <a:gd name="T2" fmla="*/ 3 w 11"/>
                  <a:gd name="T3" fmla="*/ 2 h 13"/>
                  <a:gd name="T4" fmla="*/ 3 w 11"/>
                  <a:gd name="T5" fmla="*/ 0 h 13"/>
                  <a:gd name="T6" fmla="*/ 0 w 11"/>
                  <a:gd name="T7" fmla="*/ 2 h 13"/>
                  <a:gd name="T8" fmla="*/ 1 w 11"/>
                  <a:gd name="T9" fmla="*/ 4 h 13"/>
                  <a:gd name="T10" fmla="*/ 2 w 11"/>
                  <a:gd name="T11" fmla="*/ 8 h 13"/>
                  <a:gd name="T12" fmla="*/ 4 w 11"/>
                  <a:gd name="T13" fmla="*/ 11 h 13"/>
                  <a:gd name="T14" fmla="*/ 9 w 11"/>
                  <a:gd name="T15" fmla="*/ 11 h 13"/>
                  <a:gd name="T16" fmla="*/ 9 w 11"/>
                  <a:gd name="T17" fmla="*/ 5 h 13"/>
                  <a:gd name="T18" fmla="*/ 4 w 11"/>
                  <a:gd name="T19" fmla="*/ 5 h 13"/>
                  <a:gd name="T20" fmla="*/ 8 w 11"/>
                  <a:gd name="T21" fmla="*/ 9 h 13"/>
                  <a:gd name="T22" fmla="*/ 6 w 11"/>
                  <a:gd name="T23" fmla="*/ 9 h 13"/>
                  <a:gd name="T24" fmla="*/ 5 w 11"/>
                  <a:gd name="T25" fmla="*/ 7 h 13"/>
                  <a:gd name="T26" fmla="*/ 7 w 11"/>
                  <a:gd name="T27" fmla="*/ 7 h 13"/>
                  <a:gd name="T28" fmla="*/ 8 w 11"/>
                  <a:gd name="T29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3">
                    <a:moveTo>
                      <a:pt x="4" y="5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3" y="9"/>
                      <a:pt x="3" y="10"/>
                      <a:pt x="4" y="11"/>
                    </a:cubicBezTo>
                    <a:cubicBezTo>
                      <a:pt x="5" y="13"/>
                      <a:pt x="8" y="13"/>
                      <a:pt x="9" y="11"/>
                    </a:cubicBezTo>
                    <a:cubicBezTo>
                      <a:pt x="11" y="9"/>
                      <a:pt x="11" y="7"/>
                      <a:pt x="9" y="5"/>
                    </a:cubicBezTo>
                    <a:cubicBezTo>
                      <a:pt x="8" y="3"/>
                      <a:pt x="6" y="3"/>
                      <a:pt x="4" y="5"/>
                    </a:cubicBezTo>
                    <a:moveTo>
                      <a:pt x="8" y="9"/>
                    </a:moveTo>
                    <a:cubicBezTo>
                      <a:pt x="7" y="9"/>
                      <a:pt x="6" y="9"/>
                      <a:pt x="6" y="9"/>
                    </a:cubicBezTo>
                    <a:cubicBezTo>
                      <a:pt x="5" y="8"/>
                      <a:pt x="5" y="7"/>
                      <a:pt x="5" y="7"/>
                    </a:cubicBezTo>
                    <a:cubicBezTo>
                      <a:pt x="6" y="6"/>
                      <a:pt x="7" y="6"/>
                      <a:pt x="7" y="7"/>
                    </a:cubicBezTo>
                    <a:cubicBezTo>
                      <a:pt x="8" y="8"/>
                      <a:pt x="8" y="8"/>
                      <a:pt x="8" y="9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465">
                <a:extLst>
                  <a:ext uri="{FF2B5EF4-FFF2-40B4-BE49-F238E27FC236}">
                    <a16:creationId xmlns:a16="http://schemas.microsoft.com/office/drawing/2014/main" id="{2071BBA6-C37F-4673-B4D4-E3F4B06EA9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3" y="2079"/>
                <a:ext cx="8" cy="7"/>
              </a:xfrm>
              <a:custGeom>
                <a:avLst/>
                <a:gdLst>
                  <a:gd name="T0" fmla="*/ 9 w 14"/>
                  <a:gd name="T1" fmla="*/ 2 h 13"/>
                  <a:gd name="T2" fmla="*/ 6 w 14"/>
                  <a:gd name="T3" fmla="*/ 5 h 13"/>
                  <a:gd name="T4" fmla="*/ 8 w 14"/>
                  <a:gd name="T5" fmla="*/ 7 h 13"/>
                  <a:gd name="T6" fmla="*/ 9 w 14"/>
                  <a:gd name="T7" fmla="*/ 6 h 13"/>
                  <a:gd name="T8" fmla="*/ 9 w 14"/>
                  <a:gd name="T9" fmla="*/ 8 h 13"/>
                  <a:gd name="T10" fmla="*/ 5 w 14"/>
                  <a:gd name="T11" fmla="*/ 7 h 13"/>
                  <a:gd name="T12" fmla="*/ 4 w 14"/>
                  <a:gd name="T13" fmla="*/ 3 h 13"/>
                  <a:gd name="T14" fmla="*/ 6 w 14"/>
                  <a:gd name="T15" fmla="*/ 3 h 13"/>
                  <a:gd name="T16" fmla="*/ 8 w 14"/>
                  <a:gd name="T17" fmla="*/ 1 h 13"/>
                  <a:gd name="T18" fmla="*/ 6 w 14"/>
                  <a:gd name="T19" fmla="*/ 0 h 13"/>
                  <a:gd name="T20" fmla="*/ 2 w 14"/>
                  <a:gd name="T21" fmla="*/ 1 h 13"/>
                  <a:gd name="T22" fmla="*/ 1 w 14"/>
                  <a:gd name="T23" fmla="*/ 6 h 13"/>
                  <a:gd name="T24" fmla="*/ 3 w 14"/>
                  <a:gd name="T25" fmla="*/ 10 h 13"/>
                  <a:gd name="T26" fmla="*/ 11 w 14"/>
                  <a:gd name="T27" fmla="*/ 10 h 13"/>
                  <a:gd name="T28" fmla="*/ 9 w 14"/>
                  <a:gd name="T29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3">
                    <a:moveTo>
                      <a:pt x="9" y="2"/>
                    </a:moveTo>
                    <a:cubicBezTo>
                      <a:pt x="6" y="5"/>
                      <a:pt x="6" y="5"/>
                      <a:pt x="6" y="5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10" y="7"/>
                      <a:pt x="10" y="8"/>
                      <a:pt x="9" y="8"/>
                    </a:cubicBezTo>
                    <a:cubicBezTo>
                      <a:pt x="8" y="9"/>
                      <a:pt x="6" y="9"/>
                      <a:pt x="5" y="7"/>
                    </a:cubicBezTo>
                    <a:cubicBezTo>
                      <a:pt x="3" y="6"/>
                      <a:pt x="3" y="4"/>
                      <a:pt x="4" y="3"/>
                    </a:cubicBezTo>
                    <a:cubicBezTo>
                      <a:pt x="5" y="3"/>
                      <a:pt x="5" y="3"/>
                      <a:pt x="6" y="3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1" y="6"/>
                    </a:cubicBezTo>
                    <a:cubicBezTo>
                      <a:pt x="1" y="7"/>
                      <a:pt x="1" y="8"/>
                      <a:pt x="3" y="10"/>
                    </a:cubicBezTo>
                    <a:cubicBezTo>
                      <a:pt x="5" y="12"/>
                      <a:pt x="9" y="13"/>
                      <a:pt x="11" y="10"/>
                    </a:cubicBezTo>
                    <a:cubicBezTo>
                      <a:pt x="14" y="8"/>
                      <a:pt x="12" y="4"/>
                      <a:pt x="9" y="2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466">
                <a:extLst>
                  <a:ext uri="{FF2B5EF4-FFF2-40B4-BE49-F238E27FC236}">
                    <a16:creationId xmlns:a16="http://schemas.microsoft.com/office/drawing/2014/main" id="{F12699FD-486B-457A-9A26-5FC12EBE18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7" y="2075"/>
                <a:ext cx="8" cy="7"/>
              </a:xfrm>
              <a:custGeom>
                <a:avLst/>
                <a:gdLst>
                  <a:gd name="T0" fmla="*/ 9 w 14"/>
                  <a:gd name="T1" fmla="*/ 4 h 14"/>
                  <a:gd name="T2" fmla="*/ 8 w 14"/>
                  <a:gd name="T3" fmla="*/ 2 h 14"/>
                  <a:gd name="T4" fmla="*/ 7 w 14"/>
                  <a:gd name="T5" fmla="*/ 1 h 14"/>
                  <a:gd name="T6" fmla="*/ 3 w 14"/>
                  <a:gd name="T7" fmla="*/ 2 h 14"/>
                  <a:gd name="T8" fmla="*/ 0 w 14"/>
                  <a:gd name="T9" fmla="*/ 5 h 14"/>
                  <a:gd name="T10" fmla="*/ 8 w 14"/>
                  <a:gd name="T11" fmla="*/ 14 h 14"/>
                  <a:gd name="T12" fmla="*/ 12 w 14"/>
                  <a:gd name="T13" fmla="*/ 10 h 14"/>
                  <a:gd name="T14" fmla="*/ 12 w 14"/>
                  <a:gd name="T15" fmla="*/ 5 h 14"/>
                  <a:gd name="T16" fmla="*/ 9 w 14"/>
                  <a:gd name="T17" fmla="*/ 4 h 14"/>
                  <a:gd name="T18" fmla="*/ 6 w 14"/>
                  <a:gd name="T19" fmla="*/ 4 h 14"/>
                  <a:gd name="T20" fmla="*/ 6 w 14"/>
                  <a:gd name="T21" fmla="*/ 5 h 14"/>
                  <a:gd name="T22" fmla="*/ 5 w 14"/>
                  <a:gd name="T23" fmla="*/ 6 h 14"/>
                  <a:gd name="T24" fmla="*/ 4 w 14"/>
                  <a:gd name="T25" fmla="*/ 5 h 14"/>
                  <a:gd name="T26" fmla="*/ 5 w 14"/>
                  <a:gd name="T27" fmla="*/ 4 h 14"/>
                  <a:gd name="T28" fmla="*/ 6 w 14"/>
                  <a:gd name="T29" fmla="*/ 4 h 14"/>
                  <a:gd name="T30" fmla="*/ 10 w 14"/>
                  <a:gd name="T31" fmla="*/ 8 h 14"/>
                  <a:gd name="T32" fmla="*/ 9 w 14"/>
                  <a:gd name="T33" fmla="*/ 9 h 14"/>
                  <a:gd name="T34" fmla="*/ 7 w 14"/>
                  <a:gd name="T35" fmla="*/ 8 h 14"/>
                  <a:gd name="T36" fmla="*/ 8 w 14"/>
                  <a:gd name="T37" fmla="*/ 7 h 14"/>
                  <a:gd name="T38" fmla="*/ 10 w 14"/>
                  <a:gd name="T39" fmla="*/ 7 h 14"/>
                  <a:gd name="T40" fmla="*/ 10 w 14"/>
                  <a:gd name="T41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" h="14">
                    <a:moveTo>
                      <a:pt x="9" y="4"/>
                    </a:moveTo>
                    <a:cubicBezTo>
                      <a:pt x="9" y="3"/>
                      <a:pt x="9" y="2"/>
                      <a:pt x="8" y="2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5" y="0"/>
                      <a:pt x="4" y="1"/>
                      <a:pt x="3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4" y="9"/>
                      <a:pt x="14" y="6"/>
                      <a:pt x="12" y="5"/>
                    </a:cubicBezTo>
                    <a:cubicBezTo>
                      <a:pt x="11" y="4"/>
                      <a:pt x="10" y="4"/>
                      <a:pt x="9" y="4"/>
                    </a:cubicBezTo>
                    <a:moveTo>
                      <a:pt x="6" y="4"/>
                    </a:moveTo>
                    <a:cubicBezTo>
                      <a:pt x="7" y="4"/>
                      <a:pt x="7" y="5"/>
                      <a:pt x="6" y="5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6" y="3"/>
                      <a:pt x="6" y="4"/>
                    </a:cubicBezTo>
                    <a:moveTo>
                      <a:pt x="10" y="8"/>
                    </a:moveTo>
                    <a:cubicBezTo>
                      <a:pt x="9" y="9"/>
                      <a:pt x="9" y="9"/>
                      <a:pt x="9" y="9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9" y="6"/>
                      <a:pt x="9" y="6"/>
                      <a:pt x="10" y="7"/>
                    </a:cubicBezTo>
                    <a:cubicBezTo>
                      <a:pt x="10" y="7"/>
                      <a:pt x="10" y="8"/>
                      <a:pt x="10" y="8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467">
                <a:extLst>
                  <a:ext uri="{FF2B5EF4-FFF2-40B4-BE49-F238E27FC236}">
                    <a16:creationId xmlns:a16="http://schemas.microsoft.com/office/drawing/2014/main" id="{F2614764-1365-4F27-AEF1-CE127655A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12" y="2124"/>
                <a:ext cx="18" cy="13"/>
              </a:xfrm>
              <a:custGeom>
                <a:avLst/>
                <a:gdLst>
                  <a:gd name="T0" fmla="*/ 12 w 18"/>
                  <a:gd name="T1" fmla="*/ 1 h 13"/>
                  <a:gd name="T2" fmla="*/ 0 w 18"/>
                  <a:gd name="T3" fmla="*/ 13 h 13"/>
                  <a:gd name="T4" fmla="*/ 12 w 18"/>
                  <a:gd name="T5" fmla="*/ 1 h 13"/>
                  <a:gd name="T6" fmla="*/ 14 w 18"/>
                  <a:gd name="T7" fmla="*/ 4 h 13"/>
                  <a:gd name="T8" fmla="*/ 12 w 18"/>
                  <a:gd name="T9" fmla="*/ 1 h 13"/>
                  <a:gd name="T10" fmla="*/ 18 w 18"/>
                  <a:gd name="T11" fmla="*/ 0 h 13"/>
                  <a:gd name="T12" fmla="*/ 14 w 18"/>
                  <a:gd name="T13" fmla="*/ 4 h 13"/>
                  <a:gd name="T14" fmla="*/ 18 w 18"/>
                  <a:gd name="T15" fmla="*/ 0 h 13"/>
                  <a:gd name="T16" fmla="*/ 18 w 1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3">
                    <a:moveTo>
                      <a:pt x="12" y="1"/>
                    </a:moveTo>
                    <a:lnTo>
                      <a:pt x="0" y="13"/>
                    </a:lnTo>
                    <a:lnTo>
                      <a:pt x="12" y="1"/>
                    </a:lnTo>
                    <a:lnTo>
                      <a:pt x="14" y="4"/>
                    </a:lnTo>
                    <a:lnTo>
                      <a:pt x="12" y="1"/>
                    </a:lnTo>
                    <a:close/>
                    <a:moveTo>
                      <a:pt x="18" y="0"/>
                    </a:move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468">
                <a:extLst>
                  <a:ext uri="{FF2B5EF4-FFF2-40B4-BE49-F238E27FC236}">
                    <a16:creationId xmlns:a16="http://schemas.microsoft.com/office/drawing/2014/main" id="{CABADD48-CF9D-4961-8A29-1CD5870E9C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12" y="2124"/>
                <a:ext cx="18" cy="13"/>
              </a:xfrm>
              <a:custGeom>
                <a:avLst/>
                <a:gdLst>
                  <a:gd name="T0" fmla="*/ 12 w 18"/>
                  <a:gd name="T1" fmla="*/ 1 h 13"/>
                  <a:gd name="T2" fmla="*/ 0 w 18"/>
                  <a:gd name="T3" fmla="*/ 13 h 13"/>
                  <a:gd name="T4" fmla="*/ 12 w 18"/>
                  <a:gd name="T5" fmla="*/ 1 h 13"/>
                  <a:gd name="T6" fmla="*/ 14 w 18"/>
                  <a:gd name="T7" fmla="*/ 4 h 13"/>
                  <a:gd name="T8" fmla="*/ 12 w 18"/>
                  <a:gd name="T9" fmla="*/ 1 h 13"/>
                  <a:gd name="T10" fmla="*/ 18 w 18"/>
                  <a:gd name="T11" fmla="*/ 0 h 13"/>
                  <a:gd name="T12" fmla="*/ 14 w 18"/>
                  <a:gd name="T13" fmla="*/ 4 h 13"/>
                  <a:gd name="T14" fmla="*/ 18 w 18"/>
                  <a:gd name="T15" fmla="*/ 0 h 13"/>
                  <a:gd name="T16" fmla="*/ 18 w 1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3">
                    <a:moveTo>
                      <a:pt x="12" y="1"/>
                    </a:moveTo>
                    <a:lnTo>
                      <a:pt x="0" y="13"/>
                    </a:lnTo>
                    <a:lnTo>
                      <a:pt x="12" y="1"/>
                    </a:lnTo>
                    <a:lnTo>
                      <a:pt x="14" y="4"/>
                    </a:lnTo>
                    <a:lnTo>
                      <a:pt x="12" y="1"/>
                    </a:lnTo>
                    <a:moveTo>
                      <a:pt x="18" y="0"/>
                    </a:move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469">
                <a:extLst>
                  <a:ext uri="{FF2B5EF4-FFF2-40B4-BE49-F238E27FC236}">
                    <a16:creationId xmlns:a16="http://schemas.microsoft.com/office/drawing/2014/main" id="{2066793D-4130-455F-9BD9-FD983A6D39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5" y="2118"/>
                <a:ext cx="19" cy="19"/>
              </a:xfrm>
              <a:custGeom>
                <a:avLst/>
                <a:gdLst>
                  <a:gd name="T0" fmla="*/ 12 w 19"/>
                  <a:gd name="T1" fmla="*/ 9 h 19"/>
                  <a:gd name="T2" fmla="*/ 10 w 19"/>
                  <a:gd name="T3" fmla="*/ 7 h 19"/>
                  <a:gd name="T4" fmla="*/ 12 w 19"/>
                  <a:gd name="T5" fmla="*/ 5 h 19"/>
                  <a:gd name="T6" fmla="*/ 14 w 19"/>
                  <a:gd name="T7" fmla="*/ 7 h 19"/>
                  <a:gd name="T8" fmla="*/ 12 w 19"/>
                  <a:gd name="T9" fmla="*/ 9 h 19"/>
                  <a:gd name="T10" fmla="*/ 12 w 19"/>
                  <a:gd name="T11" fmla="*/ 0 h 19"/>
                  <a:gd name="T12" fmla="*/ 0 w 19"/>
                  <a:gd name="T13" fmla="*/ 12 h 19"/>
                  <a:gd name="T14" fmla="*/ 7 w 19"/>
                  <a:gd name="T15" fmla="*/ 19 h 19"/>
                  <a:gd name="T16" fmla="*/ 19 w 19"/>
                  <a:gd name="T17" fmla="*/ 7 h 19"/>
                  <a:gd name="T18" fmla="*/ 12 w 19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9">
                    <a:moveTo>
                      <a:pt x="12" y="9"/>
                    </a:moveTo>
                    <a:lnTo>
                      <a:pt x="10" y="7"/>
                    </a:lnTo>
                    <a:lnTo>
                      <a:pt x="12" y="5"/>
                    </a:lnTo>
                    <a:lnTo>
                      <a:pt x="14" y="7"/>
                    </a:lnTo>
                    <a:lnTo>
                      <a:pt x="12" y="9"/>
                    </a:lnTo>
                    <a:close/>
                    <a:moveTo>
                      <a:pt x="12" y="0"/>
                    </a:moveTo>
                    <a:lnTo>
                      <a:pt x="0" y="12"/>
                    </a:lnTo>
                    <a:lnTo>
                      <a:pt x="7" y="19"/>
                    </a:lnTo>
                    <a:lnTo>
                      <a:pt x="19" y="7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5252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470">
                <a:extLst>
                  <a:ext uri="{FF2B5EF4-FFF2-40B4-BE49-F238E27FC236}">
                    <a16:creationId xmlns:a16="http://schemas.microsoft.com/office/drawing/2014/main" id="{665F8116-5153-46D7-A4A4-BA2725640A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5" y="2118"/>
                <a:ext cx="19" cy="19"/>
              </a:xfrm>
              <a:custGeom>
                <a:avLst/>
                <a:gdLst>
                  <a:gd name="T0" fmla="*/ 12 w 19"/>
                  <a:gd name="T1" fmla="*/ 9 h 19"/>
                  <a:gd name="T2" fmla="*/ 10 w 19"/>
                  <a:gd name="T3" fmla="*/ 7 h 19"/>
                  <a:gd name="T4" fmla="*/ 12 w 19"/>
                  <a:gd name="T5" fmla="*/ 5 h 19"/>
                  <a:gd name="T6" fmla="*/ 14 w 19"/>
                  <a:gd name="T7" fmla="*/ 7 h 19"/>
                  <a:gd name="T8" fmla="*/ 12 w 19"/>
                  <a:gd name="T9" fmla="*/ 9 h 19"/>
                  <a:gd name="T10" fmla="*/ 12 w 19"/>
                  <a:gd name="T11" fmla="*/ 0 h 19"/>
                  <a:gd name="T12" fmla="*/ 0 w 19"/>
                  <a:gd name="T13" fmla="*/ 12 h 19"/>
                  <a:gd name="T14" fmla="*/ 7 w 19"/>
                  <a:gd name="T15" fmla="*/ 19 h 19"/>
                  <a:gd name="T16" fmla="*/ 19 w 19"/>
                  <a:gd name="T17" fmla="*/ 7 h 19"/>
                  <a:gd name="T18" fmla="*/ 12 w 19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9">
                    <a:moveTo>
                      <a:pt x="12" y="9"/>
                    </a:moveTo>
                    <a:lnTo>
                      <a:pt x="10" y="7"/>
                    </a:lnTo>
                    <a:lnTo>
                      <a:pt x="12" y="5"/>
                    </a:lnTo>
                    <a:lnTo>
                      <a:pt x="14" y="7"/>
                    </a:lnTo>
                    <a:lnTo>
                      <a:pt x="12" y="9"/>
                    </a:lnTo>
                    <a:moveTo>
                      <a:pt x="12" y="0"/>
                    </a:moveTo>
                    <a:lnTo>
                      <a:pt x="0" y="12"/>
                    </a:lnTo>
                    <a:lnTo>
                      <a:pt x="7" y="19"/>
                    </a:lnTo>
                    <a:lnTo>
                      <a:pt x="19" y="7"/>
                    </a:lnTo>
                    <a:lnTo>
                      <a:pt x="1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471">
                <a:extLst>
                  <a:ext uri="{FF2B5EF4-FFF2-40B4-BE49-F238E27FC236}">
                    <a16:creationId xmlns:a16="http://schemas.microsoft.com/office/drawing/2014/main" id="{AA418549-5FAE-4EEA-AFCE-A6DF0F898E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7" y="2115"/>
                <a:ext cx="13" cy="13"/>
              </a:xfrm>
              <a:custGeom>
                <a:avLst/>
                <a:gdLst>
                  <a:gd name="T0" fmla="*/ 3 w 13"/>
                  <a:gd name="T1" fmla="*/ 0 h 13"/>
                  <a:gd name="T2" fmla="*/ 0 w 13"/>
                  <a:gd name="T3" fmla="*/ 3 h 13"/>
                  <a:gd name="T4" fmla="*/ 7 w 13"/>
                  <a:gd name="T5" fmla="*/ 10 h 13"/>
                  <a:gd name="T6" fmla="*/ 9 w 13"/>
                  <a:gd name="T7" fmla="*/ 13 h 13"/>
                  <a:gd name="T8" fmla="*/ 13 w 13"/>
                  <a:gd name="T9" fmla="*/ 9 h 13"/>
                  <a:gd name="T10" fmla="*/ 3 w 13"/>
                  <a:gd name="T1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3">
                    <a:moveTo>
                      <a:pt x="3" y="0"/>
                    </a:moveTo>
                    <a:lnTo>
                      <a:pt x="0" y="3"/>
                    </a:lnTo>
                    <a:lnTo>
                      <a:pt x="7" y="10"/>
                    </a:lnTo>
                    <a:lnTo>
                      <a:pt x="9" y="13"/>
                    </a:lnTo>
                    <a:lnTo>
                      <a:pt x="13" y="9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472">
                <a:extLst>
                  <a:ext uri="{FF2B5EF4-FFF2-40B4-BE49-F238E27FC236}">
                    <a16:creationId xmlns:a16="http://schemas.microsoft.com/office/drawing/2014/main" id="{1ED8E840-1F31-4A81-9F17-032BE78894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7" y="2115"/>
                <a:ext cx="13" cy="13"/>
              </a:xfrm>
              <a:custGeom>
                <a:avLst/>
                <a:gdLst>
                  <a:gd name="T0" fmla="*/ 3 w 13"/>
                  <a:gd name="T1" fmla="*/ 0 h 13"/>
                  <a:gd name="T2" fmla="*/ 0 w 13"/>
                  <a:gd name="T3" fmla="*/ 3 h 13"/>
                  <a:gd name="T4" fmla="*/ 7 w 13"/>
                  <a:gd name="T5" fmla="*/ 10 h 13"/>
                  <a:gd name="T6" fmla="*/ 9 w 13"/>
                  <a:gd name="T7" fmla="*/ 13 h 13"/>
                  <a:gd name="T8" fmla="*/ 13 w 13"/>
                  <a:gd name="T9" fmla="*/ 9 h 13"/>
                  <a:gd name="T10" fmla="*/ 3 w 13"/>
                  <a:gd name="T1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3">
                    <a:moveTo>
                      <a:pt x="3" y="0"/>
                    </a:moveTo>
                    <a:lnTo>
                      <a:pt x="0" y="3"/>
                    </a:lnTo>
                    <a:lnTo>
                      <a:pt x="7" y="10"/>
                    </a:lnTo>
                    <a:lnTo>
                      <a:pt x="9" y="13"/>
                    </a:lnTo>
                    <a:lnTo>
                      <a:pt x="13" y="9"/>
                    </a:lnTo>
                    <a:lnTo>
                      <a:pt x="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473">
                <a:extLst>
                  <a:ext uri="{FF2B5EF4-FFF2-40B4-BE49-F238E27FC236}">
                    <a16:creationId xmlns:a16="http://schemas.microsoft.com/office/drawing/2014/main" id="{A2C3C835-DF53-4908-B2DF-AC76CC1CF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2063"/>
                <a:ext cx="64" cy="62"/>
              </a:xfrm>
              <a:custGeom>
                <a:avLst/>
                <a:gdLst>
                  <a:gd name="T0" fmla="*/ 96 w 116"/>
                  <a:gd name="T1" fmla="*/ 0 h 115"/>
                  <a:gd name="T2" fmla="*/ 79 w 116"/>
                  <a:gd name="T3" fmla="*/ 17 h 115"/>
                  <a:gd name="T4" fmla="*/ 86 w 116"/>
                  <a:gd name="T5" fmla="*/ 24 h 115"/>
                  <a:gd name="T6" fmla="*/ 86 w 116"/>
                  <a:gd name="T7" fmla="*/ 34 h 115"/>
                  <a:gd name="T8" fmla="*/ 35 w 116"/>
                  <a:gd name="T9" fmla="*/ 85 h 115"/>
                  <a:gd name="T10" fmla="*/ 29 w 116"/>
                  <a:gd name="T11" fmla="*/ 88 h 115"/>
                  <a:gd name="T12" fmla="*/ 24 w 116"/>
                  <a:gd name="T13" fmla="*/ 85 h 115"/>
                  <a:gd name="T14" fmla="*/ 17 w 116"/>
                  <a:gd name="T15" fmla="*/ 79 h 115"/>
                  <a:gd name="T16" fmla="*/ 0 w 116"/>
                  <a:gd name="T17" fmla="*/ 96 h 115"/>
                  <a:gd name="T18" fmla="*/ 17 w 116"/>
                  <a:gd name="T19" fmla="*/ 113 h 115"/>
                  <a:gd name="T20" fmla="*/ 17 w 116"/>
                  <a:gd name="T21" fmla="*/ 113 h 115"/>
                  <a:gd name="T22" fmla="*/ 20 w 116"/>
                  <a:gd name="T23" fmla="*/ 115 h 115"/>
                  <a:gd name="T24" fmla="*/ 116 w 116"/>
                  <a:gd name="T25" fmla="*/ 19 h 115"/>
                  <a:gd name="T26" fmla="*/ 96 w 116"/>
                  <a:gd name="T27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6" h="115">
                    <a:moveTo>
                      <a:pt x="96" y="0"/>
                    </a:moveTo>
                    <a:cubicBezTo>
                      <a:pt x="79" y="17"/>
                      <a:pt x="79" y="17"/>
                      <a:pt x="79" y="17"/>
                    </a:cubicBezTo>
                    <a:cubicBezTo>
                      <a:pt x="86" y="24"/>
                      <a:pt x="86" y="24"/>
                      <a:pt x="86" y="24"/>
                    </a:cubicBezTo>
                    <a:cubicBezTo>
                      <a:pt x="89" y="27"/>
                      <a:pt x="89" y="31"/>
                      <a:pt x="86" y="34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3" y="87"/>
                      <a:pt x="31" y="88"/>
                      <a:pt x="29" y="88"/>
                    </a:cubicBezTo>
                    <a:cubicBezTo>
                      <a:pt x="27" y="88"/>
                      <a:pt x="25" y="87"/>
                      <a:pt x="24" y="85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17" y="113"/>
                      <a:pt x="17" y="113"/>
                      <a:pt x="17" y="113"/>
                    </a:cubicBezTo>
                    <a:cubicBezTo>
                      <a:pt x="17" y="113"/>
                      <a:pt x="17" y="113"/>
                      <a:pt x="17" y="113"/>
                    </a:cubicBezTo>
                    <a:cubicBezTo>
                      <a:pt x="20" y="115"/>
                      <a:pt x="20" y="115"/>
                      <a:pt x="20" y="115"/>
                    </a:cubicBezTo>
                    <a:cubicBezTo>
                      <a:pt x="61" y="87"/>
                      <a:pt x="87" y="60"/>
                      <a:pt x="116" y="19"/>
                    </a:cubicBezTo>
                    <a:cubicBezTo>
                      <a:pt x="96" y="0"/>
                      <a:pt x="96" y="0"/>
                      <a:pt x="96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474">
                <a:extLst>
                  <a:ext uri="{FF2B5EF4-FFF2-40B4-BE49-F238E27FC236}">
                    <a16:creationId xmlns:a16="http://schemas.microsoft.com/office/drawing/2014/main" id="{D08D8E9F-25FC-4523-94E0-91A5FE877E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30" y="2072"/>
                <a:ext cx="39" cy="39"/>
              </a:xfrm>
              <a:custGeom>
                <a:avLst/>
                <a:gdLst>
                  <a:gd name="T0" fmla="*/ 43 w 72"/>
                  <a:gd name="T1" fmla="*/ 26 h 71"/>
                  <a:gd name="T2" fmla="*/ 42 w 72"/>
                  <a:gd name="T3" fmla="*/ 27 h 71"/>
                  <a:gd name="T4" fmla="*/ 43 w 72"/>
                  <a:gd name="T5" fmla="*/ 29 h 71"/>
                  <a:gd name="T6" fmla="*/ 44 w 72"/>
                  <a:gd name="T7" fmla="*/ 29 h 71"/>
                  <a:gd name="T8" fmla="*/ 45 w 72"/>
                  <a:gd name="T9" fmla="*/ 29 h 71"/>
                  <a:gd name="T10" fmla="*/ 44 w 72"/>
                  <a:gd name="T11" fmla="*/ 27 h 71"/>
                  <a:gd name="T12" fmla="*/ 43 w 72"/>
                  <a:gd name="T13" fmla="*/ 26 h 71"/>
                  <a:gd name="T14" fmla="*/ 62 w 72"/>
                  <a:gd name="T15" fmla="*/ 0 h 71"/>
                  <a:gd name="T16" fmla="*/ 57 w 72"/>
                  <a:gd name="T17" fmla="*/ 6 h 71"/>
                  <a:gd name="T18" fmla="*/ 57 w 72"/>
                  <a:gd name="T19" fmla="*/ 6 h 71"/>
                  <a:gd name="T20" fmla="*/ 58 w 72"/>
                  <a:gd name="T21" fmla="*/ 7 h 71"/>
                  <a:gd name="T22" fmla="*/ 59 w 72"/>
                  <a:gd name="T23" fmla="*/ 9 h 71"/>
                  <a:gd name="T24" fmla="*/ 60 w 72"/>
                  <a:gd name="T25" fmla="*/ 9 h 71"/>
                  <a:gd name="T26" fmla="*/ 62 w 72"/>
                  <a:gd name="T27" fmla="*/ 10 h 71"/>
                  <a:gd name="T28" fmla="*/ 62 w 72"/>
                  <a:gd name="T29" fmla="*/ 15 h 71"/>
                  <a:gd name="T30" fmla="*/ 58 w 72"/>
                  <a:gd name="T31" fmla="*/ 19 h 71"/>
                  <a:gd name="T32" fmla="*/ 51 w 72"/>
                  <a:gd name="T33" fmla="*/ 11 h 71"/>
                  <a:gd name="T34" fmla="*/ 49 w 72"/>
                  <a:gd name="T35" fmla="*/ 13 h 71"/>
                  <a:gd name="T36" fmla="*/ 49 w 72"/>
                  <a:gd name="T37" fmla="*/ 13 h 71"/>
                  <a:gd name="T38" fmla="*/ 51 w 72"/>
                  <a:gd name="T39" fmla="*/ 14 h 71"/>
                  <a:gd name="T40" fmla="*/ 49 w 72"/>
                  <a:gd name="T41" fmla="*/ 16 h 71"/>
                  <a:gd name="T42" fmla="*/ 48 w 72"/>
                  <a:gd name="T43" fmla="*/ 16 h 71"/>
                  <a:gd name="T44" fmla="*/ 47 w 72"/>
                  <a:gd name="T45" fmla="*/ 16 h 71"/>
                  <a:gd name="T46" fmla="*/ 48 w 72"/>
                  <a:gd name="T47" fmla="*/ 20 h 71"/>
                  <a:gd name="T48" fmla="*/ 50 w 72"/>
                  <a:gd name="T49" fmla="*/ 22 h 71"/>
                  <a:gd name="T50" fmla="*/ 52 w 72"/>
                  <a:gd name="T51" fmla="*/ 21 h 71"/>
                  <a:gd name="T52" fmla="*/ 52 w 72"/>
                  <a:gd name="T53" fmla="*/ 19 h 71"/>
                  <a:gd name="T54" fmla="*/ 51 w 72"/>
                  <a:gd name="T55" fmla="*/ 20 h 71"/>
                  <a:gd name="T56" fmla="*/ 49 w 72"/>
                  <a:gd name="T57" fmla="*/ 18 h 71"/>
                  <a:gd name="T58" fmla="*/ 52 w 72"/>
                  <a:gd name="T59" fmla="*/ 15 h 71"/>
                  <a:gd name="T60" fmla="*/ 54 w 72"/>
                  <a:gd name="T61" fmla="*/ 23 h 71"/>
                  <a:gd name="T62" fmla="*/ 50 w 72"/>
                  <a:gd name="T63" fmla="*/ 25 h 71"/>
                  <a:gd name="T64" fmla="*/ 46 w 72"/>
                  <a:gd name="T65" fmla="*/ 23 h 71"/>
                  <a:gd name="T66" fmla="*/ 44 w 72"/>
                  <a:gd name="T67" fmla="*/ 19 h 71"/>
                  <a:gd name="T68" fmla="*/ 44 w 72"/>
                  <a:gd name="T69" fmla="*/ 19 h 71"/>
                  <a:gd name="T70" fmla="*/ 40 w 72"/>
                  <a:gd name="T71" fmla="*/ 22 h 71"/>
                  <a:gd name="T72" fmla="*/ 40 w 72"/>
                  <a:gd name="T73" fmla="*/ 22 h 71"/>
                  <a:gd name="T74" fmla="*/ 41 w 72"/>
                  <a:gd name="T75" fmla="*/ 25 h 71"/>
                  <a:gd name="T76" fmla="*/ 43 w 72"/>
                  <a:gd name="T77" fmla="*/ 23 h 71"/>
                  <a:gd name="T78" fmla="*/ 46 w 72"/>
                  <a:gd name="T79" fmla="*/ 25 h 71"/>
                  <a:gd name="T80" fmla="*/ 46 w 72"/>
                  <a:gd name="T81" fmla="*/ 31 h 71"/>
                  <a:gd name="T82" fmla="*/ 44 w 72"/>
                  <a:gd name="T83" fmla="*/ 32 h 71"/>
                  <a:gd name="T84" fmla="*/ 41 w 72"/>
                  <a:gd name="T85" fmla="*/ 31 h 71"/>
                  <a:gd name="T86" fmla="*/ 39 w 72"/>
                  <a:gd name="T87" fmla="*/ 28 h 71"/>
                  <a:gd name="T88" fmla="*/ 38 w 72"/>
                  <a:gd name="T89" fmla="*/ 24 h 71"/>
                  <a:gd name="T90" fmla="*/ 38 w 72"/>
                  <a:gd name="T91" fmla="*/ 24 h 71"/>
                  <a:gd name="T92" fmla="*/ 34 w 72"/>
                  <a:gd name="T93" fmla="*/ 28 h 71"/>
                  <a:gd name="T94" fmla="*/ 40 w 72"/>
                  <a:gd name="T95" fmla="*/ 34 h 71"/>
                  <a:gd name="T96" fmla="*/ 41 w 72"/>
                  <a:gd name="T97" fmla="*/ 33 h 71"/>
                  <a:gd name="T98" fmla="*/ 43 w 72"/>
                  <a:gd name="T99" fmla="*/ 34 h 71"/>
                  <a:gd name="T100" fmla="*/ 38 w 72"/>
                  <a:gd name="T101" fmla="*/ 39 h 71"/>
                  <a:gd name="T102" fmla="*/ 37 w 72"/>
                  <a:gd name="T103" fmla="*/ 37 h 71"/>
                  <a:gd name="T104" fmla="*/ 38 w 72"/>
                  <a:gd name="T105" fmla="*/ 36 h 71"/>
                  <a:gd name="T106" fmla="*/ 33 w 72"/>
                  <a:gd name="T107" fmla="*/ 30 h 71"/>
                  <a:gd name="T108" fmla="*/ 32 w 72"/>
                  <a:gd name="T109" fmla="*/ 31 h 71"/>
                  <a:gd name="T110" fmla="*/ 31 w 72"/>
                  <a:gd name="T111" fmla="*/ 31 h 71"/>
                  <a:gd name="T112" fmla="*/ 0 w 72"/>
                  <a:gd name="T113" fmla="*/ 62 h 71"/>
                  <a:gd name="T114" fmla="*/ 7 w 72"/>
                  <a:gd name="T115" fmla="*/ 68 h 71"/>
                  <a:gd name="T116" fmla="*/ 12 w 72"/>
                  <a:gd name="T117" fmla="*/ 71 h 71"/>
                  <a:gd name="T118" fmla="*/ 18 w 72"/>
                  <a:gd name="T119" fmla="*/ 68 h 71"/>
                  <a:gd name="T120" fmla="*/ 69 w 72"/>
                  <a:gd name="T121" fmla="*/ 17 h 71"/>
                  <a:gd name="T122" fmla="*/ 69 w 72"/>
                  <a:gd name="T123" fmla="*/ 7 h 71"/>
                  <a:gd name="T124" fmla="*/ 62 w 72"/>
                  <a:gd name="T12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2" h="71">
                    <a:moveTo>
                      <a:pt x="43" y="26"/>
                    </a:moveTo>
                    <a:cubicBezTo>
                      <a:pt x="43" y="26"/>
                      <a:pt x="43" y="26"/>
                      <a:pt x="42" y="27"/>
                    </a:cubicBezTo>
                    <a:cubicBezTo>
                      <a:pt x="42" y="27"/>
                      <a:pt x="42" y="28"/>
                      <a:pt x="43" y="29"/>
                    </a:cubicBezTo>
                    <a:cubicBezTo>
                      <a:pt x="43" y="29"/>
                      <a:pt x="44" y="29"/>
                      <a:pt x="44" y="29"/>
                    </a:cubicBezTo>
                    <a:cubicBezTo>
                      <a:pt x="44" y="29"/>
                      <a:pt x="44" y="29"/>
                      <a:pt x="45" y="29"/>
                    </a:cubicBezTo>
                    <a:cubicBezTo>
                      <a:pt x="45" y="28"/>
                      <a:pt x="45" y="28"/>
                      <a:pt x="44" y="27"/>
                    </a:cubicBezTo>
                    <a:cubicBezTo>
                      <a:pt x="44" y="27"/>
                      <a:pt x="43" y="26"/>
                      <a:pt x="43" y="26"/>
                    </a:cubicBezTo>
                    <a:moveTo>
                      <a:pt x="62" y="0"/>
                    </a:move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58" y="6"/>
                      <a:pt x="58" y="7"/>
                    </a:cubicBezTo>
                    <a:cubicBezTo>
                      <a:pt x="59" y="7"/>
                      <a:pt x="59" y="8"/>
                      <a:pt x="59" y="9"/>
                    </a:cubicBezTo>
                    <a:cubicBezTo>
                      <a:pt x="59" y="9"/>
                      <a:pt x="59" y="9"/>
                      <a:pt x="60" y="9"/>
                    </a:cubicBezTo>
                    <a:cubicBezTo>
                      <a:pt x="60" y="9"/>
                      <a:pt x="61" y="9"/>
                      <a:pt x="62" y="10"/>
                    </a:cubicBezTo>
                    <a:cubicBezTo>
                      <a:pt x="64" y="11"/>
                      <a:pt x="64" y="14"/>
                      <a:pt x="62" y="15"/>
                    </a:cubicBezTo>
                    <a:cubicBezTo>
                      <a:pt x="58" y="19"/>
                      <a:pt x="58" y="19"/>
                      <a:pt x="58" y="19"/>
                    </a:cubicBezTo>
                    <a:cubicBezTo>
                      <a:pt x="51" y="11"/>
                      <a:pt x="51" y="11"/>
                      <a:pt x="51" y="11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50" y="13"/>
                      <a:pt x="51" y="13"/>
                      <a:pt x="51" y="14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9" y="16"/>
                      <a:pt x="49" y="16"/>
                      <a:pt x="48" y="16"/>
                    </a:cubicBezTo>
                    <a:cubicBezTo>
                      <a:pt x="48" y="16"/>
                      <a:pt x="47" y="16"/>
                      <a:pt x="47" y="16"/>
                    </a:cubicBezTo>
                    <a:cubicBezTo>
                      <a:pt x="46" y="17"/>
                      <a:pt x="46" y="19"/>
                      <a:pt x="48" y="20"/>
                    </a:cubicBezTo>
                    <a:cubicBezTo>
                      <a:pt x="49" y="21"/>
                      <a:pt x="50" y="22"/>
                      <a:pt x="50" y="22"/>
                    </a:cubicBezTo>
                    <a:cubicBezTo>
                      <a:pt x="51" y="22"/>
                      <a:pt x="52" y="22"/>
                      <a:pt x="52" y="21"/>
                    </a:cubicBezTo>
                    <a:cubicBezTo>
                      <a:pt x="53" y="21"/>
                      <a:pt x="53" y="20"/>
                      <a:pt x="52" y="19"/>
                    </a:cubicBezTo>
                    <a:cubicBezTo>
                      <a:pt x="51" y="20"/>
                      <a:pt x="51" y="20"/>
                      <a:pt x="51" y="20"/>
                    </a:cubicBezTo>
                    <a:cubicBezTo>
                      <a:pt x="49" y="18"/>
                      <a:pt x="49" y="18"/>
                      <a:pt x="49" y="18"/>
                    </a:cubicBezTo>
                    <a:cubicBezTo>
                      <a:pt x="52" y="15"/>
                      <a:pt x="52" y="15"/>
                      <a:pt x="52" y="15"/>
                    </a:cubicBezTo>
                    <a:cubicBezTo>
                      <a:pt x="55" y="17"/>
                      <a:pt x="57" y="21"/>
                      <a:pt x="54" y="23"/>
                    </a:cubicBezTo>
                    <a:cubicBezTo>
                      <a:pt x="53" y="24"/>
                      <a:pt x="52" y="25"/>
                      <a:pt x="50" y="25"/>
                    </a:cubicBezTo>
                    <a:cubicBezTo>
                      <a:pt x="49" y="25"/>
                      <a:pt x="47" y="24"/>
                      <a:pt x="46" y="23"/>
                    </a:cubicBezTo>
                    <a:cubicBezTo>
                      <a:pt x="44" y="21"/>
                      <a:pt x="44" y="20"/>
                      <a:pt x="44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2" y="24"/>
                      <a:pt x="43" y="23"/>
                      <a:pt x="43" y="23"/>
                    </a:cubicBezTo>
                    <a:cubicBezTo>
                      <a:pt x="44" y="23"/>
                      <a:pt x="45" y="24"/>
                      <a:pt x="46" y="25"/>
                    </a:cubicBezTo>
                    <a:cubicBezTo>
                      <a:pt x="48" y="27"/>
                      <a:pt x="48" y="29"/>
                      <a:pt x="46" y="31"/>
                    </a:cubicBezTo>
                    <a:cubicBezTo>
                      <a:pt x="46" y="32"/>
                      <a:pt x="45" y="32"/>
                      <a:pt x="44" y="32"/>
                    </a:cubicBezTo>
                    <a:cubicBezTo>
                      <a:pt x="43" y="32"/>
                      <a:pt x="42" y="32"/>
                      <a:pt x="41" y="31"/>
                    </a:cubicBezTo>
                    <a:cubicBezTo>
                      <a:pt x="40" y="30"/>
                      <a:pt x="40" y="29"/>
                      <a:pt x="39" y="28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4" y="28"/>
                      <a:pt x="34" y="28"/>
                      <a:pt x="34" y="28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43" y="34"/>
                      <a:pt x="43" y="34"/>
                      <a:pt x="43" y="34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7" y="37"/>
                      <a:pt x="37" y="37"/>
                      <a:pt x="37" y="37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1" y="31"/>
                      <a:pt x="31" y="31"/>
                      <a:pt x="31" y="31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7" y="68"/>
                      <a:pt x="7" y="68"/>
                      <a:pt x="7" y="68"/>
                    </a:cubicBezTo>
                    <a:cubicBezTo>
                      <a:pt x="8" y="70"/>
                      <a:pt x="10" y="71"/>
                      <a:pt x="12" y="71"/>
                    </a:cubicBezTo>
                    <a:cubicBezTo>
                      <a:pt x="14" y="71"/>
                      <a:pt x="16" y="70"/>
                      <a:pt x="18" y="68"/>
                    </a:cubicBezTo>
                    <a:cubicBezTo>
                      <a:pt x="69" y="17"/>
                      <a:pt x="69" y="17"/>
                      <a:pt x="69" y="17"/>
                    </a:cubicBezTo>
                    <a:cubicBezTo>
                      <a:pt x="72" y="14"/>
                      <a:pt x="72" y="10"/>
                      <a:pt x="69" y="7"/>
                    </a:cubicBezTo>
                    <a:cubicBezTo>
                      <a:pt x="62" y="0"/>
                      <a:pt x="62" y="0"/>
                      <a:pt x="62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475">
                <a:extLst>
                  <a:ext uri="{FF2B5EF4-FFF2-40B4-BE49-F238E27FC236}">
                    <a16:creationId xmlns:a16="http://schemas.microsoft.com/office/drawing/2014/main" id="{31173EE4-93C5-4D06-835D-24D95BAF6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2 h 4"/>
                  <a:gd name="T4" fmla="*/ 2 w 4"/>
                  <a:gd name="T5" fmla="*/ 4 h 4"/>
                  <a:gd name="T6" fmla="*/ 4 w 4"/>
                  <a:gd name="T7" fmla="*/ 2 h 4"/>
                  <a:gd name="T8" fmla="*/ 2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2121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Freeform 476">
                <a:extLst>
                  <a:ext uri="{FF2B5EF4-FFF2-40B4-BE49-F238E27FC236}">
                    <a16:creationId xmlns:a16="http://schemas.microsoft.com/office/drawing/2014/main" id="{47CB574F-8205-4692-8F4A-4816A3761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2 h 4"/>
                  <a:gd name="T4" fmla="*/ 2 w 4"/>
                  <a:gd name="T5" fmla="*/ 4 h 4"/>
                  <a:gd name="T6" fmla="*/ 4 w 4"/>
                  <a:gd name="T7" fmla="*/ 2 h 4"/>
                  <a:gd name="T8" fmla="*/ 2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477">
                <a:extLst>
                  <a:ext uri="{FF2B5EF4-FFF2-40B4-BE49-F238E27FC236}">
                    <a16:creationId xmlns:a16="http://schemas.microsoft.com/office/drawing/2014/main" id="{AB30515E-C711-4F72-9542-AB954CF37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3" y="2055"/>
                <a:ext cx="14" cy="18"/>
              </a:xfrm>
              <a:custGeom>
                <a:avLst/>
                <a:gdLst>
                  <a:gd name="T0" fmla="*/ 14 w 26"/>
                  <a:gd name="T1" fmla="*/ 0 h 33"/>
                  <a:gd name="T2" fmla="*/ 0 w 26"/>
                  <a:gd name="T3" fmla="*/ 14 h 33"/>
                  <a:gd name="T4" fmla="*/ 20 w 26"/>
                  <a:gd name="T5" fmla="*/ 33 h 33"/>
                  <a:gd name="T6" fmla="*/ 20 w 26"/>
                  <a:gd name="T7" fmla="*/ 33 h 33"/>
                  <a:gd name="T8" fmla="*/ 26 w 26"/>
                  <a:gd name="T9" fmla="*/ 20 h 33"/>
                  <a:gd name="T10" fmla="*/ 26 w 26"/>
                  <a:gd name="T11" fmla="*/ 19 h 33"/>
                  <a:gd name="T12" fmla="*/ 14 w 26"/>
                  <a:gd name="T13" fmla="*/ 0 h 33"/>
                  <a:gd name="T14" fmla="*/ 14 w 26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3">
                    <a:moveTo>
                      <a:pt x="14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20" y="33"/>
                      <a:pt x="26" y="24"/>
                      <a:pt x="26" y="20"/>
                    </a:cubicBezTo>
                    <a:cubicBezTo>
                      <a:pt x="26" y="20"/>
                      <a:pt x="26" y="20"/>
                      <a:pt x="26" y="19"/>
                    </a:cubicBezTo>
                    <a:cubicBezTo>
                      <a:pt x="25" y="14"/>
                      <a:pt x="20" y="7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478">
                <a:extLst>
                  <a:ext uri="{FF2B5EF4-FFF2-40B4-BE49-F238E27FC236}">
                    <a16:creationId xmlns:a16="http://schemas.microsoft.com/office/drawing/2014/main" id="{FF114925-86BC-48BE-89A6-A26EAC5E91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7" y="2087"/>
                <a:ext cx="6" cy="6"/>
              </a:xfrm>
              <a:custGeom>
                <a:avLst/>
                <a:gdLst>
                  <a:gd name="T0" fmla="*/ 1 w 6"/>
                  <a:gd name="T1" fmla="*/ 0 h 6"/>
                  <a:gd name="T2" fmla="*/ 0 w 6"/>
                  <a:gd name="T3" fmla="*/ 2 h 6"/>
                  <a:gd name="T4" fmla="*/ 0 w 6"/>
                  <a:gd name="T5" fmla="*/ 2 h 6"/>
                  <a:gd name="T6" fmla="*/ 1 w 6"/>
                  <a:gd name="T7" fmla="*/ 1 h 6"/>
                  <a:gd name="T8" fmla="*/ 3 w 6"/>
                  <a:gd name="T9" fmla="*/ 5 h 6"/>
                  <a:gd name="T10" fmla="*/ 3 w 6"/>
                  <a:gd name="T11" fmla="*/ 5 h 6"/>
                  <a:gd name="T12" fmla="*/ 3 w 6"/>
                  <a:gd name="T13" fmla="*/ 6 h 6"/>
                  <a:gd name="T14" fmla="*/ 6 w 6"/>
                  <a:gd name="T15" fmla="*/ 3 h 6"/>
                  <a:gd name="T16" fmla="*/ 5 w 6"/>
                  <a:gd name="T17" fmla="*/ 3 h 6"/>
                  <a:gd name="T18" fmla="*/ 4 w 6"/>
                  <a:gd name="T19" fmla="*/ 3 h 6"/>
                  <a:gd name="T20" fmla="*/ 1 w 6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479">
                <a:extLst>
                  <a:ext uri="{FF2B5EF4-FFF2-40B4-BE49-F238E27FC236}">
                    <a16:creationId xmlns:a16="http://schemas.microsoft.com/office/drawing/2014/main" id="{3EC4FAC2-A67E-4FE4-AAFF-47960A718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7" y="2087"/>
                <a:ext cx="6" cy="6"/>
              </a:xfrm>
              <a:custGeom>
                <a:avLst/>
                <a:gdLst>
                  <a:gd name="T0" fmla="*/ 1 w 6"/>
                  <a:gd name="T1" fmla="*/ 0 h 6"/>
                  <a:gd name="T2" fmla="*/ 0 w 6"/>
                  <a:gd name="T3" fmla="*/ 2 h 6"/>
                  <a:gd name="T4" fmla="*/ 0 w 6"/>
                  <a:gd name="T5" fmla="*/ 2 h 6"/>
                  <a:gd name="T6" fmla="*/ 1 w 6"/>
                  <a:gd name="T7" fmla="*/ 1 h 6"/>
                  <a:gd name="T8" fmla="*/ 3 w 6"/>
                  <a:gd name="T9" fmla="*/ 5 h 6"/>
                  <a:gd name="T10" fmla="*/ 3 w 6"/>
                  <a:gd name="T11" fmla="*/ 5 h 6"/>
                  <a:gd name="T12" fmla="*/ 3 w 6"/>
                  <a:gd name="T13" fmla="*/ 6 h 6"/>
                  <a:gd name="T14" fmla="*/ 6 w 6"/>
                  <a:gd name="T15" fmla="*/ 3 h 6"/>
                  <a:gd name="T16" fmla="*/ 5 w 6"/>
                  <a:gd name="T17" fmla="*/ 3 h 6"/>
                  <a:gd name="T18" fmla="*/ 4 w 6"/>
                  <a:gd name="T19" fmla="*/ 3 h 6"/>
                  <a:gd name="T20" fmla="*/ 1 w 6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480">
                <a:extLst>
                  <a:ext uri="{FF2B5EF4-FFF2-40B4-BE49-F238E27FC236}">
                    <a16:creationId xmlns:a16="http://schemas.microsoft.com/office/drawing/2014/main" id="{383433D8-8C96-4051-9300-1318DD64E6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0" y="2084"/>
                <a:ext cx="6" cy="5"/>
              </a:xfrm>
              <a:custGeom>
                <a:avLst/>
                <a:gdLst>
                  <a:gd name="T0" fmla="*/ 6 w 10"/>
                  <a:gd name="T1" fmla="*/ 7 h 10"/>
                  <a:gd name="T2" fmla="*/ 5 w 10"/>
                  <a:gd name="T3" fmla="*/ 7 h 10"/>
                  <a:gd name="T4" fmla="*/ 4 w 10"/>
                  <a:gd name="T5" fmla="*/ 5 h 10"/>
                  <a:gd name="T6" fmla="*/ 5 w 10"/>
                  <a:gd name="T7" fmla="*/ 4 h 10"/>
                  <a:gd name="T8" fmla="*/ 6 w 10"/>
                  <a:gd name="T9" fmla="*/ 5 h 10"/>
                  <a:gd name="T10" fmla="*/ 7 w 10"/>
                  <a:gd name="T11" fmla="*/ 7 h 10"/>
                  <a:gd name="T12" fmla="*/ 6 w 10"/>
                  <a:gd name="T13" fmla="*/ 7 h 10"/>
                  <a:gd name="T14" fmla="*/ 2 w 10"/>
                  <a:gd name="T15" fmla="*/ 0 h 10"/>
                  <a:gd name="T16" fmla="*/ 0 w 10"/>
                  <a:gd name="T17" fmla="*/ 2 h 10"/>
                  <a:gd name="T18" fmla="*/ 0 w 10"/>
                  <a:gd name="T19" fmla="*/ 2 h 10"/>
                  <a:gd name="T20" fmla="*/ 1 w 10"/>
                  <a:gd name="T21" fmla="*/ 6 h 10"/>
                  <a:gd name="T22" fmla="*/ 3 w 10"/>
                  <a:gd name="T23" fmla="*/ 9 h 10"/>
                  <a:gd name="T24" fmla="*/ 6 w 10"/>
                  <a:gd name="T25" fmla="*/ 10 h 10"/>
                  <a:gd name="T26" fmla="*/ 8 w 10"/>
                  <a:gd name="T27" fmla="*/ 9 h 10"/>
                  <a:gd name="T28" fmla="*/ 8 w 10"/>
                  <a:gd name="T29" fmla="*/ 3 h 10"/>
                  <a:gd name="T30" fmla="*/ 5 w 10"/>
                  <a:gd name="T31" fmla="*/ 1 h 10"/>
                  <a:gd name="T32" fmla="*/ 3 w 10"/>
                  <a:gd name="T33" fmla="*/ 3 h 10"/>
                  <a:gd name="T34" fmla="*/ 2 w 10"/>
                  <a:gd name="T35" fmla="*/ 0 h 10"/>
                  <a:gd name="T36" fmla="*/ 2 w 10"/>
                  <a:gd name="T3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" h="10">
                    <a:moveTo>
                      <a:pt x="6" y="7"/>
                    </a:moveTo>
                    <a:cubicBezTo>
                      <a:pt x="6" y="7"/>
                      <a:pt x="5" y="7"/>
                      <a:pt x="5" y="7"/>
                    </a:cubicBezTo>
                    <a:cubicBezTo>
                      <a:pt x="4" y="6"/>
                      <a:pt x="4" y="5"/>
                      <a:pt x="4" y="5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6" y="5"/>
                      <a:pt x="6" y="5"/>
                    </a:cubicBezTo>
                    <a:cubicBezTo>
                      <a:pt x="7" y="6"/>
                      <a:pt x="7" y="6"/>
                      <a:pt x="7" y="7"/>
                    </a:cubicBezTo>
                    <a:cubicBezTo>
                      <a:pt x="6" y="7"/>
                      <a:pt x="6" y="7"/>
                      <a:pt x="6" y="7"/>
                    </a:cubicBezTo>
                    <a:moveTo>
                      <a:pt x="2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2" y="7"/>
                      <a:pt x="2" y="8"/>
                      <a:pt x="3" y="9"/>
                    </a:cubicBezTo>
                    <a:cubicBezTo>
                      <a:pt x="4" y="10"/>
                      <a:pt x="5" y="10"/>
                      <a:pt x="6" y="10"/>
                    </a:cubicBezTo>
                    <a:cubicBezTo>
                      <a:pt x="7" y="10"/>
                      <a:pt x="8" y="10"/>
                      <a:pt x="8" y="9"/>
                    </a:cubicBezTo>
                    <a:cubicBezTo>
                      <a:pt x="10" y="7"/>
                      <a:pt x="10" y="5"/>
                      <a:pt x="8" y="3"/>
                    </a:cubicBezTo>
                    <a:cubicBezTo>
                      <a:pt x="7" y="2"/>
                      <a:pt x="6" y="1"/>
                      <a:pt x="5" y="1"/>
                    </a:cubicBezTo>
                    <a:cubicBezTo>
                      <a:pt x="5" y="1"/>
                      <a:pt x="4" y="2"/>
                      <a:pt x="3" y="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481">
                <a:extLst>
                  <a:ext uri="{FF2B5EF4-FFF2-40B4-BE49-F238E27FC236}">
                    <a16:creationId xmlns:a16="http://schemas.microsoft.com/office/drawing/2014/main" id="{8C2A99D8-D6A7-4F92-956C-6FA00F7A3F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" y="2079"/>
                <a:ext cx="7" cy="7"/>
              </a:xfrm>
              <a:custGeom>
                <a:avLst/>
                <a:gdLst>
                  <a:gd name="T0" fmla="*/ 5 w 13"/>
                  <a:gd name="T1" fmla="*/ 0 h 12"/>
                  <a:gd name="T2" fmla="*/ 0 w 13"/>
                  <a:gd name="T3" fmla="*/ 6 h 12"/>
                  <a:gd name="T4" fmla="*/ 0 w 13"/>
                  <a:gd name="T5" fmla="*/ 6 h 12"/>
                  <a:gd name="T6" fmla="*/ 2 w 13"/>
                  <a:gd name="T7" fmla="*/ 10 h 12"/>
                  <a:gd name="T8" fmla="*/ 6 w 13"/>
                  <a:gd name="T9" fmla="*/ 12 h 12"/>
                  <a:gd name="T10" fmla="*/ 10 w 13"/>
                  <a:gd name="T11" fmla="*/ 10 h 12"/>
                  <a:gd name="T12" fmla="*/ 8 w 13"/>
                  <a:gd name="T13" fmla="*/ 2 h 12"/>
                  <a:gd name="T14" fmla="*/ 5 w 13"/>
                  <a:gd name="T15" fmla="*/ 5 h 12"/>
                  <a:gd name="T16" fmla="*/ 7 w 13"/>
                  <a:gd name="T17" fmla="*/ 7 h 12"/>
                  <a:gd name="T18" fmla="*/ 8 w 13"/>
                  <a:gd name="T19" fmla="*/ 6 h 12"/>
                  <a:gd name="T20" fmla="*/ 8 w 13"/>
                  <a:gd name="T21" fmla="*/ 8 h 12"/>
                  <a:gd name="T22" fmla="*/ 6 w 13"/>
                  <a:gd name="T23" fmla="*/ 9 h 12"/>
                  <a:gd name="T24" fmla="*/ 4 w 13"/>
                  <a:gd name="T25" fmla="*/ 7 h 12"/>
                  <a:gd name="T26" fmla="*/ 3 w 13"/>
                  <a:gd name="T27" fmla="*/ 3 h 12"/>
                  <a:gd name="T28" fmla="*/ 4 w 13"/>
                  <a:gd name="T29" fmla="*/ 3 h 12"/>
                  <a:gd name="T30" fmla="*/ 5 w 13"/>
                  <a:gd name="T31" fmla="*/ 3 h 12"/>
                  <a:gd name="T32" fmla="*/ 7 w 13"/>
                  <a:gd name="T33" fmla="*/ 1 h 12"/>
                  <a:gd name="T34" fmla="*/ 5 w 13"/>
                  <a:gd name="T35" fmla="*/ 0 h 12"/>
                  <a:gd name="T36" fmla="*/ 5 w 13"/>
                  <a:gd name="T3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12">
                    <a:moveTo>
                      <a:pt x="5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8"/>
                      <a:pt x="2" y="10"/>
                    </a:cubicBezTo>
                    <a:cubicBezTo>
                      <a:pt x="3" y="11"/>
                      <a:pt x="5" y="12"/>
                      <a:pt x="6" y="12"/>
                    </a:cubicBezTo>
                    <a:cubicBezTo>
                      <a:pt x="8" y="12"/>
                      <a:pt x="9" y="11"/>
                      <a:pt x="10" y="10"/>
                    </a:cubicBezTo>
                    <a:cubicBezTo>
                      <a:pt x="13" y="8"/>
                      <a:pt x="11" y="4"/>
                      <a:pt x="8" y="2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7"/>
                      <a:pt x="9" y="8"/>
                      <a:pt x="8" y="8"/>
                    </a:cubicBezTo>
                    <a:cubicBezTo>
                      <a:pt x="8" y="9"/>
                      <a:pt x="7" y="9"/>
                      <a:pt x="6" y="9"/>
                    </a:cubicBezTo>
                    <a:cubicBezTo>
                      <a:pt x="6" y="9"/>
                      <a:pt x="5" y="8"/>
                      <a:pt x="4" y="7"/>
                    </a:cubicBezTo>
                    <a:cubicBezTo>
                      <a:pt x="2" y="6"/>
                      <a:pt x="2" y="4"/>
                      <a:pt x="3" y="3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0"/>
                      <a:pt x="6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482">
                <a:extLst>
                  <a:ext uri="{FF2B5EF4-FFF2-40B4-BE49-F238E27FC236}">
                    <a16:creationId xmlns:a16="http://schemas.microsoft.com/office/drawing/2014/main" id="{50342975-A6CF-48F1-961C-B73C9BF50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9" y="2076"/>
                <a:ext cx="3" cy="4"/>
              </a:xfrm>
              <a:custGeom>
                <a:avLst/>
                <a:gdLst>
                  <a:gd name="T0" fmla="*/ 5 w 6"/>
                  <a:gd name="T1" fmla="*/ 4 h 6"/>
                  <a:gd name="T2" fmla="*/ 4 w 6"/>
                  <a:gd name="T3" fmla="*/ 4 h 6"/>
                  <a:gd name="T4" fmla="*/ 3 w 6"/>
                  <a:gd name="T5" fmla="*/ 5 h 6"/>
                  <a:gd name="T6" fmla="*/ 5 w 6"/>
                  <a:gd name="T7" fmla="*/ 6 h 6"/>
                  <a:gd name="T8" fmla="*/ 6 w 6"/>
                  <a:gd name="T9" fmla="*/ 5 h 6"/>
                  <a:gd name="T10" fmla="*/ 6 w 6"/>
                  <a:gd name="T11" fmla="*/ 4 h 6"/>
                  <a:gd name="T12" fmla="*/ 5 w 6"/>
                  <a:gd name="T13" fmla="*/ 4 h 6"/>
                  <a:gd name="T14" fmla="*/ 1 w 6"/>
                  <a:gd name="T15" fmla="*/ 0 h 6"/>
                  <a:gd name="T16" fmla="*/ 1 w 6"/>
                  <a:gd name="T17" fmla="*/ 1 h 6"/>
                  <a:gd name="T18" fmla="*/ 0 w 6"/>
                  <a:gd name="T19" fmla="*/ 2 h 6"/>
                  <a:gd name="T20" fmla="*/ 1 w 6"/>
                  <a:gd name="T21" fmla="*/ 3 h 6"/>
                  <a:gd name="T22" fmla="*/ 2 w 6"/>
                  <a:gd name="T23" fmla="*/ 2 h 6"/>
                  <a:gd name="T24" fmla="*/ 2 w 6"/>
                  <a:gd name="T25" fmla="*/ 1 h 6"/>
                  <a:gd name="T26" fmla="*/ 1 w 6"/>
                  <a:gd name="T2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6">
                    <a:moveTo>
                      <a:pt x="5" y="4"/>
                    </a:moveTo>
                    <a:cubicBezTo>
                      <a:pt x="5" y="4"/>
                      <a:pt x="4" y="4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4"/>
                      <a:pt x="6" y="4"/>
                    </a:cubicBezTo>
                    <a:cubicBezTo>
                      <a:pt x="5" y="4"/>
                      <a:pt x="5" y="4"/>
                      <a:pt x="5" y="4"/>
                    </a:cubicBezTo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483">
                <a:extLst>
                  <a:ext uri="{FF2B5EF4-FFF2-40B4-BE49-F238E27FC236}">
                    <a16:creationId xmlns:a16="http://schemas.microsoft.com/office/drawing/2014/main" id="{0AD79C15-9410-49EA-A0B7-001956844B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7" y="2075"/>
                <a:ext cx="8" cy="7"/>
              </a:xfrm>
              <a:custGeom>
                <a:avLst/>
                <a:gdLst>
                  <a:gd name="T0" fmla="*/ 8 w 13"/>
                  <a:gd name="T1" fmla="*/ 8 h 13"/>
                  <a:gd name="T2" fmla="*/ 6 w 13"/>
                  <a:gd name="T3" fmla="*/ 7 h 13"/>
                  <a:gd name="T4" fmla="*/ 7 w 13"/>
                  <a:gd name="T5" fmla="*/ 6 h 13"/>
                  <a:gd name="T6" fmla="*/ 8 w 13"/>
                  <a:gd name="T7" fmla="*/ 6 h 13"/>
                  <a:gd name="T8" fmla="*/ 9 w 13"/>
                  <a:gd name="T9" fmla="*/ 6 h 13"/>
                  <a:gd name="T10" fmla="*/ 9 w 13"/>
                  <a:gd name="T11" fmla="*/ 7 h 13"/>
                  <a:gd name="T12" fmla="*/ 8 w 13"/>
                  <a:gd name="T13" fmla="*/ 8 h 13"/>
                  <a:gd name="T14" fmla="*/ 4 w 13"/>
                  <a:gd name="T15" fmla="*/ 5 h 13"/>
                  <a:gd name="T16" fmla="*/ 3 w 13"/>
                  <a:gd name="T17" fmla="*/ 4 h 13"/>
                  <a:gd name="T18" fmla="*/ 4 w 13"/>
                  <a:gd name="T19" fmla="*/ 3 h 13"/>
                  <a:gd name="T20" fmla="*/ 4 w 13"/>
                  <a:gd name="T21" fmla="*/ 2 h 13"/>
                  <a:gd name="T22" fmla="*/ 5 w 13"/>
                  <a:gd name="T23" fmla="*/ 3 h 13"/>
                  <a:gd name="T24" fmla="*/ 5 w 13"/>
                  <a:gd name="T25" fmla="*/ 4 h 13"/>
                  <a:gd name="T26" fmla="*/ 4 w 13"/>
                  <a:gd name="T27" fmla="*/ 5 h 13"/>
                  <a:gd name="T28" fmla="*/ 6 w 13"/>
                  <a:gd name="T29" fmla="*/ 0 h 13"/>
                  <a:gd name="T30" fmla="*/ 0 w 13"/>
                  <a:gd name="T31" fmla="*/ 5 h 13"/>
                  <a:gd name="T32" fmla="*/ 7 w 13"/>
                  <a:gd name="T33" fmla="*/ 13 h 13"/>
                  <a:gd name="T34" fmla="*/ 11 w 13"/>
                  <a:gd name="T35" fmla="*/ 9 h 13"/>
                  <a:gd name="T36" fmla="*/ 11 w 13"/>
                  <a:gd name="T37" fmla="*/ 4 h 13"/>
                  <a:gd name="T38" fmla="*/ 9 w 13"/>
                  <a:gd name="T39" fmla="*/ 3 h 13"/>
                  <a:gd name="T40" fmla="*/ 8 w 13"/>
                  <a:gd name="T41" fmla="*/ 3 h 13"/>
                  <a:gd name="T42" fmla="*/ 7 w 13"/>
                  <a:gd name="T43" fmla="*/ 1 h 13"/>
                  <a:gd name="T44" fmla="*/ 6 w 13"/>
                  <a:gd name="T45" fmla="*/ 0 h 13"/>
                  <a:gd name="T46" fmla="*/ 6 w 13"/>
                  <a:gd name="T4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" h="13">
                    <a:moveTo>
                      <a:pt x="8" y="8"/>
                    </a:moveTo>
                    <a:cubicBezTo>
                      <a:pt x="6" y="7"/>
                      <a:pt x="6" y="7"/>
                      <a:pt x="6" y="7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9" y="6"/>
                    </a:cubicBezTo>
                    <a:cubicBezTo>
                      <a:pt x="9" y="6"/>
                      <a:pt x="9" y="7"/>
                      <a:pt x="9" y="7"/>
                    </a:cubicBezTo>
                    <a:cubicBezTo>
                      <a:pt x="8" y="8"/>
                      <a:pt x="8" y="8"/>
                      <a:pt x="8" y="8"/>
                    </a:cubicBezTo>
                    <a:moveTo>
                      <a:pt x="4" y="5"/>
                    </a:moveTo>
                    <a:cubicBezTo>
                      <a:pt x="3" y="4"/>
                      <a:pt x="3" y="4"/>
                      <a:pt x="3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2"/>
                      <a:pt x="4" y="2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6" y="3"/>
                      <a:pt x="6" y="4"/>
                      <a:pt x="5" y="4"/>
                    </a:cubicBezTo>
                    <a:cubicBezTo>
                      <a:pt x="4" y="5"/>
                      <a:pt x="4" y="5"/>
                      <a:pt x="4" y="5"/>
                    </a:cubicBezTo>
                    <a:moveTo>
                      <a:pt x="6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3" y="8"/>
                      <a:pt x="13" y="5"/>
                      <a:pt x="11" y="4"/>
                    </a:cubicBezTo>
                    <a:cubicBezTo>
                      <a:pt x="10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7" y="1"/>
                    </a:cubicBezTo>
                    <a:cubicBezTo>
                      <a:pt x="7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484">
                <a:extLst>
                  <a:ext uri="{FF2B5EF4-FFF2-40B4-BE49-F238E27FC236}">
                    <a16:creationId xmlns:a16="http://schemas.microsoft.com/office/drawing/2014/main" id="{436BE7DE-BF7D-482B-9611-959F43F05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4" y="2209"/>
                <a:ext cx="452" cy="412"/>
              </a:xfrm>
              <a:custGeom>
                <a:avLst/>
                <a:gdLst>
                  <a:gd name="T0" fmla="*/ 452 w 452"/>
                  <a:gd name="T1" fmla="*/ 159 h 412"/>
                  <a:gd name="T2" fmla="*/ 122 w 452"/>
                  <a:gd name="T3" fmla="*/ 412 h 412"/>
                  <a:gd name="T4" fmla="*/ 0 w 452"/>
                  <a:gd name="T5" fmla="*/ 253 h 412"/>
                  <a:gd name="T6" fmla="*/ 331 w 452"/>
                  <a:gd name="T7" fmla="*/ 0 h 412"/>
                  <a:gd name="T8" fmla="*/ 452 w 452"/>
                  <a:gd name="T9" fmla="*/ 159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2" h="412">
                    <a:moveTo>
                      <a:pt x="452" y="159"/>
                    </a:moveTo>
                    <a:lnTo>
                      <a:pt x="122" y="412"/>
                    </a:lnTo>
                    <a:lnTo>
                      <a:pt x="0" y="253"/>
                    </a:lnTo>
                    <a:lnTo>
                      <a:pt x="331" y="0"/>
                    </a:lnTo>
                    <a:lnTo>
                      <a:pt x="452" y="159"/>
                    </a:ln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485">
                <a:extLst>
                  <a:ext uri="{FF2B5EF4-FFF2-40B4-BE49-F238E27FC236}">
                    <a16:creationId xmlns:a16="http://schemas.microsoft.com/office/drawing/2014/main" id="{1EADEE1F-E248-4F77-8BBF-B1FD33108A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1" y="2216"/>
                <a:ext cx="401" cy="348"/>
              </a:xfrm>
              <a:custGeom>
                <a:avLst/>
                <a:gdLst>
                  <a:gd name="T0" fmla="*/ 401 w 401"/>
                  <a:gd name="T1" fmla="*/ 103 h 348"/>
                  <a:gd name="T2" fmla="*/ 79 w 401"/>
                  <a:gd name="T3" fmla="*/ 348 h 348"/>
                  <a:gd name="T4" fmla="*/ 0 w 401"/>
                  <a:gd name="T5" fmla="*/ 245 h 348"/>
                  <a:gd name="T6" fmla="*/ 322 w 401"/>
                  <a:gd name="T7" fmla="*/ 0 h 348"/>
                  <a:gd name="T8" fmla="*/ 401 w 401"/>
                  <a:gd name="T9" fmla="*/ 103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1" h="348">
                    <a:moveTo>
                      <a:pt x="401" y="103"/>
                    </a:moveTo>
                    <a:lnTo>
                      <a:pt x="79" y="348"/>
                    </a:lnTo>
                    <a:lnTo>
                      <a:pt x="0" y="245"/>
                    </a:lnTo>
                    <a:lnTo>
                      <a:pt x="322" y="0"/>
                    </a:lnTo>
                    <a:lnTo>
                      <a:pt x="401" y="103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486">
                <a:extLst>
                  <a:ext uri="{FF2B5EF4-FFF2-40B4-BE49-F238E27FC236}">
                    <a16:creationId xmlns:a16="http://schemas.microsoft.com/office/drawing/2014/main" id="{8FF5C2D7-99C0-4F20-B148-73A501517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7" y="2416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487">
                <a:extLst>
                  <a:ext uri="{FF2B5EF4-FFF2-40B4-BE49-F238E27FC236}">
                    <a16:creationId xmlns:a16="http://schemas.microsoft.com/office/drawing/2014/main" id="{2B0822BE-066C-4318-AE89-D9E7FB9BC6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6" y="2401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488">
                <a:extLst>
                  <a:ext uri="{FF2B5EF4-FFF2-40B4-BE49-F238E27FC236}">
                    <a16:creationId xmlns:a16="http://schemas.microsoft.com/office/drawing/2014/main" id="{EDE935F6-67DA-4E07-9DBF-3E9781969D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5" y="2386"/>
                <a:ext cx="20" cy="17"/>
              </a:xfrm>
              <a:custGeom>
                <a:avLst/>
                <a:gdLst>
                  <a:gd name="T0" fmla="*/ 33 w 35"/>
                  <a:gd name="T1" fmla="*/ 14 h 31"/>
                  <a:gd name="T2" fmla="*/ 12 w 35"/>
                  <a:gd name="T3" fmla="*/ 31 h 31"/>
                  <a:gd name="T4" fmla="*/ 9 w 35"/>
                  <a:gd name="T5" fmla="*/ 30 h 31"/>
                  <a:gd name="T6" fmla="*/ 1 w 35"/>
                  <a:gd name="T7" fmla="*/ 21 h 31"/>
                  <a:gd name="T8" fmla="*/ 2 w 35"/>
                  <a:gd name="T9" fmla="*/ 18 h 31"/>
                  <a:gd name="T10" fmla="*/ 24 w 35"/>
                  <a:gd name="T11" fmla="*/ 1 h 31"/>
                  <a:gd name="T12" fmla="*/ 27 w 35"/>
                  <a:gd name="T13" fmla="*/ 1 h 31"/>
                  <a:gd name="T14" fmla="*/ 34 w 35"/>
                  <a:gd name="T15" fmla="*/ 11 h 31"/>
                  <a:gd name="T16" fmla="*/ 33 w 35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1">
                    <a:moveTo>
                      <a:pt x="33" y="14"/>
                    </a:moveTo>
                    <a:cubicBezTo>
                      <a:pt x="12" y="31"/>
                      <a:pt x="12" y="31"/>
                      <a:pt x="12" y="31"/>
                    </a:cubicBezTo>
                    <a:cubicBezTo>
                      <a:pt x="11" y="31"/>
                      <a:pt x="9" y="31"/>
                      <a:pt x="9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0"/>
                      <a:pt x="27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489">
                <a:extLst>
                  <a:ext uri="{FF2B5EF4-FFF2-40B4-BE49-F238E27FC236}">
                    <a16:creationId xmlns:a16="http://schemas.microsoft.com/office/drawing/2014/main" id="{155EEAF4-F3B2-42D9-B9AA-4891C2A1A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5" y="2372"/>
                <a:ext cx="19" cy="17"/>
              </a:xfrm>
              <a:custGeom>
                <a:avLst/>
                <a:gdLst>
                  <a:gd name="T0" fmla="*/ 33 w 34"/>
                  <a:gd name="T1" fmla="*/ 14 h 32"/>
                  <a:gd name="T2" fmla="*/ 11 w 34"/>
                  <a:gd name="T3" fmla="*/ 31 h 32"/>
                  <a:gd name="T4" fmla="*/ 8 w 34"/>
                  <a:gd name="T5" fmla="*/ 30 h 32"/>
                  <a:gd name="T6" fmla="*/ 1 w 34"/>
                  <a:gd name="T7" fmla="*/ 21 h 32"/>
                  <a:gd name="T8" fmla="*/ 1 w 34"/>
                  <a:gd name="T9" fmla="*/ 18 h 32"/>
                  <a:gd name="T10" fmla="*/ 23 w 34"/>
                  <a:gd name="T11" fmla="*/ 1 h 32"/>
                  <a:gd name="T12" fmla="*/ 26 w 34"/>
                  <a:gd name="T13" fmla="*/ 2 h 32"/>
                  <a:gd name="T14" fmla="*/ 33 w 34"/>
                  <a:gd name="T15" fmla="*/ 11 h 32"/>
                  <a:gd name="T16" fmla="*/ 33 w 34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2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2"/>
                      <a:pt x="9" y="31"/>
                      <a:pt x="8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490">
                <a:extLst>
                  <a:ext uri="{FF2B5EF4-FFF2-40B4-BE49-F238E27FC236}">
                    <a16:creationId xmlns:a16="http://schemas.microsoft.com/office/drawing/2014/main" id="{0E5549F8-F970-4F47-AAF6-632987E02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4" y="2357"/>
                <a:ext cx="19" cy="17"/>
              </a:xfrm>
              <a:custGeom>
                <a:avLst/>
                <a:gdLst>
                  <a:gd name="T0" fmla="*/ 33 w 34"/>
                  <a:gd name="T1" fmla="*/ 13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4 w 34"/>
                  <a:gd name="T15" fmla="*/ 10 h 31"/>
                  <a:gd name="T16" fmla="*/ 33 w 34"/>
                  <a:gd name="T17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3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34" y="11"/>
                      <a:pt x="34" y="13"/>
                      <a:pt x="33" y="13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491">
                <a:extLst>
                  <a:ext uri="{FF2B5EF4-FFF2-40B4-BE49-F238E27FC236}">
                    <a16:creationId xmlns:a16="http://schemas.microsoft.com/office/drawing/2014/main" id="{0E1A9E02-6759-4F2D-A8D1-057EFE21D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4" y="2343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492">
                <a:extLst>
                  <a:ext uri="{FF2B5EF4-FFF2-40B4-BE49-F238E27FC236}">
                    <a16:creationId xmlns:a16="http://schemas.microsoft.com/office/drawing/2014/main" id="{BDA19D22-8617-4E29-89EC-0AC1F185FD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232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4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493">
                <a:extLst>
                  <a:ext uri="{FF2B5EF4-FFF2-40B4-BE49-F238E27FC236}">
                    <a16:creationId xmlns:a16="http://schemas.microsoft.com/office/drawing/2014/main" id="{9BC25345-D233-4999-A289-D8C5D2C41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2313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494">
                <a:extLst>
                  <a:ext uri="{FF2B5EF4-FFF2-40B4-BE49-F238E27FC236}">
                    <a16:creationId xmlns:a16="http://schemas.microsoft.com/office/drawing/2014/main" id="{61175883-ECDA-48C9-B066-2C8AE3CCF2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2" y="229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1 h 31"/>
                  <a:gd name="T8" fmla="*/ 1 w 34"/>
                  <a:gd name="T9" fmla="*/ 18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495">
                <a:extLst>
                  <a:ext uri="{FF2B5EF4-FFF2-40B4-BE49-F238E27FC236}">
                    <a16:creationId xmlns:a16="http://schemas.microsoft.com/office/drawing/2014/main" id="{C6AB355F-B11F-4464-B555-B26BF17B61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1" y="2284"/>
                <a:ext cx="19" cy="17"/>
              </a:xfrm>
              <a:custGeom>
                <a:avLst/>
                <a:gdLst>
                  <a:gd name="T0" fmla="*/ 33 w 35"/>
                  <a:gd name="T1" fmla="*/ 14 h 32"/>
                  <a:gd name="T2" fmla="*/ 12 w 35"/>
                  <a:gd name="T3" fmla="*/ 31 h 32"/>
                  <a:gd name="T4" fmla="*/ 9 w 35"/>
                  <a:gd name="T5" fmla="*/ 31 h 32"/>
                  <a:gd name="T6" fmla="*/ 1 w 35"/>
                  <a:gd name="T7" fmla="*/ 21 h 32"/>
                  <a:gd name="T8" fmla="*/ 2 w 35"/>
                  <a:gd name="T9" fmla="*/ 18 h 32"/>
                  <a:gd name="T10" fmla="*/ 23 w 35"/>
                  <a:gd name="T11" fmla="*/ 1 h 32"/>
                  <a:gd name="T12" fmla="*/ 26 w 35"/>
                  <a:gd name="T13" fmla="*/ 2 h 32"/>
                  <a:gd name="T14" fmla="*/ 34 w 35"/>
                  <a:gd name="T15" fmla="*/ 11 h 32"/>
                  <a:gd name="T16" fmla="*/ 33 w 35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2">
                    <a:moveTo>
                      <a:pt x="33" y="14"/>
                    </a:moveTo>
                    <a:cubicBezTo>
                      <a:pt x="12" y="31"/>
                      <a:pt x="12" y="31"/>
                      <a:pt x="12" y="31"/>
                    </a:cubicBezTo>
                    <a:cubicBezTo>
                      <a:pt x="11" y="32"/>
                      <a:pt x="9" y="31"/>
                      <a:pt x="9" y="31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9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496">
                <a:extLst>
                  <a:ext uri="{FF2B5EF4-FFF2-40B4-BE49-F238E27FC236}">
                    <a16:creationId xmlns:a16="http://schemas.microsoft.com/office/drawing/2014/main" id="{9FD5B91F-8A30-4D75-BDCF-4DACA62B3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1" y="2270"/>
                <a:ext cx="18" cy="16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497">
                <a:extLst>
                  <a:ext uri="{FF2B5EF4-FFF2-40B4-BE49-F238E27FC236}">
                    <a16:creationId xmlns:a16="http://schemas.microsoft.com/office/drawing/2014/main" id="{5A292DBB-296B-4ECF-A134-A8E328B6B3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7" y="2407"/>
                <a:ext cx="130" cy="102"/>
              </a:xfrm>
              <a:custGeom>
                <a:avLst/>
                <a:gdLst>
                  <a:gd name="T0" fmla="*/ 237 w 239"/>
                  <a:gd name="T1" fmla="*/ 18 h 187"/>
                  <a:gd name="T2" fmla="*/ 14 w 239"/>
                  <a:gd name="T3" fmla="*/ 187 h 187"/>
                  <a:gd name="T4" fmla="*/ 11 w 239"/>
                  <a:gd name="T5" fmla="*/ 186 h 187"/>
                  <a:gd name="T6" fmla="*/ 1 w 239"/>
                  <a:gd name="T7" fmla="*/ 172 h 187"/>
                  <a:gd name="T8" fmla="*/ 1 w 239"/>
                  <a:gd name="T9" fmla="*/ 169 h 187"/>
                  <a:gd name="T10" fmla="*/ 224 w 239"/>
                  <a:gd name="T11" fmla="*/ 1 h 187"/>
                  <a:gd name="T12" fmla="*/ 227 w 239"/>
                  <a:gd name="T13" fmla="*/ 1 h 187"/>
                  <a:gd name="T14" fmla="*/ 238 w 239"/>
                  <a:gd name="T15" fmla="*/ 15 h 187"/>
                  <a:gd name="T16" fmla="*/ 237 w 239"/>
                  <a:gd name="T17" fmla="*/ 18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9" h="187">
                    <a:moveTo>
                      <a:pt x="237" y="18"/>
                    </a:moveTo>
                    <a:cubicBezTo>
                      <a:pt x="14" y="187"/>
                      <a:pt x="14" y="187"/>
                      <a:pt x="14" y="187"/>
                    </a:cubicBezTo>
                    <a:cubicBezTo>
                      <a:pt x="13" y="187"/>
                      <a:pt x="12" y="187"/>
                      <a:pt x="11" y="186"/>
                    </a:cubicBezTo>
                    <a:cubicBezTo>
                      <a:pt x="1" y="172"/>
                      <a:pt x="1" y="172"/>
                      <a:pt x="1" y="172"/>
                    </a:cubicBezTo>
                    <a:cubicBezTo>
                      <a:pt x="0" y="172"/>
                      <a:pt x="0" y="170"/>
                      <a:pt x="1" y="169"/>
                    </a:cubicBezTo>
                    <a:cubicBezTo>
                      <a:pt x="224" y="1"/>
                      <a:pt x="224" y="1"/>
                      <a:pt x="224" y="1"/>
                    </a:cubicBezTo>
                    <a:cubicBezTo>
                      <a:pt x="225" y="0"/>
                      <a:pt x="227" y="0"/>
                      <a:pt x="227" y="1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9" y="16"/>
                      <a:pt x="238" y="17"/>
                      <a:pt x="237" y="18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498">
                <a:extLst>
                  <a:ext uri="{FF2B5EF4-FFF2-40B4-BE49-F238E27FC236}">
                    <a16:creationId xmlns:a16="http://schemas.microsoft.com/office/drawing/2014/main" id="{1E3D1821-8A29-4535-BD29-514176A27E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9" y="245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499">
                <a:extLst>
                  <a:ext uri="{FF2B5EF4-FFF2-40B4-BE49-F238E27FC236}">
                    <a16:creationId xmlns:a16="http://schemas.microsoft.com/office/drawing/2014/main" id="{CB282EC0-17B8-470E-91A5-09209140FA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8" y="244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500">
                <a:extLst>
                  <a:ext uri="{FF2B5EF4-FFF2-40B4-BE49-F238E27FC236}">
                    <a16:creationId xmlns:a16="http://schemas.microsoft.com/office/drawing/2014/main" id="{5BB13A33-D987-4164-A63B-29BA31DE9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8" y="242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501">
                <a:extLst>
                  <a:ext uri="{FF2B5EF4-FFF2-40B4-BE49-F238E27FC236}">
                    <a16:creationId xmlns:a16="http://schemas.microsoft.com/office/drawing/2014/main" id="{981703FC-41DE-4399-BBCA-3670431F6F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7" y="241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502">
                <a:extLst>
                  <a:ext uri="{FF2B5EF4-FFF2-40B4-BE49-F238E27FC236}">
                    <a16:creationId xmlns:a16="http://schemas.microsoft.com/office/drawing/2014/main" id="{A2FF5D8C-B542-4609-9A7E-70728CC82D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7" y="2396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503">
                <a:extLst>
                  <a:ext uri="{FF2B5EF4-FFF2-40B4-BE49-F238E27FC236}">
                    <a16:creationId xmlns:a16="http://schemas.microsoft.com/office/drawing/2014/main" id="{58600792-0054-4E5C-A9A6-2722C224C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6" y="2381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504">
                <a:extLst>
                  <a:ext uri="{FF2B5EF4-FFF2-40B4-BE49-F238E27FC236}">
                    <a16:creationId xmlns:a16="http://schemas.microsoft.com/office/drawing/2014/main" id="{D30A34DC-1E2A-4AF8-91A4-4AFA246AD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5" y="2366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505">
                <a:extLst>
                  <a:ext uri="{FF2B5EF4-FFF2-40B4-BE49-F238E27FC236}">
                    <a16:creationId xmlns:a16="http://schemas.microsoft.com/office/drawing/2014/main" id="{B0CA9F79-537B-4ACB-A3DA-4D02B28C1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235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506">
                <a:extLst>
                  <a:ext uri="{FF2B5EF4-FFF2-40B4-BE49-F238E27FC236}">
                    <a16:creationId xmlns:a16="http://schemas.microsoft.com/office/drawing/2014/main" id="{63270E50-EC83-4105-9B6F-C16C66324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4" y="233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507">
                <a:extLst>
                  <a:ext uri="{FF2B5EF4-FFF2-40B4-BE49-F238E27FC236}">
                    <a16:creationId xmlns:a16="http://schemas.microsoft.com/office/drawing/2014/main" id="{F819293F-35DA-4F52-9C37-E83D03F6F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4" y="2323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508">
                <a:extLst>
                  <a:ext uri="{FF2B5EF4-FFF2-40B4-BE49-F238E27FC236}">
                    <a16:creationId xmlns:a16="http://schemas.microsoft.com/office/drawing/2014/main" id="{6C6267B3-D53A-4054-BBBE-C992E830E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0" y="2279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509">
                <a:extLst>
                  <a:ext uri="{FF2B5EF4-FFF2-40B4-BE49-F238E27FC236}">
                    <a16:creationId xmlns:a16="http://schemas.microsoft.com/office/drawing/2014/main" id="{B035BFA6-3278-40F6-A55C-3F51C147F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0" y="2265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510">
                <a:extLst>
                  <a:ext uri="{FF2B5EF4-FFF2-40B4-BE49-F238E27FC236}">
                    <a16:creationId xmlns:a16="http://schemas.microsoft.com/office/drawing/2014/main" id="{010D9C33-F8FF-4801-BAC9-9CF602BAC1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9" y="225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511">
                <a:extLst>
                  <a:ext uri="{FF2B5EF4-FFF2-40B4-BE49-F238E27FC236}">
                    <a16:creationId xmlns:a16="http://schemas.microsoft.com/office/drawing/2014/main" id="{59B7C4A9-D2A8-4EF6-ABB3-C622EF890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230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512">
                <a:extLst>
                  <a:ext uri="{FF2B5EF4-FFF2-40B4-BE49-F238E27FC236}">
                    <a16:creationId xmlns:a16="http://schemas.microsoft.com/office/drawing/2014/main" id="{75A5B207-F356-4E05-8955-D6977037DF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5" y="228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513">
                <a:extLst>
                  <a:ext uri="{FF2B5EF4-FFF2-40B4-BE49-F238E27FC236}">
                    <a16:creationId xmlns:a16="http://schemas.microsoft.com/office/drawing/2014/main" id="{74CD231D-CA52-415A-ADBA-C283072ED2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4" y="2270"/>
                <a:ext cx="25" cy="24"/>
              </a:xfrm>
              <a:custGeom>
                <a:avLst/>
                <a:gdLst>
                  <a:gd name="T0" fmla="*/ 43 w 45"/>
                  <a:gd name="T1" fmla="*/ 27 h 44"/>
                  <a:gd name="T2" fmla="*/ 22 w 45"/>
                  <a:gd name="T3" fmla="*/ 44 h 44"/>
                  <a:gd name="T4" fmla="*/ 19 w 45"/>
                  <a:gd name="T5" fmla="*/ 43 h 44"/>
                  <a:gd name="T6" fmla="*/ 1 w 45"/>
                  <a:gd name="T7" fmla="*/ 20 h 44"/>
                  <a:gd name="T8" fmla="*/ 2 w 45"/>
                  <a:gd name="T9" fmla="*/ 17 h 44"/>
                  <a:gd name="T10" fmla="*/ 24 w 45"/>
                  <a:gd name="T11" fmla="*/ 1 h 44"/>
                  <a:gd name="T12" fmla="*/ 27 w 45"/>
                  <a:gd name="T13" fmla="*/ 1 h 44"/>
                  <a:gd name="T14" fmla="*/ 44 w 45"/>
                  <a:gd name="T15" fmla="*/ 24 h 44"/>
                  <a:gd name="T16" fmla="*/ 43 w 45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4">
                    <a:moveTo>
                      <a:pt x="43" y="27"/>
                    </a:moveTo>
                    <a:cubicBezTo>
                      <a:pt x="22" y="44"/>
                      <a:pt x="22" y="44"/>
                      <a:pt x="22" y="44"/>
                    </a:cubicBezTo>
                    <a:cubicBezTo>
                      <a:pt x="21" y="44"/>
                      <a:pt x="19" y="44"/>
                      <a:pt x="19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1" y="18"/>
                      <a:pt x="2" y="17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514">
                <a:extLst>
                  <a:ext uri="{FF2B5EF4-FFF2-40B4-BE49-F238E27FC236}">
                    <a16:creationId xmlns:a16="http://schemas.microsoft.com/office/drawing/2014/main" id="{B4D0927E-FF76-4381-8F9A-36C8D34D8C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1" y="2320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515">
                <a:extLst>
                  <a:ext uri="{FF2B5EF4-FFF2-40B4-BE49-F238E27FC236}">
                    <a16:creationId xmlns:a16="http://schemas.microsoft.com/office/drawing/2014/main" id="{6307E5C2-3AFC-4492-95F8-0986C64DC9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0" y="230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516">
                <a:extLst>
                  <a:ext uri="{FF2B5EF4-FFF2-40B4-BE49-F238E27FC236}">
                    <a16:creationId xmlns:a16="http://schemas.microsoft.com/office/drawing/2014/main" id="{C781957B-4280-4F56-8AE2-1610F2F77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9" y="229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517">
                <a:extLst>
                  <a:ext uri="{FF2B5EF4-FFF2-40B4-BE49-F238E27FC236}">
                    <a16:creationId xmlns:a16="http://schemas.microsoft.com/office/drawing/2014/main" id="{2CDBB2D5-4952-426D-88C6-EA603E618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0" y="2494"/>
                <a:ext cx="24" cy="25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518">
                <a:extLst>
                  <a:ext uri="{FF2B5EF4-FFF2-40B4-BE49-F238E27FC236}">
                    <a16:creationId xmlns:a16="http://schemas.microsoft.com/office/drawing/2014/main" id="{7869C014-92FB-40C9-B701-B426E3E85E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9" y="248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519">
                <a:extLst>
                  <a:ext uri="{FF2B5EF4-FFF2-40B4-BE49-F238E27FC236}">
                    <a16:creationId xmlns:a16="http://schemas.microsoft.com/office/drawing/2014/main" id="{0953934B-FD9D-454F-A027-FF4C80338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8" y="2465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1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520">
                <a:extLst>
                  <a:ext uri="{FF2B5EF4-FFF2-40B4-BE49-F238E27FC236}">
                    <a16:creationId xmlns:a16="http://schemas.microsoft.com/office/drawing/2014/main" id="{11289C28-335F-4C3D-8467-CF68F0B433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8" y="2450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521">
                <a:extLst>
                  <a:ext uri="{FF2B5EF4-FFF2-40B4-BE49-F238E27FC236}">
                    <a16:creationId xmlns:a16="http://schemas.microsoft.com/office/drawing/2014/main" id="{591DB9BA-5B21-48BF-A319-CF24A2081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7" y="243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522">
                <a:extLst>
                  <a:ext uri="{FF2B5EF4-FFF2-40B4-BE49-F238E27FC236}">
                    <a16:creationId xmlns:a16="http://schemas.microsoft.com/office/drawing/2014/main" id="{01C91A6B-858F-43D6-8080-3FC0FEA4F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6" y="2421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523">
                <a:extLst>
                  <a:ext uri="{FF2B5EF4-FFF2-40B4-BE49-F238E27FC236}">
                    <a16:creationId xmlns:a16="http://schemas.microsoft.com/office/drawing/2014/main" id="{E90A2A1C-B981-4614-8CD2-DCF1803EAD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6" y="240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524">
                <a:extLst>
                  <a:ext uri="{FF2B5EF4-FFF2-40B4-BE49-F238E27FC236}">
                    <a16:creationId xmlns:a16="http://schemas.microsoft.com/office/drawing/2014/main" id="{47C80186-DFA5-458B-86D5-2C2D86AB2F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5" y="2392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525">
                <a:extLst>
                  <a:ext uri="{FF2B5EF4-FFF2-40B4-BE49-F238E27FC236}">
                    <a16:creationId xmlns:a16="http://schemas.microsoft.com/office/drawing/2014/main" id="{48D9EBA5-2329-4945-9540-E68A52CFCC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4" y="2377"/>
                <a:ext cx="25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526">
                <a:extLst>
                  <a:ext uri="{FF2B5EF4-FFF2-40B4-BE49-F238E27FC236}">
                    <a16:creationId xmlns:a16="http://schemas.microsoft.com/office/drawing/2014/main" id="{6D0CFF16-A71B-41BF-9B8B-55947D38A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" y="2362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527">
                <a:extLst>
                  <a:ext uri="{FF2B5EF4-FFF2-40B4-BE49-F238E27FC236}">
                    <a16:creationId xmlns:a16="http://schemas.microsoft.com/office/drawing/2014/main" id="{CC335629-A293-4B3D-A78C-87D54024C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4" y="248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528">
                <a:extLst>
                  <a:ext uri="{FF2B5EF4-FFF2-40B4-BE49-F238E27FC236}">
                    <a16:creationId xmlns:a16="http://schemas.microsoft.com/office/drawing/2014/main" id="{EC46FF70-8DB6-4F4A-A660-68F11B2EC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4" y="246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1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529">
                <a:extLst>
                  <a:ext uri="{FF2B5EF4-FFF2-40B4-BE49-F238E27FC236}">
                    <a16:creationId xmlns:a16="http://schemas.microsoft.com/office/drawing/2014/main" id="{9E8BF80A-0B56-436C-9337-18E1BEB383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3" y="245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530">
                <a:extLst>
                  <a:ext uri="{FF2B5EF4-FFF2-40B4-BE49-F238E27FC236}">
                    <a16:creationId xmlns:a16="http://schemas.microsoft.com/office/drawing/2014/main" id="{72F17F5B-7B3C-45B3-BDD2-0D1F337E4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2" y="243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531">
                <a:extLst>
                  <a:ext uri="{FF2B5EF4-FFF2-40B4-BE49-F238E27FC236}">
                    <a16:creationId xmlns:a16="http://schemas.microsoft.com/office/drawing/2014/main" id="{FBCAE7E7-4C34-4349-A244-C5D4FF730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2" y="2423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532">
                <a:extLst>
                  <a:ext uri="{FF2B5EF4-FFF2-40B4-BE49-F238E27FC236}">
                    <a16:creationId xmlns:a16="http://schemas.microsoft.com/office/drawing/2014/main" id="{2FB73896-2048-40F7-905B-FC9CF1117F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" y="2408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533">
                <a:extLst>
                  <a:ext uri="{FF2B5EF4-FFF2-40B4-BE49-F238E27FC236}">
                    <a16:creationId xmlns:a16="http://schemas.microsoft.com/office/drawing/2014/main" id="{5B6108C1-7C25-497D-9879-8FD11A232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1" y="2394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534">
                <a:extLst>
                  <a:ext uri="{FF2B5EF4-FFF2-40B4-BE49-F238E27FC236}">
                    <a16:creationId xmlns:a16="http://schemas.microsoft.com/office/drawing/2014/main" id="{AE3B850E-9E63-4287-AE9C-1756B5FA7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0" y="237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535">
                <a:extLst>
                  <a:ext uri="{FF2B5EF4-FFF2-40B4-BE49-F238E27FC236}">
                    <a16:creationId xmlns:a16="http://schemas.microsoft.com/office/drawing/2014/main" id="{459645BC-DA68-44F9-932F-4A9FDA15F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9" y="23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536">
                <a:extLst>
                  <a:ext uri="{FF2B5EF4-FFF2-40B4-BE49-F238E27FC236}">
                    <a16:creationId xmlns:a16="http://schemas.microsoft.com/office/drawing/2014/main" id="{B772567E-FBC8-420E-BAE1-8E6BE4D47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9" y="23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537">
                <a:extLst>
                  <a:ext uri="{FF2B5EF4-FFF2-40B4-BE49-F238E27FC236}">
                    <a16:creationId xmlns:a16="http://schemas.microsoft.com/office/drawing/2014/main" id="{64FF99C4-D0D1-4B7B-B2AC-026A45504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8" y="2335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538">
                <a:extLst>
                  <a:ext uri="{FF2B5EF4-FFF2-40B4-BE49-F238E27FC236}">
                    <a16:creationId xmlns:a16="http://schemas.microsoft.com/office/drawing/2014/main" id="{2BBEE087-504A-4EFE-B80D-9FCFDB9501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0" y="2468"/>
                <a:ext cx="34" cy="32"/>
              </a:xfrm>
              <a:custGeom>
                <a:avLst/>
                <a:gdLst>
                  <a:gd name="T0" fmla="*/ 61 w 63"/>
                  <a:gd name="T1" fmla="*/ 27 h 59"/>
                  <a:gd name="T2" fmla="*/ 21 w 63"/>
                  <a:gd name="T3" fmla="*/ 58 h 59"/>
                  <a:gd name="T4" fmla="*/ 18 w 63"/>
                  <a:gd name="T5" fmla="*/ 58 h 59"/>
                  <a:gd name="T6" fmla="*/ 1 w 63"/>
                  <a:gd name="T7" fmla="*/ 35 h 59"/>
                  <a:gd name="T8" fmla="*/ 1 w 63"/>
                  <a:gd name="T9" fmla="*/ 32 h 59"/>
                  <a:gd name="T10" fmla="*/ 42 w 63"/>
                  <a:gd name="T11" fmla="*/ 1 h 59"/>
                  <a:gd name="T12" fmla="*/ 45 w 63"/>
                  <a:gd name="T13" fmla="*/ 2 h 59"/>
                  <a:gd name="T14" fmla="*/ 62 w 63"/>
                  <a:gd name="T15" fmla="*/ 24 h 59"/>
                  <a:gd name="T16" fmla="*/ 61 w 63"/>
                  <a:gd name="T17" fmla="*/ 27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9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9"/>
                      <a:pt x="19" y="59"/>
                      <a:pt x="18" y="58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0" y="34"/>
                      <a:pt x="0" y="32"/>
                      <a:pt x="1" y="32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2" y="0"/>
                      <a:pt x="44" y="1"/>
                      <a:pt x="45" y="2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7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539">
                <a:extLst>
                  <a:ext uri="{FF2B5EF4-FFF2-40B4-BE49-F238E27FC236}">
                    <a16:creationId xmlns:a16="http://schemas.microsoft.com/office/drawing/2014/main" id="{18AF95A4-D1F9-46ED-A4D9-247F9DAE2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3" y="2300"/>
                <a:ext cx="34" cy="32"/>
              </a:xfrm>
              <a:custGeom>
                <a:avLst/>
                <a:gdLst>
                  <a:gd name="T0" fmla="*/ 62 w 63"/>
                  <a:gd name="T1" fmla="*/ 27 h 58"/>
                  <a:gd name="T2" fmla="*/ 21 w 63"/>
                  <a:gd name="T3" fmla="*/ 58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1 h 58"/>
                  <a:gd name="T12" fmla="*/ 45 w 63"/>
                  <a:gd name="T13" fmla="*/ 1 h 58"/>
                  <a:gd name="T14" fmla="*/ 62 w 63"/>
                  <a:gd name="T15" fmla="*/ 24 h 58"/>
                  <a:gd name="T16" fmla="*/ 62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2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3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540">
                <a:extLst>
                  <a:ext uri="{FF2B5EF4-FFF2-40B4-BE49-F238E27FC236}">
                    <a16:creationId xmlns:a16="http://schemas.microsoft.com/office/drawing/2014/main" id="{561CC3DF-7059-4DBB-ADFA-EE8F50B33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5" y="2496"/>
                <a:ext cx="25" cy="25"/>
              </a:xfrm>
              <a:custGeom>
                <a:avLst/>
                <a:gdLst>
                  <a:gd name="T0" fmla="*/ 44 w 45"/>
                  <a:gd name="T1" fmla="*/ 27 h 45"/>
                  <a:gd name="T2" fmla="*/ 21 w 45"/>
                  <a:gd name="T3" fmla="*/ 44 h 45"/>
                  <a:gd name="T4" fmla="*/ 18 w 45"/>
                  <a:gd name="T5" fmla="*/ 43 h 45"/>
                  <a:gd name="T6" fmla="*/ 1 w 45"/>
                  <a:gd name="T7" fmla="*/ 21 h 45"/>
                  <a:gd name="T8" fmla="*/ 1 w 45"/>
                  <a:gd name="T9" fmla="*/ 18 h 45"/>
                  <a:gd name="T10" fmla="*/ 24 w 45"/>
                  <a:gd name="T11" fmla="*/ 0 h 45"/>
                  <a:gd name="T12" fmla="*/ 27 w 45"/>
                  <a:gd name="T13" fmla="*/ 1 h 45"/>
                  <a:gd name="T14" fmla="*/ 44 w 45"/>
                  <a:gd name="T15" fmla="*/ 24 h 45"/>
                  <a:gd name="T16" fmla="*/ 44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4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5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5" y="26"/>
                      <a:pt x="44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541">
                <a:extLst>
                  <a:ext uri="{FF2B5EF4-FFF2-40B4-BE49-F238E27FC236}">
                    <a16:creationId xmlns:a16="http://schemas.microsoft.com/office/drawing/2014/main" id="{300CAD8E-3CA3-4973-B7E0-A49E421477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8" y="2320"/>
                <a:ext cx="24" cy="25"/>
              </a:xfrm>
              <a:custGeom>
                <a:avLst/>
                <a:gdLst>
                  <a:gd name="T0" fmla="*/ 43 w 45"/>
                  <a:gd name="T1" fmla="*/ 27 h 45"/>
                  <a:gd name="T2" fmla="*/ 21 w 45"/>
                  <a:gd name="T3" fmla="*/ 44 h 45"/>
                  <a:gd name="T4" fmla="*/ 18 w 45"/>
                  <a:gd name="T5" fmla="*/ 44 h 45"/>
                  <a:gd name="T6" fmla="*/ 0 w 45"/>
                  <a:gd name="T7" fmla="*/ 21 h 45"/>
                  <a:gd name="T8" fmla="*/ 1 w 45"/>
                  <a:gd name="T9" fmla="*/ 18 h 45"/>
                  <a:gd name="T10" fmla="*/ 23 w 45"/>
                  <a:gd name="T11" fmla="*/ 1 h 45"/>
                  <a:gd name="T12" fmla="*/ 26 w 45"/>
                  <a:gd name="T13" fmla="*/ 1 h 45"/>
                  <a:gd name="T14" fmla="*/ 44 w 45"/>
                  <a:gd name="T15" fmla="*/ 24 h 45"/>
                  <a:gd name="T16" fmla="*/ 43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542">
                <a:extLst>
                  <a:ext uri="{FF2B5EF4-FFF2-40B4-BE49-F238E27FC236}">
                    <a16:creationId xmlns:a16="http://schemas.microsoft.com/office/drawing/2014/main" id="{F7D20588-F415-41DF-904E-397147B324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" y="2509"/>
                <a:ext cx="33" cy="31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8 h 58"/>
                  <a:gd name="T4" fmla="*/ 18 w 62"/>
                  <a:gd name="T5" fmla="*/ 57 h 58"/>
                  <a:gd name="T6" fmla="*/ 0 w 62"/>
                  <a:gd name="T7" fmla="*/ 34 h 58"/>
                  <a:gd name="T8" fmla="*/ 1 w 62"/>
                  <a:gd name="T9" fmla="*/ 31 h 58"/>
                  <a:gd name="T10" fmla="*/ 41 w 62"/>
                  <a:gd name="T11" fmla="*/ 1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8" y="58"/>
                      <a:pt x="18" y="57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543">
                <a:extLst>
                  <a:ext uri="{FF2B5EF4-FFF2-40B4-BE49-F238E27FC236}">
                    <a16:creationId xmlns:a16="http://schemas.microsoft.com/office/drawing/2014/main" id="{2D73A50B-5CF6-4A79-AB8E-FE340E18A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3" y="2341"/>
                <a:ext cx="34" cy="31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7 h 58"/>
                  <a:gd name="T4" fmla="*/ 18 w 62"/>
                  <a:gd name="T5" fmla="*/ 57 h 58"/>
                  <a:gd name="T6" fmla="*/ 1 w 62"/>
                  <a:gd name="T7" fmla="*/ 34 h 58"/>
                  <a:gd name="T8" fmla="*/ 1 w 62"/>
                  <a:gd name="T9" fmla="*/ 31 h 58"/>
                  <a:gd name="T10" fmla="*/ 41 w 62"/>
                  <a:gd name="T11" fmla="*/ 0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544">
                <a:extLst>
                  <a:ext uri="{FF2B5EF4-FFF2-40B4-BE49-F238E27FC236}">
                    <a16:creationId xmlns:a16="http://schemas.microsoft.com/office/drawing/2014/main" id="{31749532-E181-4F8F-9BBC-905634E31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5" y="2415"/>
                <a:ext cx="19" cy="18"/>
              </a:xfrm>
              <a:custGeom>
                <a:avLst/>
                <a:gdLst>
                  <a:gd name="T0" fmla="*/ 33 w 34"/>
                  <a:gd name="T1" fmla="*/ 14 h 32"/>
                  <a:gd name="T2" fmla="*/ 11 w 34"/>
                  <a:gd name="T3" fmla="*/ 31 h 32"/>
                  <a:gd name="T4" fmla="*/ 8 w 34"/>
                  <a:gd name="T5" fmla="*/ 31 h 32"/>
                  <a:gd name="T6" fmla="*/ 0 w 34"/>
                  <a:gd name="T7" fmla="*/ 21 h 32"/>
                  <a:gd name="T8" fmla="*/ 1 w 34"/>
                  <a:gd name="T9" fmla="*/ 18 h 32"/>
                  <a:gd name="T10" fmla="*/ 23 w 34"/>
                  <a:gd name="T11" fmla="*/ 1 h 32"/>
                  <a:gd name="T12" fmla="*/ 26 w 34"/>
                  <a:gd name="T13" fmla="*/ 2 h 32"/>
                  <a:gd name="T14" fmla="*/ 33 w 34"/>
                  <a:gd name="T15" fmla="*/ 11 h 32"/>
                  <a:gd name="T16" fmla="*/ 33 w 34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2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2"/>
                      <a:pt x="8" y="31"/>
                      <a:pt x="8" y="3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545">
                <a:extLst>
                  <a:ext uri="{FF2B5EF4-FFF2-40B4-BE49-F238E27FC236}">
                    <a16:creationId xmlns:a16="http://schemas.microsoft.com/office/drawing/2014/main" id="{D192B3A2-3BA2-4280-8C11-45485EDB6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" y="2401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546">
                <a:extLst>
                  <a:ext uri="{FF2B5EF4-FFF2-40B4-BE49-F238E27FC236}">
                    <a16:creationId xmlns:a16="http://schemas.microsoft.com/office/drawing/2014/main" id="{D1FE8AB4-3DEE-4950-BE7A-AD2CC12B09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4" y="2386"/>
                <a:ext cx="19" cy="17"/>
              </a:xfrm>
              <a:custGeom>
                <a:avLst/>
                <a:gdLst>
                  <a:gd name="T0" fmla="*/ 32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2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2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3" y="13"/>
                      <a:pt x="32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547">
                <a:extLst>
                  <a:ext uri="{FF2B5EF4-FFF2-40B4-BE49-F238E27FC236}">
                    <a16:creationId xmlns:a16="http://schemas.microsoft.com/office/drawing/2014/main" id="{FB47BC66-84DB-4A03-92DB-7A0851320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3" y="2372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548">
                <a:extLst>
                  <a:ext uri="{FF2B5EF4-FFF2-40B4-BE49-F238E27FC236}">
                    <a16:creationId xmlns:a16="http://schemas.microsoft.com/office/drawing/2014/main" id="{06878301-4F65-4E0F-ADD0-17B8D6C4B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3" y="2357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4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549">
                <a:extLst>
                  <a:ext uri="{FF2B5EF4-FFF2-40B4-BE49-F238E27FC236}">
                    <a16:creationId xmlns:a16="http://schemas.microsoft.com/office/drawing/2014/main" id="{CE0BCD4A-36B0-4954-926B-6B5CDA6CA2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" y="2342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0 w 34"/>
                  <a:gd name="T7" fmla="*/ 21 h 31"/>
                  <a:gd name="T8" fmla="*/ 1 w 34"/>
                  <a:gd name="T9" fmla="*/ 18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550">
                <a:extLst>
                  <a:ext uri="{FF2B5EF4-FFF2-40B4-BE49-F238E27FC236}">
                    <a16:creationId xmlns:a16="http://schemas.microsoft.com/office/drawing/2014/main" id="{7E2F856C-7573-42F0-AD91-55F4D3E2C1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1" y="2328"/>
                <a:ext cx="19" cy="17"/>
              </a:xfrm>
              <a:custGeom>
                <a:avLst/>
                <a:gdLst>
                  <a:gd name="T0" fmla="*/ 33 w 34"/>
                  <a:gd name="T1" fmla="*/ 13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4 w 34"/>
                  <a:gd name="T15" fmla="*/ 10 h 31"/>
                  <a:gd name="T16" fmla="*/ 33 w 34"/>
                  <a:gd name="T17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3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0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34" y="11"/>
                      <a:pt x="34" y="13"/>
                      <a:pt x="33" y="13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551">
                <a:extLst>
                  <a:ext uri="{FF2B5EF4-FFF2-40B4-BE49-F238E27FC236}">
                    <a16:creationId xmlns:a16="http://schemas.microsoft.com/office/drawing/2014/main" id="{BDEEF76D-6F0F-4D9E-BCD0-550C2C327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1" y="2313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552">
                <a:extLst>
                  <a:ext uri="{FF2B5EF4-FFF2-40B4-BE49-F238E27FC236}">
                    <a16:creationId xmlns:a16="http://schemas.microsoft.com/office/drawing/2014/main" id="{C76D42C8-B9E7-4623-BB60-F99C670A2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0" y="229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553">
                <a:extLst>
                  <a:ext uri="{FF2B5EF4-FFF2-40B4-BE49-F238E27FC236}">
                    <a16:creationId xmlns:a16="http://schemas.microsoft.com/office/drawing/2014/main" id="{57863703-4CCF-4B4F-9757-B79E44645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" y="2284"/>
                <a:ext cx="19" cy="17"/>
              </a:xfrm>
              <a:custGeom>
                <a:avLst/>
                <a:gdLst>
                  <a:gd name="T0" fmla="*/ 33 w 35"/>
                  <a:gd name="T1" fmla="*/ 14 h 31"/>
                  <a:gd name="T2" fmla="*/ 12 w 35"/>
                  <a:gd name="T3" fmla="*/ 30 h 31"/>
                  <a:gd name="T4" fmla="*/ 9 w 35"/>
                  <a:gd name="T5" fmla="*/ 30 h 31"/>
                  <a:gd name="T6" fmla="*/ 1 w 35"/>
                  <a:gd name="T7" fmla="*/ 20 h 31"/>
                  <a:gd name="T8" fmla="*/ 2 w 35"/>
                  <a:gd name="T9" fmla="*/ 17 h 31"/>
                  <a:gd name="T10" fmla="*/ 23 w 35"/>
                  <a:gd name="T11" fmla="*/ 1 h 31"/>
                  <a:gd name="T12" fmla="*/ 26 w 35"/>
                  <a:gd name="T13" fmla="*/ 1 h 31"/>
                  <a:gd name="T14" fmla="*/ 34 w 35"/>
                  <a:gd name="T15" fmla="*/ 11 h 31"/>
                  <a:gd name="T16" fmla="*/ 33 w 35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1">
                    <a:moveTo>
                      <a:pt x="33" y="14"/>
                    </a:moveTo>
                    <a:cubicBezTo>
                      <a:pt x="12" y="30"/>
                      <a:pt x="12" y="30"/>
                      <a:pt x="12" y="30"/>
                    </a:cubicBezTo>
                    <a:cubicBezTo>
                      <a:pt x="11" y="31"/>
                      <a:pt x="9" y="31"/>
                      <a:pt x="9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554">
                <a:extLst>
                  <a:ext uri="{FF2B5EF4-FFF2-40B4-BE49-F238E27FC236}">
                    <a16:creationId xmlns:a16="http://schemas.microsoft.com/office/drawing/2014/main" id="{1BAC271B-4331-4195-933B-0807D2A77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9" y="2269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555">
                <a:extLst>
                  <a:ext uri="{FF2B5EF4-FFF2-40B4-BE49-F238E27FC236}">
                    <a16:creationId xmlns:a16="http://schemas.microsoft.com/office/drawing/2014/main" id="{9E3BE345-E8A4-4DF4-83EF-29A57E2CB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" y="2407"/>
                <a:ext cx="131" cy="102"/>
              </a:xfrm>
              <a:custGeom>
                <a:avLst/>
                <a:gdLst>
                  <a:gd name="T0" fmla="*/ 237 w 239"/>
                  <a:gd name="T1" fmla="*/ 18 h 188"/>
                  <a:gd name="T2" fmla="*/ 14 w 239"/>
                  <a:gd name="T3" fmla="*/ 187 h 188"/>
                  <a:gd name="T4" fmla="*/ 11 w 239"/>
                  <a:gd name="T5" fmla="*/ 187 h 188"/>
                  <a:gd name="T6" fmla="*/ 1 w 239"/>
                  <a:gd name="T7" fmla="*/ 173 h 188"/>
                  <a:gd name="T8" fmla="*/ 1 w 239"/>
                  <a:gd name="T9" fmla="*/ 170 h 188"/>
                  <a:gd name="T10" fmla="*/ 224 w 239"/>
                  <a:gd name="T11" fmla="*/ 1 h 188"/>
                  <a:gd name="T12" fmla="*/ 227 w 239"/>
                  <a:gd name="T13" fmla="*/ 2 h 188"/>
                  <a:gd name="T14" fmla="*/ 238 w 239"/>
                  <a:gd name="T15" fmla="*/ 15 h 188"/>
                  <a:gd name="T16" fmla="*/ 237 w 239"/>
                  <a:gd name="T17" fmla="*/ 1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9" h="188">
                    <a:moveTo>
                      <a:pt x="237" y="18"/>
                    </a:moveTo>
                    <a:cubicBezTo>
                      <a:pt x="14" y="187"/>
                      <a:pt x="14" y="187"/>
                      <a:pt x="14" y="187"/>
                    </a:cubicBezTo>
                    <a:cubicBezTo>
                      <a:pt x="13" y="188"/>
                      <a:pt x="12" y="188"/>
                      <a:pt x="11" y="187"/>
                    </a:cubicBezTo>
                    <a:cubicBezTo>
                      <a:pt x="1" y="173"/>
                      <a:pt x="1" y="173"/>
                      <a:pt x="1" y="173"/>
                    </a:cubicBezTo>
                    <a:cubicBezTo>
                      <a:pt x="0" y="172"/>
                      <a:pt x="0" y="171"/>
                      <a:pt x="1" y="170"/>
                    </a:cubicBezTo>
                    <a:cubicBezTo>
                      <a:pt x="224" y="1"/>
                      <a:pt x="224" y="1"/>
                      <a:pt x="224" y="1"/>
                    </a:cubicBezTo>
                    <a:cubicBezTo>
                      <a:pt x="225" y="0"/>
                      <a:pt x="227" y="1"/>
                      <a:pt x="227" y="2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9" y="16"/>
                      <a:pt x="238" y="17"/>
                      <a:pt x="237" y="18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556">
                <a:extLst>
                  <a:ext uri="{FF2B5EF4-FFF2-40B4-BE49-F238E27FC236}">
                    <a16:creationId xmlns:a16="http://schemas.microsoft.com/office/drawing/2014/main" id="{316E814B-1C85-4AD3-B2D9-64350F6481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7" y="2454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557">
                <a:extLst>
                  <a:ext uri="{FF2B5EF4-FFF2-40B4-BE49-F238E27FC236}">
                    <a16:creationId xmlns:a16="http://schemas.microsoft.com/office/drawing/2014/main" id="{302CDC22-9F83-4578-BE8C-9F129BD40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43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558">
                <a:extLst>
                  <a:ext uri="{FF2B5EF4-FFF2-40B4-BE49-F238E27FC236}">
                    <a16:creationId xmlns:a16="http://schemas.microsoft.com/office/drawing/2014/main" id="{020789DA-9842-4918-BE57-E0C3B1FC6F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6" y="2425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Freeform 559">
                <a:extLst>
                  <a:ext uri="{FF2B5EF4-FFF2-40B4-BE49-F238E27FC236}">
                    <a16:creationId xmlns:a16="http://schemas.microsoft.com/office/drawing/2014/main" id="{5B081819-FA59-4AC6-9E40-A369E196D8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" y="241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Freeform 560">
                <a:extLst>
                  <a:ext uri="{FF2B5EF4-FFF2-40B4-BE49-F238E27FC236}">
                    <a16:creationId xmlns:a16="http://schemas.microsoft.com/office/drawing/2014/main" id="{433DBDB2-5094-417D-8E50-EE0C5D0BC0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" y="2396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561">
                <a:extLst>
                  <a:ext uri="{FF2B5EF4-FFF2-40B4-BE49-F238E27FC236}">
                    <a16:creationId xmlns:a16="http://schemas.microsoft.com/office/drawing/2014/main" id="{FAF954B3-FBB0-40FA-98BC-93320C228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4" y="238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562">
                <a:extLst>
                  <a:ext uri="{FF2B5EF4-FFF2-40B4-BE49-F238E27FC236}">
                    <a16:creationId xmlns:a16="http://schemas.microsoft.com/office/drawing/2014/main" id="{58C24E26-F294-49DF-B976-6A8EEFB49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236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563">
                <a:extLst>
                  <a:ext uri="{FF2B5EF4-FFF2-40B4-BE49-F238E27FC236}">
                    <a16:creationId xmlns:a16="http://schemas.microsoft.com/office/drawing/2014/main" id="{61D88D73-D038-4214-B4E0-0DF8ADF635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" y="235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564">
                <a:extLst>
                  <a:ext uri="{FF2B5EF4-FFF2-40B4-BE49-F238E27FC236}">
                    <a16:creationId xmlns:a16="http://schemas.microsoft.com/office/drawing/2014/main" id="{89DF9584-EA07-4E49-B2A9-84E23DF22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2" y="2337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565">
                <a:extLst>
                  <a:ext uri="{FF2B5EF4-FFF2-40B4-BE49-F238E27FC236}">
                    <a16:creationId xmlns:a16="http://schemas.microsoft.com/office/drawing/2014/main" id="{BCDCACA9-5549-4BB1-A051-7274986A9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2" y="2322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566">
                <a:extLst>
                  <a:ext uri="{FF2B5EF4-FFF2-40B4-BE49-F238E27FC236}">
                    <a16:creationId xmlns:a16="http://schemas.microsoft.com/office/drawing/2014/main" id="{DBE333B4-A466-4C0E-924C-7B18823F6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9" y="227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567">
                <a:extLst>
                  <a:ext uri="{FF2B5EF4-FFF2-40B4-BE49-F238E27FC236}">
                    <a16:creationId xmlns:a16="http://schemas.microsoft.com/office/drawing/2014/main" id="{A7D397F7-5467-4A7C-B10B-036B8F5848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8" y="22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568">
                <a:extLst>
                  <a:ext uri="{FF2B5EF4-FFF2-40B4-BE49-F238E27FC236}">
                    <a16:creationId xmlns:a16="http://schemas.microsoft.com/office/drawing/2014/main" id="{0C480BAD-71EC-41D8-9834-853D640544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8" y="22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569">
                <a:extLst>
                  <a:ext uri="{FF2B5EF4-FFF2-40B4-BE49-F238E27FC236}">
                    <a16:creationId xmlns:a16="http://schemas.microsoft.com/office/drawing/2014/main" id="{6706C141-F2AF-4C28-9B89-AE609FB7C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4" y="2299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570">
                <a:extLst>
                  <a:ext uri="{FF2B5EF4-FFF2-40B4-BE49-F238E27FC236}">
                    <a16:creationId xmlns:a16="http://schemas.microsoft.com/office/drawing/2014/main" id="{C37F81D3-D340-44E9-96E7-806463E8D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3" y="228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4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571">
                <a:extLst>
                  <a:ext uri="{FF2B5EF4-FFF2-40B4-BE49-F238E27FC236}">
                    <a16:creationId xmlns:a16="http://schemas.microsoft.com/office/drawing/2014/main" id="{3CCCA222-B227-432D-9D5C-19ADF7EF3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2270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572">
                <a:extLst>
                  <a:ext uri="{FF2B5EF4-FFF2-40B4-BE49-F238E27FC236}">
                    <a16:creationId xmlns:a16="http://schemas.microsoft.com/office/drawing/2014/main" id="{BD77A952-0C1E-4C65-9251-0E026364D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9" y="2319"/>
                <a:ext cx="25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573">
                <a:extLst>
                  <a:ext uri="{FF2B5EF4-FFF2-40B4-BE49-F238E27FC236}">
                    <a16:creationId xmlns:a16="http://schemas.microsoft.com/office/drawing/2014/main" id="{41DA7B2B-C81A-4ACF-BD23-45C1012EE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9" y="230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574">
                <a:extLst>
                  <a:ext uri="{FF2B5EF4-FFF2-40B4-BE49-F238E27FC236}">
                    <a16:creationId xmlns:a16="http://schemas.microsoft.com/office/drawing/2014/main" id="{914993AE-F037-432F-B036-CD2831814F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" y="229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575">
                <a:extLst>
                  <a:ext uri="{FF2B5EF4-FFF2-40B4-BE49-F238E27FC236}">
                    <a16:creationId xmlns:a16="http://schemas.microsoft.com/office/drawing/2014/main" id="{256C5CC4-3A51-45C9-BBAE-D457BEA09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8" y="249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576">
                <a:extLst>
                  <a:ext uri="{FF2B5EF4-FFF2-40B4-BE49-F238E27FC236}">
                    <a16:creationId xmlns:a16="http://schemas.microsoft.com/office/drawing/2014/main" id="{61A35434-F835-467D-B28F-08A928293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7" y="248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577">
                <a:extLst>
                  <a:ext uri="{FF2B5EF4-FFF2-40B4-BE49-F238E27FC236}">
                    <a16:creationId xmlns:a16="http://schemas.microsoft.com/office/drawing/2014/main" id="{1E4F6551-CDB6-471B-B32D-032D7F936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6" y="24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1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578">
                <a:extLst>
                  <a:ext uri="{FF2B5EF4-FFF2-40B4-BE49-F238E27FC236}">
                    <a16:creationId xmlns:a16="http://schemas.microsoft.com/office/drawing/2014/main" id="{27BC30B5-9C98-497F-AC0A-B902E35A7C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6" y="24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579">
                <a:extLst>
                  <a:ext uri="{FF2B5EF4-FFF2-40B4-BE49-F238E27FC236}">
                    <a16:creationId xmlns:a16="http://schemas.microsoft.com/office/drawing/2014/main" id="{E1E7D166-3B6D-451B-BAB9-258710ADD0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5" y="243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580">
                <a:extLst>
                  <a:ext uri="{FF2B5EF4-FFF2-40B4-BE49-F238E27FC236}">
                    <a16:creationId xmlns:a16="http://schemas.microsoft.com/office/drawing/2014/main" id="{9916FB65-B040-4773-B3C7-079B0426D2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421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581">
                <a:extLst>
                  <a:ext uri="{FF2B5EF4-FFF2-40B4-BE49-F238E27FC236}">
                    <a16:creationId xmlns:a16="http://schemas.microsoft.com/office/drawing/2014/main" id="{BDCC5EE5-46FF-4906-8E69-BD7955F969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2407"/>
                <a:ext cx="24" cy="24"/>
              </a:xfrm>
              <a:custGeom>
                <a:avLst/>
                <a:gdLst>
                  <a:gd name="T0" fmla="*/ 43 w 44"/>
                  <a:gd name="T1" fmla="*/ 26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3 h 44"/>
                  <a:gd name="T16" fmla="*/ 43 w 44"/>
                  <a:gd name="T17" fmla="*/ 2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6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3"/>
                      <a:pt x="43" y="23"/>
                      <a:pt x="43" y="23"/>
                    </a:cubicBezTo>
                    <a:cubicBezTo>
                      <a:pt x="44" y="24"/>
                      <a:pt x="44" y="26"/>
                      <a:pt x="43" y="26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582">
                <a:extLst>
                  <a:ext uri="{FF2B5EF4-FFF2-40B4-BE49-F238E27FC236}">
                    <a16:creationId xmlns:a16="http://schemas.microsoft.com/office/drawing/2014/main" id="{C06D843A-1491-4BF6-84E4-4EE8CA846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" y="2392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583">
                <a:extLst>
                  <a:ext uri="{FF2B5EF4-FFF2-40B4-BE49-F238E27FC236}">
                    <a16:creationId xmlns:a16="http://schemas.microsoft.com/office/drawing/2014/main" id="{8C16E6A0-1BA9-40F1-AB2E-019BBDD6A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3" y="237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584">
                <a:extLst>
                  <a:ext uri="{FF2B5EF4-FFF2-40B4-BE49-F238E27FC236}">
                    <a16:creationId xmlns:a16="http://schemas.microsoft.com/office/drawing/2014/main" id="{B366D578-3570-4ACC-B9EF-0F9ED2D84D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2" y="236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585">
                <a:extLst>
                  <a:ext uri="{FF2B5EF4-FFF2-40B4-BE49-F238E27FC236}">
                    <a16:creationId xmlns:a16="http://schemas.microsoft.com/office/drawing/2014/main" id="{9001624C-1FEE-4C90-8111-D18F5FA0A0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3" y="248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586">
                <a:extLst>
                  <a:ext uri="{FF2B5EF4-FFF2-40B4-BE49-F238E27FC236}">
                    <a16:creationId xmlns:a16="http://schemas.microsoft.com/office/drawing/2014/main" id="{D05E39D6-35F8-4A70-80C2-88413387C4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2" y="2467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1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587">
                <a:extLst>
                  <a:ext uri="{FF2B5EF4-FFF2-40B4-BE49-F238E27FC236}">
                    <a16:creationId xmlns:a16="http://schemas.microsoft.com/office/drawing/2014/main" id="{91E2C48B-F149-4548-8CED-A7BB7B7CB2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2" y="2452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588">
                <a:extLst>
                  <a:ext uri="{FF2B5EF4-FFF2-40B4-BE49-F238E27FC236}">
                    <a16:creationId xmlns:a16="http://schemas.microsoft.com/office/drawing/2014/main" id="{E67CA0A7-E3C2-466D-AC43-B29B7050E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1" y="243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589">
                <a:extLst>
                  <a:ext uri="{FF2B5EF4-FFF2-40B4-BE49-F238E27FC236}">
                    <a16:creationId xmlns:a16="http://schemas.microsoft.com/office/drawing/2014/main" id="{F4F064AE-FCDF-4691-A1F0-37695AA132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0" y="2423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590">
                <a:extLst>
                  <a:ext uri="{FF2B5EF4-FFF2-40B4-BE49-F238E27FC236}">
                    <a16:creationId xmlns:a16="http://schemas.microsoft.com/office/drawing/2014/main" id="{2EF8E9D8-3F28-46FD-8517-0F8B086752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0" y="240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591">
                <a:extLst>
                  <a:ext uri="{FF2B5EF4-FFF2-40B4-BE49-F238E27FC236}">
                    <a16:creationId xmlns:a16="http://schemas.microsoft.com/office/drawing/2014/main" id="{39070184-863B-46E8-8CCA-DDBC900E90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9" y="2393"/>
                <a:ext cx="24" cy="25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592">
                <a:extLst>
                  <a:ext uri="{FF2B5EF4-FFF2-40B4-BE49-F238E27FC236}">
                    <a16:creationId xmlns:a16="http://schemas.microsoft.com/office/drawing/2014/main" id="{BB7FA9C7-0A08-44FB-BF60-554E7D2F9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8" y="2379"/>
                <a:ext cx="25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593">
                <a:extLst>
                  <a:ext uri="{FF2B5EF4-FFF2-40B4-BE49-F238E27FC236}">
                    <a16:creationId xmlns:a16="http://schemas.microsoft.com/office/drawing/2014/main" id="{545FE0E4-EE72-4D3D-9519-CE3F4323E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8" y="2365"/>
                <a:ext cx="24" cy="24"/>
              </a:xfrm>
              <a:custGeom>
                <a:avLst/>
                <a:gdLst>
                  <a:gd name="T0" fmla="*/ 43 w 44"/>
                  <a:gd name="T1" fmla="*/ 26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3 h 44"/>
                  <a:gd name="T16" fmla="*/ 43 w 44"/>
                  <a:gd name="T17" fmla="*/ 2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6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24"/>
                      <a:pt x="44" y="26"/>
                      <a:pt x="43" y="26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594">
                <a:extLst>
                  <a:ext uri="{FF2B5EF4-FFF2-40B4-BE49-F238E27FC236}">
                    <a16:creationId xmlns:a16="http://schemas.microsoft.com/office/drawing/2014/main" id="{D9660B5A-974B-4448-BE3B-0022A5ACE2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7" y="23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595">
                <a:extLst>
                  <a:ext uri="{FF2B5EF4-FFF2-40B4-BE49-F238E27FC236}">
                    <a16:creationId xmlns:a16="http://schemas.microsoft.com/office/drawing/2014/main" id="{56AB09C3-3BC1-41EE-9302-85B3BDD0D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" y="2335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596">
                <a:extLst>
                  <a:ext uri="{FF2B5EF4-FFF2-40B4-BE49-F238E27FC236}">
                    <a16:creationId xmlns:a16="http://schemas.microsoft.com/office/drawing/2014/main" id="{94319A51-A7D3-4754-A719-0517C95BF9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8" y="2468"/>
                <a:ext cx="35" cy="32"/>
              </a:xfrm>
              <a:custGeom>
                <a:avLst/>
                <a:gdLst>
                  <a:gd name="T0" fmla="*/ 61 w 63"/>
                  <a:gd name="T1" fmla="*/ 27 h 58"/>
                  <a:gd name="T2" fmla="*/ 21 w 63"/>
                  <a:gd name="T3" fmla="*/ 58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1 h 58"/>
                  <a:gd name="T12" fmla="*/ 45 w 63"/>
                  <a:gd name="T13" fmla="*/ 1 h 58"/>
                  <a:gd name="T14" fmla="*/ 62 w 63"/>
                  <a:gd name="T15" fmla="*/ 24 h 58"/>
                  <a:gd name="T16" fmla="*/ 61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2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597">
                <a:extLst>
                  <a:ext uri="{FF2B5EF4-FFF2-40B4-BE49-F238E27FC236}">
                    <a16:creationId xmlns:a16="http://schemas.microsoft.com/office/drawing/2014/main" id="{C9F8D29E-0972-4A11-A80D-D8807E3E5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1" y="2300"/>
                <a:ext cx="35" cy="32"/>
              </a:xfrm>
              <a:custGeom>
                <a:avLst/>
                <a:gdLst>
                  <a:gd name="T0" fmla="*/ 62 w 63"/>
                  <a:gd name="T1" fmla="*/ 27 h 58"/>
                  <a:gd name="T2" fmla="*/ 21 w 63"/>
                  <a:gd name="T3" fmla="*/ 57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0 h 58"/>
                  <a:gd name="T12" fmla="*/ 45 w 63"/>
                  <a:gd name="T13" fmla="*/ 1 h 58"/>
                  <a:gd name="T14" fmla="*/ 62 w 63"/>
                  <a:gd name="T15" fmla="*/ 24 h 58"/>
                  <a:gd name="T16" fmla="*/ 62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2" y="27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3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598">
                <a:extLst>
                  <a:ext uri="{FF2B5EF4-FFF2-40B4-BE49-F238E27FC236}">
                    <a16:creationId xmlns:a16="http://schemas.microsoft.com/office/drawing/2014/main" id="{DE89F5A4-270C-41B1-8EB3-4600906761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4" y="2496"/>
                <a:ext cx="24" cy="24"/>
              </a:xfrm>
              <a:custGeom>
                <a:avLst/>
                <a:gdLst>
                  <a:gd name="T0" fmla="*/ 44 w 45"/>
                  <a:gd name="T1" fmla="*/ 27 h 45"/>
                  <a:gd name="T2" fmla="*/ 21 w 45"/>
                  <a:gd name="T3" fmla="*/ 44 h 45"/>
                  <a:gd name="T4" fmla="*/ 18 w 45"/>
                  <a:gd name="T5" fmla="*/ 44 h 45"/>
                  <a:gd name="T6" fmla="*/ 1 w 45"/>
                  <a:gd name="T7" fmla="*/ 21 h 45"/>
                  <a:gd name="T8" fmla="*/ 1 w 45"/>
                  <a:gd name="T9" fmla="*/ 18 h 45"/>
                  <a:gd name="T10" fmla="*/ 24 w 45"/>
                  <a:gd name="T11" fmla="*/ 1 h 45"/>
                  <a:gd name="T12" fmla="*/ 27 w 45"/>
                  <a:gd name="T13" fmla="*/ 1 h 45"/>
                  <a:gd name="T14" fmla="*/ 44 w 45"/>
                  <a:gd name="T15" fmla="*/ 24 h 45"/>
                  <a:gd name="T16" fmla="*/ 44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4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5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5" y="26"/>
                      <a:pt x="44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599">
                <a:extLst>
                  <a:ext uri="{FF2B5EF4-FFF2-40B4-BE49-F238E27FC236}">
                    <a16:creationId xmlns:a16="http://schemas.microsoft.com/office/drawing/2014/main" id="{E1CEA497-EB10-4F76-8649-FF380148E9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6" y="2320"/>
                <a:ext cx="25" cy="24"/>
              </a:xfrm>
              <a:custGeom>
                <a:avLst/>
                <a:gdLst>
                  <a:gd name="T0" fmla="*/ 43 w 45"/>
                  <a:gd name="T1" fmla="*/ 27 h 45"/>
                  <a:gd name="T2" fmla="*/ 21 w 45"/>
                  <a:gd name="T3" fmla="*/ 45 h 45"/>
                  <a:gd name="T4" fmla="*/ 18 w 45"/>
                  <a:gd name="T5" fmla="*/ 44 h 45"/>
                  <a:gd name="T6" fmla="*/ 0 w 45"/>
                  <a:gd name="T7" fmla="*/ 21 h 45"/>
                  <a:gd name="T8" fmla="*/ 1 w 45"/>
                  <a:gd name="T9" fmla="*/ 18 h 45"/>
                  <a:gd name="T10" fmla="*/ 24 w 45"/>
                  <a:gd name="T11" fmla="*/ 1 h 45"/>
                  <a:gd name="T12" fmla="*/ 26 w 45"/>
                  <a:gd name="T13" fmla="*/ 2 h 45"/>
                  <a:gd name="T14" fmla="*/ 44 w 45"/>
                  <a:gd name="T15" fmla="*/ 24 h 45"/>
                  <a:gd name="T16" fmla="*/ 43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3" y="27"/>
                    </a:moveTo>
                    <a:cubicBezTo>
                      <a:pt x="21" y="45"/>
                      <a:pt x="21" y="45"/>
                      <a:pt x="21" y="45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600">
                <a:extLst>
                  <a:ext uri="{FF2B5EF4-FFF2-40B4-BE49-F238E27FC236}">
                    <a16:creationId xmlns:a16="http://schemas.microsoft.com/office/drawing/2014/main" id="{43A61379-8AAC-4CBC-BE77-F9FF02D3F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9" y="2508"/>
                <a:ext cx="34" cy="32"/>
              </a:xfrm>
              <a:custGeom>
                <a:avLst/>
                <a:gdLst>
                  <a:gd name="T0" fmla="*/ 61 w 62"/>
                  <a:gd name="T1" fmla="*/ 27 h 59"/>
                  <a:gd name="T2" fmla="*/ 21 w 62"/>
                  <a:gd name="T3" fmla="*/ 58 h 59"/>
                  <a:gd name="T4" fmla="*/ 18 w 62"/>
                  <a:gd name="T5" fmla="*/ 58 h 59"/>
                  <a:gd name="T6" fmla="*/ 0 w 62"/>
                  <a:gd name="T7" fmla="*/ 35 h 59"/>
                  <a:gd name="T8" fmla="*/ 1 w 62"/>
                  <a:gd name="T9" fmla="*/ 32 h 59"/>
                  <a:gd name="T10" fmla="*/ 41 w 62"/>
                  <a:gd name="T11" fmla="*/ 1 h 59"/>
                  <a:gd name="T12" fmla="*/ 44 w 62"/>
                  <a:gd name="T13" fmla="*/ 2 h 59"/>
                  <a:gd name="T14" fmla="*/ 62 w 62"/>
                  <a:gd name="T15" fmla="*/ 24 h 59"/>
                  <a:gd name="T16" fmla="*/ 61 w 62"/>
                  <a:gd name="T17" fmla="*/ 27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9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9"/>
                      <a:pt x="18" y="59"/>
                      <a:pt x="18" y="58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4"/>
                      <a:pt x="0" y="33"/>
                      <a:pt x="1" y="32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1"/>
                      <a:pt x="44" y="2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7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601">
                <a:extLst>
                  <a:ext uri="{FF2B5EF4-FFF2-40B4-BE49-F238E27FC236}">
                    <a16:creationId xmlns:a16="http://schemas.microsoft.com/office/drawing/2014/main" id="{95717062-E9AB-468A-BBF7-253587CDCB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2" y="2340"/>
                <a:ext cx="34" cy="32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8 h 58"/>
                  <a:gd name="T4" fmla="*/ 18 w 62"/>
                  <a:gd name="T5" fmla="*/ 57 h 58"/>
                  <a:gd name="T6" fmla="*/ 1 w 62"/>
                  <a:gd name="T7" fmla="*/ 34 h 58"/>
                  <a:gd name="T8" fmla="*/ 1 w 62"/>
                  <a:gd name="T9" fmla="*/ 31 h 58"/>
                  <a:gd name="T10" fmla="*/ 41 w 62"/>
                  <a:gd name="T11" fmla="*/ 1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4"/>
                      <a:pt x="0" y="32"/>
                      <a:pt x="1" y="31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602">
                <a:extLst>
                  <a:ext uri="{FF2B5EF4-FFF2-40B4-BE49-F238E27FC236}">
                    <a16:creationId xmlns:a16="http://schemas.microsoft.com/office/drawing/2014/main" id="{73BF71A9-D903-47A6-BBE3-01A398E892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3" y="2100"/>
                <a:ext cx="432" cy="362"/>
              </a:xfrm>
              <a:custGeom>
                <a:avLst/>
                <a:gdLst>
                  <a:gd name="T0" fmla="*/ 101 w 432"/>
                  <a:gd name="T1" fmla="*/ 362 h 362"/>
                  <a:gd name="T2" fmla="*/ 0 w 432"/>
                  <a:gd name="T3" fmla="*/ 316 h 362"/>
                  <a:gd name="T4" fmla="*/ 413 w 432"/>
                  <a:gd name="T5" fmla="*/ 0 h 362"/>
                  <a:gd name="T6" fmla="*/ 432 w 432"/>
                  <a:gd name="T7" fmla="*/ 109 h 362"/>
                  <a:gd name="T8" fmla="*/ 101 w 432"/>
                  <a:gd name="T9" fmla="*/ 3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2" h="362">
                    <a:moveTo>
                      <a:pt x="101" y="362"/>
                    </a:moveTo>
                    <a:lnTo>
                      <a:pt x="0" y="316"/>
                    </a:lnTo>
                    <a:lnTo>
                      <a:pt x="413" y="0"/>
                    </a:lnTo>
                    <a:lnTo>
                      <a:pt x="432" y="109"/>
                    </a:lnTo>
                    <a:lnTo>
                      <a:pt x="101" y="362"/>
                    </a:ln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603">
                <a:extLst>
                  <a:ext uri="{FF2B5EF4-FFF2-40B4-BE49-F238E27FC236}">
                    <a16:creationId xmlns:a16="http://schemas.microsoft.com/office/drawing/2014/main" id="{DBEBAA07-5EB5-4B80-B0A3-EEF813845D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2" y="2108"/>
                <a:ext cx="419" cy="350"/>
              </a:xfrm>
              <a:custGeom>
                <a:avLst/>
                <a:gdLst>
                  <a:gd name="T0" fmla="*/ 92 w 419"/>
                  <a:gd name="T1" fmla="*/ 350 h 350"/>
                  <a:gd name="T2" fmla="*/ 0 w 419"/>
                  <a:gd name="T3" fmla="*/ 307 h 350"/>
                  <a:gd name="T4" fmla="*/ 401 w 419"/>
                  <a:gd name="T5" fmla="*/ 0 h 350"/>
                  <a:gd name="T6" fmla="*/ 419 w 419"/>
                  <a:gd name="T7" fmla="*/ 100 h 350"/>
                  <a:gd name="T8" fmla="*/ 92 w 419"/>
                  <a:gd name="T9" fmla="*/ 35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9" h="350">
                    <a:moveTo>
                      <a:pt x="92" y="350"/>
                    </a:moveTo>
                    <a:lnTo>
                      <a:pt x="0" y="307"/>
                    </a:lnTo>
                    <a:lnTo>
                      <a:pt x="401" y="0"/>
                    </a:lnTo>
                    <a:lnTo>
                      <a:pt x="419" y="100"/>
                    </a:lnTo>
                    <a:lnTo>
                      <a:pt x="92" y="350"/>
                    </a:lnTo>
                    <a:close/>
                  </a:path>
                </a:pathLst>
              </a:custGeom>
              <a:solidFill>
                <a:srgbClr val="4849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604">
                <a:extLst>
                  <a:ext uri="{FF2B5EF4-FFF2-40B4-BE49-F238E27FC236}">
                    <a16:creationId xmlns:a16="http://schemas.microsoft.com/office/drawing/2014/main" id="{29E30B18-E14C-46AF-9209-C1071BEE47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7" y="2113"/>
                <a:ext cx="395" cy="305"/>
              </a:xfrm>
              <a:custGeom>
                <a:avLst/>
                <a:gdLst>
                  <a:gd name="T0" fmla="*/ 11 w 395"/>
                  <a:gd name="T1" fmla="*/ 305 h 305"/>
                  <a:gd name="T2" fmla="*/ 0 w 395"/>
                  <a:gd name="T3" fmla="*/ 300 h 305"/>
                  <a:gd name="T4" fmla="*/ 393 w 395"/>
                  <a:gd name="T5" fmla="*/ 0 h 305"/>
                  <a:gd name="T6" fmla="*/ 395 w 395"/>
                  <a:gd name="T7" fmla="*/ 12 h 305"/>
                  <a:gd name="T8" fmla="*/ 11 w 395"/>
                  <a:gd name="T9" fmla="*/ 305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05">
                    <a:moveTo>
                      <a:pt x="11" y="305"/>
                    </a:moveTo>
                    <a:lnTo>
                      <a:pt x="0" y="300"/>
                    </a:lnTo>
                    <a:lnTo>
                      <a:pt x="393" y="0"/>
                    </a:lnTo>
                    <a:lnTo>
                      <a:pt x="395" y="12"/>
                    </a:lnTo>
                    <a:lnTo>
                      <a:pt x="11" y="305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605">
                <a:extLst>
                  <a:ext uri="{FF2B5EF4-FFF2-40B4-BE49-F238E27FC236}">
                    <a16:creationId xmlns:a16="http://schemas.microsoft.com/office/drawing/2014/main" id="{771DFA5F-2B43-4889-8997-6DDC5912F1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1" y="2404"/>
                <a:ext cx="91" cy="51"/>
              </a:xfrm>
              <a:custGeom>
                <a:avLst/>
                <a:gdLst>
                  <a:gd name="T0" fmla="*/ 91 w 91"/>
                  <a:gd name="T1" fmla="*/ 37 h 51"/>
                  <a:gd name="T2" fmla="*/ 74 w 91"/>
                  <a:gd name="T3" fmla="*/ 51 h 51"/>
                  <a:gd name="T4" fmla="*/ 0 w 91"/>
                  <a:gd name="T5" fmla="*/ 16 h 51"/>
                  <a:gd name="T6" fmla="*/ 21 w 91"/>
                  <a:gd name="T7" fmla="*/ 0 h 51"/>
                  <a:gd name="T8" fmla="*/ 91 w 91"/>
                  <a:gd name="T9" fmla="*/ 3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51">
                    <a:moveTo>
                      <a:pt x="91" y="37"/>
                    </a:moveTo>
                    <a:lnTo>
                      <a:pt x="74" y="51"/>
                    </a:lnTo>
                    <a:lnTo>
                      <a:pt x="0" y="16"/>
                    </a:lnTo>
                    <a:lnTo>
                      <a:pt x="21" y="0"/>
                    </a:lnTo>
                    <a:lnTo>
                      <a:pt x="91" y="37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606">
                <a:extLst>
                  <a:ext uri="{FF2B5EF4-FFF2-40B4-BE49-F238E27FC236}">
                    <a16:creationId xmlns:a16="http://schemas.microsoft.com/office/drawing/2014/main" id="{D51B12FC-72A0-4A27-93A7-8699ED5F1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2" y="2129"/>
                <a:ext cx="35" cy="92"/>
              </a:xfrm>
              <a:custGeom>
                <a:avLst/>
                <a:gdLst>
                  <a:gd name="T0" fmla="*/ 35 w 35"/>
                  <a:gd name="T1" fmla="*/ 79 h 92"/>
                  <a:gd name="T2" fmla="*/ 18 w 35"/>
                  <a:gd name="T3" fmla="*/ 92 h 92"/>
                  <a:gd name="T4" fmla="*/ 0 w 35"/>
                  <a:gd name="T5" fmla="*/ 16 h 92"/>
                  <a:gd name="T6" fmla="*/ 21 w 35"/>
                  <a:gd name="T7" fmla="*/ 0 h 92"/>
                  <a:gd name="T8" fmla="*/ 35 w 35"/>
                  <a:gd name="T9" fmla="*/ 7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92">
                    <a:moveTo>
                      <a:pt x="35" y="79"/>
                    </a:moveTo>
                    <a:lnTo>
                      <a:pt x="18" y="92"/>
                    </a:lnTo>
                    <a:lnTo>
                      <a:pt x="0" y="16"/>
                    </a:lnTo>
                    <a:lnTo>
                      <a:pt x="21" y="0"/>
                    </a:lnTo>
                    <a:lnTo>
                      <a:pt x="35" y="79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" name="Freeform 608">
              <a:extLst>
                <a:ext uri="{FF2B5EF4-FFF2-40B4-BE49-F238E27FC236}">
                  <a16:creationId xmlns:a16="http://schemas.microsoft.com/office/drawing/2014/main" id="{1C033AF9-1F6B-4543-A719-DD0B422BA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7550" y="3503613"/>
              <a:ext cx="333375" cy="284163"/>
            </a:xfrm>
            <a:custGeom>
              <a:avLst/>
              <a:gdLst>
                <a:gd name="T0" fmla="*/ 210 w 210"/>
                <a:gd name="T1" fmla="*/ 53 h 179"/>
                <a:gd name="T2" fmla="*/ 46 w 210"/>
                <a:gd name="T3" fmla="*/ 179 h 179"/>
                <a:gd name="T4" fmla="*/ 0 w 210"/>
                <a:gd name="T5" fmla="*/ 143 h 179"/>
                <a:gd name="T6" fmla="*/ 187 w 210"/>
                <a:gd name="T7" fmla="*/ 0 h 179"/>
                <a:gd name="T8" fmla="*/ 210 w 210"/>
                <a:gd name="T9" fmla="*/ 5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179">
                  <a:moveTo>
                    <a:pt x="210" y="53"/>
                  </a:moveTo>
                  <a:lnTo>
                    <a:pt x="46" y="179"/>
                  </a:lnTo>
                  <a:lnTo>
                    <a:pt x="0" y="143"/>
                  </a:lnTo>
                  <a:lnTo>
                    <a:pt x="187" y="0"/>
                  </a:lnTo>
                  <a:lnTo>
                    <a:pt x="210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09">
              <a:extLst>
                <a:ext uri="{FF2B5EF4-FFF2-40B4-BE49-F238E27FC236}">
                  <a16:creationId xmlns:a16="http://schemas.microsoft.com/office/drawing/2014/main" id="{BA64B51C-C1B5-477D-A7B6-8262EAFEA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1238" y="3489326"/>
              <a:ext cx="138113" cy="134938"/>
            </a:xfrm>
            <a:custGeom>
              <a:avLst/>
              <a:gdLst>
                <a:gd name="T0" fmla="*/ 87 w 87"/>
                <a:gd name="T1" fmla="*/ 28 h 85"/>
                <a:gd name="T2" fmla="*/ 12 w 87"/>
                <a:gd name="T3" fmla="*/ 85 h 85"/>
                <a:gd name="T4" fmla="*/ 0 w 87"/>
                <a:gd name="T5" fmla="*/ 61 h 85"/>
                <a:gd name="T6" fmla="*/ 80 w 87"/>
                <a:gd name="T7" fmla="*/ 0 h 85"/>
                <a:gd name="T8" fmla="*/ 87 w 87"/>
                <a:gd name="T9" fmla="*/ 2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5">
                  <a:moveTo>
                    <a:pt x="87" y="28"/>
                  </a:moveTo>
                  <a:lnTo>
                    <a:pt x="12" y="85"/>
                  </a:lnTo>
                  <a:lnTo>
                    <a:pt x="0" y="61"/>
                  </a:lnTo>
                  <a:lnTo>
                    <a:pt x="80" y="0"/>
                  </a:lnTo>
                  <a:lnTo>
                    <a:pt x="87" y="28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10">
              <a:extLst>
                <a:ext uri="{FF2B5EF4-FFF2-40B4-BE49-F238E27FC236}">
                  <a16:creationId xmlns:a16="http://schemas.microsoft.com/office/drawing/2014/main" id="{0527022F-535B-4DD9-89B6-4D65BF587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650" y="3484563"/>
              <a:ext cx="128588" cy="101600"/>
            </a:xfrm>
            <a:custGeom>
              <a:avLst/>
              <a:gdLst>
                <a:gd name="T0" fmla="*/ 81 w 81"/>
                <a:gd name="T1" fmla="*/ 0 h 64"/>
                <a:gd name="T2" fmla="*/ 0 w 81"/>
                <a:gd name="T3" fmla="*/ 62 h 64"/>
                <a:gd name="T4" fmla="*/ 1 w 81"/>
                <a:gd name="T5" fmla="*/ 64 h 64"/>
                <a:gd name="T6" fmla="*/ 81 w 81"/>
                <a:gd name="T7" fmla="*/ 3 h 64"/>
                <a:gd name="T8" fmla="*/ 81 w 81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64">
                  <a:moveTo>
                    <a:pt x="81" y="0"/>
                  </a:moveTo>
                  <a:lnTo>
                    <a:pt x="0" y="62"/>
                  </a:lnTo>
                  <a:lnTo>
                    <a:pt x="1" y="64"/>
                  </a:lnTo>
                  <a:lnTo>
                    <a:pt x="81" y="3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565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611">
              <a:extLst>
                <a:ext uri="{FF2B5EF4-FFF2-40B4-BE49-F238E27FC236}">
                  <a16:creationId xmlns:a16="http://schemas.microsoft.com/office/drawing/2014/main" id="{676A0FFC-AFD5-4A9A-B9A5-3686F89988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0763" y="3568701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2 w 16"/>
                <a:gd name="T3" fmla="*/ 14 h 14"/>
                <a:gd name="T4" fmla="*/ 0 w 16"/>
                <a:gd name="T5" fmla="*/ 11 h 14"/>
                <a:gd name="T6" fmla="*/ 14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2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F5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12">
              <a:extLst>
                <a:ext uri="{FF2B5EF4-FFF2-40B4-BE49-F238E27FC236}">
                  <a16:creationId xmlns:a16="http://schemas.microsoft.com/office/drawing/2014/main" id="{6C93903C-03B2-4706-A562-55EE8543C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0925" y="3546476"/>
              <a:ext cx="25400" cy="23813"/>
            </a:xfrm>
            <a:custGeom>
              <a:avLst/>
              <a:gdLst>
                <a:gd name="T0" fmla="*/ 16 w 16"/>
                <a:gd name="T1" fmla="*/ 3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3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3"/>
                  </a:lnTo>
                  <a:close/>
                </a:path>
              </a:pathLst>
            </a:custGeom>
            <a:solidFill>
              <a:srgbClr val="FFE0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613">
              <a:extLst>
                <a:ext uri="{FF2B5EF4-FFF2-40B4-BE49-F238E27FC236}">
                  <a16:creationId xmlns:a16="http://schemas.microsoft.com/office/drawing/2014/main" id="{DC35686E-620F-42C6-8BA3-46D1B3686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9663" y="3500438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14">
              <a:extLst>
                <a:ext uri="{FF2B5EF4-FFF2-40B4-BE49-F238E27FC236}">
                  <a16:creationId xmlns:a16="http://schemas.microsoft.com/office/drawing/2014/main" id="{827AC62D-B1B5-41F2-9B17-D26774D43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9500" y="3522663"/>
              <a:ext cx="25400" cy="25400"/>
            </a:xfrm>
            <a:custGeom>
              <a:avLst/>
              <a:gdLst>
                <a:gd name="T0" fmla="*/ 16 w 16"/>
                <a:gd name="T1" fmla="*/ 5 h 16"/>
                <a:gd name="T2" fmla="*/ 2 w 16"/>
                <a:gd name="T3" fmla="*/ 16 h 16"/>
                <a:gd name="T4" fmla="*/ 0 w 16"/>
                <a:gd name="T5" fmla="*/ 11 h 16"/>
                <a:gd name="T6" fmla="*/ 15 w 16"/>
                <a:gd name="T7" fmla="*/ 0 h 16"/>
                <a:gd name="T8" fmla="*/ 16 w 16"/>
                <a:gd name="T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6" y="5"/>
                  </a:moveTo>
                  <a:lnTo>
                    <a:pt x="2" y="16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5"/>
                  </a:lnTo>
                  <a:close/>
                </a:path>
              </a:pathLst>
            </a:custGeom>
            <a:solidFill>
              <a:srgbClr val="E3C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15">
              <a:extLst>
                <a:ext uri="{FF2B5EF4-FFF2-40B4-BE49-F238E27FC236}">
                  <a16:creationId xmlns:a16="http://schemas.microsoft.com/office/drawing/2014/main" id="{6160D349-D2DE-44CE-AF40-D681FBECF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3938" y="3576638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2 w 16"/>
                <a:gd name="T3" fmla="*/ 15 h 15"/>
                <a:gd name="T4" fmla="*/ 0 w 16"/>
                <a:gd name="T5" fmla="*/ 11 h 15"/>
                <a:gd name="T6" fmla="*/ 15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F1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16">
              <a:extLst>
                <a:ext uri="{FF2B5EF4-FFF2-40B4-BE49-F238E27FC236}">
                  <a16:creationId xmlns:a16="http://schemas.microsoft.com/office/drawing/2014/main" id="{06D22AD4-72E1-4832-82B5-7E09B6538F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4100" y="3554413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FFD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17">
              <a:extLst>
                <a:ext uri="{FF2B5EF4-FFF2-40B4-BE49-F238E27FC236}">
                  <a16:creationId xmlns:a16="http://schemas.microsoft.com/office/drawing/2014/main" id="{216D32CE-0916-4096-8AD1-78C07D997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2838" y="3509963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A6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618">
              <a:extLst>
                <a:ext uri="{FF2B5EF4-FFF2-40B4-BE49-F238E27FC236}">
                  <a16:creationId xmlns:a16="http://schemas.microsoft.com/office/drawing/2014/main" id="{5CA55864-B949-4EA3-9161-FEF99405E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2675" y="3532188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2 w 16"/>
                <a:gd name="T3" fmla="*/ 15 h 15"/>
                <a:gd name="T4" fmla="*/ 0 w 16"/>
                <a:gd name="T5" fmla="*/ 11 h 15"/>
                <a:gd name="T6" fmla="*/ 15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E3B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19">
              <a:extLst>
                <a:ext uri="{FF2B5EF4-FFF2-40B4-BE49-F238E27FC236}">
                  <a16:creationId xmlns:a16="http://schemas.microsoft.com/office/drawing/2014/main" id="{0D60DE89-A7E8-4100-9D37-0288D2279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8700" y="3584576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EE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620">
              <a:extLst>
                <a:ext uri="{FF2B5EF4-FFF2-40B4-BE49-F238E27FC236}">
                  <a16:creationId xmlns:a16="http://schemas.microsoft.com/office/drawing/2014/main" id="{659895D8-C548-497F-A1FA-24BF93DA3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7275" y="3562351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CA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21">
              <a:extLst>
                <a:ext uri="{FF2B5EF4-FFF2-40B4-BE49-F238E27FC236}">
                  <a16:creationId xmlns:a16="http://schemas.microsoft.com/office/drawing/2014/main" id="{963DC246-A006-4DCF-A071-253A0474D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4425" y="3519488"/>
              <a:ext cx="25400" cy="22225"/>
            </a:xfrm>
            <a:custGeom>
              <a:avLst/>
              <a:gdLst>
                <a:gd name="T0" fmla="*/ 16 w 16"/>
                <a:gd name="T1" fmla="*/ 3 h 14"/>
                <a:gd name="T2" fmla="*/ 1 w 16"/>
                <a:gd name="T3" fmla="*/ 14 h 14"/>
                <a:gd name="T4" fmla="*/ 0 w 16"/>
                <a:gd name="T5" fmla="*/ 11 h 14"/>
                <a:gd name="T6" fmla="*/ 15 w 16"/>
                <a:gd name="T7" fmla="*/ 0 h 14"/>
                <a:gd name="T8" fmla="*/ 16 w 16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3"/>
                  </a:moveTo>
                  <a:lnTo>
                    <a:pt x="1" y="14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3"/>
                  </a:lnTo>
                  <a:close/>
                </a:path>
              </a:pathLst>
            </a:custGeom>
            <a:solidFill>
              <a:srgbClr val="E68B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22">
              <a:extLst>
                <a:ext uri="{FF2B5EF4-FFF2-40B4-BE49-F238E27FC236}">
                  <a16:creationId xmlns:a16="http://schemas.microsoft.com/office/drawing/2014/main" id="{676B4274-BD0F-4CBC-B5B2-227CA324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5850" y="3541713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1 w 16"/>
                <a:gd name="T3" fmla="*/ 14 h 14"/>
                <a:gd name="T4" fmla="*/ 0 w 16"/>
                <a:gd name="T5" fmla="*/ 10 h 14"/>
                <a:gd name="T6" fmla="*/ 15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E39E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23">
              <a:extLst>
                <a:ext uri="{FF2B5EF4-FFF2-40B4-BE49-F238E27FC236}">
                  <a16:creationId xmlns:a16="http://schemas.microsoft.com/office/drawing/2014/main" id="{7C75FA3E-26B3-4C74-B513-6C618AD3C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1875" y="3592513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2 w 16"/>
                <a:gd name="T3" fmla="*/ 14 h 14"/>
                <a:gd name="T4" fmla="*/ 0 w 16"/>
                <a:gd name="T5" fmla="*/ 11 h 14"/>
                <a:gd name="T6" fmla="*/ 14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2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E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24">
              <a:extLst>
                <a:ext uri="{FF2B5EF4-FFF2-40B4-BE49-F238E27FC236}">
                  <a16:creationId xmlns:a16="http://schemas.microsoft.com/office/drawing/2014/main" id="{0DAAA780-59AE-458A-BD71-2955C208C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0450" y="3570288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2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CCC7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25">
              <a:extLst>
                <a:ext uri="{FF2B5EF4-FFF2-40B4-BE49-F238E27FC236}">
                  <a16:creationId xmlns:a16="http://schemas.microsoft.com/office/drawing/2014/main" id="{635FAE51-2045-47DB-ABB6-B8832FBFC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7600" y="3527426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26">
              <a:extLst>
                <a:ext uri="{FF2B5EF4-FFF2-40B4-BE49-F238E27FC236}">
                  <a16:creationId xmlns:a16="http://schemas.microsoft.com/office/drawing/2014/main" id="{5AE8E328-48AB-45AB-A7AE-7EE5B04367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9025" y="3549651"/>
              <a:ext cx="23813" cy="22225"/>
            </a:xfrm>
            <a:custGeom>
              <a:avLst/>
              <a:gdLst>
                <a:gd name="T0" fmla="*/ 15 w 15"/>
                <a:gd name="T1" fmla="*/ 4 h 14"/>
                <a:gd name="T2" fmla="*/ 1 w 15"/>
                <a:gd name="T3" fmla="*/ 14 h 14"/>
                <a:gd name="T4" fmla="*/ 0 w 15"/>
                <a:gd name="T5" fmla="*/ 11 h 14"/>
                <a:gd name="T6" fmla="*/ 14 w 15"/>
                <a:gd name="T7" fmla="*/ 0 h 14"/>
                <a:gd name="T8" fmla="*/ 15 w 15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15" y="4"/>
                  </a:moveTo>
                  <a:lnTo>
                    <a:pt x="1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39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27">
              <a:extLst>
                <a:ext uri="{FF2B5EF4-FFF2-40B4-BE49-F238E27FC236}">
                  <a16:creationId xmlns:a16="http://schemas.microsoft.com/office/drawing/2014/main" id="{D319F6EA-9460-43FD-AD85-AAAD443A9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3489326"/>
              <a:ext cx="7938" cy="7938"/>
            </a:xfrm>
            <a:custGeom>
              <a:avLst/>
              <a:gdLst>
                <a:gd name="T0" fmla="*/ 5 w 5"/>
                <a:gd name="T1" fmla="*/ 2 h 5"/>
                <a:gd name="T2" fmla="*/ 0 w 5"/>
                <a:gd name="T3" fmla="*/ 5 h 5"/>
                <a:gd name="T4" fmla="*/ 0 w 5"/>
                <a:gd name="T5" fmla="*/ 3 h 5"/>
                <a:gd name="T6" fmla="*/ 5 w 5"/>
                <a:gd name="T7" fmla="*/ 0 h 5"/>
                <a:gd name="T8" fmla="*/ 5 w 5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5" y="2"/>
                  </a:moveTo>
                  <a:lnTo>
                    <a:pt x="0" y="5"/>
                  </a:lnTo>
                  <a:lnTo>
                    <a:pt x="0" y="3"/>
                  </a:lnTo>
                  <a:lnTo>
                    <a:pt x="5" y="0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28">
              <a:extLst>
                <a:ext uri="{FF2B5EF4-FFF2-40B4-BE49-F238E27FC236}">
                  <a16:creationId xmlns:a16="http://schemas.microsoft.com/office/drawing/2014/main" id="{AF6BDD5D-060D-45F9-9F95-2F67E3521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3490913"/>
              <a:ext cx="4763" cy="4763"/>
            </a:xfrm>
            <a:custGeom>
              <a:avLst/>
              <a:gdLst>
                <a:gd name="T0" fmla="*/ 1 w 3"/>
                <a:gd name="T1" fmla="*/ 3 h 3"/>
                <a:gd name="T2" fmla="*/ 0 w 3"/>
                <a:gd name="T3" fmla="*/ 3 h 3"/>
                <a:gd name="T4" fmla="*/ 0 w 3"/>
                <a:gd name="T5" fmla="*/ 3 h 3"/>
                <a:gd name="T6" fmla="*/ 3 w 3"/>
                <a:gd name="T7" fmla="*/ 0 h 3"/>
                <a:gd name="T8" fmla="*/ 3 w 3"/>
                <a:gd name="T9" fmla="*/ 0 h 3"/>
                <a:gd name="T10" fmla="*/ 3 w 3"/>
                <a:gd name="T11" fmla="*/ 0 h 3"/>
                <a:gd name="T12" fmla="*/ 1 w 3"/>
                <a:gd name="T13" fmla="*/ 3 h 3"/>
                <a:gd name="T14" fmla="*/ 1 w 3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3"/>
                  </a:lnTo>
                  <a:lnTo>
                    <a:pt x="1" y="3"/>
                  </a:lnTo>
                  <a:close/>
                </a:path>
              </a:pathLst>
            </a:custGeom>
            <a:solidFill>
              <a:srgbClr val="4849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629">
              <a:extLst>
                <a:ext uri="{FF2B5EF4-FFF2-40B4-BE49-F238E27FC236}">
                  <a16:creationId xmlns:a16="http://schemas.microsoft.com/office/drawing/2014/main" id="{451361B5-F0C6-447C-9DB5-1D230D128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3492501"/>
              <a:ext cx="4763" cy="1588"/>
            </a:xfrm>
            <a:custGeom>
              <a:avLst/>
              <a:gdLst>
                <a:gd name="T0" fmla="*/ 3 w 3"/>
                <a:gd name="T1" fmla="*/ 0 h 1"/>
                <a:gd name="T2" fmla="*/ 3 w 3"/>
                <a:gd name="T3" fmla="*/ 1 h 1"/>
                <a:gd name="T4" fmla="*/ 0 w 3"/>
                <a:gd name="T5" fmla="*/ 1 h 1"/>
                <a:gd name="T6" fmla="*/ 0 w 3"/>
                <a:gd name="T7" fmla="*/ 1 h 1"/>
                <a:gd name="T8" fmla="*/ 1 w 3"/>
                <a:gd name="T9" fmla="*/ 1 h 1"/>
                <a:gd name="T10" fmla="*/ 3 w 3"/>
                <a:gd name="T11" fmla="*/ 0 h 1"/>
                <a:gd name="T12" fmla="*/ 3 w 3"/>
                <a:gd name="T13" fmla="*/ 0 h 1"/>
                <a:gd name="T14" fmla="*/ 3 w 3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lnTo>
                    <a:pt x="3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4849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630">
              <a:extLst>
                <a:ext uri="{FF2B5EF4-FFF2-40B4-BE49-F238E27FC236}">
                  <a16:creationId xmlns:a16="http://schemas.microsoft.com/office/drawing/2014/main" id="{398C4447-9083-4DB6-BC77-B9CA5FE9D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175" y="3330576"/>
              <a:ext cx="657225" cy="504825"/>
            </a:xfrm>
            <a:custGeom>
              <a:avLst/>
              <a:gdLst>
                <a:gd name="T0" fmla="*/ 718 w 756"/>
                <a:gd name="T1" fmla="*/ 21 h 583"/>
                <a:gd name="T2" fmla="*/ 27 w 756"/>
                <a:gd name="T3" fmla="*/ 550 h 583"/>
                <a:gd name="T4" fmla="*/ 1 w 756"/>
                <a:gd name="T5" fmla="*/ 583 h 583"/>
                <a:gd name="T6" fmla="*/ 756 w 756"/>
                <a:gd name="T7" fmla="*/ 5 h 583"/>
                <a:gd name="T8" fmla="*/ 718 w 756"/>
                <a:gd name="T9" fmla="*/ 21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6" h="583">
                  <a:moveTo>
                    <a:pt x="718" y="21"/>
                  </a:moveTo>
                  <a:cubicBezTo>
                    <a:pt x="27" y="550"/>
                    <a:pt x="27" y="550"/>
                    <a:pt x="27" y="550"/>
                  </a:cubicBezTo>
                  <a:cubicBezTo>
                    <a:pt x="14" y="560"/>
                    <a:pt x="0" y="567"/>
                    <a:pt x="1" y="583"/>
                  </a:cubicBezTo>
                  <a:cubicBezTo>
                    <a:pt x="756" y="5"/>
                    <a:pt x="756" y="5"/>
                    <a:pt x="756" y="5"/>
                  </a:cubicBezTo>
                  <a:cubicBezTo>
                    <a:pt x="741" y="0"/>
                    <a:pt x="731" y="11"/>
                    <a:pt x="718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31">
              <a:extLst>
                <a:ext uri="{FF2B5EF4-FFF2-40B4-BE49-F238E27FC236}">
                  <a16:creationId xmlns:a16="http://schemas.microsoft.com/office/drawing/2014/main" id="{03531EE7-D46C-4161-9530-DC499F742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8063" y="3836988"/>
              <a:ext cx="176213" cy="161925"/>
            </a:xfrm>
            <a:custGeom>
              <a:avLst/>
              <a:gdLst>
                <a:gd name="T0" fmla="*/ 111 w 111"/>
                <a:gd name="T1" fmla="*/ 40 h 102"/>
                <a:gd name="T2" fmla="*/ 31 w 111"/>
                <a:gd name="T3" fmla="*/ 102 h 102"/>
                <a:gd name="T4" fmla="*/ 0 w 111"/>
                <a:gd name="T5" fmla="*/ 61 h 102"/>
                <a:gd name="T6" fmla="*/ 80 w 111"/>
                <a:gd name="T7" fmla="*/ 0 h 102"/>
                <a:gd name="T8" fmla="*/ 111 w 111"/>
                <a:gd name="T9" fmla="*/ 4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02">
                  <a:moveTo>
                    <a:pt x="111" y="40"/>
                  </a:moveTo>
                  <a:lnTo>
                    <a:pt x="31" y="102"/>
                  </a:lnTo>
                  <a:lnTo>
                    <a:pt x="0" y="61"/>
                  </a:lnTo>
                  <a:lnTo>
                    <a:pt x="80" y="0"/>
                  </a:lnTo>
                  <a:lnTo>
                    <a:pt x="111" y="4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632">
              <a:extLst>
                <a:ext uri="{FF2B5EF4-FFF2-40B4-BE49-F238E27FC236}">
                  <a16:creationId xmlns:a16="http://schemas.microsoft.com/office/drawing/2014/main" id="{DFF6CF30-4281-46B8-89A4-D9E9633B7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0738" y="4129088"/>
              <a:ext cx="403225" cy="577850"/>
            </a:xfrm>
            <a:custGeom>
              <a:avLst/>
              <a:gdLst>
                <a:gd name="T0" fmla="*/ 293 w 464"/>
                <a:gd name="T1" fmla="*/ 478 h 665"/>
                <a:gd name="T2" fmla="*/ 70 w 464"/>
                <a:gd name="T3" fmla="*/ 26 h 665"/>
                <a:gd name="T4" fmla="*/ 62 w 464"/>
                <a:gd name="T5" fmla="*/ 0 h 665"/>
                <a:gd name="T6" fmla="*/ 0 w 464"/>
                <a:gd name="T7" fmla="*/ 20 h 665"/>
                <a:gd name="T8" fmla="*/ 143 w 464"/>
                <a:gd name="T9" fmla="*/ 573 h 665"/>
                <a:gd name="T10" fmla="*/ 411 w 464"/>
                <a:gd name="T11" fmla="*/ 641 h 665"/>
                <a:gd name="T12" fmla="*/ 293 w 464"/>
                <a:gd name="T13" fmla="*/ 478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4" h="665">
                  <a:moveTo>
                    <a:pt x="293" y="478"/>
                  </a:moveTo>
                  <a:cubicBezTo>
                    <a:pt x="293" y="478"/>
                    <a:pt x="126" y="140"/>
                    <a:pt x="70" y="26"/>
                  </a:cubicBezTo>
                  <a:cubicBezTo>
                    <a:pt x="66" y="18"/>
                    <a:pt x="63" y="9"/>
                    <a:pt x="62" y="0"/>
                  </a:cubicBezTo>
                  <a:cubicBezTo>
                    <a:pt x="41" y="6"/>
                    <a:pt x="20" y="11"/>
                    <a:pt x="0" y="20"/>
                  </a:cubicBezTo>
                  <a:cubicBezTo>
                    <a:pt x="44" y="209"/>
                    <a:pt x="125" y="551"/>
                    <a:pt x="143" y="573"/>
                  </a:cubicBezTo>
                  <a:cubicBezTo>
                    <a:pt x="203" y="644"/>
                    <a:pt x="276" y="665"/>
                    <a:pt x="411" y="641"/>
                  </a:cubicBezTo>
                  <a:cubicBezTo>
                    <a:pt x="462" y="631"/>
                    <a:pt x="464" y="511"/>
                    <a:pt x="293" y="478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633">
              <a:extLst>
                <a:ext uri="{FF2B5EF4-FFF2-40B4-BE49-F238E27FC236}">
                  <a16:creationId xmlns:a16="http://schemas.microsoft.com/office/drawing/2014/main" id="{EB889C93-F9D8-4A34-B5AE-D20C1FD40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2488" y="3984626"/>
              <a:ext cx="60325" cy="120650"/>
            </a:xfrm>
            <a:custGeom>
              <a:avLst/>
              <a:gdLst>
                <a:gd name="T0" fmla="*/ 0 w 69"/>
                <a:gd name="T1" fmla="*/ 64 h 139"/>
                <a:gd name="T2" fmla="*/ 56 w 69"/>
                <a:gd name="T3" fmla="*/ 3 h 139"/>
                <a:gd name="T4" fmla="*/ 65 w 69"/>
                <a:gd name="T5" fmla="*/ 15 h 139"/>
                <a:gd name="T6" fmla="*/ 25 w 69"/>
                <a:gd name="T7" fmla="*/ 139 h 139"/>
                <a:gd name="T8" fmla="*/ 0 w 69"/>
                <a:gd name="T9" fmla="*/ 64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39">
                  <a:moveTo>
                    <a:pt x="0" y="64"/>
                  </a:moveTo>
                  <a:cubicBezTo>
                    <a:pt x="56" y="3"/>
                    <a:pt x="56" y="3"/>
                    <a:pt x="56" y="3"/>
                  </a:cubicBezTo>
                  <a:cubicBezTo>
                    <a:pt x="63" y="0"/>
                    <a:pt x="69" y="8"/>
                    <a:pt x="65" y="15"/>
                  </a:cubicBezTo>
                  <a:cubicBezTo>
                    <a:pt x="25" y="139"/>
                    <a:pt x="25" y="139"/>
                    <a:pt x="25" y="139"/>
                  </a:cubicBezTo>
                  <a:lnTo>
                    <a:pt x="0" y="6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34">
              <a:extLst>
                <a:ext uri="{FF2B5EF4-FFF2-40B4-BE49-F238E27FC236}">
                  <a16:creationId xmlns:a16="http://schemas.microsoft.com/office/drawing/2014/main" id="{DC216905-5A27-4939-A250-36C96EF56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825" y="3862388"/>
              <a:ext cx="128588" cy="325438"/>
            </a:xfrm>
            <a:custGeom>
              <a:avLst/>
              <a:gdLst>
                <a:gd name="T0" fmla="*/ 76 w 147"/>
                <a:gd name="T1" fmla="*/ 364 h 375"/>
                <a:gd name="T2" fmla="*/ 4 w 147"/>
                <a:gd name="T3" fmla="*/ 188 h 375"/>
                <a:gd name="T4" fmla="*/ 21 w 147"/>
                <a:gd name="T5" fmla="*/ 71 h 375"/>
                <a:gd name="T6" fmla="*/ 100 w 147"/>
                <a:gd name="T7" fmla="*/ 12 h 375"/>
                <a:gd name="T8" fmla="*/ 118 w 147"/>
                <a:gd name="T9" fmla="*/ 196 h 375"/>
                <a:gd name="T10" fmla="*/ 139 w 147"/>
                <a:gd name="T11" fmla="*/ 264 h 375"/>
                <a:gd name="T12" fmla="*/ 132 w 147"/>
                <a:gd name="T13" fmla="*/ 310 h 375"/>
                <a:gd name="T14" fmla="*/ 141 w 147"/>
                <a:gd name="T15" fmla="*/ 375 h 375"/>
                <a:gd name="T16" fmla="*/ 76 w 147"/>
                <a:gd name="T17" fmla="*/ 36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375">
                  <a:moveTo>
                    <a:pt x="76" y="364"/>
                  </a:moveTo>
                  <a:cubicBezTo>
                    <a:pt x="76" y="364"/>
                    <a:pt x="9" y="235"/>
                    <a:pt x="4" y="188"/>
                  </a:cubicBezTo>
                  <a:cubicBezTo>
                    <a:pt x="0" y="152"/>
                    <a:pt x="21" y="71"/>
                    <a:pt x="21" y="71"/>
                  </a:cubicBezTo>
                  <a:cubicBezTo>
                    <a:pt x="24" y="65"/>
                    <a:pt x="85" y="0"/>
                    <a:pt x="100" y="12"/>
                  </a:cubicBezTo>
                  <a:cubicBezTo>
                    <a:pt x="139" y="42"/>
                    <a:pt x="118" y="196"/>
                    <a:pt x="118" y="196"/>
                  </a:cubicBezTo>
                  <a:cubicBezTo>
                    <a:pt x="118" y="196"/>
                    <a:pt x="147" y="237"/>
                    <a:pt x="139" y="264"/>
                  </a:cubicBezTo>
                  <a:cubicBezTo>
                    <a:pt x="132" y="310"/>
                    <a:pt x="132" y="310"/>
                    <a:pt x="132" y="310"/>
                  </a:cubicBezTo>
                  <a:cubicBezTo>
                    <a:pt x="141" y="375"/>
                    <a:pt x="141" y="375"/>
                    <a:pt x="141" y="375"/>
                  </a:cubicBezTo>
                  <a:lnTo>
                    <a:pt x="76" y="36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35">
              <a:extLst>
                <a:ext uri="{FF2B5EF4-FFF2-40B4-BE49-F238E27FC236}">
                  <a16:creationId xmlns:a16="http://schemas.microsoft.com/office/drawing/2014/main" id="{C3923817-D74E-4B33-8C58-146872B63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2125" y="1884363"/>
              <a:ext cx="125413" cy="74613"/>
            </a:xfrm>
            <a:custGeom>
              <a:avLst/>
              <a:gdLst>
                <a:gd name="T0" fmla="*/ 102 w 143"/>
                <a:gd name="T1" fmla="*/ 80 h 85"/>
                <a:gd name="T2" fmla="*/ 8 w 143"/>
                <a:gd name="T3" fmla="*/ 85 h 85"/>
                <a:gd name="T4" fmla="*/ 10 w 143"/>
                <a:gd name="T5" fmla="*/ 67 h 85"/>
                <a:gd name="T6" fmla="*/ 143 w 143"/>
                <a:gd name="T7" fmla="*/ 0 h 85"/>
                <a:gd name="T8" fmla="*/ 102 w 143"/>
                <a:gd name="T9" fmla="*/ 8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85">
                  <a:moveTo>
                    <a:pt x="102" y="80"/>
                  </a:moveTo>
                  <a:cubicBezTo>
                    <a:pt x="8" y="85"/>
                    <a:pt x="8" y="85"/>
                    <a:pt x="8" y="85"/>
                  </a:cubicBezTo>
                  <a:cubicBezTo>
                    <a:pt x="0" y="81"/>
                    <a:pt x="2" y="69"/>
                    <a:pt x="10" y="67"/>
                  </a:cubicBezTo>
                  <a:cubicBezTo>
                    <a:pt x="143" y="0"/>
                    <a:pt x="143" y="0"/>
                    <a:pt x="143" y="0"/>
                  </a:cubicBezTo>
                  <a:lnTo>
                    <a:pt x="102" y="8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36">
              <a:extLst>
                <a:ext uri="{FF2B5EF4-FFF2-40B4-BE49-F238E27FC236}">
                  <a16:creationId xmlns:a16="http://schemas.microsoft.com/office/drawing/2014/main" id="{7426A101-A58E-46C2-B49A-4FE6C36D8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0" y="1812926"/>
              <a:ext cx="269875" cy="300038"/>
            </a:xfrm>
            <a:custGeom>
              <a:avLst/>
              <a:gdLst>
                <a:gd name="T0" fmla="*/ 310 w 310"/>
                <a:gd name="T1" fmla="*/ 62 h 347"/>
                <a:gd name="T2" fmla="*/ 227 w 310"/>
                <a:gd name="T3" fmla="*/ 262 h 347"/>
                <a:gd name="T4" fmla="*/ 119 w 310"/>
                <a:gd name="T5" fmla="*/ 341 h 347"/>
                <a:gd name="T6" fmla="*/ 7 w 310"/>
                <a:gd name="T7" fmla="*/ 325 h 347"/>
                <a:gd name="T8" fmla="*/ 141 w 310"/>
                <a:gd name="T9" fmla="*/ 163 h 347"/>
                <a:gd name="T10" fmla="*/ 179 w 310"/>
                <a:gd name="T11" fmla="*/ 91 h 347"/>
                <a:gd name="T12" fmla="*/ 222 w 310"/>
                <a:gd name="T13" fmla="*/ 60 h 347"/>
                <a:gd name="T14" fmla="*/ 266 w 310"/>
                <a:gd name="T15" fmla="*/ 0 h 347"/>
                <a:gd name="T16" fmla="*/ 310 w 310"/>
                <a:gd name="T17" fmla="*/ 6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0" h="347">
                  <a:moveTo>
                    <a:pt x="310" y="62"/>
                  </a:moveTo>
                  <a:cubicBezTo>
                    <a:pt x="310" y="62"/>
                    <a:pt x="261" y="219"/>
                    <a:pt x="227" y="262"/>
                  </a:cubicBezTo>
                  <a:cubicBezTo>
                    <a:pt x="201" y="293"/>
                    <a:pt x="119" y="341"/>
                    <a:pt x="119" y="341"/>
                  </a:cubicBezTo>
                  <a:cubicBezTo>
                    <a:pt x="112" y="343"/>
                    <a:pt x="10" y="347"/>
                    <a:pt x="7" y="325"/>
                  </a:cubicBezTo>
                  <a:cubicBezTo>
                    <a:pt x="0" y="270"/>
                    <a:pt x="141" y="163"/>
                    <a:pt x="141" y="163"/>
                  </a:cubicBezTo>
                  <a:cubicBezTo>
                    <a:pt x="141" y="163"/>
                    <a:pt x="151" y="107"/>
                    <a:pt x="179" y="91"/>
                  </a:cubicBezTo>
                  <a:cubicBezTo>
                    <a:pt x="222" y="60"/>
                    <a:pt x="222" y="60"/>
                    <a:pt x="222" y="60"/>
                  </a:cubicBezTo>
                  <a:cubicBezTo>
                    <a:pt x="266" y="0"/>
                    <a:pt x="266" y="0"/>
                    <a:pt x="266" y="0"/>
                  </a:cubicBezTo>
                  <a:lnTo>
                    <a:pt x="310" y="62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37">
              <a:extLst>
                <a:ext uri="{FF2B5EF4-FFF2-40B4-BE49-F238E27FC236}">
                  <a16:creationId xmlns:a16="http://schemas.microsoft.com/office/drawing/2014/main" id="{B39A04E4-C18F-40C2-A08C-09B14B453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0" y="2178051"/>
              <a:ext cx="53975" cy="130175"/>
            </a:xfrm>
            <a:custGeom>
              <a:avLst/>
              <a:gdLst>
                <a:gd name="T0" fmla="*/ 62 w 62"/>
                <a:gd name="T1" fmla="*/ 57 h 150"/>
                <a:gd name="T2" fmla="*/ 43 w 62"/>
                <a:gd name="T3" fmla="*/ 144 h 150"/>
                <a:gd name="T4" fmla="*/ 28 w 62"/>
                <a:gd name="T5" fmla="*/ 137 h 150"/>
                <a:gd name="T6" fmla="*/ 0 w 62"/>
                <a:gd name="T7" fmla="*/ 0 h 150"/>
                <a:gd name="T8" fmla="*/ 62 w 62"/>
                <a:gd name="T9" fmla="*/ 5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50">
                  <a:moveTo>
                    <a:pt x="62" y="57"/>
                  </a:moveTo>
                  <a:cubicBezTo>
                    <a:pt x="43" y="144"/>
                    <a:pt x="43" y="144"/>
                    <a:pt x="43" y="144"/>
                  </a:cubicBezTo>
                  <a:cubicBezTo>
                    <a:pt x="37" y="150"/>
                    <a:pt x="27" y="146"/>
                    <a:pt x="28" y="13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2" y="57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38">
              <a:extLst>
                <a:ext uri="{FF2B5EF4-FFF2-40B4-BE49-F238E27FC236}">
                  <a16:creationId xmlns:a16="http://schemas.microsoft.com/office/drawing/2014/main" id="{01117919-1C8D-4BA7-896A-2781C973E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3863" y="2085976"/>
              <a:ext cx="236538" cy="296863"/>
            </a:xfrm>
            <a:custGeom>
              <a:avLst/>
              <a:gdLst>
                <a:gd name="T0" fmla="*/ 66 w 272"/>
                <a:gd name="T1" fmla="*/ 0 h 344"/>
                <a:gd name="T2" fmla="*/ 227 w 272"/>
                <a:gd name="T3" fmla="*/ 126 h 344"/>
                <a:gd name="T4" fmla="*/ 272 w 272"/>
                <a:gd name="T5" fmla="*/ 243 h 344"/>
                <a:gd name="T6" fmla="*/ 230 w 272"/>
                <a:gd name="T7" fmla="*/ 341 h 344"/>
                <a:gd name="T8" fmla="*/ 116 w 272"/>
                <a:gd name="T9" fmla="*/ 178 h 344"/>
                <a:gd name="T10" fmla="*/ 60 w 272"/>
                <a:gd name="T11" fmla="*/ 126 h 344"/>
                <a:gd name="T12" fmla="*/ 43 w 272"/>
                <a:gd name="T13" fmla="*/ 80 h 344"/>
                <a:gd name="T14" fmla="*/ 0 w 272"/>
                <a:gd name="T15" fmla="*/ 24 h 344"/>
                <a:gd name="T16" fmla="*/ 66 w 272"/>
                <a:gd name="T17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44">
                  <a:moveTo>
                    <a:pt x="66" y="0"/>
                  </a:moveTo>
                  <a:cubicBezTo>
                    <a:pt x="66" y="0"/>
                    <a:pt x="197" y="84"/>
                    <a:pt x="227" y="126"/>
                  </a:cubicBezTo>
                  <a:cubicBezTo>
                    <a:pt x="249" y="156"/>
                    <a:pt x="272" y="243"/>
                    <a:pt x="272" y="243"/>
                  </a:cubicBezTo>
                  <a:cubicBezTo>
                    <a:pt x="272" y="250"/>
                    <a:pt x="250" y="344"/>
                    <a:pt x="230" y="341"/>
                  </a:cubicBezTo>
                  <a:cubicBezTo>
                    <a:pt x="178" y="333"/>
                    <a:pt x="116" y="178"/>
                    <a:pt x="116" y="178"/>
                  </a:cubicBezTo>
                  <a:cubicBezTo>
                    <a:pt x="116" y="178"/>
                    <a:pt x="67" y="156"/>
                    <a:pt x="60" y="126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0" y="24"/>
                    <a:pt x="0" y="24"/>
                    <a:pt x="0" y="24"/>
                  </a:cubicBezTo>
                  <a:lnTo>
                    <a:pt x="66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639">
              <a:extLst>
                <a:ext uri="{FF2B5EF4-FFF2-40B4-BE49-F238E27FC236}">
                  <a16:creationId xmlns:a16="http://schemas.microsoft.com/office/drawing/2014/main" id="{629DDDCB-389A-4C3F-B8C2-B1975DE17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300" y="3663951"/>
              <a:ext cx="136525" cy="68263"/>
            </a:xfrm>
            <a:custGeom>
              <a:avLst/>
              <a:gdLst>
                <a:gd name="T0" fmla="*/ 84 w 157"/>
                <a:gd name="T1" fmla="*/ 0 h 79"/>
                <a:gd name="T2" fmla="*/ 155 w 157"/>
                <a:gd name="T3" fmla="*/ 63 h 79"/>
                <a:gd name="T4" fmla="*/ 141 w 157"/>
                <a:gd name="T5" fmla="*/ 74 h 79"/>
                <a:gd name="T6" fmla="*/ 0 w 157"/>
                <a:gd name="T7" fmla="*/ 28 h 79"/>
                <a:gd name="T8" fmla="*/ 84 w 157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79">
                  <a:moveTo>
                    <a:pt x="84" y="0"/>
                  </a:moveTo>
                  <a:cubicBezTo>
                    <a:pt x="155" y="63"/>
                    <a:pt x="155" y="63"/>
                    <a:pt x="155" y="63"/>
                  </a:cubicBezTo>
                  <a:cubicBezTo>
                    <a:pt x="157" y="72"/>
                    <a:pt x="148" y="79"/>
                    <a:pt x="141" y="74"/>
                  </a:cubicBezTo>
                  <a:cubicBezTo>
                    <a:pt x="0" y="28"/>
                    <a:pt x="0" y="28"/>
                    <a:pt x="0" y="28"/>
                  </a:cubicBezTo>
                  <a:lnTo>
                    <a:pt x="84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640">
              <a:extLst>
                <a:ext uri="{FF2B5EF4-FFF2-40B4-BE49-F238E27FC236}">
                  <a16:creationId xmlns:a16="http://schemas.microsoft.com/office/drawing/2014/main" id="{7D37F57B-F65F-47C1-B204-0BE47F5BA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8638" y="3557588"/>
              <a:ext cx="369888" cy="144463"/>
            </a:xfrm>
            <a:custGeom>
              <a:avLst/>
              <a:gdLst>
                <a:gd name="T0" fmla="*/ 12 w 427"/>
                <a:gd name="T1" fmla="*/ 86 h 167"/>
                <a:gd name="T2" fmla="*/ 213 w 427"/>
                <a:gd name="T3" fmla="*/ 4 h 167"/>
                <a:gd name="T4" fmla="*/ 346 w 427"/>
                <a:gd name="T5" fmla="*/ 24 h 167"/>
                <a:gd name="T6" fmla="*/ 413 w 427"/>
                <a:gd name="T7" fmla="*/ 114 h 167"/>
                <a:gd name="T8" fmla="*/ 203 w 427"/>
                <a:gd name="T9" fmla="*/ 135 h 167"/>
                <a:gd name="T10" fmla="*/ 125 w 427"/>
                <a:gd name="T11" fmla="*/ 159 h 167"/>
                <a:gd name="T12" fmla="*/ 74 w 427"/>
                <a:gd name="T13" fmla="*/ 150 h 167"/>
                <a:gd name="T14" fmla="*/ 0 w 427"/>
                <a:gd name="T15" fmla="*/ 161 h 167"/>
                <a:gd name="T16" fmla="*/ 12 w 427"/>
                <a:gd name="T17" fmla="*/ 86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7" h="167">
                  <a:moveTo>
                    <a:pt x="12" y="86"/>
                  </a:moveTo>
                  <a:cubicBezTo>
                    <a:pt x="12" y="86"/>
                    <a:pt x="159" y="10"/>
                    <a:pt x="213" y="4"/>
                  </a:cubicBezTo>
                  <a:cubicBezTo>
                    <a:pt x="253" y="0"/>
                    <a:pt x="346" y="24"/>
                    <a:pt x="346" y="24"/>
                  </a:cubicBezTo>
                  <a:cubicBezTo>
                    <a:pt x="352" y="28"/>
                    <a:pt x="427" y="97"/>
                    <a:pt x="413" y="114"/>
                  </a:cubicBezTo>
                  <a:cubicBezTo>
                    <a:pt x="379" y="159"/>
                    <a:pt x="203" y="135"/>
                    <a:pt x="203" y="135"/>
                  </a:cubicBezTo>
                  <a:cubicBezTo>
                    <a:pt x="203" y="135"/>
                    <a:pt x="157" y="167"/>
                    <a:pt x="125" y="159"/>
                  </a:cubicBezTo>
                  <a:cubicBezTo>
                    <a:pt x="74" y="150"/>
                    <a:pt x="74" y="150"/>
                    <a:pt x="74" y="150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12" y="86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641">
              <a:extLst>
                <a:ext uri="{FF2B5EF4-FFF2-40B4-BE49-F238E27FC236}">
                  <a16:creationId xmlns:a16="http://schemas.microsoft.com/office/drawing/2014/main" id="{5EAD9F2B-E034-48BD-A535-033A20B88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8675" y="3889376"/>
              <a:ext cx="79375" cy="123825"/>
            </a:xfrm>
            <a:custGeom>
              <a:avLst/>
              <a:gdLst>
                <a:gd name="T0" fmla="*/ 91 w 91"/>
                <a:gd name="T1" fmla="*/ 55 h 143"/>
                <a:gd name="T2" fmla="*/ 14 w 91"/>
                <a:gd name="T3" fmla="*/ 0 h 143"/>
                <a:gd name="T4" fmla="*/ 6 w 91"/>
                <a:gd name="T5" fmla="*/ 16 h 143"/>
                <a:gd name="T6" fmla="*/ 83 w 91"/>
                <a:gd name="T7" fmla="*/ 143 h 143"/>
                <a:gd name="T8" fmla="*/ 91 w 91"/>
                <a:gd name="T9" fmla="*/ 5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43">
                  <a:moveTo>
                    <a:pt x="91" y="55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5" y="0"/>
                    <a:pt x="0" y="10"/>
                    <a:pt x="6" y="16"/>
                  </a:cubicBezTo>
                  <a:cubicBezTo>
                    <a:pt x="83" y="143"/>
                    <a:pt x="83" y="143"/>
                    <a:pt x="83" y="143"/>
                  </a:cubicBezTo>
                  <a:lnTo>
                    <a:pt x="91" y="5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642">
              <a:extLst>
                <a:ext uri="{FF2B5EF4-FFF2-40B4-BE49-F238E27FC236}">
                  <a16:creationId xmlns:a16="http://schemas.microsoft.com/office/drawing/2014/main" id="{C156ADCF-6464-4258-AFE9-156634CFA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9788" y="3733801"/>
              <a:ext cx="169863" cy="373063"/>
            </a:xfrm>
            <a:custGeom>
              <a:avLst/>
              <a:gdLst>
                <a:gd name="T0" fmla="*/ 154 w 195"/>
                <a:gd name="T1" fmla="*/ 401 h 430"/>
                <a:gd name="T2" fmla="*/ 188 w 195"/>
                <a:gd name="T3" fmla="*/ 187 h 430"/>
                <a:gd name="T4" fmla="*/ 139 w 195"/>
                <a:gd name="T5" fmla="*/ 62 h 430"/>
                <a:gd name="T6" fmla="*/ 36 w 195"/>
                <a:gd name="T7" fmla="*/ 17 h 430"/>
                <a:gd name="T8" fmla="*/ 64 w 195"/>
                <a:gd name="T9" fmla="*/ 226 h 430"/>
                <a:gd name="T10" fmla="*/ 58 w 195"/>
                <a:gd name="T11" fmla="*/ 307 h 430"/>
                <a:gd name="T12" fmla="*/ 78 w 195"/>
                <a:gd name="T13" fmla="*/ 356 h 430"/>
                <a:gd name="T14" fmla="*/ 84 w 195"/>
                <a:gd name="T15" fmla="*/ 430 h 430"/>
                <a:gd name="T16" fmla="*/ 154 w 195"/>
                <a:gd name="T17" fmla="*/ 401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5" h="430">
                  <a:moveTo>
                    <a:pt x="154" y="401"/>
                  </a:moveTo>
                  <a:cubicBezTo>
                    <a:pt x="154" y="401"/>
                    <a:pt x="195" y="241"/>
                    <a:pt x="188" y="187"/>
                  </a:cubicBezTo>
                  <a:cubicBezTo>
                    <a:pt x="183" y="147"/>
                    <a:pt x="139" y="62"/>
                    <a:pt x="139" y="62"/>
                  </a:cubicBezTo>
                  <a:cubicBezTo>
                    <a:pt x="134" y="57"/>
                    <a:pt x="49" y="0"/>
                    <a:pt x="36" y="17"/>
                  </a:cubicBezTo>
                  <a:cubicBezTo>
                    <a:pt x="0" y="60"/>
                    <a:pt x="64" y="226"/>
                    <a:pt x="64" y="226"/>
                  </a:cubicBezTo>
                  <a:cubicBezTo>
                    <a:pt x="64" y="226"/>
                    <a:pt x="42" y="278"/>
                    <a:pt x="58" y="307"/>
                  </a:cubicBezTo>
                  <a:cubicBezTo>
                    <a:pt x="78" y="356"/>
                    <a:pt x="78" y="356"/>
                    <a:pt x="78" y="356"/>
                  </a:cubicBezTo>
                  <a:cubicBezTo>
                    <a:pt x="84" y="430"/>
                    <a:pt x="84" y="430"/>
                    <a:pt x="84" y="430"/>
                  </a:cubicBezTo>
                  <a:lnTo>
                    <a:pt x="154" y="401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43">
              <a:extLst>
                <a:ext uri="{FF2B5EF4-FFF2-40B4-BE49-F238E27FC236}">
                  <a16:creationId xmlns:a16="http://schemas.microsoft.com/office/drawing/2014/main" id="{D6E74FD4-7AEA-4F20-8A93-3423D736D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2563" y="1601788"/>
              <a:ext cx="141288" cy="46038"/>
            </a:xfrm>
            <a:custGeom>
              <a:avLst/>
              <a:gdLst>
                <a:gd name="T0" fmla="*/ 72 w 163"/>
                <a:gd name="T1" fmla="*/ 54 h 54"/>
                <a:gd name="T2" fmla="*/ 158 w 163"/>
                <a:gd name="T3" fmla="*/ 17 h 54"/>
                <a:gd name="T4" fmla="*/ 149 w 163"/>
                <a:gd name="T5" fmla="*/ 2 h 54"/>
                <a:gd name="T6" fmla="*/ 0 w 163"/>
                <a:gd name="T7" fmla="*/ 1 h 54"/>
                <a:gd name="T8" fmla="*/ 72 w 163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" h="54">
                  <a:moveTo>
                    <a:pt x="72" y="54"/>
                  </a:moveTo>
                  <a:cubicBezTo>
                    <a:pt x="158" y="17"/>
                    <a:pt x="158" y="17"/>
                    <a:pt x="158" y="17"/>
                  </a:cubicBezTo>
                  <a:cubicBezTo>
                    <a:pt x="163" y="10"/>
                    <a:pt x="157" y="0"/>
                    <a:pt x="149" y="2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72" y="5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44">
              <a:extLst>
                <a:ext uri="{FF2B5EF4-FFF2-40B4-BE49-F238E27FC236}">
                  <a16:creationId xmlns:a16="http://schemas.microsoft.com/office/drawing/2014/main" id="{2C72BB08-AA58-4219-96BB-3C81A4177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725" y="1563688"/>
              <a:ext cx="346075" cy="207963"/>
            </a:xfrm>
            <a:custGeom>
              <a:avLst/>
              <a:gdLst>
                <a:gd name="T0" fmla="*/ 0 w 397"/>
                <a:gd name="T1" fmla="*/ 75 h 240"/>
                <a:gd name="T2" fmla="*/ 164 w 397"/>
                <a:gd name="T3" fmla="*/ 216 h 240"/>
                <a:gd name="T4" fmla="*/ 296 w 397"/>
                <a:gd name="T5" fmla="*/ 240 h 240"/>
                <a:gd name="T6" fmla="*/ 389 w 397"/>
                <a:gd name="T7" fmla="*/ 176 h 240"/>
                <a:gd name="T8" fmla="*/ 197 w 397"/>
                <a:gd name="T9" fmla="*/ 90 h 240"/>
                <a:gd name="T10" fmla="*/ 130 w 397"/>
                <a:gd name="T11" fmla="*/ 42 h 240"/>
                <a:gd name="T12" fmla="*/ 79 w 397"/>
                <a:gd name="T13" fmla="*/ 34 h 240"/>
                <a:gd name="T14" fmla="*/ 12 w 397"/>
                <a:gd name="T15" fmla="*/ 0 h 240"/>
                <a:gd name="T16" fmla="*/ 0 w 397"/>
                <a:gd name="T17" fmla="*/ 75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7" h="240">
                  <a:moveTo>
                    <a:pt x="0" y="75"/>
                  </a:moveTo>
                  <a:cubicBezTo>
                    <a:pt x="0" y="75"/>
                    <a:pt x="115" y="194"/>
                    <a:pt x="164" y="216"/>
                  </a:cubicBezTo>
                  <a:cubicBezTo>
                    <a:pt x="201" y="233"/>
                    <a:pt x="296" y="240"/>
                    <a:pt x="296" y="240"/>
                  </a:cubicBezTo>
                  <a:cubicBezTo>
                    <a:pt x="304" y="238"/>
                    <a:pt x="397" y="196"/>
                    <a:pt x="389" y="176"/>
                  </a:cubicBezTo>
                  <a:cubicBezTo>
                    <a:pt x="371" y="123"/>
                    <a:pt x="197" y="90"/>
                    <a:pt x="197" y="90"/>
                  </a:cubicBezTo>
                  <a:cubicBezTo>
                    <a:pt x="197" y="90"/>
                    <a:pt x="163" y="44"/>
                    <a:pt x="130" y="42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0" y="7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45">
              <a:extLst>
                <a:ext uri="{FF2B5EF4-FFF2-40B4-BE49-F238E27FC236}">
                  <a16:creationId xmlns:a16="http://schemas.microsoft.com/office/drawing/2014/main" id="{892207D4-6937-4F24-8EC5-7F4C7EF1C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3350" y="3654426"/>
              <a:ext cx="560388" cy="444500"/>
            </a:xfrm>
            <a:custGeom>
              <a:avLst/>
              <a:gdLst>
                <a:gd name="T0" fmla="*/ 457 w 645"/>
                <a:gd name="T1" fmla="*/ 331 h 513"/>
                <a:gd name="T2" fmla="*/ 25 w 645"/>
                <a:gd name="T3" fmla="*/ 70 h 513"/>
                <a:gd name="T4" fmla="*/ 0 w 645"/>
                <a:gd name="T5" fmla="*/ 60 h 513"/>
                <a:gd name="T6" fmla="*/ 25 w 645"/>
                <a:gd name="T7" fmla="*/ 0 h 513"/>
                <a:gd name="T8" fmla="*/ 564 w 645"/>
                <a:gd name="T9" fmla="*/ 189 h 513"/>
                <a:gd name="T10" fmla="*/ 609 w 645"/>
                <a:gd name="T11" fmla="*/ 463 h 513"/>
                <a:gd name="T12" fmla="*/ 457 w 645"/>
                <a:gd name="T13" fmla="*/ 331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5" h="513">
                  <a:moveTo>
                    <a:pt x="457" y="331"/>
                  </a:moveTo>
                  <a:cubicBezTo>
                    <a:pt x="457" y="331"/>
                    <a:pt x="135" y="136"/>
                    <a:pt x="25" y="70"/>
                  </a:cubicBezTo>
                  <a:cubicBezTo>
                    <a:pt x="18" y="65"/>
                    <a:pt x="9" y="62"/>
                    <a:pt x="0" y="60"/>
                  </a:cubicBezTo>
                  <a:cubicBezTo>
                    <a:pt x="8" y="40"/>
                    <a:pt x="15" y="19"/>
                    <a:pt x="25" y="0"/>
                  </a:cubicBezTo>
                  <a:cubicBezTo>
                    <a:pt x="210" y="59"/>
                    <a:pt x="544" y="170"/>
                    <a:pt x="564" y="189"/>
                  </a:cubicBezTo>
                  <a:cubicBezTo>
                    <a:pt x="630" y="255"/>
                    <a:pt x="645" y="331"/>
                    <a:pt x="609" y="463"/>
                  </a:cubicBezTo>
                  <a:cubicBezTo>
                    <a:pt x="595" y="513"/>
                    <a:pt x="475" y="504"/>
                    <a:pt x="457" y="331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46">
              <a:extLst>
                <a:ext uri="{FF2B5EF4-FFF2-40B4-BE49-F238E27FC236}">
                  <a16:creationId xmlns:a16="http://schemas.microsoft.com/office/drawing/2014/main" id="{AC7C4A95-0C82-49AA-B03E-AF87CC52F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5713" y="3678238"/>
              <a:ext cx="122238" cy="53975"/>
            </a:xfrm>
            <a:custGeom>
              <a:avLst/>
              <a:gdLst>
                <a:gd name="T0" fmla="*/ 69 w 141"/>
                <a:gd name="T1" fmla="*/ 0 h 63"/>
                <a:gd name="T2" fmla="*/ 3 w 141"/>
                <a:gd name="T3" fmla="*/ 49 h 63"/>
                <a:gd name="T4" fmla="*/ 14 w 141"/>
                <a:gd name="T5" fmla="*/ 60 h 63"/>
                <a:gd name="T6" fmla="*/ 141 w 141"/>
                <a:gd name="T7" fmla="*/ 30 h 63"/>
                <a:gd name="T8" fmla="*/ 69 w 141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63">
                  <a:moveTo>
                    <a:pt x="69" y="0"/>
                  </a:moveTo>
                  <a:cubicBezTo>
                    <a:pt x="3" y="49"/>
                    <a:pt x="3" y="49"/>
                    <a:pt x="3" y="49"/>
                  </a:cubicBezTo>
                  <a:cubicBezTo>
                    <a:pt x="0" y="56"/>
                    <a:pt x="7" y="63"/>
                    <a:pt x="14" y="60"/>
                  </a:cubicBezTo>
                  <a:cubicBezTo>
                    <a:pt x="141" y="30"/>
                    <a:pt x="141" y="30"/>
                    <a:pt x="141" y="30"/>
                  </a:cubicBezTo>
                  <a:lnTo>
                    <a:pt x="69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47">
              <a:extLst>
                <a:ext uri="{FF2B5EF4-FFF2-40B4-BE49-F238E27FC236}">
                  <a16:creationId xmlns:a16="http://schemas.microsoft.com/office/drawing/2014/main" id="{5805AC09-5D4C-4B51-A1D5-01A485911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8238" y="3581401"/>
              <a:ext cx="320675" cy="138113"/>
            </a:xfrm>
            <a:custGeom>
              <a:avLst/>
              <a:gdLst>
                <a:gd name="T0" fmla="*/ 364 w 369"/>
                <a:gd name="T1" fmla="*/ 94 h 160"/>
                <a:gd name="T2" fmla="*/ 194 w 369"/>
                <a:gd name="T3" fmla="*/ 7 h 160"/>
                <a:gd name="T4" fmla="*/ 77 w 369"/>
                <a:gd name="T5" fmla="*/ 14 h 160"/>
                <a:gd name="T6" fmla="*/ 11 w 369"/>
                <a:gd name="T7" fmla="*/ 88 h 160"/>
                <a:gd name="T8" fmla="*/ 193 w 369"/>
                <a:gd name="T9" fmla="*/ 121 h 160"/>
                <a:gd name="T10" fmla="*/ 259 w 369"/>
                <a:gd name="T11" fmla="*/ 148 h 160"/>
                <a:gd name="T12" fmla="*/ 305 w 369"/>
                <a:gd name="T13" fmla="*/ 145 h 160"/>
                <a:gd name="T14" fmla="*/ 369 w 369"/>
                <a:gd name="T15" fmla="*/ 160 h 160"/>
                <a:gd name="T16" fmla="*/ 364 w 369"/>
                <a:gd name="T17" fmla="*/ 9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9" h="160">
                  <a:moveTo>
                    <a:pt x="364" y="94"/>
                  </a:moveTo>
                  <a:cubicBezTo>
                    <a:pt x="364" y="94"/>
                    <a:pt x="241" y="16"/>
                    <a:pt x="194" y="7"/>
                  </a:cubicBezTo>
                  <a:cubicBezTo>
                    <a:pt x="160" y="0"/>
                    <a:pt x="77" y="14"/>
                    <a:pt x="77" y="14"/>
                  </a:cubicBezTo>
                  <a:cubicBezTo>
                    <a:pt x="71" y="17"/>
                    <a:pt x="0" y="72"/>
                    <a:pt x="11" y="88"/>
                  </a:cubicBezTo>
                  <a:cubicBezTo>
                    <a:pt x="37" y="129"/>
                    <a:pt x="193" y="121"/>
                    <a:pt x="193" y="121"/>
                  </a:cubicBezTo>
                  <a:cubicBezTo>
                    <a:pt x="193" y="121"/>
                    <a:pt x="231" y="154"/>
                    <a:pt x="259" y="148"/>
                  </a:cubicBezTo>
                  <a:cubicBezTo>
                    <a:pt x="305" y="145"/>
                    <a:pt x="305" y="145"/>
                    <a:pt x="305" y="145"/>
                  </a:cubicBezTo>
                  <a:cubicBezTo>
                    <a:pt x="369" y="160"/>
                    <a:pt x="369" y="160"/>
                    <a:pt x="369" y="160"/>
                  </a:cubicBezTo>
                  <a:lnTo>
                    <a:pt x="364" y="9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48">
              <a:extLst>
                <a:ext uri="{FF2B5EF4-FFF2-40B4-BE49-F238E27FC236}">
                  <a16:creationId xmlns:a16="http://schemas.microsoft.com/office/drawing/2014/main" id="{6E8DDD96-A420-4C14-9DDB-137E1B5A7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7413" y="4410076"/>
              <a:ext cx="741363" cy="619125"/>
            </a:xfrm>
            <a:custGeom>
              <a:avLst/>
              <a:gdLst>
                <a:gd name="T0" fmla="*/ 782 w 853"/>
                <a:gd name="T1" fmla="*/ 595 h 715"/>
                <a:gd name="T2" fmla="*/ 50 w 853"/>
                <a:gd name="T3" fmla="*/ 266 h 715"/>
                <a:gd name="T4" fmla="*/ 0 w 853"/>
                <a:gd name="T5" fmla="*/ 45 h 715"/>
                <a:gd name="T6" fmla="*/ 145 w 853"/>
                <a:gd name="T7" fmla="*/ 0 h 715"/>
                <a:gd name="T8" fmla="*/ 217 w 853"/>
                <a:gd name="T9" fmla="*/ 138 h 715"/>
                <a:gd name="T10" fmla="*/ 658 w 853"/>
                <a:gd name="T11" fmla="*/ 337 h 715"/>
                <a:gd name="T12" fmla="*/ 782 w 853"/>
                <a:gd name="T13" fmla="*/ 59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3" h="715">
                  <a:moveTo>
                    <a:pt x="782" y="595"/>
                  </a:moveTo>
                  <a:cubicBezTo>
                    <a:pt x="611" y="715"/>
                    <a:pt x="352" y="499"/>
                    <a:pt x="50" y="26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658" y="337"/>
                    <a:pt x="658" y="337"/>
                    <a:pt x="658" y="337"/>
                  </a:cubicBezTo>
                  <a:cubicBezTo>
                    <a:pt x="658" y="337"/>
                    <a:pt x="853" y="545"/>
                    <a:pt x="782" y="595"/>
                  </a:cubicBezTo>
                  <a:close/>
                </a:path>
              </a:pathLst>
            </a:custGeom>
            <a:solidFill>
              <a:srgbClr val="F0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49">
              <a:extLst>
                <a:ext uri="{FF2B5EF4-FFF2-40B4-BE49-F238E27FC236}">
                  <a16:creationId xmlns:a16="http://schemas.microsoft.com/office/drawing/2014/main" id="{AD094C47-0B90-4A5F-ACB0-A77873E8A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8463" y="3744913"/>
              <a:ext cx="541338" cy="803275"/>
            </a:xfrm>
            <a:custGeom>
              <a:avLst/>
              <a:gdLst>
                <a:gd name="T0" fmla="*/ 475 w 623"/>
                <a:gd name="T1" fmla="*/ 866 h 927"/>
                <a:gd name="T2" fmla="*/ 277 w 623"/>
                <a:gd name="T3" fmla="*/ 87 h 927"/>
                <a:gd name="T4" fmla="*/ 69 w 623"/>
                <a:gd name="T5" fmla="*/ 0 h 927"/>
                <a:gd name="T6" fmla="*/ 0 w 623"/>
                <a:gd name="T7" fmla="*/ 135 h 927"/>
                <a:gd name="T8" fmla="*/ 123 w 623"/>
                <a:gd name="T9" fmla="*/ 230 h 927"/>
                <a:gd name="T10" fmla="*/ 242 w 623"/>
                <a:gd name="T11" fmla="*/ 698 h 927"/>
                <a:gd name="T12" fmla="*/ 475 w 623"/>
                <a:gd name="T13" fmla="*/ 866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3" h="927">
                  <a:moveTo>
                    <a:pt x="475" y="866"/>
                  </a:moveTo>
                  <a:cubicBezTo>
                    <a:pt x="623" y="718"/>
                    <a:pt x="455" y="426"/>
                    <a:pt x="277" y="87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23" y="230"/>
                    <a:pt x="123" y="230"/>
                    <a:pt x="123" y="230"/>
                  </a:cubicBezTo>
                  <a:cubicBezTo>
                    <a:pt x="242" y="698"/>
                    <a:pt x="242" y="698"/>
                    <a:pt x="242" y="698"/>
                  </a:cubicBezTo>
                  <a:cubicBezTo>
                    <a:pt x="242" y="698"/>
                    <a:pt x="413" y="927"/>
                    <a:pt x="475" y="866"/>
                  </a:cubicBezTo>
                  <a:close/>
                </a:path>
              </a:pathLst>
            </a:custGeom>
            <a:solidFill>
              <a:srgbClr val="F0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50">
              <a:extLst>
                <a:ext uri="{FF2B5EF4-FFF2-40B4-BE49-F238E27FC236}">
                  <a16:creationId xmlns:a16="http://schemas.microsoft.com/office/drawing/2014/main" id="{C0B1BB2C-C3ED-4B61-9DA1-C7072BB18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8125" y="4386263"/>
              <a:ext cx="647700" cy="642938"/>
            </a:xfrm>
            <a:custGeom>
              <a:avLst/>
              <a:gdLst>
                <a:gd name="T0" fmla="*/ 126 w 744"/>
                <a:gd name="T1" fmla="*/ 592 h 742"/>
                <a:gd name="T2" fmla="*/ 144 w 744"/>
                <a:gd name="T3" fmla="*/ 114 h 742"/>
                <a:gd name="T4" fmla="*/ 618 w 744"/>
                <a:gd name="T5" fmla="*/ 179 h 742"/>
                <a:gd name="T6" fmla="*/ 536 w 744"/>
                <a:gd name="T7" fmla="*/ 581 h 742"/>
                <a:gd name="T8" fmla="*/ 126 w 744"/>
                <a:gd name="T9" fmla="*/ 59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4" h="742">
                  <a:moveTo>
                    <a:pt x="126" y="592"/>
                  </a:moveTo>
                  <a:cubicBezTo>
                    <a:pt x="0" y="442"/>
                    <a:pt x="8" y="228"/>
                    <a:pt x="144" y="114"/>
                  </a:cubicBezTo>
                  <a:cubicBezTo>
                    <a:pt x="280" y="0"/>
                    <a:pt x="492" y="30"/>
                    <a:pt x="618" y="179"/>
                  </a:cubicBezTo>
                  <a:cubicBezTo>
                    <a:pt x="744" y="329"/>
                    <a:pt x="672" y="467"/>
                    <a:pt x="536" y="581"/>
                  </a:cubicBezTo>
                  <a:cubicBezTo>
                    <a:pt x="400" y="695"/>
                    <a:pt x="252" y="742"/>
                    <a:pt x="126" y="592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651">
              <a:extLst>
                <a:ext uri="{FF2B5EF4-FFF2-40B4-BE49-F238E27FC236}">
                  <a16:creationId xmlns:a16="http://schemas.microsoft.com/office/drawing/2014/main" id="{62EA7D3A-2C6D-4703-B938-1A72813270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4446588"/>
              <a:ext cx="128588" cy="127000"/>
            </a:xfrm>
            <a:custGeom>
              <a:avLst/>
              <a:gdLst>
                <a:gd name="T0" fmla="*/ 65 w 147"/>
                <a:gd name="T1" fmla="*/ 12 h 147"/>
                <a:gd name="T2" fmla="*/ 147 w 147"/>
                <a:gd name="T3" fmla="*/ 41 h 147"/>
                <a:gd name="T4" fmla="*/ 21 w 147"/>
                <a:gd name="T5" fmla="*/ 147 h 147"/>
                <a:gd name="T6" fmla="*/ 6 w 147"/>
                <a:gd name="T7" fmla="*/ 61 h 147"/>
                <a:gd name="T8" fmla="*/ 65 w 147"/>
                <a:gd name="T9" fmla="*/ 1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47">
                  <a:moveTo>
                    <a:pt x="65" y="12"/>
                  </a:moveTo>
                  <a:cubicBezTo>
                    <a:pt x="147" y="41"/>
                    <a:pt x="147" y="41"/>
                    <a:pt x="147" y="41"/>
                  </a:cubicBezTo>
                  <a:cubicBezTo>
                    <a:pt x="21" y="147"/>
                    <a:pt x="21" y="147"/>
                    <a:pt x="21" y="147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0" y="28"/>
                    <a:pt x="33" y="0"/>
                    <a:pt x="65" y="12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652">
              <a:extLst>
                <a:ext uri="{FF2B5EF4-FFF2-40B4-BE49-F238E27FC236}">
                  <a16:creationId xmlns:a16="http://schemas.microsoft.com/office/drawing/2014/main" id="{F0B7242C-F351-458A-8869-A197E91EE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8938" y="4338638"/>
              <a:ext cx="515938" cy="568325"/>
            </a:xfrm>
            <a:custGeom>
              <a:avLst/>
              <a:gdLst>
                <a:gd name="T0" fmla="*/ 160 w 595"/>
                <a:gd name="T1" fmla="*/ 442 h 656"/>
                <a:gd name="T2" fmla="*/ 386 w 595"/>
                <a:gd name="T3" fmla="*/ 656 h 656"/>
                <a:gd name="T4" fmla="*/ 480 w 595"/>
                <a:gd name="T5" fmla="*/ 214 h 656"/>
                <a:gd name="T6" fmla="*/ 7 w 595"/>
                <a:gd name="T7" fmla="*/ 2 h 656"/>
                <a:gd name="T8" fmla="*/ 75 w 595"/>
                <a:gd name="T9" fmla="*/ 125 h 656"/>
                <a:gd name="T10" fmla="*/ 0 w 595"/>
                <a:gd name="T11" fmla="*/ 259 h 656"/>
                <a:gd name="T12" fmla="*/ 160 w 595"/>
                <a:gd name="T13" fmla="*/ 442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5" h="656">
                  <a:moveTo>
                    <a:pt x="160" y="442"/>
                  </a:moveTo>
                  <a:cubicBezTo>
                    <a:pt x="201" y="515"/>
                    <a:pt x="315" y="605"/>
                    <a:pt x="386" y="656"/>
                  </a:cubicBezTo>
                  <a:cubicBezTo>
                    <a:pt x="510" y="548"/>
                    <a:pt x="595" y="352"/>
                    <a:pt x="480" y="214"/>
                  </a:cubicBezTo>
                  <a:cubicBezTo>
                    <a:pt x="300" y="0"/>
                    <a:pt x="7" y="1"/>
                    <a:pt x="7" y="2"/>
                  </a:cubicBezTo>
                  <a:cubicBezTo>
                    <a:pt x="50" y="45"/>
                    <a:pt x="77" y="72"/>
                    <a:pt x="75" y="125"/>
                  </a:cubicBezTo>
                  <a:cubicBezTo>
                    <a:pt x="72" y="191"/>
                    <a:pt x="6" y="209"/>
                    <a:pt x="0" y="259"/>
                  </a:cubicBezTo>
                  <a:cubicBezTo>
                    <a:pt x="72" y="330"/>
                    <a:pt x="137" y="401"/>
                    <a:pt x="160" y="442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53">
              <a:extLst>
                <a:ext uri="{FF2B5EF4-FFF2-40B4-BE49-F238E27FC236}">
                  <a16:creationId xmlns:a16="http://schemas.microsoft.com/office/drawing/2014/main" id="{568C3011-C16C-47F4-AAEF-A0553EBB5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7163" y="4548188"/>
              <a:ext cx="561975" cy="501650"/>
            </a:xfrm>
            <a:custGeom>
              <a:avLst/>
              <a:gdLst>
                <a:gd name="T0" fmla="*/ 645 w 646"/>
                <a:gd name="T1" fmla="*/ 419 h 580"/>
                <a:gd name="T2" fmla="*/ 646 w 646"/>
                <a:gd name="T3" fmla="*/ 418 h 580"/>
                <a:gd name="T4" fmla="*/ 420 w 646"/>
                <a:gd name="T5" fmla="*/ 203 h 580"/>
                <a:gd name="T6" fmla="*/ 262 w 646"/>
                <a:gd name="T7" fmla="*/ 22 h 580"/>
                <a:gd name="T8" fmla="*/ 221 w 646"/>
                <a:gd name="T9" fmla="*/ 71 h 580"/>
                <a:gd name="T10" fmla="*/ 115 w 646"/>
                <a:gd name="T11" fmla="*/ 1 h 580"/>
                <a:gd name="T12" fmla="*/ 207 w 646"/>
                <a:gd name="T13" fmla="*/ 451 h 580"/>
                <a:gd name="T14" fmla="*/ 645 w 646"/>
                <a:gd name="T15" fmla="*/ 419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6" h="580">
                  <a:moveTo>
                    <a:pt x="645" y="419"/>
                  </a:moveTo>
                  <a:cubicBezTo>
                    <a:pt x="646" y="418"/>
                    <a:pt x="646" y="418"/>
                    <a:pt x="646" y="418"/>
                  </a:cubicBezTo>
                  <a:cubicBezTo>
                    <a:pt x="575" y="366"/>
                    <a:pt x="461" y="276"/>
                    <a:pt x="420" y="203"/>
                  </a:cubicBezTo>
                  <a:cubicBezTo>
                    <a:pt x="397" y="162"/>
                    <a:pt x="333" y="93"/>
                    <a:pt x="262" y="22"/>
                  </a:cubicBezTo>
                  <a:cubicBezTo>
                    <a:pt x="248" y="44"/>
                    <a:pt x="234" y="59"/>
                    <a:pt x="221" y="71"/>
                  </a:cubicBezTo>
                  <a:cubicBezTo>
                    <a:pt x="174" y="114"/>
                    <a:pt x="135" y="30"/>
                    <a:pt x="115" y="1"/>
                  </a:cubicBezTo>
                  <a:cubicBezTo>
                    <a:pt x="114" y="0"/>
                    <a:pt x="0" y="211"/>
                    <a:pt x="207" y="451"/>
                  </a:cubicBezTo>
                  <a:cubicBezTo>
                    <a:pt x="317" y="580"/>
                    <a:pt x="525" y="520"/>
                    <a:pt x="645" y="419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654">
              <a:extLst>
                <a:ext uri="{FF2B5EF4-FFF2-40B4-BE49-F238E27FC236}">
                  <a16:creationId xmlns:a16="http://schemas.microsoft.com/office/drawing/2014/main" id="{5DF74336-67F6-43D6-9FAF-C2B88F801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188" y="4548188"/>
              <a:ext cx="488950" cy="501650"/>
            </a:xfrm>
            <a:custGeom>
              <a:avLst/>
              <a:gdLst>
                <a:gd name="T0" fmla="*/ 124 w 563"/>
                <a:gd name="T1" fmla="*/ 451 h 580"/>
                <a:gd name="T2" fmla="*/ 37 w 563"/>
                <a:gd name="T3" fmla="*/ 317 h 580"/>
                <a:gd name="T4" fmla="*/ 28 w 563"/>
                <a:gd name="T5" fmla="*/ 297 h 580"/>
                <a:gd name="T6" fmla="*/ 10 w 563"/>
                <a:gd name="T7" fmla="*/ 238 h 580"/>
                <a:gd name="T8" fmla="*/ 6 w 563"/>
                <a:gd name="T9" fmla="*/ 220 h 580"/>
                <a:gd name="T10" fmla="*/ 2 w 563"/>
                <a:gd name="T11" fmla="*/ 193 h 580"/>
                <a:gd name="T12" fmla="*/ 1 w 563"/>
                <a:gd name="T13" fmla="*/ 176 h 580"/>
                <a:gd name="T14" fmla="*/ 0 w 563"/>
                <a:gd name="T15" fmla="*/ 167 h 580"/>
                <a:gd name="T16" fmla="*/ 0 w 563"/>
                <a:gd name="T17" fmla="*/ 151 h 580"/>
                <a:gd name="T18" fmla="*/ 0 w 563"/>
                <a:gd name="T19" fmla="*/ 128 h 580"/>
                <a:gd name="T20" fmla="*/ 1 w 563"/>
                <a:gd name="T21" fmla="*/ 114 h 580"/>
                <a:gd name="T22" fmla="*/ 32 w 563"/>
                <a:gd name="T23" fmla="*/ 1 h 580"/>
                <a:gd name="T24" fmla="*/ 89 w 563"/>
                <a:gd name="T25" fmla="*/ 43 h 580"/>
                <a:gd name="T26" fmla="*/ 179 w 563"/>
                <a:gd name="T27" fmla="*/ 22 h 580"/>
                <a:gd name="T28" fmla="*/ 337 w 563"/>
                <a:gd name="T29" fmla="*/ 203 h 580"/>
                <a:gd name="T30" fmla="*/ 552 w 563"/>
                <a:gd name="T31" fmla="*/ 410 h 580"/>
                <a:gd name="T32" fmla="*/ 563 w 563"/>
                <a:gd name="T33" fmla="*/ 418 h 580"/>
                <a:gd name="T34" fmla="*/ 562 w 563"/>
                <a:gd name="T35" fmla="*/ 419 h 580"/>
                <a:gd name="T36" fmla="*/ 124 w 563"/>
                <a:gd name="T37" fmla="*/ 451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3" h="580">
                  <a:moveTo>
                    <a:pt x="124" y="451"/>
                  </a:moveTo>
                  <a:cubicBezTo>
                    <a:pt x="84" y="405"/>
                    <a:pt x="56" y="360"/>
                    <a:pt x="37" y="317"/>
                  </a:cubicBezTo>
                  <a:cubicBezTo>
                    <a:pt x="34" y="310"/>
                    <a:pt x="31" y="303"/>
                    <a:pt x="28" y="297"/>
                  </a:cubicBezTo>
                  <a:cubicBezTo>
                    <a:pt x="21" y="276"/>
                    <a:pt x="15" y="257"/>
                    <a:pt x="10" y="238"/>
                  </a:cubicBezTo>
                  <a:cubicBezTo>
                    <a:pt x="9" y="232"/>
                    <a:pt x="8" y="226"/>
                    <a:pt x="6" y="220"/>
                  </a:cubicBezTo>
                  <a:cubicBezTo>
                    <a:pt x="5" y="211"/>
                    <a:pt x="3" y="202"/>
                    <a:pt x="2" y="193"/>
                  </a:cubicBezTo>
                  <a:cubicBezTo>
                    <a:pt x="2" y="187"/>
                    <a:pt x="1" y="181"/>
                    <a:pt x="1" y="176"/>
                  </a:cubicBezTo>
                  <a:cubicBezTo>
                    <a:pt x="1" y="173"/>
                    <a:pt x="0" y="170"/>
                    <a:pt x="0" y="167"/>
                  </a:cubicBezTo>
                  <a:cubicBezTo>
                    <a:pt x="0" y="162"/>
                    <a:pt x="0" y="156"/>
                    <a:pt x="0" y="151"/>
                  </a:cubicBezTo>
                  <a:cubicBezTo>
                    <a:pt x="0" y="143"/>
                    <a:pt x="0" y="136"/>
                    <a:pt x="0" y="128"/>
                  </a:cubicBezTo>
                  <a:cubicBezTo>
                    <a:pt x="0" y="123"/>
                    <a:pt x="1" y="118"/>
                    <a:pt x="1" y="114"/>
                  </a:cubicBezTo>
                  <a:cubicBezTo>
                    <a:pt x="8" y="44"/>
                    <a:pt x="31" y="0"/>
                    <a:pt x="32" y="1"/>
                  </a:cubicBezTo>
                  <a:cubicBezTo>
                    <a:pt x="51" y="27"/>
                    <a:pt x="70" y="39"/>
                    <a:pt x="89" y="43"/>
                  </a:cubicBezTo>
                  <a:cubicBezTo>
                    <a:pt x="126" y="52"/>
                    <a:pt x="160" y="31"/>
                    <a:pt x="179" y="22"/>
                  </a:cubicBezTo>
                  <a:cubicBezTo>
                    <a:pt x="250" y="93"/>
                    <a:pt x="314" y="162"/>
                    <a:pt x="337" y="203"/>
                  </a:cubicBezTo>
                  <a:cubicBezTo>
                    <a:pt x="376" y="273"/>
                    <a:pt x="480" y="357"/>
                    <a:pt x="552" y="410"/>
                  </a:cubicBezTo>
                  <a:cubicBezTo>
                    <a:pt x="556" y="413"/>
                    <a:pt x="559" y="415"/>
                    <a:pt x="563" y="418"/>
                  </a:cubicBezTo>
                  <a:cubicBezTo>
                    <a:pt x="562" y="419"/>
                    <a:pt x="562" y="419"/>
                    <a:pt x="562" y="419"/>
                  </a:cubicBezTo>
                  <a:cubicBezTo>
                    <a:pt x="442" y="520"/>
                    <a:pt x="234" y="580"/>
                    <a:pt x="124" y="451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655">
              <a:extLst>
                <a:ext uri="{FF2B5EF4-FFF2-40B4-BE49-F238E27FC236}">
                  <a16:creationId xmlns:a16="http://schemas.microsoft.com/office/drawing/2014/main" id="{6A6653D2-E8D9-4538-8A45-F09A8A86C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188" y="4548188"/>
              <a:ext cx="522288" cy="501650"/>
            </a:xfrm>
            <a:custGeom>
              <a:avLst/>
              <a:gdLst>
                <a:gd name="T0" fmla="*/ 124 w 602"/>
                <a:gd name="T1" fmla="*/ 451 h 580"/>
                <a:gd name="T2" fmla="*/ 37 w 602"/>
                <a:gd name="T3" fmla="*/ 317 h 580"/>
                <a:gd name="T4" fmla="*/ 28 w 602"/>
                <a:gd name="T5" fmla="*/ 297 h 580"/>
                <a:gd name="T6" fmla="*/ 10 w 602"/>
                <a:gd name="T7" fmla="*/ 238 h 580"/>
                <a:gd name="T8" fmla="*/ 6 w 602"/>
                <a:gd name="T9" fmla="*/ 220 h 580"/>
                <a:gd name="T10" fmla="*/ 2 w 602"/>
                <a:gd name="T11" fmla="*/ 193 h 580"/>
                <a:gd name="T12" fmla="*/ 1 w 602"/>
                <a:gd name="T13" fmla="*/ 176 h 580"/>
                <a:gd name="T14" fmla="*/ 0 w 602"/>
                <a:gd name="T15" fmla="*/ 167 h 580"/>
                <a:gd name="T16" fmla="*/ 0 w 602"/>
                <a:gd name="T17" fmla="*/ 151 h 580"/>
                <a:gd name="T18" fmla="*/ 0 w 602"/>
                <a:gd name="T19" fmla="*/ 128 h 580"/>
                <a:gd name="T20" fmla="*/ 1 w 602"/>
                <a:gd name="T21" fmla="*/ 114 h 580"/>
                <a:gd name="T22" fmla="*/ 32 w 602"/>
                <a:gd name="T23" fmla="*/ 1 h 580"/>
                <a:gd name="T24" fmla="*/ 89 w 602"/>
                <a:gd name="T25" fmla="*/ 43 h 580"/>
                <a:gd name="T26" fmla="*/ 207 w 602"/>
                <a:gd name="T27" fmla="*/ 381 h 580"/>
                <a:gd name="T28" fmla="*/ 552 w 602"/>
                <a:gd name="T29" fmla="*/ 410 h 580"/>
                <a:gd name="T30" fmla="*/ 602 w 602"/>
                <a:gd name="T31" fmla="*/ 381 h 580"/>
                <a:gd name="T32" fmla="*/ 567 w 602"/>
                <a:gd name="T33" fmla="*/ 414 h 580"/>
                <a:gd name="T34" fmla="*/ 563 w 602"/>
                <a:gd name="T35" fmla="*/ 418 h 580"/>
                <a:gd name="T36" fmla="*/ 562 w 602"/>
                <a:gd name="T37" fmla="*/ 419 h 580"/>
                <a:gd name="T38" fmla="*/ 124 w 602"/>
                <a:gd name="T39" fmla="*/ 451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02" h="580">
                  <a:moveTo>
                    <a:pt x="124" y="451"/>
                  </a:moveTo>
                  <a:cubicBezTo>
                    <a:pt x="84" y="405"/>
                    <a:pt x="56" y="360"/>
                    <a:pt x="37" y="317"/>
                  </a:cubicBezTo>
                  <a:cubicBezTo>
                    <a:pt x="34" y="310"/>
                    <a:pt x="31" y="303"/>
                    <a:pt x="28" y="297"/>
                  </a:cubicBezTo>
                  <a:cubicBezTo>
                    <a:pt x="21" y="276"/>
                    <a:pt x="15" y="257"/>
                    <a:pt x="10" y="238"/>
                  </a:cubicBezTo>
                  <a:cubicBezTo>
                    <a:pt x="9" y="232"/>
                    <a:pt x="8" y="226"/>
                    <a:pt x="6" y="220"/>
                  </a:cubicBezTo>
                  <a:cubicBezTo>
                    <a:pt x="5" y="211"/>
                    <a:pt x="3" y="202"/>
                    <a:pt x="2" y="193"/>
                  </a:cubicBezTo>
                  <a:cubicBezTo>
                    <a:pt x="2" y="187"/>
                    <a:pt x="1" y="181"/>
                    <a:pt x="1" y="176"/>
                  </a:cubicBezTo>
                  <a:cubicBezTo>
                    <a:pt x="1" y="173"/>
                    <a:pt x="0" y="170"/>
                    <a:pt x="0" y="167"/>
                  </a:cubicBezTo>
                  <a:cubicBezTo>
                    <a:pt x="0" y="162"/>
                    <a:pt x="0" y="156"/>
                    <a:pt x="0" y="151"/>
                  </a:cubicBezTo>
                  <a:cubicBezTo>
                    <a:pt x="0" y="143"/>
                    <a:pt x="0" y="136"/>
                    <a:pt x="0" y="128"/>
                  </a:cubicBezTo>
                  <a:cubicBezTo>
                    <a:pt x="1" y="123"/>
                    <a:pt x="1" y="118"/>
                    <a:pt x="1" y="114"/>
                  </a:cubicBezTo>
                  <a:cubicBezTo>
                    <a:pt x="8" y="44"/>
                    <a:pt x="31" y="0"/>
                    <a:pt x="32" y="1"/>
                  </a:cubicBezTo>
                  <a:cubicBezTo>
                    <a:pt x="51" y="27"/>
                    <a:pt x="70" y="39"/>
                    <a:pt x="89" y="43"/>
                  </a:cubicBezTo>
                  <a:cubicBezTo>
                    <a:pt x="88" y="125"/>
                    <a:pt x="106" y="264"/>
                    <a:pt x="207" y="381"/>
                  </a:cubicBezTo>
                  <a:cubicBezTo>
                    <a:pt x="292" y="481"/>
                    <a:pt x="436" y="467"/>
                    <a:pt x="552" y="410"/>
                  </a:cubicBezTo>
                  <a:cubicBezTo>
                    <a:pt x="569" y="401"/>
                    <a:pt x="586" y="392"/>
                    <a:pt x="602" y="381"/>
                  </a:cubicBezTo>
                  <a:cubicBezTo>
                    <a:pt x="591" y="393"/>
                    <a:pt x="579" y="404"/>
                    <a:pt x="567" y="414"/>
                  </a:cubicBezTo>
                  <a:cubicBezTo>
                    <a:pt x="566" y="415"/>
                    <a:pt x="565" y="417"/>
                    <a:pt x="563" y="418"/>
                  </a:cubicBezTo>
                  <a:cubicBezTo>
                    <a:pt x="562" y="419"/>
                    <a:pt x="562" y="419"/>
                    <a:pt x="562" y="419"/>
                  </a:cubicBezTo>
                  <a:cubicBezTo>
                    <a:pt x="442" y="520"/>
                    <a:pt x="234" y="580"/>
                    <a:pt x="124" y="451"/>
                  </a:cubicBezTo>
                  <a:close/>
                </a:path>
              </a:pathLst>
            </a:custGeom>
            <a:solidFill>
              <a:srgbClr val="D7A3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656">
              <a:extLst>
                <a:ext uri="{FF2B5EF4-FFF2-40B4-BE49-F238E27FC236}">
                  <a16:creationId xmlns:a16="http://schemas.microsoft.com/office/drawing/2014/main" id="{8CBD6E65-77C0-40CA-BC11-C7B16780A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5763" y="4562476"/>
              <a:ext cx="338138" cy="347663"/>
            </a:xfrm>
            <a:custGeom>
              <a:avLst/>
              <a:gdLst>
                <a:gd name="T0" fmla="*/ 158 w 389"/>
                <a:gd name="T1" fmla="*/ 186 h 401"/>
                <a:gd name="T2" fmla="*/ 384 w 389"/>
                <a:gd name="T3" fmla="*/ 401 h 401"/>
                <a:gd name="T4" fmla="*/ 389 w 389"/>
                <a:gd name="T5" fmla="*/ 397 h 401"/>
                <a:gd name="T6" fmla="*/ 163 w 389"/>
                <a:gd name="T7" fmla="*/ 183 h 401"/>
                <a:gd name="T8" fmla="*/ 3 w 389"/>
                <a:gd name="T9" fmla="*/ 0 h 401"/>
                <a:gd name="T10" fmla="*/ 0 w 389"/>
                <a:gd name="T11" fmla="*/ 5 h 401"/>
                <a:gd name="T12" fmla="*/ 158 w 389"/>
                <a:gd name="T13" fmla="*/ 186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9" h="401">
                  <a:moveTo>
                    <a:pt x="158" y="186"/>
                  </a:moveTo>
                  <a:cubicBezTo>
                    <a:pt x="199" y="259"/>
                    <a:pt x="313" y="349"/>
                    <a:pt x="384" y="401"/>
                  </a:cubicBezTo>
                  <a:cubicBezTo>
                    <a:pt x="386" y="400"/>
                    <a:pt x="387" y="398"/>
                    <a:pt x="389" y="397"/>
                  </a:cubicBezTo>
                  <a:cubicBezTo>
                    <a:pt x="318" y="346"/>
                    <a:pt x="204" y="256"/>
                    <a:pt x="163" y="183"/>
                  </a:cubicBezTo>
                  <a:cubicBezTo>
                    <a:pt x="140" y="142"/>
                    <a:pt x="75" y="71"/>
                    <a:pt x="3" y="0"/>
                  </a:cubicBezTo>
                  <a:cubicBezTo>
                    <a:pt x="2" y="2"/>
                    <a:pt x="1" y="4"/>
                    <a:pt x="0" y="5"/>
                  </a:cubicBezTo>
                  <a:cubicBezTo>
                    <a:pt x="71" y="76"/>
                    <a:pt x="135" y="145"/>
                    <a:pt x="158" y="186"/>
                  </a:cubicBezTo>
                  <a:close/>
                </a:path>
              </a:pathLst>
            </a:custGeom>
            <a:solidFill>
              <a:srgbClr val="CC99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57">
              <a:extLst>
                <a:ext uri="{FF2B5EF4-FFF2-40B4-BE49-F238E27FC236}">
                  <a16:creationId xmlns:a16="http://schemas.microsoft.com/office/drawing/2014/main" id="{C8CD7856-4367-4F68-8B17-6AD0BD279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3725" y="546101"/>
              <a:ext cx="449263" cy="1344613"/>
            </a:xfrm>
            <a:custGeom>
              <a:avLst/>
              <a:gdLst>
                <a:gd name="T0" fmla="*/ 102 w 516"/>
                <a:gd name="T1" fmla="*/ 9 h 1552"/>
                <a:gd name="T2" fmla="*/ 516 w 516"/>
                <a:gd name="T3" fmla="*/ 885 h 1552"/>
                <a:gd name="T4" fmla="*/ 144 w 516"/>
                <a:gd name="T5" fmla="*/ 1552 h 1552"/>
                <a:gd name="T6" fmla="*/ 57 w 516"/>
                <a:gd name="T7" fmla="*/ 1492 h 1552"/>
                <a:gd name="T8" fmla="*/ 267 w 516"/>
                <a:gd name="T9" fmla="*/ 873 h 1552"/>
                <a:gd name="T10" fmla="*/ 18 w 516"/>
                <a:gd name="T11" fmla="*/ 345 h 1552"/>
                <a:gd name="T12" fmla="*/ 102 w 516"/>
                <a:gd name="T13" fmla="*/ 9 h 1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6" h="1552">
                  <a:moveTo>
                    <a:pt x="102" y="9"/>
                  </a:moveTo>
                  <a:cubicBezTo>
                    <a:pt x="349" y="31"/>
                    <a:pt x="419" y="433"/>
                    <a:pt x="516" y="885"/>
                  </a:cubicBezTo>
                  <a:cubicBezTo>
                    <a:pt x="144" y="1552"/>
                    <a:pt x="144" y="1552"/>
                    <a:pt x="144" y="1552"/>
                  </a:cubicBezTo>
                  <a:cubicBezTo>
                    <a:pt x="57" y="1492"/>
                    <a:pt x="57" y="1492"/>
                    <a:pt x="57" y="1492"/>
                  </a:cubicBezTo>
                  <a:cubicBezTo>
                    <a:pt x="267" y="873"/>
                    <a:pt x="267" y="873"/>
                    <a:pt x="267" y="873"/>
                  </a:cubicBezTo>
                  <a:cubicBezTo>
                    <a:pt x="18" y="345"/>
                    <a:pt x="18" y="345"/>
                    <a:pt x="18" y="345"/>
                  </a:cubicBezTo>
                  <a:cubicBezTo>
                    <a:pt x="18" y="345"/>
                    <a:pt x="0" y="0"/>
                    <a:pt x="102" y="9"/>
                  </a:cubicBezTo>
                  <a:close/>
                </a:path>
              </a:pathLst>
            </a:custGeom>
            <a:solidFill>
              <a:srgbClr val="E3C8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658">
              <a:extLst>
                <a:ext uri="{FF2B5EF4-FFF2-40B4-BE49-F238E27FC236}">
                  <a16:creationId xmlns:a16="http://schemas.microsoft.com/office/drawing/2014/main" id="{2A5E03E3-E048-41E3-8DF3-B5A2A4DAB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1688" y="546101"/>
              <a:ext cx="620713" cy="1123950"/>
            </a:xfrm>
            <a:custGeom>
              <a:avLst/>
              <a:gdLst>
                <a:gd name="T0" fmla="*/ 410 w 714"/>
                <a:gd name="T1" fmla="*/ 9 h 1297"/>
                <a:gd name="T2" fmla="*/ 0 w 714"/>
                <a:gd name="T3" fmla="*/ 940 h 1297"/>
                <a:gd name="T4" fmla="*/ 673 w 714"/>
                <a:gd name="T5" fmla="*/ 1297 h 1297"/>
                <a:gd name="T6" fmla="*/ 714 w 714"/>
                <a:gd name="T7" fmla="*/ 1197 h 1297"/>
                <a:gd name="T8" fmla="*/ 244 w 714"/>
                <a:gd name="T9" fmla="*/ 873 h 1297"/>
                <a:gd name="T10" fmla="*/ 493 w 714"/>
                <a:gd name="T11" fmla="*/ 345 h 1297"/>
                <a:gd name="T12" fmla="*/ 410 w 714"/>
                <a:gd name="T13" fmla="*/ 9 h 1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4" h="1297">
                  <a:moveTo>
                    <a:pt x="410" y="9"/>
                  </a:moveTo>
                  <a:cubicBezTo>
                    <a:pt x="162" y="31"/>
                    <a:pt x="55" y="639"/>
                    <a:pt x="0" y="940"/>
                  </a:cubicBezTo>
                  <a:cubicBezTo>
                    <a:pt x="69" y="1093"/>
                    <a:pt x="673" y="1297"/>
                    <a:pt x="673" y="1297"/>
                  </a:cubicBezTo>
                  <a:cubicBezTo>
                    <a:pt x="714" y="1197"/>
                    <a:pt x="714" y="1197"/>
                    <a:pt x="714" y="1197"/>
                  </a:cubicBezTo>
                  <a:cubicBezTo>
                    <a:pt x="244" y="873"/>
                    <a:pt x="244" y="873"/>
                    <a:pt x="244" y="873"/>
                  </a:cubicBezTo>
                  <a:cubicBezTo>
                    <a:pt x="493" y="345"/>
                    <a:pt x="493" y="345"/>
                    <a:pt x="493" y="345"/>
                  </a:cubicBezTo>
                  <a:cubicBezTo>
                    <a:pt x="493" y="345"/>
                    <a:pt x="512" y="0"/>
                    <a:pt x="410" y="9"/>
                  </a:cubicBezTo>
                  <a:close/>
                </a:path>
              </a:pathLst>
            </a:custGeom>
            <a:solidFill>
              <a:srgbClr val="E3C8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659">
              <a:extLst>
                <a:ext uri="{FF2B5EF4-FFF2-40B4-BE49-F238E27FC236}">
                  <a16:creationId xmlns:a16="http://schemas.microsoft.com/office/drawing/2014/main" id="{F67704D2-2BBE-4007-965C-BA02F0300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5825" y="3567113"/>
              <a:ext cx="950913" cy="954088"/>
            </a:xfrm>
            <a:custGeom>
              <a:avLst/>
              <a:gdLst>
                <a:gd name="T0" fmla="*/ 175 w 1094"/>
                <a:gd name="T1" fmla="*/ 1027 h 1100"/>
                <a:gd name="T2" fmla="*/ 422 w 1094"/>
                <a:gd name="T3" fmla="*/ 90 h 1100"/>
                <a:gd name="T4" fmla="*/ 1087 w 1094"/>
                <a:gd name="T5" fmla="*/ 50 h 1100"/>
                <a:gd name="T6" fmla="*/ 1094 w 1094"/>
                <a:gd name="T7" fmla="*/ 160 h 1100"/>
                <a:gd name="T8" fmla="*/ 604 w 1094"/>
                <a:gd name="T9" fmla="*/ 259 h 1100"/>
                <a:gd name="T10" fmla="*/ 455 w 1094"/>
                <a:gd name="T11" fmla="*/ 823 h 1100"/>
                <a:gd name="T12" fmla="*/ 175 w 1094"/>
                <a:gd name="T13" fmla="*/ 1027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4" h="1100">
                  <a:moveTo>
                    <a:pt x="175" y="1027"/>
                  </a:moveTo>
                  <a:cubicBezTo>
                    <a:pt x="0" y="851"/>
                    <a:pt x="209" y="410"/>
                    <a:pt x="422" y="90"/>
                  </a:cubicBezTo>
                  <a:cubicBezTo>
                    <a:pt x="565" y="0"/>
                    <a:pt x="1087" y="50"/>
                    <a:pt x="1087" y="50"/>
                  </a:cubicBezTo>
                  <a:cubicBezTo>
                    <a:pt x="1094" y="160"/>
                    <a:pt x="1094" y="160"/>
                    <a:pt x="1094" y="160"/>
                  </a:cubicBezTo>
                  <a:cubicBezTo>
                    <a:pt x="604" y="259"/>
                    <a:pt x="604" y="259"/>
                    <a:pt x="604" y="259"/>
                  </a:cubicBezTo>
                  <a:cubicBezTo>
                    <a:pt x="455" y="823"/>
                    <a:pt x="455" y="823"/>
                    <a:pt x="455" y="823"/>
                  </a:cubicBezTo>
                  <a:cubicBezTo>
                    <a:pt x="455" y="823"/>
                    <a:pt x="248" y="1100"/>
                    <a:pt x="175" y="1027"/>
                  </a:cubicBezTo>
                  <a:close/>
                </a:path>
              </a:pathLst>
            </a:custGeom>
            <a:solidFill>
              <a:srgbClr val="447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660">
              <a:extLst>
                <a:ext uri="{FF2B5EF4-FFF2-40B4-BE49-F238E27FC236}">
                  <a16:creationId xmlns:a16="http://schemas.microsoft.com/office/drawing/2014/main" id="{0ACAE47F-9501-4224-A15B-0E1CE7FA5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3213" y="4067176"/>
              <a:ext cx="901700" cy="1023938"/>
            </a:xfrm>
            <a:custGeom>
              <a:avLst/>
              <a:gdLst>
                <a:gd name="T0" fmla="*/ 84 w 1037"/>
                <a:gd name="T1" fmla="*/ 1040 h 1182"/>
                <a:gd name="T2" fmla="*/ 977 w 1037"/>
                <a:gd name="T3" fmla="*/ 675 h 1182"/>
                <a:gd name="T4" fmla="*/ 790 w 1037"/>
                <a:gd name="T5" fmla="*/ 0 h 1182"/>
                <a:gd name="T6" fmla="*/ 679 w 1037"/>
                <a:gd name="T7" fmla="*/ 10 h 1182"/>
                <a:gd name="T8" fmla="*/ 767 w 1037"/>
                <a:gd name="T9" fmla="*/ 548 h 1182"/>
                <a:gd name="T10" fmla="*/ 237 w 1037"/>
                <a:gd name="T11" fmla="*/ 728 h 1182"/>
                <a:gd name="T12" fmla="*/ 84 w 1037"/>
                <a:gd name="T13" fmla="*/ 1040 h 1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7" h="1182">
                  <a:moveTo>
                    <a:pt x="84" y="1040"/>
                  </a:moveTo>
                  <a:cubicBezTo>
                    <a:pt x="288" y="1182"/>
                    <a:pt x="785" y="863"/>
                    <a:pt x="977" y="675"/>
                  </a:cubicBezTo>
                  <a:cubicBezTo>
                    <a:pt x="1037" y="482"/>
                    <a:pt x="790" y="0"/>
                    <a:pt x="790" y="0"/>
                  </a:cubicBezTo>
                  <a:cubicBezTo>
                    <a:pt x="679" y="10"/>
                    <a:pt x="679" y="10"/>
                    <a:pt x="679" y="10"/>
                  </a:cubicBezTo>
                  <a:cubicBezTo>
                    <a:pt x="767" y="548"/>
                    <a:pt x="767" y="548"/>
                    <a:pt x="767" y="548"/>
                  </a:cubicBezTo>
                  <a:cubicBezTo>
                    <a:pt x="237" y="728"/>
                    <a:pt x="237" y="728"/>
                    <a:pt x="237" y="728"/>
                  </a:cubicBezTo>
                  <a:cubicBezTo>
                    <a:pt x="237" y="728"/>
                    <a:pt x="0" y="981"/>
                    <a:pt x="84" y="1040"/>
                  </a:cubicBezTo>
                  <a:close/>
                </a:path>
              </a:pathLst>
            </a:custGeom>
            <a:solidFill>
              <a:srgbClr val="447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661">
              <a:extLst>
                <a:ext uri="{FF2B5EF4-FFF2-40B4-BE49-F238E27FC236}">
                  <a16:creationId xmlns:a16="http://schemas.microsoft.com/office/drawing/2014/main" id="{86036990-83B2-495D-AF96-FB939CD37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3038" y="2300288"/>
              <a:ext cx="628650" cy="561975"/>
            </a:xfrm>
            <a:custGeom>
              <a:avLst/>
              <a:gdLst>
                <a:gd name="T0" fmla="*/ 697 w 724"/>
                <a:gd name="T1" fmla="*/ 212 h 648"/>
                <a:gd name="T2" fmla="*/ 204 w 724"/>
                <a:gd name="T3" fmla="*/ 8 h 648"/>
                <a:gd name="T4" fmla="*/ 158 w 724"/>
                <a:gd name="T5" fmla="*/ 27 h 648"/>
                <a:gd name="T6" fmla="*/ 8 w 724"/>
                <a:gd name="T7" fmla="*/ 391 h 648"/>
                <a:gd name="T8" fmla="*/ 27 w 724"/>
                <a:gd name="T9" fmla="*/ 437 h 648"/>
                <a:gd name="T10" fmla="*/ 520 w 724"/>
                <a:gd name="T11" fmla="*/ 641 h 648"/>
                <a:gd name="T12" fmla="*/ 565 w 724"/>
                <a:gd name="T13" fmla="*/ 622 h 648"/>
                <a:gd name="T14" fmla="*/ 716 w 724"/>
                <a:gd name="T15" fmla="*/ 258 h 648"/>
                <a:gd name="T16" fmla="*/ 697 w 724"/>
                <a:gd name="T17" fmla="*/ 212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4" h="648">
                  <a:moveTo>
                    <a:pt x="697" y="212"/>
                  </a:moveTo>
                  <a:cubicBezTo>
                    <a:pt x="204" y="8"/>
                    <a:pt x="204" y="8"/>
                    <a:pt x="204" y="8"/>
                  </a:cubicBezTo>
                  <a:cubicBezTo>
                    <a:pt x="186" y="0"/>
                    <a:pt x="166" y="9"/>
                    <a:pt x="158" y="27"/>
                  </a:cubicBezTo>
                  <a:cubicBezTo>
                    <a:pt x="8" y="391"/>
                    <a:pt x="8" y="391"/>
                    <a:pt x="8" y="391"/>
                  </a:cubicBezTo>
                  <a:cubicBezTo>
                    <a:pt x="0" y="409"/>
                    <a:pt x="9" y="429"/>
                    <a:pt x="27" y="437"/>
                  </a:cubicBezTo>
                  <a:cubicBezTo>
                    <a:pt x="520" y="641"/>
                    <a:pt x="520" y="641"/>
                    <a:pt x="520" y="641"/>
                  </a:cubicBezTo>
                  <a:cubicBezTo>
                    <a:pt x="538" y="648"/>
                    <a:pt x="558" y="640"/>
                    <a:pt x="565" y="622"/>
                  </a:cubicBezTo>
                  <a:cubicBezTo>
                    <a:pt x="716" y="258"/>
                    <a:pt x="716" y="258"/>
                    <a:pt x="716" y="258"/>
                  </a:cubicBezTo>
                  <a:cubicBezTo>
                    <a:pt x="724" y="240"/>
                    <a:pt x="715" y="219"/>
                    <a:pt x="697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662">
              <a:extLst>
                <a:ext uri="{FF2B5EF4-FFF2-40B4-BE49-F238E27FC236}">
                  <a16:creationId xmlns:a16="http://schemas.microsoft.com/office/drawing/2014/main" id="{15F777DB-869B-4765-9BDF-6C4AD221C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3513" y="2274888"/>
              <a:ext cx="627063" cy="561975"/>
            </a:xfrm>
            <a:custGeom>
              <a:avLst/>
              <a:gdLst>
                <a:gd name="T0" fmla="*/ 7 w 723"/>
                <a:gd name="T1" fmla="*/ 391 h 648"/>
                <a:gd name="T2" fmla="*/ 158 w 723"/>
                <a:gd name="T3" fmla="*/ 27 h 648"/>
                <a:gd name="T4" fmla="*/ 204 w 723"/>
                <a:gd name="T5" fmla="*/ 8 h 648"/>
                <a:gd name="T6" fmla="*/ 697 w 723"/>
                <a:gd name="T7" fmla="*/ 212 h 648"/>
                <a:gd name="T8" fmla="*/ 716 w 723"/>
                <a:gd name="T9" fmla="*/ 258 h 648"/>
                <a:gd name="T10" fmla="*/ 565 w 723"/>
                <a:gd name="T11" fmla="*/ 622 h 648"/>
                <a:gd name="T12" fmla="*/ 519 w 723"/>
                <a:gd name="T13" fmla="*/ 641 h 648"/>
                <a:gd name="T14" fmla="*/ 26 w 723"/>
                <a:gd name="T15" fmla="*/ 437 h 648"/>
                <a:gd name="T16" fmla="*/ 7 w 723"/>
                <a:gd name="T17" fmla="*/ 391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3" h="648">
                  <a:moveTo>
                    <a:pt x="7" y="391"/>
                  </a:moveTo>
                  <a:cubicBezTo>
                    <a:pt x="158" y="27"/>
                    <a:pt x="158" y="27"/>
                    <a:pt x="158" y="27"/>
                  </a:cubicBezTo>
                  <a:cubicBezTo>
                    <a:pt x="165" y="9"/>
                    <a:pt x="186" y="0"/>
                    <a:pt x="204" y="8"/>
                  </a:cubicBezTo>
                  <a:cubicBezTo>
                    <a:pt x="697" y="212"/>
                    <a:pt x="697" y="212"/>
                    <a:pt x="697" y="212"/>
                  </a:cubicBezTo>
                  <a:cubicBezTo>
                    <a:pt x="714" y="219"/>
                    <a:pt x="723" y="240"/>
                    <a:pt x="716" y="258"/>
                  </a:cubicBezTo>
                  <a:cubicBezTo>
                    <a:pt x="565" y="622"/>
                    <a:pt x="565" y="622"/>
                    <a:pt x="565" y="622"/>
                  </a:cubicBezTo>
                  <a:cubicBezTo>
                    <a:pt x="557" y="640"/>
                    <a:pt x="537" y="648"/>
                    <a:pt x="519" y="641"/>
                  </a:cubicBezTo>
                  <a:cubicBezTo>
                    <a:pt x="26" y="437"/>
                    <a:pt x="26" y="437"/>
                    <a:pt x="26" y="437"/>
                  </a:cubicBezTo>
                  <a:cubicBezTo>
                    <a:pt x="8" y="429"/>
                    <a:pt x="0" y="409"/>
                    <a:pt x="7" y="39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663">
              <a:extLst>
                <a:ext uri="{FF2B5EF4-FFF2-40B4-BE49-F238E27FC236}">
                  <a16:creationId xmlns:a16="http://schemas.microsoft.com/office/drawing/2014/main" id="{AE618E9A-4AB3-4DF8-9531-DFA4339C4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2250" y="2314576"/>
              <a:ext cx="542925" cy="496888"/>
            </a:xfrm>
            <a:custGeom>
              <a:avLst/>
              <a:gdLst>
                <a:gd name="T0" fmla="*/ 0 w 342"/>
                <a:gd name="T1" fmla="*/ 207 h 313"/>
                <a:gd name="T2" fmla="*/ 85 w 342"/>
                <a:gd name="T3" fmla="*/ 0 h 313"/>
                <a:gd name="T4" fmla="*/ 342 w 342"/>
                <a:gd name="T5" fmla="*/ 106 h 313"/>
                <a:gd name="T6" fmla="*/ 257 w 342"/>
                <a:gd name="T7" fmla="*/ 313 h 313"/>
                <a:gd name="T8" fmla="*/ 0 w 342"/>
                <a:gd name="T9" fmla="*/ 207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" h="313">
                  <a:moveTo>
                    <a:pt x="0" y="207"/>
                  </a:moveTo>
                  <a:lnTo>
                    <a:pt x="85" y="0"/>
                  </a:lnTo>
                  <a:lnTo>
                    <a:pt x="342" y="106"/>
                  </a:lnTo>
                  <a:lnTo>
                    <a:pt x="257" y="313"/>
                  </a:lnTo>
                  <a:lnTo>
                    <a:pt x="0" y="207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64">
              <a:extLst>
                <a:ext uri="{FF2B5EF4-FFF2-40B4-BE49-F238E27FC236}">
                  <a16:creationId xmlns:a16="http://schemas.microsoft.com/office/drawing/2014/main" id="{2540A740-164E-4394-852E-FF0D9373E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6063" y="2449513"/>
              <a:ext cx="36513" cy="36513"/>
            </a:xfrm>
            <a:custGeom>
              <a:avLst/>
              <a:gdLst>
                <a:gd name="T0" fmla="*/ 14 w 42"/>
                <a:gd name="T1" fmla="*/ 38 h 41"/>
                <a:gd name="T2" fmla="*/ 4 w 42"/>
                <a:gd name="T3" fmla="*/ 14 h 41"/>
                <a:gd name="T4" fmla="*/ 28 w 42"/>
                <a:gd name="T5" fmla="*/ 4 h 41"/>
                <a:gd name="T6" fmla="*/ 38 w 42"/>
                <a:gd name="T7" fmla="*/ 28 h 41"/>
                <a:gd name="T8" fmla="*/ 14 w 42"/>
                <a:gd name="T9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1">
                  <a:moveTo>
                    <a:pt x="14" y="38"/>
                  </a:moveTo>
                  <a:cubicBezTo>
                    <a:pt x="5" y="34"/>
                    <a:pt x="0" y="23"/>
                    <a:pt x="4" y="14"/>
                  </a:cubicBezTo>
                  <a:cubicBezTo>
                    <a:pt x="8" y="4"/>
                    <a:pt x="19" y="0"/>
                    <a:pt x="28" y="4"/>
                  </a:cubicBezTo>
                  <a:cubicBezTo>
                    <a:pt x="38" y="8"/>
                    <a:pt x="42" y="18"/>
                    <a:pt x="38" y="28"/>
                  </a:cubicBezTo>
                  <a:cubicBezTo>
                    <a:pt x="34" y="37"/>
                    <a:pt x="24" y="41"/>
                    <a:pt x="14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665">
              <a:extLst>
                <a:ext uri="{FF2B5EF4-FFF2-40B4-BE49-F238E27FC236}">
                  <a16:creationId xmlns:a16="http://schemas.microsoft.com/office/drawing/2014/main" id="{62CFE098-D376-4ADA-AFE9-E91EE07CD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7825" y="2363788"/>
              <a:ext cx="234950" cy="100013"/>
            </a:xfrm>
            <a:custGeom>
              <a:avLst/>
              <a:gdLst>
                <a:gd name="T0" fmla="*/ 0 w 270"/>
                <a:gd name="T1" fmla="*/ 1 h 114"/>
                <a:gd name="T2" fmla="*/ 2 w 270"/>
                <a:gd name="T3" fmla="*/ 1 h 114"/>
                <a:gd name="T4" fmla="*/ 269 w 270"/>
                <a:gd name="T5" fmla="*/ 111 h 114"/>
                <a:gd name="T6" fmla="*/ 270 w 270"/>
                <a:gd name="T7" fmla="*/ 113 h 114"/>
                <a:gd name="T8" fmla="*/ 268 w 270"/>
                <a:gd name="T9" fmla="*/ 114 h 114"/>
                <a:gd name="T10" fmla="*/ 1 w 270"/>
                <a:gd name="T11" fmla="*/ 3 h 114"/>
                <a:gd name="T12" fmla="*/ 0 w 270"/>
                <a:gd name="T13" fmla="*/ 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114">
                  <a:moveTo>
                    <a:pt x="0" y="1"/>
                  </a:moveTo>
                  <a:cubicBezTo>
                    <a:pt x="1" y="1"/>
                    <a:pt x="1" y="0"/>
                    <a:pt x="2" y="1"/>
                  </a:cubicBezTo>
                  <a:cubicBezTo>
                    <a:pt x="269" y="111"/>
                    <a:pt x="269" y="111"/>
                    <a:pt x="269" y="111"/>
                  </a:cubicBezTo>
                  <a:cubicBezTo>
                    <a:pt x="270" y="112"/>
                    <a:pt x="270" y="112"/>
                    <a:pt x="270" y="113"/>
                  </a:cubicBezTo>
                  <a:cubicBezTo>
                    <a:pt x="270" y="114"/>
                    <a:pt x="269" y="114"/>
                    <a:pt x="268" y="11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666">
              <a:extLst>
                <a:ext uri="{FF2B5EF4-FFF2-40B4-BE49-F238E27FC236}">
                  <a16:creationId xmlns:a16="http://schemas.microsoft.com/office/drawing/2014/main" id="{EF23600E-87F0-4170-B8E8-A309285BE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8450" y="2357438"/>
              <a:ext cx="100013" cy="234950"/>
            </a:xfrm>
            <a:custGeom>
              <a:avLst/>
              <a:gdLst>
                <a:gd name="T0" fmla="*/ 1 w 115"/>
                <a:gd name="T1" fmla="*/ 270 h 272"/>
                <a:gd name="T2" fmla="*/ 112 w 115"/>
                <a:gd name="T3" fmla="*/ 2 h 272"/>
                <a:gd name="T4" fmla="*/ 114 w 115"/>
                <a:gd name="T5" fmla="*/ 1 h 272"/>
                <a:gd name="T6" fmla="*/ 115 w 115"/>
                <a:gd name="T7" fmla="*/ 3 h 272"/>
                <a:gd name="T8" fmla="*/ 3 w 115"/>
                <a:gd name="T9" fmla="*/ 271 h 272"/>
                <a:gd name="T10" fmla="*/ 2 w 115"/>
                <a:gd name="T11" fmla="*/ 272 h 272"/>
                <a:gd name="T12" fmla="*/ 1 w 115"/>
                <a:gd name="T13" fmla="*/ 27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272">
                  <a:moveTo>
                    <a:pt x="1" y="270"/>
                  </a:moveTo>
                  <a:cubicBezTo>
                    <a:pt x="112" y="2"/>
                    <a:pt x="112" y="2"/>
                    <a:pt x="112" y="2"/>
                  </a:cubicBezTo>
                  <a:cubicBezTo>
                    <a:pt x="112" y="1"/>
                    <a:pt x="113" y="0"/>
                    <a:pt x="114" y="1"/>
                  </a:cubicBezTo>
                  <a:cubicBezTo>
                    <a:pt x="115" y="1"/>
                    <a:pt x="115" y="2"/>
                    <a:pt x="115" y="3"/>
                  </a:cubicBezTo>
                  <a:cubicBezTo>
                    <a:pt x="3" y="271"/>
                    <a:pt x="3" y="271"/>
                    <a:pt x="3" y="271"/>
                  </a:cubicBezTo>
                  <a:cubicBezTo>
                    <a:pt x="3" y="272"/>
                    <a:pt x="2" y="272"/>
                    <a:pt x="2" y="272"/>
                  </a:cubicBezTo>
                  <a:cubicBezTo>
                    <a:pt x="1" y="272"/>
                    <a:pt x="0" y="271"/>
                    <a:pt x="1" y="270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667">
              <a:extLst>
                <a:ext uri="{FF2B5EF4-FFF2-40B4-BE49-F238E27FC236}">
                  <a16:creationId xmlns:a16="http://schemas.microsoft.com/office/drawing/2014/main" id="{0D9C8F8D-54A8-4F0F-BE42-2A667EDF5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7825" y="2400301"/>
              <a:ext cx="144463" cy="282575"/>
            </a:xfrm>
            <a:custGeom>
              <a:avLst/>
              <a:gdLst>
                <a:gd name="T0" fmla="*/ 38 w 165"/>
                <a:gd name="T1" fmla="*/ 2 h 326"/>
                <a:gd name="T2" fmla="*/ 39 w 165"/>
                <a:gd name="T3" fmla="*/ 1 h 326"/>
                <a:gd name="T4" fmla="*/ 41 w 165"/>
                <a:gd name="T5" fmla="*/ 1 h 326"/>
                <a:gd name="T6" fmla="*/ 99 w 165"/>
                <a:gd name="T7" fmla="*/ 85 h 326"/>
                <a:gd name="T8" fmla="*/ 100 w 165"/>
                <a:gd name="T9" fmla="*/ 86 h 326"/>
                <a:gd name="T10" fmla="*/ 99 w 165"/>
                <a:gd name="T11" fmla="*/ 87 h 326"/>
                <a:gd name="T12" fmla="*/ 69 w 165"/>
                <a:gd name="T13" fmla="*/ 106 h 326"/>
                <a:gd name="T14" fmla="*/ 133 w 165"/>
                <a:gd name="T15" fmla="*/ 165 h 326"/>
                <a:gd name="T16" fmla="*/ 133 w 165"/>
                <a:gd name="T17" fmla="*/ 167 h 326"/>
                <a:gd name="T18" fmla="*/ 133 w 165"/>
                <a:gd name="T19" fmla="*/ 167 h 326"/>
                <a:gd name="T20" fmla="*/ 132 w 165"/>
                <a:gd name="T21" fmla="*/ 168 h 326"/>
                <a:gd name="T22" fmla="*/ 7 w 165"/>
                <a:gd name="T23" fmla="*/ 160 h 326"/>
                <a:gd name="T24" fmla="*/ 72 w 165"/>
                <a:gd name="T25" fmla="*/ 206 h 326"/>
                <a:gd name="T26" fmla="*/ 72 w 165"/>
                <a:gd name="T27" fmla="*/ 208 h 326"/>
                <a:gd name="T28" fmla="*/ 71 w 165"/>
                <a:gd name="T29" fmla="*/ 209 h 326"/>
                <a:gd name="T30" fmla="*/ 42 w 165"/>
                <a:gd name="T31" fmla="*/ 214 h 326"/>
                <a:gd name="T32" fmla="*/ 112 w 165"/>
                <a:gd name="T33" fmla="*/ 260 h 326"/>
                <a:gd name="T34" fmla="*/ 113 w 165"/>
                <a:gd name="T35" fmla="*/ 261 h 326"/>
                <a:gd name="T36" fmla="*/ 111 w 165"/>
                <a:gd name="T37" fmla="*/ 262 h 326"/>
                <a:gd name="T38" fmla="*/ 94 w 165"/>
                <a:gd name="T39" fmla="*/ 267 h 326"/>
                <a:gd name="T40" fmla="*/ 164 w 165"/>
                <a:gd name="T41" fmla="*/ 324 h 326"/>
                <a:gd name="T42" fmla="*/ 164 w 165"/>
                <a:gd name="T43" fmla="*/ 326 h 326"/>
                <a:gd name="T44" fmla="*/ 162 w 165"/>
                <a:gd name="T45" fmla="*/ 326 h 326"/>
                <a:gd name="T46" fmla="*/ 90 w 165"/>
                <a:gd name="T47" fmla="*/ 267 h 326"/>
                <a:gd name="T48" fmla="*/ 90 w 165"/>
                <a:gd name="T49" fmla="*/ 266 h 326"/>
                <a:gd name="T50" fmla="*/ 91 w 165"/>
                <a:gd name="T51" fmla="*/ 265 h 326"/>
                <a:gd name="T52" fmla="*/ 108 w 165"/>
                <a:gd name="T53" fmla="*/ 260 h 326"/>
                <a:gd name="T54" fmla="*/ 37 w 165"/>
                <a:gd name="T55" fmla="*/ 215 h 326"/>
                <a:gd name="T56" fmla="*/ 36 w 165"/>
                <a:gd name="T57" fmla="*/ 213 h 326"/>
                <a:gd name="T58" fmla="*/ 37 w 165"/>
                <a:gd name="T59" fmla="*/ 212 h 326"/>
                <a:gd name="T60" fmla="*/ 67 w 165"/>
                <a:gd name="T61" fmla="*/ 207 h 326"/>
                <a:gd name="T62" fmla="*/ 1 w 165"/>
                <a:gd name="T63" fmla="*/ 159 h 326"/>
                <a:gd name="T64" fmla="*/ 0 w 165"/>
                <a:gd name="T65" fmla="*/ 158 h 326"/>
                <a:gd name="T66" fmla="*/ 2 w 165"/>
                <a:gd name="T67" fmla="*/ 157 h 326"/>
                <a:gd name="T68" fmla="*/ 128 w 165"/>
                <a:gd name="T69" fmla="*/ 164 h 326"/>
                <a:gd name="T70" fmla="*/ 65 w 165"/>
                <a:gd name="T71" fmla="*/ 107 h 326"/>
                <a:gd name="T72" fmla="*/ 65 w 165"/>
                <a:gd name="T73" fmla="*/ 106 h 326"/>
                <a:gd name="T74" fmla="*/ 66 w 165"/>
                <a:gd name="T75" fmla="*/ 104 h 326"/>
                <a:gd name="T76" fmla="*/ 96 w 165"/>
                <a:gd name="T77" fmla="*/ 85 h 326"/>
                <a:gd name="T78" fmla="*/ 38 w 165"/>
                <a:gd name="T79" fmla="*/ 3 h 326"/>
                <a:gd name="T80" fmla="*/ 38 w 165"/>
                <a:gd name="T81" fmla="*/ 2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5" h="326">
                  <a:moveTo>
                    <a:pt x="38" y="2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39" y="0"/>
                    <a:pt x="40" y="1"/>
                    <a:pt x="41" y="1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100" y="85"/>
                    <a:pt x="100" y="85"/>
                    <a:pt x="100" y="86"/>
                  </a:cubicBezTo>
                  <a:cubicBezTo>
                    <a:pt x="100" y="86"/>
                    <a:pt x="99" y="87"/>
                    <a:pt x="99" y="87"/>
                  </a:cubicBezTo>
                  <a:cubicBezTo>
                    <a:pt x="69" y="106"/>
                    <a:pt x="69" y="106"/>
                    <a:pt x="69" y="106"/>
                  </a:cubicBezTo>
                  <a:cubicBezTo>
                    <a:pt x="133" y="165"/>
                    <a:pt x="133" y="165"/>
                    <a:pt x="133" y="165"/>
                  </a:cubicBezTo>
                  <a:cubicBezTo>
                    <a:pt x="133" y="165"/>
                    <a:pt x="133" y="166"/>
                    <a:pt x="133" y="167"/>
                  </a:cubicBezTo>
                  <a:cubicBezTo>
                    <a:pt x="133" y="167"/>
                    <a:pt x="133" y="167"/>
                    <a:pt x="133" y="167"/>
                  </a:cubicBezTo>
                  <a:cubicBezTo>
                    <a:pt x="133" y="167"/>
                    <a:pt x="132" y="168"/>
                    <a:pt x="132" y="168"/>
                  </a:cubicBezTo>
                  <a:cubicBezTo>
                    <a:pt x="7" y="160"/>
                    <a:pt x="7" y="160"/>
                    <a:pt x="7" y="160"/>
                  </a:cubicBezTo>
                  <a:cubicBezTo>
                    <a:pt x="72" y="206"/>
                    <a:pt x="72" y="206"/>
                    <a:pt x="72" y="206"/>
                  </a:cubicBezTo>
                  <a:cubicBezTo>
                    <a:pt x="72" y="207"/>
                    <a:pt x="72" y="207"/>
                    <a:pt x="72" y="208"/>
                  </a:cubicBezTo>
                  <a:cubicBezTo>
                    <a:pt x="72" y="208"/>
                    <a:pt x="72" y="209"/>
                    <a:pt x="71" y="209"/>
                  </a:cubicBezTo>
                  <a:cubicBezTo>
                    <a:pt x="42" y="214"/>
                    <a:pt x="42" y="214"/>
                    <a:pt x="42" y="214"/>
                  </a:cubicBezTo>
                  <a:cubicBezTo>
                    <a:pt x="112" y="260"/>
                    <a:pt x="112" y="260"/>
                    <a:pt x="112" y="260"/>
                  </a:cubicBezTo>
                  <a:cubicBezTo>
                    <a:pt x="112" y="260"/>
                    <a:pt x="113" y="260"/>
                    <a:pt x="113" y="261"/>
                  </a:cubicBezTo>
                  <a:cubicBezTo>
                    <a:pt x="112" y="262"/>
                    <a:pt x="112" y="262"/>
                    <a:pt x="111" y="262"/>
                  </a:cubicBezTo>
                  <a:cubicBezTo>
                    <a:pt x="94" y="267"/>
                    <a:pt x="94" y="267"/>
                    <a:pt x="94" y="267"/>
                  </a:cubicBezTo>
                  <a:cubicBezTo>
                    <a:pt x="164" y="324"/>
                    <a:pt x="164" y="324"/>
                    <a:pt x="164" y="324"/>
                  </a:cubicBezTo>
                  <a:cubicBezTo>
                    <a:pt x="165" y="324"/>
                    <a:pt x="165" y="325"/>
                    <a:pt x="164" y="326"/>
                  </a:cubicBezTo>
                  <a:cubicBezTo>
                    <a:pt x="164" y="326"/>
                    <a:pt x="163" y="326"/>
                    <a:pt x="162" y="326"/>
                  </a:cubicBezTo>
                  <a:cubicBezTo>
                    <a:pt x="90" y="267"/>
                    <a:pt x="90" y="267"/>
                    <a:pt x="90" y="267"/>
                  </a:cubicBezTo>
                  <a:cubicBezTo>
                    <a:pt x="90" y="267"/>
                    <a:pt x="90" y="266"/>
                    <a:pt x="90" y="266"/>
                  </a:cubicBezTo>
                  <a:cubicBezTo>
                    <a:pt x="90" y="265"/>
                    <a:pt x="91" y="265"/>
                    <a:pt x="91" y="265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37" y="215"/>
                    <a:pt x="37" y="215"/>
                    <a:pt x="37" y="215"/>
                  </a:cubicBezTo>
                  <a:cubicBezTo>
                    <a:pt x="36" y="215"/>
                    <a:pt x="36" y="214"/>
                    <a:pt x="36" y="213"/>
                  </a:cubicBezTo>
                  <a:cubicBezTo>
                    <a:pt x="36" y="213"/>
                    <a:pt x="37" y="212"/>
                    <a:pt x="37" y="212"/>
                  </a:cubicBezTo>
                  <a:cubicBezTo>
                    <a:pt x="67" y="207"/>
                    <a:pt x="67" y="207"/>
                    <a:pt x="67" y="207"/>
                  </a:cubicBezTo>
                  <a:cubicBezTo>
                    <a:pt x="1" y="159"/>
                    <a:pt x="1" y="159"/>
                    <a:pt x="1" y="159"/>
                  </a:cubicBezTo>
                  <a:cubicBezTo>
                    <a:pt x="0" y="159"/>
                    <a:pt x="0" y="158"/>
                    <a:pt x="0" y="158"/>
                  </a:cubicBezTo>
                  <a:cubicBezTo>
                    <a:pt x="1" y="157"/>
                    <a:pt x="1" y="157"/>
                    <a:pt x="2" y="157"/>
                  </a:cubicBezTo>
                  <a:cubicBezTo>
                    <a:pt x="128" y="164"/>
                    <a:pt x="128" y="164"/>
                    <a:pt x="128" y="164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65" y="106"/>
                    <a:pt x="65" y="106"/>
                    <a:pt x="65" y="106"/>
                  </a:cubicBezTo>
                  <a:cubicBezTo>
                    <a:pt x="65" y="105"/>
                    <a:pt x="65" y="105"/>
                    <a:pt x="66" y="104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2"/>
                    <a:pt x="38" y="2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668">
              <a:extLst>
                <a:ext uri="{FF2B5EF4-FFF2-40B4-BE49-F238E27FC236}">
                  <a16:creationId xmlns:a16="http://schemas.microsoft.com/office/drawing/2014/main" id="{B0C16853-D4E6-4DEA-A4D9-A35895DB4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3238" y="2665413"/>
              <a:ext cx="19050" cy="17463"/>
            </a:xfrm>
            <a:custGeom>
              <a:avLst/>
              <a:gdLst>
                <a:gd name="T0" fmla="*/ 0 w 22"/>
                <a:gd name="T1" fmla="*/ 11 h 20"/>
                <a:gd name="T2" fmla="*/ 2 w 22"/>
                <a:gd name="T3" fmla="*/ 11 h 20"/>
                <a:gd name="T4" fmla="*/ 17 w 22"/>
                <a:gd name="T5" fmla="*/ 16 h 20"/>
                <a:gd name="T6" fmla="*/ 8 w 22"/>
                <a:gd name="T7" fmla="*/ 3 h 20"/>
                <a:gd name="T8" fmla="*/ 9 w 22"/>
                <a:gd name="T9" fmla="*/ 1 h 20"/>
                <a:gd name="T10" fmla="*/ 11 w 22"/>
                <a:gd name="T11" fmla="*/ 1 h 20"/>
                <a:gd name="T12" fmla="*/ 21 w 22"/>
                <a:gd name="T13" fmla="*/ 18 h 20"/>
                <a:gd name="T14" fmla="*/ 21 w 22"/>
                <a:gd name="T15" fmla="*/ 20 h 20"/>
                <a:gd name="T16" fmla="*/ 20 w 22"/>
                <a:gd name="T17" fmla="*/ 20 h 20"/>
                <a:gd name="T18" fmla="*/ 1 w 22"/>
                <a:gd name="T19" fmla="*/ 13 h 20"/>
                <a:gd name="T20" fmla="*/ 0 w 22"/>
                <a:gd name="T21" fmla="*/ 12 h 20"/>
                <a:gd name="T22" fmla="*/ 0 w 22"/>
                <a:gd name="T2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0">
                  <a:moveTo>
                    <a:pt x="0" y="11"/>
                  </a:moveTo>
                  <a:cubicBezTo>
                    <a:pt x="0" y="11"/>
                    <a:pt x="1" y="10"/>
                    <a:pt x="2" y="11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9" y="1"/>
                  </a:cubicBezTo>
                  <a:cubicBezTo>
                    <a:pt x="10" y="0"/>
                    <a:pt x="10" y="0"/>
                    <a:pt x="11" y="1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2" y="19"/>
                    <a:pt x="22" y="19"/>
                    <a:pt x="21" y="20"/>
                  </a:cubicBezTo>
                  <a:cubicBezTo>
                    <a:pt x="21" y="20"/>
                    <a:pt x="20" y="20"/>
                    <a:pt x="20" y="20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2"/>
                    <a:pt x="0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669">
              <a:extLst>
                <a:ext uri="{FF2B5EF4-FFF2-40B4-BE49-F238E27FC236}">
                  <a16:creationId xmlns:a16="http://schemas.microsoft.com/office/drawing/2014/main" id="{6A9346AD-CE65-4540-B12A-EA6C0EC42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5950" y="2506663"/>
              <a:ext cx="111125" cy="260350"/>
            </a:xfrm>
            <a:custGeom>
              <a:avLst/>
              <a:gdLst>
                <a:gd name="T0" fmla="*/ 0 w 70"/>
                <a:gd name="T1" fmla="*/ 163 h 164"/>
                <a:gd name="T2" fmla="*/ 68 w 70"/>
                <a:gd name="T3" fmla="*/ 0 h 164"/>
                <a:gd name="T4" fmla="*/ 70 w 70"/>
                <a:gd name="T5" fmla="*/ 1 h 164"/>
                <a:gd name="T6" fmla="*/ 3 w 70"/>
                <a:gd name="T7" fmla="*/ 164 h 164"/>
                <a:gd name="T8" fmla="*/ 0 w 70"/>
                <a:gd name="T9" fmla="*/ 16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3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3" y="164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670">
              <a:extLst>
                <a:ext uri="{FF2B5EF4-FFF2-40B4-BE49-F238E27FC236}">
                  <a16:creationId xmlns:a16="http://schemas.microsoft.com/office/drawing/2014/main" id="{5B894938-C742-4699-A96B-875E3AC4C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5313" y="2497138"/>
              <a:ext cx="111125" cy="260350"/>
            </a:xfrm>
            <a:custGeom>
              <a:avLst/>
              <a:gdLst>
                <a:gd name="T0" fmla="*/ 0 w 70"/>
                <a:gd name="T1" fmla="*/ 164 h 164"/>
                <a:gd name="T2" fmla="*/ 68 w 70"/>
                <a:gd name="T3" fmla="*/ 0 h 164"/>
                <a:gd name="T4" fmla="*/ 70 w 70"/>
                <a:gd name="T5" fmla="*/ 1 h 164"/>
                <a:gd name="T6" fmla="*/ 2 w 70"/>
                <a:gd name="T7" fmla="*/ 164 h 164"/>
                <a:gd name="T8" fmla="*/ 0 w 70"/>
                <a:gd name="T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4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2" y="164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671">
              <a:extLst>
                <a:ext uri="{FF2B5EF4-FFF2-40B4-BE49-F238E27FC236}">
                  <a16:creationId xmlns:a16="http://schemas.microsoft.com/office/drawing/2014/main" id="{FE5E4E1D-04CC-4787-AFA0-EEA774A2E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3088" y="2487613"/>
              <a:ext cx="111125" cy="261938"/>
            </a:xfrm>
            <a:custGeom>
              <a:avLst/>
              <a:gdLst>
                <a:gd name="T0" fmla="*/ 0 w 70"/>
                <a:gd name="T1" fmla="*/ 164 h 165"/>
                <a:gd name="T2" fmla="*/ 68 w 70"/>
                <a:gd name="T3" fmla="*/ 0 h 165"/>
                <a:gd name="T4" fmla="*/ 70 w 70"/>
                <a:gd name="T5" fmla="*/ 2 h 165"/>
                <a:gd name="T6" fmla="*/ 2 w 70"/>
                <a:gd name="T7" fmla="*/ 165 h 165"/>
                <a:gd name="T8" fmla="*/ 0 w 70"/>
                <a:gd name="T9" fmla="*/ 16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5">
                  <a:moveTo>
                    <a:pt x="0" y="164"/>
                  </a:moveTo>
                  <a:lnTo>
                    <a:pt x="68" y="0"/>
                  </a:lnTo>
                  <a:lnTo>
                    <a:pt x="70" y="2"/>
                  </a:lnTo>
                  <a:lnTo>
                    <a:pt x="2" y="165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72">
              <a:extLst>
                <a:ext uri="{FF2B5EF4-FFF2-40B4-BE49-F238E27FC236}">
                  <a16:creationId xmlns:a16="http://schemas.microsoft.com/office/drawing/2014/main" id="{47003382-97CB-4D6D-8E8A-237950B8F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0863" y="2479676"/>
              <a:ext cx="111125" cy="260350"/>
            </a:xfrm>
            <a:custGeom>
              <a:avLst/>
              <a:gdLst>
                <a:gd name="T0" fmla="*/ 0 w 70"/>
                <a:gd name="T1" fmla="*/ 163 h 164"/>
                <a:gd name="T2" fmla="*/ 68 w 70"/>
                <a:gd name="T3" fmla="*/ 0 h 164"/>
                <a:gd name="T4" fmla="*/ 70 w 70"/>
                <a:gd name="T5" fmla="*/ 1 h 164"/>
                <a:gd name="T6" fmla="*/ 2 w 70"/>
                <a:gd name="T7" fmla="*/ 164 h 164"/>
                <a:gd name="T8" fmla="*/ 0 w 70"/>
                <a:gd name="T9" fmla="*/ 16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3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2" y="164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673">
              <a:extLst>
                <a:ext uri="{FF2B5EF4-FFF2-40B4-BE49-F238E27FC236}">
                  <a16:creationId xmlns:a16="http://schemas.microsoft.com/office/drawing/2014/main" id="{51A5FAD9-E0A9-4E46-BAA1-F26EB94A2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9800" y="2497138"/>
              <a:ext cx="585788" cy="461963"/>
            </a:xfrm>
            <a:custGeom>
              <a:avLst/>
              <a:gdLst>
                <a:gd name="T0" fmla="*/ 652 w 675"/>
                <a:gd name="T1" fmla="*/ 37 h 533"/>
                <a:gd name="T2" fmla="*/ 674 w 675"/>
                <a:gd name="T3" fmla="*/ 462 h 533"/>
                <a:gd name="T4" fmla="*/ 638 w 675"/>
                <a:gd name="T5" fmla="*/ 502 h 533"/>
                <a:gd name="T6" fmla="*/ 63 w 675"/>
                <a:gd name="T7" fmla="*/ 531 h 533"/>
                <a:gd name="T8" fmla="*/ 23 w 675"/>
                <a:gd name="T9" fmla="*/ 496 h 533"/>
                <a:gd name="T10" fmla="*/ 1 w 675"/>
                <a:gd name="T11" fmla="*/ 71 h 533"/>
                <a:gd name="T12" fmla="*/ 37 w 675"/>
                <a:gd name="T13" fmla="*/ 31 h 533"/>
                <a:gd name="T14" fmla="*/ 612 w 675"/>
                <a:gd name="T15" fmla="*/ 1 h 533"/>
                <a:gd name="T16" fmla="*/ 652 w 675"/>
                <a:gd name="T17" fmla="*/ 3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533">
                  <a:moveTo>
                    <a:pt x="652" y="37"/>
                  </a:moveTo>
                  <a:cubicBezTo>
                    <a:pt x="674" y="462"/>
                    <a:pt x="674" y="462"/>
                    <a:pt x="674" y="462"/>
                  </a:cubicBezTo>
                  <a:cubicBezTo>
                    <a:pt x="675" y="483"/>
                    <a:pt x="659" y="500"/>
                    <a:pt x="638" y="502"/>
                  </a:cubicBezTo>
                  <a:cubicBezTo>
                    <a:pt x="63" y="531"/>
                    <a:pt x="63" y="531"/>
                    <a:pt x="63" y="531"/>
                  </a:cubicBezTo>
                  <a:cubicBezTo>
                    <a:pt x="42" y="533"/>
                    <a:pt x="24" y="516"/>
                    <a:pt x="23" y="496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50"/>
                    <a:pt x="16" y="32"/>
                    <a:pt x="37" y="31"/>
                  </a:cubicBezTo>
                  <a:cubicBezTo>
                    <a:pt x="612" y="1"/>
                    <a:pt x="612" y="1"/>
                    <a:pt x="612" y="1"/>
                  </a:cubicBezTo>
                  <a:cubicBezTo>
                    <a:pt x="633" y="0"/>
                    <a:pt x="651" y="16"/>
                    <a:pt x="652" y="37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74">
              <a:extLst>
                <a:ext uri="{FF2B5EF4-FFF2-40B4-BE49-F238E27FC236}">
                  <a16:creationId xmlns:a16="http://schemas.microsoft.com/office/drawing/2014/main" id="{C7C10F7B-2DBC-498B-BCD0-1D4763CB4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5200" y="2525713"/>
              <a:ext cx="527050" cy="406400"/>
            </a:xfrm>
            <a:custGeom>
              <a:avLst/>
              <a:gdLst>
                <a:gd name="T0" fmla="*/ 320 w 332"/>
                <a:gd name="T1" fmla="*/ 0 h 256"/>
                <a:gd name="T2" fmla="*/ 332 w 332"/>
                <a:gd name="T3" fmla="*/ 240 h 256"/>
                <a:gd name="T4" fmla="*/ 13 w 332"/>
                <a:gd name="T5" fmla="*/ 256 h 256"/>
                <a:gd name="T6" fmla="*/ 0 w 332"/>
                <a:gd name="T7" fmla="*/ 15 h 256"/>
                <a:gd name="T8" fmla="*/ 320 w 332"/>
                <a:gd name="T9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2" h="256">
                  <a:moveTo>
                    <a:pt x="320" y="0"/>
                  </a:moveTo>
                  <a:lnTo>
                    <a:pt x="332" y="240"/>
                  </a:lnTo>
                  <a:lnTo>
                    <a:pt x="13" y="256"/>
                  </a:lnTo>
                  <a:lnTo>
                    <a:pt x="0" y="15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675">
              <a:extLst>
                <a:ext uri="{FF2B5EF4-FFF2-40B4-BE49-F238E27FC236}">
                  <a16:creationId xmlns:a16="http://schemas.microsoft.com/office/drawing/2014/main" id="{0D688104-C53E-4BF3-AAC7-3FD9D34BF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9163" y="2058988"/>
              <a:ext cx="585788" cy="461963"/>
            </a:xfrm>
            <a:custGeom>
              <a:avLst/>
              <a:gdLst>
                <a:gd name="T0" fmla="*/ 652 w 675"/>
                <a:gd name="T1" fmla="*/ 37 h 533"/>
                <a:gd name="T2" fmla="*/ 674 w 675"/>
                <a:gd name="T3" fmla="*/ 462 h 533"/>
                <a:gd name="T4" fmla="*/ 638 w 675"/>
                <a:gd name="T5" fmla="*/ 502 h 533"/>
                <a:gd name="T6" fmla="*/ 63 w 675"/>
                <a:gd name="T7" fmla="*/ 532 h 533"/>
                <a:gd name="T8" fmla="*/ 23 w 675"/>
                <a:gd name="T9" fmla="*/ 496 h 533"/>
                <a:gd name="T10" fmla="*/ 1 w 675"/>
                <a:gd name="T11" fmla="*/ 71 h 533"/>
                <a:gd name="T12" fmla="*/ 37 w 675"/>
                <a:gd name="T13" fmla="*/ 31 h 533"/>
                <a:gd name="T14" fmla="*/ 612 w 675"/>
                <a:gd name="T15" fmla="*/ 1 h 533"/>
                <a:gd name="T16" fmla="*/ 652 w 675"/>
                <a:gd name="T17" fmla="*/ 3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533">
                  <a:moveTo>
                    <a:pt x="652" y="37"/>
                  </a:moveTo>
                  <a:cubicBezTo>
                    <a:pt x="674" y="462"/>
                    <a:pt x="674" y="462"/>
                    <a:pt x="674" y="462"/>
                  </a:cubicBezTo>
                  <a:cubicBezTo>
                    <a:pt x="675" y="483"/>
                    <a:pt x="659" y="501"/>
                    <a:pt x="638" y="502"/>
                  </a:cubicBezTo>
                  <a:cubicBezTo>
                    <a:pt x="63" y="532"/>
                    <a:pt x="63" y="532"/>
                    <a:pt x="63" y="532"/>
                  </a:cubicBezTo>
                  <a:cubicBezTo>
                    <a:pt x="42" y="533"/>
                    <a:pt x="24" y="517"/>
                    <a:pt x="23" y="496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50"/>
                    <a:pt x="16" y="32"/>
                    <a:pt x="37" y="31"/>
                  </a:cubicBezTo>
                  <a:cubicBezTo>
                    <a:pt x="612" y="1"/>
                    <a:pt x="612" y="1"/>
                    <a:pt x="612" y="1"/>
                  </a:cubicBezTo>
                  <a:cubicBezTo>
                    <a:pt x="633" y="0"/>
                    <a:pt x="651" y="16"/>
                    <a:pt x="652" y="37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676">
              <a:extLst>
                <a:ext uri="{FF2B5EF4-FFF2-40B4-BE49-F238E27FC236}">
                  <a16:creationId xmlns:a16="http://schemas.microsoft.com/office/drawing/2014/main" id="{BE48FF14-8BEE-44AF-BA9F-526F2ED4F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4563" y="2087563"/>
              <a:ext cx="527050" cy="406400"/>
            </a:xfrm>
            <a:custGeom>
              <a:avLst/>
              <a:gdLst>
                <a:gd name="T0" fmla="*/ 320 w 332"/>
                <a:gd name="T1" fmla="*/ 0 h 256"/>
                <a:gd name="T2" fmla="*/ 332 w 332"/>
                <a:gd name="T3" fmla="*/ 240 h 256"/>
                <a:gd name="T4" fmla="*/ 13 w 332"/>
                <a:gd name="T5" fmla="*/ 256 h 256"/>
                <a:gd name="T6" fmla="*/ 0 w 332"/>
                <a:gd name="T7" fmla="*/ 15 h 256"/>
                <a:gd name="T8" fmla="*/ 320 w 332"/>
                <a:gd name="T9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2" h="256">
                  <a:moveTo>
                    <a:pt x="320" y="0"/>
                  </a:moveTo>
                  <a:lnTo>
                    <a:pt x="332" y="240"/>
                  </a:lnTo>
                  <a:lnTo>
                    <a:pt x="13" y="256"/>
                  </a:lnTo>
                  <a:lnTo>
                    <a:pt x="0" y="15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677">
              <a:extLst>
                <a:ext uri="{FF2B5EF4-FFF2-40B4-BE49-F238E27FC236}">
                  <a16:creationId xmlns:a16="http://schemas.microsoft.com/office/drawing/2014/main" id="{02BA105E-F192-47DE-AF1A-ADDAEA148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7450" y="2865438"/>
              <a:ext cx="274638" cy="17463"/>
            </a:xfrm>
            <a:custGeom>
              <a:avLst/>
              <a:gdLst>
                <a:gd name="T0" fmla="*/ 315 w 315"/>
                <a:gd name="T1" fmla="*/ 2 h 20"/>
                <a:gd name="T2" fmla="*/ 313 w 315"/>
                <a:gd name="T3" fmla="*/ 4 h 20"/>
                <a:gd name="T4" fmla="*/ 2 w 315"/>
                <a:gd name="T5" fmla="*/ 20 h 20"/>
                <a:gd name="T6" fmla="*/ 0 w 315"/>
                <a:gd name="T7" fmla="*/ 18 h 20"/>
                <a:gd name="T8" fmla="*/ 1 w 315"/>
                <a:gd name="T9" fmla="*/ 17 h 20"/>
                <a:gd name="T10" fmla="*/ 313 w 315"/>
                <a:gd name="T11" fmla="*/ 0 h 20"/>
                <a:gd name="T12" fmla="*/ 315 w 315"/>
                <a:gd name="T13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5" h="20">
                  <a:moveTo>
                    <a:pt x="315" y="2"/>
                  </a:moveTo>
                  <a:cubicBezTo>
                    <a:pt x="315" y="3"/>
                    <a:pt x="314" y="4"/>
                    <a:pt x="313" y="4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17"/>
                    <a:pt x="1" y="17"/>
                    <a:pt x="1" y="17"/>
                  </a:cubicBezTo>
                  <a:cubicBezTo>
                    <a:pt x="313" y="0"/>
                    <a:pt x="313" y="0"/>
                    <a:pt x="313" y="0"/>
                  </a:cubicBezTo>
                  <a:cubicBezTo>
                    <a:pt x="314" y="0"/>
                    <a:pt x="315" y="1"/>
                    <a:pt x="315" y="2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678">
              <a:extLst>
                <a:ext uri="{FF2B5EF4-FFF2-40B4-BE49-F238E27FC236}">
                  <a16:creationId xmlns:a16="http://schemas.microsoft.com/office/drawing/2014/main" id="{26A379BE-9E95-4F43-B1F2-83BF325B6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1925" y="2609851"/>
              <a:ext cx="15875" cy="274638"/>
            </a:xfrm>
            <a:custGeom>
              <a:avLst/>
              <a:gdLst>
                <a:gd name="T0" fmla="*/ 3 w 19"/>
                <a:gd name="T1" fmla="*/ 1 h 317"/>
                <a:gd name="T2" fmla="*/ 19 w 19"/>
                <a:gd name="T3" fmla="*/ 315 h 317"/>
                <a:gd name="T4" fmla="*/ 18 w 19"/>
                <a:gd name="T5" fmla="*/ 316 h 317"/>
                <a:gd name="T6" fmla="*/ 16 w 19"/>
                <a:gd name="T7" fmla="*/ 315 h 317"/>
                <a:gd name="T8" fmla="*/ 0 w 19"/>
                <a:gd name="T9" fmla="*/ 2 h 317"/>
                <a:gd name="T10" fmla="*/ 1 w 19"/>
                <a:gd name="T11" fmla="*/ 0 h 317"/>
                <a:gd name="T12" fmla="*/ 3 w 19"/>
                <a:gd name="T13" fmla="*/ 1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17">
                  <a:moveTo>
                    <a:pt x="3" y="1"/>
                  </a:moveTo>
                  <a:cubicBezTo>
                    <a:pt x="19" y="315"/>
                    <a:pt x="19" y="315"/>
                    <a:pt x="19" y="315"/>
                  </a:cubicBezTo>
                  <a:cubicBezTo>
                    <a:pt x="19" y="316"/>
                    <a:pt x="18" y="316"/>
                    <a:pt x="18" y="316"/>
                  </a:cubicBezTo>
                  <a:cubicBezTo>
                    <a:pt x="17" y="317"/>
                    <a:pt x="16" y="316"/>
                    <a:pt x="16" y="31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679">
              <a:extLst>
                <a:ext uri="{FF2B5EF4-FFF2-40B4-BE49-F238E27FC236}">
                  <a16:creationId xmlns:a16="http://schemas.microsoft.com/office/drawing/2014/main" id="{B45F720B-232D-4E42-9282-F1773E913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4750" y="2624138"/>
              <a:ext cx="238125" cy="225425"/>
            </a:xfrm>
            <a:custGeom>
              <a:avLst/>
              <a:gdLst>
                <a:gd name="T0" fmla="*/ 274 w 274"/>
                <a:gd name="T1" fmla="*/ 259 h 260"/>
                <a:gd name="T2" fmla="*/ 274 w 274"/>
                <a:gd name="T3" fmla="*/ 259 h 260"/>
                <a:gd name="T4" fmla="*/ 272 w 274"/>
                <a:gd name="T5" fmla="*/ 260 h 260"/>
                <a:gd name="T6" fmla="*/ 176 w 274"/>
                <a:gd name="T7" fmla="*/ 206 h 260"/>
                <a:gd name="T8" fmla="*/ 175 w 274"/>
                <a:gd name="T9" fmla="*/ 205 h 260"/>
                <a:gd name="T10" fmla="*/ 175 w 274"/>
                <a:gd name="T11" fmla="*/ 204 h 260"/>
                <a:gd name="T12" fmla="*/ 196 w 274"/>
                <a:gd name="T13" fmla="*/ 171 h 260"/>
                <a:gd name="T14" fmla="*/ 106 w 274"/>
                <a:gd name="T15" fmla="*/ 143 h 260"/>
                <a:gd name="T16" fmla="*/ 105 w 274"/>
                <a:gd name="T17" fmla="*/ 142 h 260"/>
                <a:gd name="T18" fmla="*/ 105 w 274"/>
                <a:gd name="T19" fmla="*/ 142 h 260"/>
                <a:gd name="T20" fmla="*/ 106 w 274"/>
                <a:gd name="T21" fmla="*/ 140 h 260"/>
                <a:gd name="T22" fmla="*/ 231 w 274"/>
                <a:gd name="T23" fmla="*/ 90 h 260"/>
                <a:gd name="T24" fmla="*/ 146 w 274"/>
                <a:gd name="T25" fmla="*/ 74 h 260"/>
                <a:gd name="T26" fmla="*/ 145 w 274"/>
                <a:gd name="T27" fmla="*/ 73 h 260"/>
                <a:gd name="T28" fmla="*/ 146 w 274"/>
                <a:gd name="T29" fmla="*/ 72 h 260"/>
                <a:gd name="T30" fmla="*/ 172 w 274"/>
                <a:gd name="T31" fmla="*/ 53 h 260"/>
                <a:gd name="T32" fmla="*/ 82 w 274"/>
                <a:gd name="T33" fmla="*/ 41 h 260"/>
                <a:gd name="T34" fmla="*/ 81 w 274"/>
                <a:gd name="T35" fmla="*/ 40 h 260"/>
                <a:gd name="T36" fmla="*/ 82 w 274"/>
                <a:gd name="T37" fmla="*/ 39 h 260"/>
                <a:gd name="T38" fmla="*/ 96 w 274"/>
                <a:gd name="T39" fmla="*/ 26 h 260"/>
                <a:gd name="T40" fmla="*/ 2 w 274"/>
                <a:gd name="T41" fmla="*/ 3 h 260"/>
                <a:gd name="T42" fmla="*/ 1 w 274"/>
                <a:gd name="T43" fmla="*/ 1 h 260"/>
                <a:gd name="T44" fmla="*/ 2 w 274"/>
                <a:gd name="T45" fmla="*/ 0 h 260"/>
                <a:gd name="T46" fmla="*/ 100 w 274"/>
                <a:gd name="T47" fmla="*/ 24 h 260"/>
                <a:gd name="T48" fmla="*/ 101 w 274"/>
                <a:gd name="T49" fmla="*/ 25 h 260"/>
                <a:gd name="T50" fmla="*/ 100 w 274"/>
                <a:gd name="T51" fmla="*/ 26 h 260"/>
                <a:gd name="T52" fmla="*/ 86 w 274"/>
                <a:gd name="T53" fmla="*/ 39 h 260"/>
                <a:gd name="T54" fmla="*/ 176 w 274"/>
                <a:gd name="T55" fmla="*/ 50 h 260"/>
                <a:gd name="T56" fmla="*/ 178 w 274"/>
                <a:gd name="T57" fmla="*/ 51 h 260"/>
                <a:gd name="T58" fmla="*/ 177 w 274"/>
                <a:gd name="T59" fmla="*/ 53 h 260"/>
                <a:gd name="T60" fmla="*/ 151 w 274"/>
                <a:gd name="T61" fmla="*/ 72 h 260"/>
                <a:gd name="T62" fmla="*/ 237 w 274"/>
                <a:gd name="T63" fmla="*/ 87 h 260"/>
                <a:gd name="T64" fmla="*/ 239 w 274"/>
                <a:gd name="T65" fmla="*/ 89 h 260"/>
                <a:gd name="T66" fmla="*/ 238 w 274"/>
                <a:gd name="T67" fmla="*/ 90 h 260"/>
                <a:gd name="T68" fmla="*/ 111 w 274"/>
                <a:gd name="T69" fmla="*/ 141 h 260"/>
                <a:gd name="T70" fmla="*/ 199 w 274"/>
                <a:gd name="T71" fmla="*/ 169 h 260"/>
                <a:gd name="T72" fmla="*/ 200 w 274"/>
                <a:gd name="T73" fmla="*/ 170 h 260"/>
                <a:gd name="T74" fmla="*/ 200 w 274"/>
                <a:gd name="T75" fmla="*/ 171 h 260"/>
                <a:gd name="T76" fmla="*/ 179 w 274"/>
                <a:gd name="T77" fmla="*/ 204 h 260"/>
                <a:gd name="T78" fmla="*/ 273 w 274"/>
                <a:gd name="T79" fmla="*/ 257 h 260"/>
                <a:gd name="T80" fmla="*/ 274 w 274"/>
                <a:gd name="T81" fmla="*/ 259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4" h="260"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3" y="260"/>
                    <a:pt x="273" y="260"/>
                    <a:pt x="272" y="260"/>
                  </a:cubicBezTo>
                  <a:cubicBezTo>
                    <a:pt x="176" y="206"/>
                    <a:pt x="176" y="206"/>
                    <a:pt x="176" y="206"/>
                  </a:cubicBezTo>
                  <a:cubicBezTo>
                    <a:pt x="175" y="206"/>
                    <a:pt x="175" y="205"/>
                    <a:pt x="175" y="205"/>
                  </a:cubicBezTo>
                  <a:cubicBezTo>
                    <a:pt x="175" y="205"/>
                    <a:pt x="175" y="204"/>
                    <a:pt x="175" y="204"/>
                  </a:cubicBezTo>
                  <a:cubicBezTo>
                    <a:pt x="196" y="171"/>
                    <a:pt x="196" y="171"/>
                    <a:pt x="196" y="171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5" y="143"/>
                    <a:pt x="105" y="142"/>
                    <a:pt x="105" y="142"/>
                  </a:cubicBezTo>
                  <a:cubicBezTo>
                    <a:pt x="105" y="142"/>
                    <a:pt x="105" y="142"/>
                    <a:pt x="105" y="142"/>
                  </a:cubicBezTo>
                  <a:cubicBezTo>
                    <a:pt x="105" y="141"/>
                    <a:pt x="105" y="140"/>
                    <a:pt x="106" y="140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146" y="74"/>
                    <a:pt x="146" y="74"/>
                    <a:pt x="146" y="74"/>
                  </a:cubicBezTo>
                  <a:cubicBezTo>
                    <a:pt x="146" y="74"/>
                    <a:pt x="145" y="74"/>
                    <a:pt x="145" y="73"/>
                  </a:cubicBezTo>
                  <a:cubicBezTo>
                    <a:pt x="145" y="73"/>
                    <a:pt x="145" y="72"/>
                    <a:pt x="146" y="72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41"/>
                    <a:pt x="81" y="41"/>
                    <a:pt x="81" y="40"/>
                  </a:cubicBezTo>
                  <a:cubicBezTo>
                    <a:pt x="81" y="40"/>
                    <a:pt x="81" y="39"/>
                    <a:pt x="82" y="39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0" y="24"/>
                    <a:pt x="101" y="24"/>
                    <a:pt x="101" y="25"/>
                  </a:cubicBezTo>
                  <a:cubicBezTo>
                    <a:pt x="101" y="25"/>
                    <a:pt x="101" y="26"/>
                    <a:pt x="100" y="26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176" y="50"/>
                    <a:pt x="176" y="50"/>
                    <a:pt x="176" y="50"/>
                  </a:cubicBezTo>
                  <a:cubicBezTo>
                    <a:pt x="177" y="50"/>
                    <a:pt x="177" y="51"/>
                    <a:pt x="178" y="51"/>
                  </a:cubicBezTo>
                  <a:cubicBezTo>
                    <a:pt x="178" y="52"/>
                    <a:pt x="177" y="52"/>
                    <a:pt x="177" y="53"/>
                  </a:cubicBezTo>
                  <a:cubicBezTo>
                    <a:pt x="151" y="72"/>
                    <a:pt x="151" y="72"/>
                    <a:pt x="151" y="72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38" y="88"/>
                    <a:pt x="239" y="88"/>
                    <a:pt x="239" y="89"/>
                  </a:cubicBezTo>
                  <a:cubicBezTo>
                    <a:pt x="239" y="90"/>
                    <a:pt x="238" y="90"/>
                    <a:pt x="238" y="90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99" y="169"/>
                    <a:pt x="199" y="169"/>
                    <a:pt x="199" y="169"/>
                  </a:cubicBezTo>
                  <a:cubicBezTo>
                    <a:pt x="199" y="169"/>
                    <a:pt x="200" y="169"/>
                    <a:pt x="200" y="170"/>
                  </a:cubicBezTo>
                  <a:cubicBezTo>
                    <a:pt x="200" y="170"/>
                    <a:pt x="200" y="171"/>
                    <a:pt x="200" y="171"/>
                  </a:cubicBezTo>
                  <a:cubicBezTo>
                    <a:pt x="179" y="204"/>
                    <a:pt x="179" y="204"/>
                    <a:pt x="179" y="204"/>
                  </a:cubicBezTo>
                  <a:cubicBezTo>
                    <a:pt x="273" y="257"/>
                    <a:pt x="273" y="257"/>
                    <a:pt x="273" y="257"/>
                  </a:cubicBezTo>
                  <a:cubicBezTo>
                    <a:pt x="274" y="258"/>
                    <a:pt x="274" y="258"/>
                    <a:pt x="274" y="259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680">
              <a:extLst>
                <a:ext uri="{FF2B5EF4-FFF2-40B4-BE49-F238E27FC236}">
                  <a16:creationId xmlns:a16="http://schemas.microsoft.com/office/drawing/2014/main" id="{6DDFAC12-54FE-457B-ADBF-E160BEC74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4750" y="2622551"/>
              <a:ext cx="20638" cy="14288"/>
            </a:xfrm>
            <a:custGeom>
              <a:avLst/>
              <a:gdLst>
                <a:gd name="T0" fmla="*/ 25 w 25"/>
                <a:gd name="T1" fmla="*/ 1 h 17"/>
                <a:gd name="T2" fmla="*/ 24 w 25"/>
                <a:gd name="T3" fmla="*/ 3 h 17"/>
                <a:gd name="T4" fmla="*/ 7 w 25"/>
                <a:gd name="T5" fmla="*/ 5 h 17"/>
                <a:gd name="T6" fmla="*/ 21 w 25"/>
                <a:gd name="T7" fmla="*/ 14 h 17"/>
                <a:gd name="T8" fmla="*/ 22 w 25"/>
                <a:gd name="T9" fmla="*/ 16 h 17"/>
                <a:gd name="T10" fmla="*/ 19 w 25"/>
                <a:gd name="T11" fmla="*/ 16 h 17"/>
                <a:gd name="T12" fmla="*/ 1 w 25"/>
                <a:gd name="T13" fmla="*/ 5 h 17"/>
                <a:gd name="T14" fmla="*/ 1 w 25"/>
                <a:gd name="T15" fmla="*/ 3 h 17"/>
                <a:gd name="T16" fmla="*/ 2 w 25"/>
                <a:gd name="T17" fmla="*/ 2 h 17"/>
                <a:gd name="T18" fmla="*/ 24 w 25"/>
                <a:gd name="T19" fmla="*/ 0 h 17"/>
                <a:gd name="T20" fmla="*/ 25 w 25"/>
                <a:gd name="T2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2"/>
                    <a:pt x="25" y="3"/>
                    <a:pt x="24" y="3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2" y="14"/>
                    <a:pt x="22" y="15"/>
                    <a:pt x="22" y="16"/>
                  </a:cubicBezTo>
                  <a:cubicBezTo>
                    <a:pt x="21" y="17"/>
                    <a:pt x="20" y="17"/>
                    <a:pt x="19" y="1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0" y="4"/>
                    <a:pt x="1" y="3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5" y="0"/>
                    <a:pt x="25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681">
              <a:extLst>
                <a:ext uri="{FF2B5EF4-FFF2-40B4-BE49-F238E27FC236}">
                  <a16:creationId xmlns:a16="http://schemas.microsoft.com/office/drawing/2014/main" id="{0C2AE36B-24FD-4910-B93F-094BE0F47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5363" y="258762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682">
              <a:extLst>
                <a:ext uri="{FF2B5EF4-FFF2-40B4-BE49-F238E27FC236}">
                  <a16:creationId xmlns:a16="http://schemas.microsoft.com/office/drawing/2014/main" id="{7E6A49CC-7461-480E-A3F6-2559FBAEC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0763" y="2587626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683">
              <a:extLst>
                <a:ext uri="{FF2B5EF4-FFF2-40B4-BE49-F238E27FC236}">
                  <a16:creationId xmlns:a16="http://schemas.microsoft.com/office/drawing/2014/main" id="{D5101D08-9F7D-4FB6-A857-7A8601D9F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6163" y="2586038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684">
              <a:extLst>
                <a:ext uri="{FF2B5EF4-FFF2-40B4-BE49-F238E27FC236}">
                  <a16:creationId xmlns:a16="http://schemas.microsoft.com/office/drawing/2014/main" id="{E447A855-61A7-4E98-88D1-F005CE314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1563" y="2584451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685">
              <a:extLst>
                <a:ext uri="{FF2B5EF4-FFF2-40B4-BE49-F238E27FC236}">
                  <a16:creationId xmlns:a16="http://schemas.microsoft.com/office/drawing/2014/main" id="{CDC8842D-CE02-4E54-BF49-A1D54F50D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6963" y="2586038"/>
              <a:ext cx="19050" cy="301625"/>
            </a:xfrm>
            <a:custGeom>
              <a:avLst/>
              <a:gdLst>
                <a:gd name="T0" fmla="*/ 3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3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3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686">
              <a:extLst>
                <a:ext uri="{FF2B5EF4-FFF2-40B4-BE49-F238E27FC236}">
                  <a16:creationId xmlns:a16="http://schemas.microsoft.com/office/drawing/2014/main" id="{EF58B84E-0EFE-4B3F-BC0C-B051C8D28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2363" y="2584451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687">
              <a:extLst>
                <a:ext uri="{FF2B5EF4-FFF2-40B4-BE49-F238E27FC236}">
                  <a16:creationId xmlns:a16="http://schemas.microsoft.com/office/drawing/2014/main" id="{601E2CC2-6FEF-40F9-85FF-81863B1DC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63138" y="214947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0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0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688">
              <a:extLst>
                <a:ext uri="{FF2B5EF4-FFF2-40B4-BE49-F238E27FC236}">
                  <a16:creationId xmlns:a16="http://schemas.microsoft.com/office/drawing/2014/main" id="{EF483B1F-A61A-42D0-88D4-A4513E02B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8538" y="2147888"/>
              <a:ext cx="20638" cy="303213"/>
            </a:xfrm>
            <a:custGeom>
              <a:avLst/>
              <a:gdLst>
                <a:gd name="T0" fmla="*/ 2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2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2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689">
              <a:extLst>
                <a:ext uri="{FF2B5EF4-FFF2-40B4-BE49-F238E27FC236}">
                  <a16:creationId xmlns:a16="http://schemas.microsoft.com/office/drawing/2014/main" id="{74098FF4-6074-4F6B-A491-73049DEC5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3938" y="2146301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690">
              <a:extLst>
                <a:ext uri="{FF2B5EF4-FFF2-40B4-BE49-F238E27FC236}">
                  <a16:creationId xmlns:a16="http://schemas.microsoft.com/office/drawing/2014/main" id="{C2822E90-E0F3-4C3B-BBBC-9A6C518D39D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9338" y="2146301"/>
              <a:ext cx="20638" cy="301625"/>
            </a:xfrm>
            <a:custGeom>
              <a:avLst/>
              <a:gdLst>
                <a:gd name="T0" fmla="*/ 3 w 13"/>
                <a:gd name="T1" fmla="*/ 0 h 190"/>
                <a:gd name="T2" fmla="*/ 13 w 13"/>
                <a:gd name="T3" fmla="*/ 190 h 190"/>
                <a:gd name="T4" fmla="*/ 10 w 13"/>
                <a:gd name="T5" fmla="*/ 190 h 190"/>
                <a:gd name="T6" fmla="*/ 0 w 13"/>
                <a:gd name="T7" fmla="*/ 0 h 190"/>
                <a:gd name="T8" fmla="*/ 3 w 13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0">
                  <a:moveTo>
                    <a:pt x="3" y="0"/>
                  </a:moveTo>
                  <a:lnTo>
                    <a:pt x="13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691">
              <a:extLst>
                <a:ext uri="{FF2B5EF4-FFF2-40B4-BE49-F238E27FC236}">
                  <a16:creationId xmlns:a16="http://schemas.microsoft.com/office/drawing/2014/main" id="{D7B7F628-44EC-4D45-AC5B-E48A7FED1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4738" y="2146301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692">
              <a:extLst>
                <a:ext uri="{FF2B5EF4-FFF2-40B4-BE49-F238E27FC236}">
                  <a16:creationId xmlns:a16="http://schemas.microsoft.com/office/drawing/2014/main" id="{A37D8B84-975A-43CC-9FCB-8362274E2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1725" y="2146301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9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9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693">
              <a:extLst>
                <a:ext uri="{FF2B5EF4-FFF2-40B4-BE49-F238E27FC236}">
                  <a16:creationId xmlns:a16="http://schemas.microsoft.com/office/drawing/2014/main" id="{9BDCB92C-3142-4E46-BA6F-20BA670BF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214312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694">
              <a:extLst>
                <a:ext uri="{FF2B5EF4-FFF2-40B4-BE49-F238E27FC236}">
                  <a16:creationId xmlns:a16="http://schemas.microsoft.com/office/drawing/2014/main" id="{CA55041B-68A4-4738-97EF-6B0E1F25A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2525" y="2141538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695">
              <a:extLst>
                <a:ext uri="{FF2B5EF4-FFF2-40B4-BE49-F238E27FC236}">
                  <a16:creationId xmlns:a16="http://schemas.microsoft.com/office/drawing/2014/main" id="{484832CE-638E-481B-8951-8F4ED8BF1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7925" y="2139951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696">
              <a:extLst>
                <a:ext uri="{FF2B5EF4-FFF2-40B4-BE49-F238E27FC236}">
                  <a16:creationId xmlns:a16="http://schemas.microsoft.com/office/drawing/2014/main" id="{A35E5C8F-F539-4DBC-891C-0D5A6F53A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3325" y="2138363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1 w 13"/>
                <a:gd name="T5" fmla="*/ 191 h 191"/>
                <a:gd name="T6" fmla="*/ 0 w 13"/>
                <a:gd name="T7" fmla="*/ 0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1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697">
              <a:extLst>
                <a:ext uri="{FF2B5EF4-FFF2-40B4-BE49-F238E27FC236}">
                  <a16:creationId xmlns:a16="http://schemas.microsoft.com/office/drawing/2014/main" id="{993256EB-5248-4B29-94B5-08171ED96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8725" y="2139951"/>
              <a:ext cx="20638" cy="303213"/>
            </a:xfrm>
            <a:custGeom>
              <a:avLst/>
              <a:gdLst>
                <a:gd name="T0" fmla="*/ 2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2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2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698">
              <a:extLst>
                <a:ext uri="{FF2B5EF4-FFF2-40B4-BE49-F238E27FC236}">
                  <a16:creationId xmlns:a16="http://schemas.microsoft.com/office/drawing/2014/main" id="{51D4617A-4C05-4EAE-A1FC-C855DF876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5713" y="2138363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9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9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699">
              <a:extLst>
                <a:ext uri="{FF2B5EF4-FFF2-40B4-BE49-F238E27FC236}">
                  <a16:creationId xmlns:a16="http://schemas.microsoft.com/office/drawing/2014/main" id="{568BECF8-F95B-428D-A64F-7EB6237BC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9525" y="2133601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1 w 13"/>
                <a:gd name="T5" fmla="*/ 191 h 191"/>
                <a:gd name="T6" fmla="*/ 0 w 13"/>
                <a:gd name="T7" fmla="*/ 1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1" y="191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700">
              <a:extLst>
                <a:ext uri="{FF2B5EF4-FFF2-40B4-BE49-F238E27FC236}">
                  <a16:creationId xmlns:a16="http://schemas.microsoft.com/office/drawing/2014/main" id="{403FA11D-7F9A-494D-9222-DAB7600EC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6513" y="2133601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701">
              <a:extLst>
                <a:ext uri="{FF2B5EF4-FFF2-40B4-BE49-F238E27FC236}">
                  <a16:creationId xmlns:a16="http://schemas.microsoft.com/office/drawing/2014/main" id="{EACF65AD-0871-495B-AC1A-910A46202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1913" y="2130426"/>
              <a:ext cx="19050" cy="304800"/>
            </a:xfrm>
            <a:custGeom>
              <a:avLst/>
              <a:gdLst>
                <a:gd name="T0" fmla="*/ 2 w 12"/>
                <a:gd name="T1" fmla="*/ 0 h 192"/>
                <a:gd name="T2" fmla="*/ 12 w 12"/>
                <a:gd name="T3" fmla="*/ 191 h 192"/>
                <a:gd name="T4" fmla="*/ 10 w 12"/>
                <a:gd name="T5" fmla="*/ 192 h 192"/>
                <a:gd name="T6" fmla="*/ 0 w 12"/>
                <a:gd name="T7" fmla="*/ 1 h 192"/>
                <a:gd name="T8" fmla="*/ 2 w 12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2">
                  <a:moveTo>
                    <a:pt x="2" y="0"/>
                  </a:moveTo>
                  <a:lnTo>
                    <a:pt x="12" y="191"/>
                  </a:lnTo>
                  <a:lnTo>
                    <a:pt x="10" y="192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702">
              <a:extLst>
                <a:ext uri="{FF2B5EF4-FFF2-40B4-BE49-F238E27FC236}">
                  <a16:creationId xmlns:a16="http://schemas.microsoft.com/office/drawing/2014/main" id="{99D4AF95-35F1-45B0-A542-23E387C4E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7313" y="2130426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703">
              <a:extLst>
                <a:ext uri="{FF2B5EF4-FFF2-40B4-BE49-F238E27FC236}">
                  <a16:creationId xmlns:a16="http://schemas.microsoft.com/office/drawing/2014/main" id="{8C141A24-830D-402E-9EB3-2DB022DC6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2713" y="2130426"/>
              <a:ext cx="19050" cy="304800"/>
            </a:xfrm>
            <a:custGeom>
              <a:avLst/>
              <a:gdLst>
                <a:gd name="T0" fmla="*/ 2 w 12"/>
                <a:gd name="T1" fmla="*/ 0 h 192"/>
                <a:gd name="T2" fmla="*/ 12 w 12"/>
                <a:gd name="T3" fmla="*/ 191 h 192"/>
                <a:gd name="T4" fmla="*/ 10 w 12"/>
                <a:gd name="T5" fmla="*/ 192 h 192"/>
                <a:gd name="T6" fmla="*/ 0 w 12"/>
                <a:gd name="T7" fmla="*/ 1 h 192"/>
                <a:gd name="T8" fmla="*/ 2 w 12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2">
                  <a:moveTo>
                    <a:pt x="2" y="0"/>
                  </a:moveTo>
                  <a:lnTo>
                    <a:pt x="12" y="191"/>
                  </a:lnTo>
                  <a:lnTo>
                    <a:pt x="10" y="192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704">
              <a:extLst>
                <a:ext uri="{FF2B5EF4-FFF2-40B4-BE49-F238E27FC236}">
                  <a16:creationId xmlns:a16="http://schemas.microsoft.com/office/drawing/2014/main" id="{216D591F-C126-4B03-A444-BABE71D56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8113" y="2130426"/>
              <a:ext cx="19050" cy="301625"/>
            </a:xfrm>
            <a:custGeom>
              <a:avLst/>
              <a:gdLst>
                <a:gd name="T0" fmla="*/ 3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3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3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705">
              <a:extLst>
                <a:ext uri="{FF2B5EF4-FFF2-40B4-BE49-F238E27FC236}">
                  <a16:creationId xmlns:a16="http://schemas.microsoft.com/office/drawing/2014/main" id="{379D3C38-4A25-4F8E-B3A1-FF966A8B6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4888" y="2500313"/>
              <a:ext cx="100013" cy="33338"/>
            </a:xfrm>
            <a:custGeom>
              <a:avLst/>
              <a:gdLst>
                <a:gd name="T0" fmla="*/ 2 w 63"/>
                <a:gd name="T1" fmla="*/ 21 h 21"/>
                <a:gd name="T2" fmla="*/ 63 w 63"/>
                <a:gd name="T3" fmla="*/ 18 h 21"/>
                <a:gd name="T4" fmla="*/ 61 w 63"/>
                <a:gd name="T5" fmla="*/ 0 h 21"/>
                <a:gd name="T6" fmla="*/ 0 w 63"/>
                <a:gd name="T7" fmla="*/ 4 h 21"/>
                <a:gd name="T8" fmla="*/ 2 w 63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1">
                  <a:moveTo>
                    <a:pt x="2" y="21"/>
                  </a:moveTo>
                  <a:lnTo>
                    <a:pt x="63" y="18"/>
                  </a:lnTo>
                  <a:lnTo>
                    <a:pt x="61" y="0"/>
                  </a:lnTo>
                  <a:lnTo>
                    <a:pt x="0" y="4"/>
                  </a:lnTo>
                  <a:lnTo>
                    <a:pt x="2" y="21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706">
              <a:extLst>
                <a:ext uri="{FF2B5EF4-FFF2-40B4-BE49-F238E27FC236}">
                  <a16:creationId xmlns:a16="http://schemas.microsoft.com/office/drawing/2014/main" id="{CFF51BBB-0EC8-4A4E-8C88-2D494DB05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9525" y="2486026"/>
              <a:ext cx="100013" cy="34925"/>
            </a:xfrm>
            <a:custGeom>
              <a:avLst/>
              <a:gdLst>
                <a:gd name="T0" fmla="*/ 2 w 63"/>
                <a:gd name="T1" fmla="*/ 22 h 22"/>
                <a:gd name="T2" fmla="*/ 63 w 63"/>
                <a:gd name="T3" fmla="*/ 18 h 22"/>
                <a:gd name="T4" fmla="*/ 61 w 63"/>
                <a:gd name="T5" fmla="*/ 0 h 22"/>
                <a:gd name="T6" fmla="*/ 0 w 63"/>
                <a:gd name="T7" fmla="*/ 5 h 22"/>
                <a:gd name="T8" fmla="*/ 2 w 63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2">
                  <a:moveTo>
                    <a:pt x="2" y="22"/>
                  </a:moveTo>
                  <a:lnTo>
                    <a:pt x="63" y="18"/>
                  </a:lnTo>
                  <a:lnTo>
                    <a:pt x="61" y="0"/>
                  </a:lnTo>
                  <a:lnTo>
                    <a:pt x="0" y="5"/>
                  </a:lnTo>
                  <a:lnTo>
                    <a:pt x="2" y="22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707">
              <a:extLst>
                <a:ext uri="{FF2B5EF4-FFF2-40B4-BE49-F238E27FC236}">
                  <a16:creationId xmlns:a16="http://schemas.microsoft.com/office/drawing/2014/main" id="{11B02687-9241-41BA-B470-A647DAE9A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1513" y="1671638"/>
              <a:ext cx="1116013" cy="466725"/>
            </a:xfrm>
            <a:custGeom>
              <a:avLst/>
              <a:gdLst>
                <a:gd name="T0" fmla="*/ 33 w 1285"/>
                <a:gd name="T1" fmla="*/ 193 h 539"/>
                <a:gd name="T2" fmla="*/ 829 w 1285"/>
                <a:gd name="T3" fmla="*/ 84 h 539"/>
                <a:gd name="T4" fmla="*/ 1285 w 1285"/>
                <a:gd name="T5" fmla="*/ 477 h 539"/>
                <a:gd name="T6" fmla="*/ 1199 w 1285"/>
                <a:gd name="T7" fmla="*/ 539 h 539"/>
                <a:gd name="T8" fmla="*/ 755 w 1285"/>
                <a:gd name="T9" fmla="*/ 281 h 539"/>
                <a:gd name="T10" fmla="*/ 276 w 1285"/>
                <a:gd name="T11" fmla="*/ 346 h 539"/>
                <a:gd name="T12" fmla="*/ 33 w 1285"/>
                <a:gd name="T13" fmla="*/ 193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5" h="539">
                  <a:moveTo>
                    <a:pt x="33" y="193"/>
                  </a:moveTo>
                  <a:cubicBezTo>
                    <a:pt x="115" y="0"/>
                    <a:pt x="449" y="47"/>
                    <a:pt x="829" y="84"/>
                  </a:cubicBezTo>
                  <a:cubicBezTo>
                    <a:pt x="1285" y="477"/>
                    <a:pt x="1285" y="477"/>
                    <a:pt x="1285" y="477"/>
                  </a:cubicBezTo>
                  <a:cubicBezTo>
                    <a:pt x="1199" y="539"/>
                    <a:pt x="1199" y="539"/>
                    <a:pt x="1199" y="539"/>
                  </a:cubicBezTo>
                  <a:cubicBezTo>
                    <a:pt x="755" y="281"/>
                    <a:pt x="755" y="281"/>
                    <a:pt x="755" y="281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0" y="273"/>
                    <a:pt x="33" y="193"/>
                  </a:cubicBezTo>
                  <a:close/>
                </a:path>
              </a:pathLst>
            </a:custGeom>
            <a:solidFill>
              <a:srgbClr val="F44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708">
              <a:extLst>
                <a:ext uri="{FF2B5EF4-FFF2-40B4-BE49-F238E27FC236}">
                  <a16:creationId xmlns:a16="http://schemas.microsoft.com/office/drawing/2014/main" id="{10D20644-F97D-4D39-95B9-8F23E327E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850" y="2579688"/>
              <a:ext cx="82550" cy="106363"/>
            </a:xfrm>
            <a:custGeom>
              <a:avLst/>
              <a:gdLst>
                <a:gd name="T0" fmla="*/ 79 w 96"/>
                <a:gd name="T1" fmla="*/ 95 h 123"/>
                <a:gd name="T2" fmla="*/ 96 w 96"/>
                <a:gd name="T3" fmla="*/ 8 h 123"/>
                <a:gd name="T4" fmla="*/ 79 w 96"/>
                <a:gd name="T5" fmla="*/ 8 h 123"/>
                <a:gd name="T6" fmla="*/ 0 w 96"/>
                <a:gd name="T7" fmla="*/ 123 h 123"/>
                <a:gd name="T8" fmla="*/ 79 w 96"/>
                <a:gd name="T9" fmla="*/ 9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123">
                  <a:moveTo>
                    <a:pt x="79" y="95"/>
                  </a:moveTo>
                  <a:cubicBezTo>
                    <a:pt x="96" y="8"/>
                    <a:pt x="96" y="8"/>
                    <a:pt x="96" y="8"/>
                  </a:cubicBezTo>
                  <a:cubicBezTo>
                    <a:pt x="93" y="0"/>
                    <a:pt x="82" y="0"/>
                    <a:pt x="79" y="8"/>
                  </a:cubicBezTo>
                  <a:cubicBezTo>
                    <a:pt x="0" y="123"/>
                    <a:pt x="0" y="123"/>
                    <a:pt x="0" y="123"/>
                  </a:cubicBezTo>
                  <a:lnTo>
                    <a:pt x="79" y="9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709">
              <a:extLst>
                <a:ext uri="{FF2B5EF4-FFF2-40B4-BE49-F238E27FC236}">
                  <a16:creationId xmlns:a16="http://schemas.microsoft.com/office/drawing/2014/main" id="{C0182FD4-95CC-49E6-8BFF-D9C363556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7650" y="2547938"/>
              <a:ext cx="309563" cy="227013"/>
            </a:xfrm>
            <a:custGeom>
              <a:avLst/>
              <a:gdLst>
                <a:gd name="T0" fmla="*/ 51 w 356"/>
                <a:gd name="T1" fmla="*/ 263 h 263"/>
                <a:gd name="T2" fmla="*/ 249 w 356"/>
                <a:gd name="T3" fmla="*/ 210 h 263"/>
                <a:gd name="T4" fmla="*/ 337 w 356"/>
                <a:gd name="T5" fmla="*/ 120 h 263"/>
                <a:gd name="T6" fmla="*/ 336 w 356"/>
                <a:gd name="T7" fmla="*/ 13 h 263"/>
                <a:gd name="T8" fmla="*/ 167 w 356"/>
                <a:gd name="T9" fmla="*/ 118 h 263"/>
                <a:gd name="T10" fmla="*/ 95 w 356"/>
                <a:gd name="T11" fmla="*/ 144 h 263"/>
                <a:gd name="T12" fmla="*/ 61 w 356"/>
                <a:gd name="T13" fmla="*/ 180 h 263"/>
                <a:gd name="T14" fmla="*/ 0 w 356"/>
                <a:gd name="T15" fmla="*/ 214 h 263"/>
                <a:gd name="T16" fmla="*/ 51 w 356"/>
                <a:gd name="T17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6" h="263">
                  <a:moveTo>
                    <a:pt x="51" y="263"/>
                  </a:moveTo>
                  <a:cubicBezTo>
                    <a:pt x="51" y="263"/>
                    <a:pt x="205" y="236"/>
                    <a:pt x="249" y="210"/>
                  </a:cubicBezTo>
                  <a:cubicBezTo>
                    <a:pt x="281" y="190"/>
                    <a:pt x="337" y="120"/>
                    <a:pt x="337" y="120"/>
                  </a:cubicBezTo>
                  <a:cubicBezTo>
                    <a:pt x="339" y="113"/>
                    <a:pt x="356" y="19"/>
                    <a:pt x="336" y="13"/>
                  </a:cubicBezTo>
                  <a:cubicBezTo>
                    <a:pt x="285" y="0"/>
                    <a:pt x="167" y="118"/>
                    <a:pt x="167" y="118"/>
                  </a:cubicBezTo>
                  <a:cubicBezTo>
                    <a:pt x="167" y="118"/>
                    <a:pt x="114" y="120"/>
                    <a:pt x="95" y="14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0" y="214"/>
                    <a:pt x="0" y="214"/>
                    <a:pt x="0" y="214"/>
                  </a:cubicBezTo>
                  <a:lnTo>
                    <a:pt x="51" y="263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710">
              <a:extLst>
                <a:ext uri="{FF2B5EF4-FFF2-40B4-BE49-F238E27FC236}">
                  <a16:creationId xmlns:a16="http://schemas.microsoft.com/office/drawing/2014/main" id="{1278017C-0206-432F-9CB8-BF99A3294D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39363" y="2698751"/>
              <a:ext cx="112713" cy="76200"/>
            </a:xfrm>
            <a:custGeom>
              <a:avLst/>
              <a:gdLst>
                <a:gd name="T0" fmla="*/ 47 w 131"/>
                <a:gd name="T1" fmla="*/ 88 h 88"/>
                <a:gd name="T2" fmla="*/ 1 w 131"/>
                <a:gd name="T3" fmla="*/ 13 h 88"/>
                <a:gd name="T4" fmla="*/ 16 w 131"/>
                <a:gd name="T5" fmla="*/ 6 h 88"/>
                <a:gd name="T6" fmla="*/ 131 w 131"/>
                <a:gd name="T7" fmla="*/ 87 h 88"/>
                <a:gd name="T8" fmla="*/ 47 w 131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88">
                  <a:moveTo>
                    <a:pt x="47" y="88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0" y="4"/>
                    <a:pt x="11" y="0"/>
                    <a:pt x="16" y="6"/>
                  </a:cubicBezTo>
                  <a:cubicBezTo>
                    <a:pt x="131" y="87"/>
                    <a:pt x="131" y="87"/>
                    <a:pt x="131" y="87"/>
                  </a:cubicBezTo>
                  <a:lnTo>
                    <a:pt x="47" y="88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711">
              <a:extLst>
                <a:ext uri="{FF2B5EF4-FFF2-40B4-BE49-F238E27FC236}">
                  <a16:creationId xmlns:a16="http://schemas.microsoft.com/office/drawing/2014/main" id="{FEEBFD86-38EF-46B2-B9AE-DE1468CE5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0138" y="2703513"/>
              <a:ext cx="349250" cy="168275"/>
            </a:xfrm>
            <a:custGeom>
              <a:avLst/>
              <a:gdLst>
                <a:gd name="T0" fmla="*/ 370 w 402"/>
                <a:gd name="T1" fmla="*/ 165 h 194"/>
                <a:gd name="T2" fmla="*/ 167 w 402"/>
                <a:gd name="T3" fmla="*/ 184 h 194"/>
                <a:gd name="T4" fmla="*/ 53 w 402"/>
                <a:gd name="T5" fmla="*/ 130 h 194"/>
                <a:gd name="T6" fmla="*/ 17 w 402"/>
                <a:gd name="T7" fmla="*/ 30 h 194"/>
                <a:gd name="T8" fmla="*/ 211 w 402"/>
                <a:gd name="T9" fmla="*/ 70 h 194"/>
                <a:gd name="T10" fmla="*/ 288 w 402"/>
                <a:gd name="T11" fmla="*/ 69 h 194"/>
                <a:gd name="T12" fmla="*/ 332 w 402"/>
                <a:gd name="T13" fmla="*/ 91 h 194"/>
                <a:gd name="T14" fmla="*/ 402 w 402"/>
                <a:gd name="T15" fmla="*/ 102 h 194"/>
                <a:gd name="T16" fmla="*/ 370 w 402"/>
                <a:gd name="T17" fmla="*/ 16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2" h="194">
                  <a:moveTo>
                    <a:pt x="370" y="165"/>
                  </a:moveTo>
                  <a:cubicBezTo>
                    <a:pt x="370" y="165"/>
                    <a:pt x="217" y="194"/>
                    <a:pt x="167" y="184"/>
                  </a:cubicBezTo>
                  <a:cubicBezTo>
                    <a:pt x="130" y="177"/>
                    <a:pt x="53" y="130"/>
                    <a:pt x="53" y="130"/>
                  </a:cubicBezTo>
                  <a:cubicBezTo>
                    <a:pt x="48" y="125"/>
                    <a:pt x="0" y="42"/>
                    <a:pt x="17" y="30"/>
                  </a:cubicBezTo>
                  <a:cubicBezTo>
                    <a:pt x="60" y="0"/>
                    <a:pt x="211" y="70"/>
                    <a:pt x="211" y="70"/>
                  </a:cubicBezTo>
                  <a:cubicBezTo>
                    <a:pt x="211" y="70"/>
                    <a:pt x="262" y="53"/>
                    <a:pt x="288" y="69"/>
                  </a:cubicBezTo>
                  <a:cubicBezTo>
                    <a:pt x="332" y="91"/>
                    <a:pt x="332" y="91"/>
                    <a:pt x="332" y="91"/>
                  </a:cubicBezTo>
                  <a:cubicBezTo>
                    <a:pt x="402" y="102"/>
                    <a:pt x="402" y="102"/>
                    <a:pt x="402" y="102"/>
                  </a:cubicBezTo>
                  <a:lnTo>
                    <a:pt x="370" y="16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712">
              <a:extLst>
                <a:ext uri="{FF2B5EF4-FFF2-40B4-BE49-F238E27FC236}">
                  <a16:creationId xmlns:a16="http://schemas.microsoft.com/office/drawing/2014/main" id="{D6EC8DFB-B72C-4DA7-8D18-70CA8CB1C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9825" y="2270126"/>
              <a:ext cx="71438" cy="114300"/>
            </a:xfrm>
            <a:custGeom>
              <a:avLst/>
              <a:gdLst>
                <a:gd name="T0" fmla="*/ 7 w 82"/>
                <a:gd name="T1" fmla="*/ 36 h 132"/>
                <a:gd name="T2" fmla="*/ 0 w 82"/>
                <a:gd name="T3" fmla="*/ 125 h 132"/>
                <a:gd name="T4" fmla="*/ 16 w 82"/>
                <a:gd name="T5" fmla="*/ 123 h 132"/>
                <a:gd name="T6" fmla="*/ 82 w 82"/>
                <a:gd name="T7" fmla="*/ 0 h 132"/>
                <a:gd name="T8" fmla="*/ 7 w 82"/>
                <a:gd name="T9" fmla="*/ 3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132">
                  <a:moveTo>
                    <a:pt x="7" y="36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3" y="132"/>
                    <a:pt x="14" y="131"/>
                    <a:pt x="16" y="123"/>
                  </a:cubicBezTo>
                  <a:cubicBezTo>
                    <a:pt x="82" y="0"/>
                    <a:pt x="82" y="0"/>
                    <a:pt x="82" y="0"/>
                  </a:cubicBezTo>
                  <a:lnTo>
                    <a:pt x="7" y="36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713">
              <a:extLst>
                <a:ext uri="{FF2B5EF4-FFF2-40B4-BE49-F238E27FC236}">
                  <a16:creationId xmlns:a16="http://schemas.microsoft.com/office/drawing/2014/main" id="{13CC1D70-4EA3-4360-A2DB-F0A9C2C32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2188" y="2178051"/>
              <a:ext cx="287338" cy="249238"/>
            </a:xfrm>
            <a:custGeom>
              <a:avLst/>
              <a:gdLst>
                <a:gd name="T0" fmla="*/ 274 w 331"/>
                <a:gd name="T1" fmla="*/ 0 h 288"/>
                <a:gd name="T2" fmla="*/ 85 w 331"/>
                <a:gd name="T3" fmla="*/ 75 h 288"/>
                <a:gd name="T4" fmla="*/ 8 w 331"/>
                <a:gd name="T5" fmla="*/ 175 h 288"/>
                <a:gd name="T6" fmla="*/ 20 w 331"/>
                <a:gd name="T7" fmla="*/ 280 h 288"/>
                <a:gd name="T8" fmla="*/ 176 w 331"/>
                <a:gd name="T9" fmla="*/ 158 h 288"/>
                <a:gd name="T10" fmla="*/ 245 w 331"/>
                <a:gd name="T11" fmla="*/ 123 h 288"/>
                <a:gd name="T12" fmla="*/ 274 w 331"/>
                <a:gd name="T13" fmla="*/ 84 h 288"/>
                <a:gd name="T14" fmla="*/ 331 w 331"/>
                <a:gd name="T15" fmla="*/ 43 h 288"/>
                <a:gd name="T16" fmla="*/ 274 w 331"/>
                <a:gd name="T17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1" h="288">
                  <a:moveTo>
                    <a:pt x="274" y="0"/>
                  </a:moveTo>
                  <a:cubicBezTo>
                    <a:pt x="274" y="0"/>
                    <a:pt x="125" y="44"/>
                    <a:pt x="85" y="75"/>
                  </a:cubicBezTo>
                  <a:cubicBezTo>
                    <a:pt x="55" y="98"/>
                    <a:pt x="8" y="175"/>
                    <a:pt x="8" y="175"/>
                  </a:cubicBezTo>
                  <a:cubicBezTo>
                    <a:pt x="6" y="182"/>
                    <a:pt x="0" y="278"/>
                    <a:pt x="20" y="280"/>
                  </a:cubicBezTo>
                  <a:cubicBezTo>
                    <a:pt x="72" y="288"/>
                    <a:pt x="176" y="158"/>
                    <a:pt x="176" y="158"/>
                  </a:cubicBezTo>
                  <a:cubicBezTo>
                    <a:pt x="176" y="158"/>
                    <a:pt x="229" y="150"/>
                    <a:pt x="245" y="123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331" y="43"/>
                    <a:pt x="331" y="43"/>
                    <a:pt x="331" y="43"/>
                  </a:cubicBezTo>
                  <a:lnTo>
                    <a:pt x="274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714">
              <a:extLst>
                <a:ext uri="{FF2B5EF4-FFF2-40B4-BE49-F238E27FC236}">
                  <a16:creationId xmlns:a16="http://schemas.microsoft.com/office/drawing/2014/main" id="{B1721465-46A7-4328-95E4-0FD76628A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2438" y="2401888"/>
              <a:ext cx="1144588" cy="574675"/>
            </a:xfrm>
            <a:custGeom>
              <a:avLst/>
              <a:gdLst>
                <a:gd name="T0" fmla="*/ 47 w 1317"/>
                <a:gd name="T1" fmla="*/ 84 h 662"/>
                <a:gd name="T2" fmla="*/ 626 w 1317"/>
                <a:gd name="T3" fmla="*/ 640 h 662"/>
                <a:gd name="T4" fmla="*/ 1317 w 1317"/>
                <a:gd name="T5" fmla="*/ 431 h 662"/>
                <a:gd name="T6" fmla="*/ 1266 w 1317"/>
                <a:gd name="T7" fmla="*/ 351 h 662"/>
                <a:gd name="T8" fmla="*/ 682 w 1317"/>
                <a:gd name="T9" fmla="*/ 437 h 662"/>
                <a:gd name="T10" fmla="*/ 332 w 1317"/>
                <a:gd name="T11" fmla="*/ 103 h 662"/>
                <a:gd name="T12" fmla="*/ 47 w 1317"/>
                <a:gd name="T13" fmla="*/ 84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7" h="662">
                  <a:moveTo>
                    <a:pt x="47" y="84"/>
                  </a:moveTo>
                  <a:cubicBezTo>
                    <a:pt x="0" y="288"/>
                    <a:pt x="332" y="496"/>
                    <a:pt x="626" y="640"/>
                  </a:cubicBezTo>
                  <a:cubicBezTo>
                    <a:pt x="810" y="662"/>
                    <a:pt x="1317" y="431"/>
                    <a:pt x="1317" y="431"/>
                  </a:cubicBezTo>
                  <a:cubicBezTo>
                    <a:pt x="1266" y="351"/>
                    <a:pt x="1266" y="351"/>
                    <a:pt x="1266" y="351"/>
                  </a:cubicBezTo>
                  <a:cubicBezTo>
                    <a:pt x="682" y="437"/>
                    <a:pt x="682" y="437"/>
                    <a:pt x="682" y="437"/>
                  </a:cubicBezTo>
                  <a:cubicBezTo>
                    <a:pt x="332" y="103"/>
                    <a:pt x="332" y="103"/>
                    <a:pt x="332" y="103"/>
                  </a:cubicBezTo>
                  <a:cubicBezTo>
                    <a:pt x="332" y="103"/>
                    <a:pt x="66" y="0"/>
                    <a:pt x="47" y="84"/>
                  </a:cubicBezTo>
                  <a:close/>
                </a:path>
              </a:pathLst>
            </a:custGeom>
            <a:solidFill>
              <a:srgbClr val="F44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715">
              <a:extLst>
                <a:ext uri="{FF2B5EF4-FFF2-40B4-BE49-F238E27FC236}">
                  <a16:creationId xmlns:a16="http://schemas.microsoft.com/office/drawing/2014/main" id="{8AA0B265-489E-46FB-9023-727E6762F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1150" y="1812926"/>
              <a:ext cx="600075" cy="633413"/>
            </a:xfrm>
            <a:custGeom>
              <a:avLst/>
              <a:gdLst>
                <a:gd name="T0" fmla="*/ 397 w 689"/>
                <a:gd name="T1" fmla="*/ 60 h 731"/>
                <a:gd name="T2" fmla="*/ 635 w 689"/>
                <a:gd name="T3" fmla="*/ 475 h 731"/>
                <a:gd name="T4" fmla="*/ 199 w 689"/>
                <a:gd name="T5" fmla="*/ 670 h 731"/>
                <a:gd name="T6" fmla="*/ 55 w 689"/>
                <a:gd name="T7" fmla="*/ 287 h 731"/>
                <a:gd name="T8" fmla="*/ 397 w 689"/>
                <a:gd name="T9" fmla="*/ 60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9" h="731">
                  <a:moveTo>
                    <a:pt x="397" y="60"/>
                  </a:moveTo>
                  <a:cubicBezTo>
                    <a:pt x="583" y="121"/>
                    <a:pt x="689" y="306"/>
                    <a:pt x="635" y="475"/>
                  </a:cubicBezTo>
                  <a:cubicBezTo>
                    <a:pt x="580" y="643"/>
                    <a:pt x="385" y="731"/>
                    <a:pt x="199" y="670"/>
                  </a:cubicBezTo>
                  <a:cubicBezTo>
                    <a:pt x="12" y="610"/>
                    <a:pt x="0" y="455"/>
                    <a:pt x="55" y="287"/>
                  </a:cubicBezTo>
                  <a:cubicBezTo>
                    <a:pt x="110" y="118"/>
                    <a:pt x="211" y="0"/>
                    <a:pt x="397" y="60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716">
              <a:extLst>
                <a:ext uri="{FF2B5EF4-FFF2-40B4-BE49-F238E27FC236}">
                  <a16:creationId xmlns:a16="http://schemas.microsoft.com/office/drawing/2014/main" id="{2E466A13-57ED-4794-BE39-D6B902A05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400" y="2138363"/>
              <a:ext cx="114300" cy="136525"/>
            </a:xfrm>
            <a:custGeom>
              <a:avLst/>
              <a:gdLst>
                <a:gd name="T0" fmla="*/ 85 w 132"/>
                <a:gd name="T1" fmla="*/ 138 h 156"/>
                <a:gd name="T2" fmla="*/ 0 w 132"/>
                <a:gd name="T3" fmla="*/ 156 h 156"/>
                <a:gd name="T4" fmla="*/ 51 w 132"/>
                <a:gd name="T5" fmla="*/ 0 h 156"/>
                <a:gd name="T6" fmla="*/ 109 w 132"/>
                <a:gd name="T7" fmla="*/ 64 h 156"/>
                <a:gd name="T8" fmla="*/ 85 w 132"/>
                <a:gd name="T9" fmla="*/ 13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56">
                  <a:moveTo>
                    <a:pt x="85" y="138"/>
                  </a:moveTo>
                  <a:cubicBezTo>
                    <a:pt x="0" y="156"/>
                    <a:pt x="0" y="156"/>
                    <a:pt x="0" y="156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32" y="90"/>
                    <a:pt x="119" y="131"/>
                    <a:pt x="85" y="138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717">
              <a:extLst>
                <a:ext uri="{FF2B5EF4-FFF2-40B4-BE49-F238E27FC236}">
                  <a16:creationId xmlns:a16="http://schemas.microsoft.com/office/drawing/2014/main" id="{B6DDE148-81B9-47DC-84E5-B0AE01135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100" y="1781176"/>
              <a:ext cx="676275" cy="719138"/>
            </a:xfrm>
            <a:custGeom>
              <a:avLst/>
              <a:gdLst>
                <a:gd name="T0" fmla="*/ 406 w 779"/>
                <a:gd name="T1" fmla="*/ 50 h 829"/>
                <a:gd name="T2" fmla="*/ 51 w 779"/>
                <a:gd name="T3" fmla="*/ 310 h 829"/>
                <a:gd name="T4" fmla="*/ 203 w 779"/>
                <a:gd name="T5" fmla="*/ 742 h 829"/>
                <a:gd name="T6" fmla="*/ 643 w 779"/>
                <a:gd name="T7" fmla="*/ 735 h 829"/>
                <a:gd name="T8" fmla="*/ 536 w 779"/>
                <a:gd name="T9" fmla="*/ 662 h 829"/>
                <a:gd name="T10" fmla="*/ 601 w 779"/>
                <a:gd name="T11" fmla="*/ 543 h 829"/>
                <a:gd name="T12" fmla="*/ 595 w 779"/>
                <a:gd name="T13" fmla="*/ 380 h 829"/>
                <a:gd name="T14" fmla="*/ 688 w 779"/>
                <a:gd name="T15" fmla="*/ 308 h 829"/>
                <a:gd name="T16" fmla="*/ 778 w 779"/>
                <a:gd name="T17" fmla="*/ 322 h 829"/>
                <a:gd name="T18" fmla="*/ 406 w 779"/>
                <a:gd name="T19" fmla="*/ 50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9" h="829">
                  <a:moveTo>
                    <a:pt x="406" y="50"/>
                  </a:moveTo>
                  <a:cubicBezTo>
                    <a:pt x="244" y="0"/>
                    <a:pt x="100" y="161"/>
                    <a:pt x="51" y="310"/>
                  </a:cubicBezTo>
                  <a:cubicBezTo>
                    <a:pt x="0" y="469"/>
                    <a:pt x="30" y="685"/>
                    <a:pt x="203" y="742"/>
                  </a:cubicBezTo>
                  <a:cubicBezTo>
                    <a:pt x="469" y="829"/>
                    <a:pt x="644" y="735"/>
                    <a:pt x="643" y="735"/>
                  </a:cubicBezTo>
                  <a:cubicBezTo>
                    <a:pt x="549" y="714"/>
                    <a:pt x="538" y="662"/>
                    <a:pt x="536" y="662"/>
                  </a:cubicBezTo>
                  <a:cubicBezTo>
                    <a:pt x="564" y="630"/>
                    <a:pt x="614" y="591"/>
                    <a:pt x="601" y="543"/>
                  </a:cubicBezTo>
                  <a:cubicBezTo>
                    <a:pt x="581" y="467"/>
                    <a:pt x="584" y="415"/>
                    <a:pt x="595" y="380"/>
                  </a:cubicBezTo>
                  <a:cubicBezTo>
                    <a:pt x="608" y="339"/>
                    <a:pt x="646" y="311"/>
                    <a:pt x="688" y="308"/>
                  </a:cubicBezTo>
                  <a:cubicBezTo>
                    <a:pt x="714" y="307"/>
                    <a:pt x="745" y="308"/>
                    <a:pt x="778" y="322"/>
                  </a:cubicBezTo>
                  <a:cubicBezTo>
                    <a:pt x="779" y="323"/>
                    <a:pt x="708" y="145"/>
                    <a:pt x="406" y="50"/>
                  </a:cubicBezTo>
                  <a:close/>
                </a:path>
              </a:pathLst>
            </a:custGeom>
            <a:solidFill>
              <a:srgbClr val="FFE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718">
              <a:extLst>
                <a:ext uri="{FF2B5EF4-FFF2-40B4-BE49-F238E27FC236}">
                  <a16:creationId xmlns:a16="http://schemas.microsoft.com/office/drawing/2014/main" id="{C3E7EFAF-E0BB-4B23-89F7-0CF09E09C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675" y="2230438"/>
              <a:ext cx="530225" cy="269875"/>
            </a:xfrm>
            <a:custGeom>
              <a:avLst/>
              <a:gdLst>
                <a:gd name="T0" fmla="*/ 522 w 611"/>
                <a:gd name="T1" fmla="*/ 172 h 311"/>
                <a:gd name="T2" fmla="*/ 153 w 611"/>
                <a:gd name="T3" fmla="*/ 154 h 311"/>
                <a:gd name="T4" fmla="*/ 0 w 611"/>
                <a:gd name="T5" fmla="*/ 0 h 311"/>
                <a:gd name="T6" fmla="*/ 170 w 611"/>
                <a:gd name="T7" fmla="*/ 224 h 311"/>
                <a:gd name="T8" fmla="*/ 610 w 611"/>
                <a:gd name="T9" fmla="*/ 217 h 311"/>
                <a:gd name="T10" fmla="*/ 522 w 611"/>
                <a:gd name="T11" fmla="*/ 172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1" h="311">
                  <a:moveTo>
                    <a:pt x="522" y="172"/>
                  </a:moveTo>
                  <a:cubicBezTo>
                    <a:pt x="447" y="192"/>
                    <a:pt x="318" y="208"/>
                    <a:pt x="153" y="154"/>
                  </a:cubicBezTo>
                  <a:cubicBezTo>
                    <a:pt x="75" y="129"/>
                    <a:pt x="26" y="70"/>
                    <a:pt x="0" y="0"/>
                  </a:cubicBezTo>
                  <a:cubicBezTo>
                    <a:pt x="15" y="101"/>
                    <a:pt x="68" y="190"/>
                    <a:pt x="170" y="224"/>
                  </a:cubicBezTo>
                  <a:cubicBezTo>
                    <a:pt x="436" y="311"/>
                    <a:pt x="611" y="217"/>
                    <a:pt x="610" y="217"/>
                  </a:cubicBezTo>
                  <a:cubicBezTo>
                    <a:pt x="563" y="206"/>
                    <a:pt x="537" y="188"/>
                    <a:pt x="522" y="172"/>
                  </a:cubicBezTo>
                  <a:close/>
                </a:path>
              </a:pathLst>
            </a:custGeom>
            <a:solidFill>
              <a:srgbClr val="EDD6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719">
              <a:extLst>
                <a:ext uri="{FF2B5EF4-FFF2-40B4-BE49-F238E27FC236}">
                  <a16:creationId xmlns:a16="http://schemas.microsoft.com/office/drawing/2014/main" id="{96596A00-3142-4A89-8498-5111332AE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1763" y="2401888"/>
              <a:ext cx="1185863" cy="555625"/>
            </a:xfrm>
            <a:custGeom>
              <a:avLst/>
              <a:gdLst>
                <a:gd name="T0" fmla="*/ 1318 w 1365"/>
                <a:gd name="T1" fmla="*/ 84 h 640"/>
                <a:gd name="T2" fmla="*/ 739 w 1365"/>
                <a:gd name="T3" fmla="*/ 640 h 640"/>
                <a:gd name="T4" fmla="*/ 0 w 1365"/>
                <a:gd name="T5" fmla="*/ 524 h 640"/>
                <a:gd name="T6" fmla="*/ 14 w 1365"/>
                <a:gd name="T7" fmla="*/ 430 h 640"/>
                <a:gd name="T8" fmla="*/ 683 w 1365"/>
                <a:gd name="T9" fmla="*/ 437 h 640"/>
                <a:gd name="T10" fmla="*/ 1033 w 1365"/>
                <a:gd name="T11" fmla="*/ 103 h 640"/>
                <a:gd name="T12" fmla="*/ 1318 w 1365"/>
                <a:gd name="T13" fmla="*/ 84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5" h="640">
                  <a:moveTo>
                    <a:pt x="1318" y="84"/>
                  </a:moveTo>
                  <a:cubicBezTo>
                    <a:pt x="1365" y="288"/>
                    <a:pt x="1068" y="447"/>
                    <a:pt x="739" y="640"/>
                  </a:cubicBezTo>
                  <a:cubicBezTo>
                    <a:pt x="0" y="524"/>
                    <a:pt x="0" y="524"/>
                    <a:pt x="0" y="524"/>
                  </a:cubicBezTo>
                  <a:cubicBezTo>
                    <a:pt x="14" y="430"/>
                    <a:pt x="14" y="430"/>
                    <a:pt x="14" y="430"/>
                  </a:cubicBezTo>
                  <a:cubicBezTo>
                    <a:pt x="683" y="437"/>
                    <a:pt x="683" y="437"/>
                    <a:pt x="683" y="437"/>
                  </a:cubicBezTo>
                  <a:cubicBezTo>
                    <a:pt x="1033" y="103"/>
                    <a:pt x="1033" y="103"/>
                    <a:pt x="1033" y="103"/>
                  </a:cubicBezTo>
                  <a:cubicBezTo>
                    <a:pt x="1033" y="103"/>
                    <a:pt x="1299" y="0"/>
                    <a:pt x="1318" y="84"/>
                  </a:cubicBezTo>
                  <a:close/>
                </a:path>
              </a:pathLst>
            </a:custGeom>
            <a:solidFill>
              <a:srgbClr val="CF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720">
              <a:extLst>
                <a:ext uri="{FF2B5EF4-FFF2-40B4-BE49-F238E27FC236}">
                  <a16:creationId xmlns:a16="http://schemas.microsoft.com/office/drawing/2014/main" id="{90D51CD3-EC30-4B45-8018-BAF5E8988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8563" y="1671638"/>
              <a:ext cx="1169988" cy="568325"/>
            </a:xfrm>
            <a:custGeom>
              <a:avLst/>
              <a:gdLst>
                <a:gd name="T0" fmla="*/ 1314 w 1347"/>
                <a:gd name="T1" fmla="*/ 193 h 656"/>
                <a:gd name="T2" fmla="*/ 518 w 1347"/>
                <a:gd name="T3" fmla="*/ 84 h 656"/>
                <a:gd name="T4" fmla="*/ 0 w 1347"/>
                <a:gd name="T5" fmla="*/ 585 h 656"/>
                <a:gd name="T6" fmla="*/ 76 w 1347"/>
                <a:gd name="T7" fmla="*/ 656 h 656"/>
                <a:gd name="T8" fmla="*/ 592 w 1347"/>
                <a:gd name="T9" fmla="*/ 281 h 656"/>
                <a:gd name="T10" fmla="*/ 1072 w 1347"/>
                <a:gd name="T11" fmla="*/ 346 h 656"/>
                <a:gd name="T12" fmla="*/ 1314 w 1347"/>
                <a:gd name="T13" fmla="*/ 193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7" h="656">
                  <a:moveTo>
                    <a:pt x="1314" y="193"/>
                  </a:moveTo>
                  <a:cubicBezTo>
                    <a:pt x="1232" y="0"/>
                    <a:pt x="898" y="47"/>
                    <a:pt x="518" y="84"/>
                  </a:cubicBezTo>
                  <a:cubicBezTo>
                    <a:pt x="0" y="585"/>
                    <a:pt x="0" y="585"/>
                    <a:pt x="0" y="585"/>
                  </a:cubicBezTo>
                  <a:cubicBezTo>
                    <a:pt x="76" y="656"/>
                    <a:pt x="76" y="656"/>
                    <a:pt x="76" y="656"/>
                  </a:cubicBezTo>
                  <a:cubicBezTo>
                    <a:pt x="592" y="281"/>
                    <a:pt x="592" y="281"/>
                    <a:pt x="592" y="281"/>
                  </a:cubicBezTo>
                  <a:cubicBezTo>
                    <a:pt x="1072" y="346"/>
                    <a:pt x="1072" y="346"/>
                    <a:pt x="1072" y="346"/>
                  </a:cubicBezTo>
                  <a:cubicBezTo>
                    <a:pt x="1072" y="346"/>
                    <a:pt x="1347" y="273"/>
                    <a:pt x="1314" y="193"/>
                  </a:cubicBezTo>
                  <a:close/>
                </a:path>
              </a:pathLst>
            </a:custGeom>
            <a:solidFill>
              <a:srgbClr val="CF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721">
              <a:extLst>
                <a:ext uri="{FF2B5EF4-FFF2-40B4-BE49-F238E27FC236}">
                  <a16:creationId xmlns:a16="http://schemas.microsoft.com/office/drawing/2014/main" id="{7624AD20-5D50-4005-AE2E-97EDA8C58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6463" y="1766888"/>
              <a:ext cx="382588" cy="830263"/>
            </a:xfrm>
            <a:custGeom>
              <a:avLst/>
              <a:gdLst>
                <a:gd name="T0" fmla="*/ 369 w 441"/>
                <a:gd name="T1" fmla="*/ 936 h 959"/>
                <a:gd name="T2" fmla="*/ 90 w 441"/>
                <a:gd name="T3" fmla="*/ 522 h 959"/>
                <a:gd name="T4" fmla="*/ 72 w 441"/>
                <a:gd name="T5" fmla="*/ 23 h 959"/>
                <a:gd name="T6" fmla="*/ 351 w 441"/>
                <a:gd name="T7" fmla="*/ 437 h 959"/>
                <a:gd name="T8" fmla="*/ 369 w 441"/>
                <a:gd name="T9" fmla="*/ 936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1" h="959">
                  <a:moveTo>
                    <a:pt x="369" y="936"/>
                  </a:moveTo>
                  <a:cubicBezTo>
                    <a:pt x="297" y="959"/>
                    <a:pt x="172" y="774"/>
                    <a:pt x="90" y="522"/>
                  </a:cubicBezTo>
                  <a:cubicBezTo>
                    <a:pt x="8" y="270"/>
                    <a:pt x="0" y="47"/>
                    <a:pt x="72" y="23"/>
                  </a:cubicBezTo>
                  <a:cubicBezTo>
                    <a:pt x="144" y="0"/>
                    <a:pt x="269" y="185"/>
                    <a:pt x="351" y="437"/>
                  </a:cubicBezTo>
                  <a:cubicBezTo>
                    <a:pt x="432" y="689"/>
                    <a:pt x="441" y="912"/>
                    <a:pt x="369" y="936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722">
              <a:extLst>
                <a:ext uri="{FF2B5EF4-FFF2-40B4-BE49-F238E27FC236}">
                  <a16:creationId xmlns:a16="http://schemas.microsoft.com/office/drawing/2014/main" id="{F9D6AF26-56B1-47F7-9A34-20BEF5285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0738" y="2189163"/>
              <a:ext cx="109538" cy="107950"/>
            </a:xfrm>
            <a:custGeom>
              <a:avLst/>
              <a:gdLst>
                <a:gd name="T0" fmla="*/ 24 w 126"/>
                <a:gd name="T1" fmla="*/ 56 h 125"/>
                <a:gd name="T2" fmla="*/ 85 w 126"/>
                <a:gd name="T3" fmla="*/ 0 h 125"/>
                <a:gd name="T4" fmla="*/ 126 w 126"/>
                <a:gd name="T5" fmla="*/ 125 h 125"/>
                <a:gd name="T6" fmla="*/ 43 w 126"/>
                <a:gd name="T7" fmla="*/ 115 h 125"/>
                <a:gd name="T8" fmla="*/ 24 w 126"/>
                <a:gd name="T9" fmla="*/ 56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25">
                  <a:moveTo>
                    <a:pt x="24" y="5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126" y="125"/>
                    <a:pt x="126" y="125"/>
                    <a:pt x="126" y="125"/>
                  </a:cubicBezTo>
                  <a:cubicBezTo>
                    <a:pt x="43" y="115"/>
                    <a:pt x="43" y="115"/>
                    <a:pt x="43" y="115"/>
                  </a:cubicBezTo>
                  <a:cubicBezTo>
                    <a:pt x="11" y="111"/>
                    <a:pt x="0" y="78"/>
                    <a:pt x="24" y="56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723">
              <a:extLst>
                <a:ext uri="{FF2B5EF4-FFF2-40B4-BE49-F238E27FC236}">
                  <a16:creationId xmlns:a16="http://schemas.microsoft.com/office/drawing/2014/main" id="{183D6453-C884-4551-8CEF-FB328BD09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80800" y="1920876"/>
              <a:ext cx="217488" cy="307975"/>
            </a:xfrm>
            <a:custGeom>
              <a:avLst/>
              <a:gdLst>
                <a:gd name="T0" fmla="*/ 177 w 250"/>
                <a:gd name="T1" fmla="*/ 338 h 356"/>
                <a:gd name="T2" fmla="*/ 29 w 250"/>
                <a:gd name="T3" fmla="*/ 209 h 356"/>
                <a:gd name="T4" fmla="*/ 73 w 250"/>
                <a:gd name="T5" fmla="*/ 17 h 356"/>
                <a:gd name="T6" fmla="*/ 221 w 250"/>
                <a:gd name="T7" fmla="*/ 146 h 356"/>
                <a:gd name="T8" fmla="*/ 177 w 250"/>
                <a:gd name="T9" fmla="*/ 33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0" h="356">
                  <a:moveTo>
                    <a:pt x="177" y="338"/>
                  </a:moveTo>
                  <a:cubicBezTo>
                    <a:pt x="124" y="356"/>
                    <a:pt x="58" y="298"/>
                    <a:pt x="29" y="209"/>
                  </a:cubicBezTo>
                  <a:cubicBezTo>
                    <a:pt x="0" y="120"/>
                    <a:pt x="19" y="34"/>
                    <a:pt x="73" y="17"/>
                  </a:cubicBezTo>
                  <a:cubicBezTo>
                    <a:pt x="126" y="0"/>
                    <a:pt x="192" y="58"/>
                    <a:pt x="221" y="146"/>
                  </a:cubicBezTo>
                  <a:cubicBezTo>
                    <a:pt x="250" y="235"/>
                    <a:pt x="230" y="321"/>
                    <a:pt x="177" y="338"/>
                  </a:cubicBezTo>
                  <a:close/>
                </a:path>
              </a:pathLst>
            </a:custGeom>
            <a:solidFill>
              <a:srgbClr val="693F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24">
              <a:extLst>
                <a:ext uri="{FF2B5EF4-FFF2-40B4-BE49-F238E27FC236}">
                  <a16:creationId xmlns:a16="http://schemas.microsoft.com/office/drawing/2014/main" id="{081A85D7-6AD3-44B5-8C7D-3FD1732CAD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4388" y="1846263"/>
              <a:ext cx="644525" cy="635000"/>
            </a:xfrm>
            <a:custGeom>
              <a:avLst/>
              <a:gdLst>
                <a:gd name="T0" fmla="*/ 491 w 742"/>
                <a:gd name="T1" fmla="*/ 671 h 732"/>
                <a:gd name="T2" fmla="*/ 55 w 742"/>
                <a:gd name="T3" fmla="*/ 476 h 732"/>
                <a:gd name="T4" fmla="*/ 293 w 742"/>
                <a:gd name="T5" fmla="*/ 61 h 732"/>
                <a:gd name="T6" fmla="*/ 687 w 742"/>
                <a:gd name="T7" fmla="*/ 270 h 732"/>
                <a:gd name="T8" fmla="*/ 491 w 742"/>
                <a:gd name="T9" fmla="*/ 671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2" h="732">
                  <a:moveTo>
                    <a:pt x="491" y="671"/>
                  </a:moveTo>
                  <a:cubicBezTo>
                    <a:pt x="305" y="732"/>
                    <a:pt x="110" y="644"/>
                    <a:pt x="55" y="476"/>
                  </a:cubicBezTo>
                  <a:cubicBezTo>
                    <a:pt x="0" y="307"/>
                    <a:pt x="107" y="121"/>
                    <a:pt x="293" y="61"/>
                  </a:cubicBezTo>
                  <a:cubicBezTo>
                    <a:pt x="479" y="0"/>
                    <a:pt x="633" y="101"/>
                    <a:pt x="687" y="270"/>
                  </a:cubicBezTo>
                  <a:cubicBezTo>
                    <a:pt x="742" y="438"/>
                    <a:pt x="677" y="611"/>
                    <a:pt x="491" y="671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725">
              <a:extLst>
                <a:ext uri="{FF2B5EF4-FFF2-40B4-BE49-F238E27FC236}">
                  <a16:creationId xmlns:a16="http://schemas.microsoft.com/office/drawing/2014/main" id="{1797764D-7107-41E0-9CA1-B4A737E49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7563" y="1816101"/>
              <a:ext cx="661988" cy="657225"/>
            </a:xfrm>
            <a:custGeom>
              <a:avLst/>
              <a:gdLst>
                <a:gd name="T0" fmla="*/ 519 w 761"/>
                <a:gd name="T1" fmla="*/ 717 h 758"/>
                <a:gd name="T2" fmla="*/ 101 w 761"/>
                <a:gd name="T3" fmla="*/ 494 h 758"/>
                <a:gd name="T4" fmla="*/ 309 w 761"/>
                <a:gd name="T5" fmla="*/ 68 h 758"/>
                <a:gd name="T6" fmla="*/ 703 w 761"/>
                <a:gd name="T7" fmla="*/ 299 h 758"/>
                <a:gd name="T8" fmla="*/ 519 w 761"/>
                <a:gd name="T9" fmla="*/ 717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1" h="758">
                  <a:moveTo>
                    <a:pt x="519" y="717"/>
                  </a:moveTo>
                  <a:cubicBezTo>
                    <a:pt x="392" y="758"/>
                    <a:pt x="127" y="729"/>
                    <a:pt x="101" y="494"/>
                  </a:cubicBezTo>
                  <a:cubicBezTo>
                    <a:pt x="0" y="316"/>
                    <a:pt x="128" y="127"/>
                    <a:pt x="309" y="68"/>
                  </a:cubicBezTo>
                  <a:cubicBezTo>
                    <a:pt x="518" y="0"/>
                    <a:pt x="645" y="120"/>
                    <a:pt x="703" y="299"/>
                  </a:cubicBezTo>
                  <a:cubicBezTo>
                    <a:pt x="761" y="478"/>
                    <a:pt x="729" y="649"/>
                    <a:pt x="519" y="717"/>
                  </a:cubicBezTo>
                  <a:close/>
                </a:path>
              </a:pathLst>
            </a:custGeom>
            <a:solidFill>
              <a:srgbClr val="693F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726">
              <a:extLst>
                <a:ext uri="{FF2B5EF4-FFF2-40B4-BE49-F238E27FC236}">
                  <a16:creationId xmlns:a16="http://schemas.microsoft.com/office/drawing/2014/main" id="{12F70412-F41F-47C2-B7DD-F171B90B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8050" y="2079626"/>
              <a:ext cx="571500" cy="392113"/>
            </a:xfrm>
            <a:custGeom>
              <a:avLst/>
              <a:gdLst>
                <a:gd name="T0" fmla="*/ 601 w 657"/>
                <a:gd name="T1" fmla="*/ 0 h 453"/>
                <a:gd name="T2" fmla="*/ 390 w 657"/>
                <a:gd name="T3" fmla="*/ 321 h 453"/>
                <a:gd name="T4" fmla="*/ 0 w 657"/>
                <a:gd name="T5" fmla="*/ 207 h 453"/>
                <a:gd name="T6" fmla="*/ 416 w 657"/>
                <a:gd name="T7" fmla="*/ 413 h 453"/>
                <a:gd name="T8" fmla="*/ 601 w 657"/>
                <a:gd name="T9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7" h="453">
                  <a:moveTo>
                    <a:pt x="601" y="0"/>
                  </a:moveTo>
                  <a:cubicBezTo>
                    <a:pt x="620" y="139"/>
                    <a:pt x="566" y="264"/>
                    <a:pt x="390" y="321"/>
                  </a:cubicBezTo>
                  <a:cubicBezTo>
                    <a:pt x="282" y="356"/>
                    <a:pt x="81" y="344"/>
                    <a:pt x="0" y="207"/>
                  </a:cubicBezTo>
                  <a:cubicBezTo>
                    <a:pt x="38" y="427"/>
                    <a:pt x="292" y="453"/>
                    <a:pt x="416" y="413"/>
                  </a:cubicBezTo>
                  <a:cubicBezTo>
                    <a:pt x="624" y="345"/>
                    <a:pt x="657" y="177"/>
                    <a:pt x="601" y="0"/>
                  </a:cubicBezTo>
                  <a:close/>
                </a:path>
              </a:pathLst>
            </a:custGeom>
            <a:solidFill>
              <a:srgbClr val="4D2C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727">
              <a:extLst>
                <a:ext uri="{FF2B5EF4-FFF2-40B4-BE49-F238E27FC236}">
                  <a16:creationId xmlns:a16="http://schemas.microsoft.com/office/drawing/2014/main" id="{8D7DB485-362B-4267-A7D1-F5B2225EE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4875" y="2070101"/>
              <a:ext cx="525463" cy="177800"/>
            </a:xfrm>
            <a:custGeom>
              <a:avLst/>
              <a:gdLst>
                <a:gd name="T0" fmla="*/ 1 w 604"/>
                <a:gd name="T1" fmla="*/ 200 h 205"/>
                <a:gd name="T2" fmla="*/ 4 w 604"/>
                <a:gd name="T3" fmla="*/ 193 h 205"/>
                <a:gd name="T4" fmla="*/ 595 w 604"/>
                <a:gd name="T5" fmla="*/ 1 h 205"/>
                <a:gd name="T6" fmla="*/ 603 w 604"/>
                <a:gd name="T7" fmla="*/ 5 h 205"/>
                <a:gd name="T8" fmla="*/ 599 w 604"/>
                <a:gd name="T9" fmla="*/ 12 h 205"/>
                <a:gd name="T10" fmla="*/ 8 w 604"/>
                <a:gd name="T11" fmla="*/ 204 h 205"/>
                <a:gd name="T12" fmla="*/ 1 w 604"/>
                <a:gd name="T13" fmla="*/ 20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4" h="205">
                  <a:moveTo>
                    <a:pt x="1" y="200"/>
                  </a:moveTo>
                  <a:cubicBezTo>
                    <a:pt x="0" y="197"/>
                    <a:pt x="1" y="194"/>
                    <a:pt x="4" y="193"/>
                  </a:cubicBezTo>
                  <a:cubicBezTo>
                    <a:pt x="595" y="1"/>
                    <a:pt x="595" y="1"/>
                    <a:pt x="595" y="1"/>
                  </a:cubicBezTo>
                  <a:cubicBezTo>
                    <a:pt x="598" y="0"/>
                    <a:pt x="602" y="2"/>
                    <a:pt x="603" y="5"/>
                  </a:cubicBezTo>
                  <a:cubicBezTo>
                    <a:pt x="604" y="8"/>
                    <a:pt x="602" y="11"/>
                    <a:pt x="599" y="12"/>
                  </a:cubicBezTo>
                  <a:cubicBezTo>
                    <a:pt x="8" y="204"/>
                    <a:pt x="8" y="204"/>
                    <a:pt x="8" y="204"/>
                  </a:cubicBezTo>
                  <a:cubicBezTo>
                    <a:pt x="5" y="205"/>
                    <a:pt x="2" y="203"/>
                    <a:pt x="1" y="200"/>
                  </a:cubicBezTo>
                  <a:close/>
                </a:path>
              </a:pathLst>
            </a:custGeom>
            <a:solidFill>
              <a:srgbClr val="7F53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728">
              <a:extLst>
                <a:ext uri="{FF2B5EF4-FFF2-40B4-BE49-F238E27FC236}">
                  <a16:creationId xmlns:a16="http://schemas.microsoft.com/office/drawing/2014/main" id="{11E439F8-3F06-4FE7-A0C3-2A10AEEAF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9850" y="1874838"/>
              <a:ext cx="63500" cy="104775"/>
            </a:xfrm>
            <a:custGeom>
              <a:avLst/>
              <a:gdLst>
                <a:gd name="T0" fmla="*/ 1 w 74"/>
                <a:gd name="T1" fmla="*/ 13 h 122"/>
                <a:gd name="T2" fmla="*/ 6 w 74"/>
                <a:gd name="T3" fmla="*/ 3 h 122"/>
                <a:gd name="T4" fmla="*/ 17 w 74"/>
                <a:gd name="T5" fmla="*/ 6 h 122"/>
                <a:gd name="T6" fmla="*/ 72 w 74"/>
                <a:gd name="T7" fmla="*/ 108 h 122"/>
                <a:gd name="T8" fmla="*/ 68 w 74"/>
                <a:gd name="T9" fmla="*/ 120 h 122"/>
                <a:gd name="T10" fmla="*/ 57 w 74"/>
                <a:gd name="T11" fmla="*/ 116 h 122"/>
                <a:gd name="T12" fmla="*/ 2 w 74"/>
                <a:gd name="T13" fmla="*/ 15 h 122"/>
                <a:gd name="T14" fmla="*/ 1 w 74"/>
                <a:gd name="T15" fmla="*/ 1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122">
                  <a:moveTo>
                    <a:pt x="1" y="13"/>
                  </a:moveTo>
                  <a:cubicBezTo>
                    <a:pt x="0" y="9"/>
                    <a:pt x="2" y="5"/>
                    <a:pt x="6" y="3"/>
                  </a:cubicBezTo>
                  <a:cubicBezTo>
                    <a:pt x="10" y="0"/>
                    <a:pt x="15" y="2"/>
                    <a:pt x="17" y="6"/>
                  </a:cubicBezTo>
                  <a:cubicBezTo>
                    <a:pt x="72" y="108"/>
                    <a:pt x="72" y="108"/>
                    <a:pt x="72" y="108"/>
                  </a:cubicBezTo>
                  <a:cubicBezTo>
                    <a:pt x="74" y="112"/>
                    <a:pt x="73" y="118"/>
                    <a:pt x="68" y="120"/>
                  </a:cubicBezTo>
                  <a:cubicBezTo>
                    <a:pt x="64" y="122"/>
                    <a:pt x="59" y="121"/>
                    <a:pt x="57" y="116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4"/>
                    <a:pt x="2" y="14"/>
                    <a:pt x="1" y="13"/>
                  </a:cubicBezTo>
                  <a:close/>
                </a:path>
              </a:pathLst>
            </a:custGeom>
            <a:solidFill>
              <a:srgbClr val="039B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729">
              <a:extLst>
                <a:ext uri="{FF2B5EF4-FFF2-40B4-BE49-F238E27FC236}">
                  <a16:creationId xmlns:a16="http://schemas.microsoft.com/office/drawing/2014/main" id="{BAF79C1B-0B17-433E-8170-2FDBF7002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14150" y="2170113"/>
              <a:ext cx="30163" cy="114300"/>
            </a:xfrm>
            <a:custGeom>
              <a:avLst/>
              <a:gdLst>
                <a:gd name="T0" fmla="*/ 17 w 34"/>
                <a:gd name="T1" fmla="*/ 126 h 133"/>
                <a:gd name="T2" fmla="*/ 16 w 34"/>
                <a:gd name="T3" fmla="*/ 125 h 133"/>
                <a:gd name="T4" fmla="*/ 1 w 34"/>
                <a:gd name="T5" fmla="*/ 10 h 133"/>
                <a:gd name="T6" fmla="*/ 8 w 34"/>
                <a:gd name="T7" fmla="*/ 1 h 133"/>
                <a:gd name="T8" fmla="*/ 18 w 34"/>
                <a:gd name="T9" fmla="*/ 8 h 133"/>
                <a:gd name="T10" fmla="*/ 34 w 34"/>
                <a:gd name="T11" fmla="*/ 122 h 133"/>
                <a:gd name="T12" fmla="*/ 26 w 34"/>
                <a:gd name="T13" fmla="*/ 132 h 133"/>
                <a:gd name="T14" fmla="*/ 17 w 34"/>
                <a:gd name="T15" fmla="*/ 12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33">
                  <a:moveTo>
                    <a:pt x="17" y="126"/>
                  </a:moveTo>
                  <a:cubicBezTo>
                    <a:pt x="17" y="126"/>
                    <a:pt x="16" y="125"/>
                    <a:pt x="16" y="125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6"/>
                    <a:pt x="3" y="1"/>
                    <a:pt x="8" y="1"/>
                  </a:cubicBezTo>
                  <a:cubicBezTo>
                    <a:pt x="13" y="0"/>
                    <a:pt x="17" y="3"/>
                    <a:pt x="18" y="8"/>
                  </a:cubicBezTo>
                  <a:cubicBezTo>
                    <a:pt x="34" y="122"/>
                    <a:pt x="34" y="122"/>
                    <a:pt x="34" y="122"/>
                  </a:cubicBezTo>
                  <a:cubicBezTo>
                    <a:pt x="34" y="127"/>
                    <a:pt x="31" y="132"/>
                    <a:pt x="26" y="132"/>
                  </a:cubicBezTo>
                  <a:cubicBezTo>
                    <a:pt x="22" y="133"/>
                    <a:pt x="18" y="130"/>
                    <a:pt x="17" y="126"/>
                  </a:cubicBezTo>
                  <a:close/>
                </a:path>
              </a:pathLst>
            </a:custGeom>
            <a:solidFill>
              <a:srgbClr val="039B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730">
              <a:extLst>
                <a:ext uri="{FF2B5EF4-FFF2-40B4-BE49-F238E27FC236}">
                  <a16:creationId xmlns:a16="http://schemas.microsoft.com/office/drawing/2014/main" id="{BCFABBE1-E5FB-42A7-91AE-C9304590F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9213" y="4046538"/>
              <a:ext cx="263525" cy="244475"/>
            </a:xfrm>
            <a:custGeom>
              <a:avLst/>
              <a:gdLst>
                <a:gd name="T0" fmla="*/ 292 w 303"/>
                <a:gd name="T1" fmla="*/ 212 h 282"/>
                <a:gd name="T2" fmla="*/ 257 w 303"/>
                <a:gd name="T3" fmla="*/ 192 h 282"/>
                <a:gd name="T4" fmla="*/ 205 w 303"/>
                <a:gd name="T5" fmla="*/ 35 h 282"/>
                <a:gd name="T6" fmla="*/ 34 w 303"/>
                <a:gd name="T7" fmla="*/ 80 h 282"/>
                <a:gd name="T8" fmla="*/ 79 w 303"/>
                <a:gd name="T9" fmla="*/ 251 h 282"/>
                <a:gd name="T10" fmla="*/ 240 w 303"/>
                <a:gd name="T11" fmla="*/ 221 h 282"/>
                <a:gd name="T12" fmla="*/ 275 w 303"/>
                <a:gd name="T13" fmla="*/ 241 h 282"/>
                <a:gd name="T14" fmla="*/ 298 w 303"/>
                <a:gd name="T15" fmla="*/ 235 h 282"/>
                <a:gd name="T16" fmla="*/ 292 w 303"/>
                <a:gd name="T17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3" h="282">
                  <a:moveTo>
                    <a:pt x="292" y="212"/>
                  </a:moveTo>
                  <a:cubicBezTo>
                    <a:pt x="257" y="192"/>
                    <a:pt x="257" y="192"/>
                    <a:pt x="257" y="192"/>
                  </a:cubicBezTo>
                  <a:cubicBezTo>
                    <a:pt x="282" y="135"/>
                    <a:pt x="260" y="67"/>
                    <a:pt x="205" y="35"/>
                  </a:cubicBezTo>
                  <a:cubicBezTo>
                    <a:pt x="145" y="0"/>
                    <a:pt x="69" y="20"/>
                    <a:pt x="34" y="80"/>
                  </a:cubicBezTo>
                  <a:cubicBezTo>
                    <a:pt x="0" y="140"/>
                    <a:pt x="20" y="216"/>
                    <a:pt x="79" y="251"/>
                  </a:cubicBezTo>
                  <a:cubicBezTo>
                    <a:pt x="134" y="282"/>
                    <a:pt x="201" y="268"/>
                    <a:pt x="240" y="221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83" y="246"/>
                    <a:pt x="293" y="243"/>
                    <a:pt x="298" y="235"/>
                  </a:cubicBezTo>
                  <a:cubicBezTo>
                    <a:pt x="303" y="227"/>
                    <a:pt x="300" y="217"/>
                    <a:pt x="292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731">
              <a:extLst>
                <a:ext uri="{FF2B5EF4-FFF2-40B4-BE49-F238E27FC236}">
                  <a16:creationId xmlns:a16="http://schemas.microsoft.com/office/drawing/2014/main" id="{966D91E7-F09D-4AFB-82BF-6C9F1AEA1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9688" y="4032251"/>
              <a:ext cx="247650" cy="246063"/>
            </a:xfrm>
            <a:custGeom>
              <a:avLst/>
              <a:gdLst>
                <a:gd name="T0" fmla="*/ 251 w 285"/>
                <a:gd name="T1" fmla="*/ 205 h 285"/>
                <a:gd name="T2" fmla="*/ 80 w 285"/>
                <a:gd name="T3" fmla="*/ 250 h 285"/>
                <a:gd name="T4" fmla="*/ 34 w 285"/>
                <a:gd name="T5" fmla="*/ 80 h 285"/>
                <a:gd name="T6" fmla="*/ 205 w 285"/>
                <a:gd name="T7" fmla="*/ 34 h 285"/>
                <a:gd name="T8" fmla="*/ 251 w 285"/>
                <a:gd name="T9" fmla="*/ 20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5" h="285">
                  <a:moveTo>
                    <a:pt x="251" y="205"/>
                  </a:moveTo>
                  <a:cubicBezTo>
                    <a:pt x="216" y="265"/>
                    <a:pt x="139" y="285"/>
                    <a:pt x="80" y="250"/>
                  </a:cubicBezTo>
                  <a:cubicBezTo>
                    <a:pt x="20" y="216"/>
                    <a:pt x="0" y="139"/>
                    <a:pt x="34" y="80"/>
                  </a:cubicBezTo>
                  <a:cubicBezTo>
                    <a:pt x="69" y="20"/>
                    <a:pt x="146" y="0"/>
                    <a:pt x="205" y="34"/>
                  </a:cubicBezTo>
                  <a:cubicBezTo>
                    <a:pt x="265" y="69"/>
                    <a:pt x="285" y="145"/>
                    <a:pt x="251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732">
              <a:extLst>
                <a:ext uri="{FF2B5EF4-FFF2-40B4-BE49-F238E27FC236}">
                  <a16:creationId xmlns:a16="http://schemas.microsoft.com/office/drawing/2014/main" id="{249052A1-642D-4FA0-85AC-853592A72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8263" y="4060826"/>
              <a:ext cx="190500" cy="188913"/>
            </a:xfrm>
            <a:custGeom>
              <a:avLst/>
              <a:gdLst>
                <a:gd name="T0" fmla="*/ 213 w 219"/>
                <a:gd name="T1" fmla="*/ 99 h 219"/>
                <a:gd name="T2" fmla="*/ 120 w 219"/>
                <a:gd name="T3" fmla="*/ 213 h 219"/>
                <a:gd name="T4" fmla="*/ 6 w 219"/>
                <a:gd name="T5" fmla="*/ 120 h 219"/>
                <a:gd name="T6" fmla="*/ 99 w 219"/>
                <a:gd name="T7" fmla="*/ 6 h 219"/>
                <a:gd name="T8" fmla="*/ 213 w 219"/>
                <a:gd name="T9" fmla="*/ 9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19">
                  <a:moveTo>
                    <a:pt x="213" y="99"/>
                  </a:moveTo>
                  <a:cubicBezTo>
                    <a:pt x="219" y="156"/>
                    <a:pt x="177" y="207"/>
                    <a:pt x="120" y="213"/>
                  </a:cubicBezTo>
                  <a:cubicBezTo>
                    <a:pt x="63" y="219"/>
                    <a:pt x="12" y="177"/>
                    <a:pt x="6" y="120"/>
                  </a:cubicBezTo>
                  <a:cubicBezTo>
                    <a:pt x="0" y="63"/>
                    <a:pt x="42" y="12"/>
                    <a:pt x="99" y="6"/>
                  </a:cubicBezTo>
                  <a:cubicBezTo>
                    <a:pt x="156" y="0"/>
                    <a:pt x="207" y="41"/>
                    <a:pt x="213" y="99"/>
                  </a:cubicBezTo>
                  <a:close/>
                </a:path>
              </a:pathLst>
            </a:custGeom>
            <a:solidFill>
              <a:srgbClr val="9158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733">
              <a:extLst>
                <a:ext uri="{FF2B5EF4-FFF2-40B4-BE49-F238E27FC236}">
                  <a16:creationId xmlns:a16="http://schemas.microsoft.com/office/drawing/2014/main" id="{0F403B91-9B84-4CC9-8B24-1B0A44318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8263" y="4062413"/>
              <a:ext cx="158750" cy="168275"/>
            </a:xfrm>
            <a:custGeom>
              <a:avLst/>
              <a:gdLst>
                <a:gd name="T0" fmla="*/ 23 w 183"/>
                <a:gd name="T1" fmla="*/ 131 h 194"/>
                <a:gd name="T2" fmla="*/ 115 w 183"/>
                <a:gd name="T3" fmla="*/ 17 h 194"/>
                <a:gd name="T4" fmla="*/ 183 w 183"/>
                <a:gd name="T5" fmla="*/ 34 h 194"/>
                <a:gd name="T6" fmla="*/ 99 w 183"/>
                <a:gd name="T7" fmla="*/ 4 h 194"/>
                <a:gd name="T8" fmla="*/ 6 w 183"/>
                <a:gd name="T9" fmla="*/ 118 h 194"/>
                <a:gd name="T10" fmla="*/ 53 w 183"/>
                <a:gd name="T11" fmla="*/ 194 h 194"/>
                <a:gd name="T12" fmla="*/ 23 w 183"/>
                <a:gd name="T13" fmla="*/ 13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194">
                  <a:moveTo>
                    <a:pt x="23" y="131"/>
                  </a:moveTo>
                  <a:cubicBezTo>
                    <a:pt x="17" y="74"/>
                    <a:pt x="58" y="23"/>
                    <a:pt x="115" y="17"/>
                  </a:cubicBezTo>
                  <a:cubicBezTo>
                    <a:pt x="140" y="15"/>
                    <a:pt x="164" y="21"/>
                    <a:pt x="183" y="34"/>
                  </a:cubicBezTo>
                  <a:cubicBezTo>
                    <a:pt x="162" y="12"/>
                    <a:pt x="131" y="0"/>
                    <a:pt x="99" y="4"/>
                  </a:cubicBezTo>
                  <a:cubicBezTo>
                    <a:pt x="42" y="10"/>
                    <a:pt x="0" y="61"/>
                    <a:pt x="6" y="118"/>
                  </a:cubicBezTo>
                  <a:cubicBezTo>
                    <a:pt x="9" y="150"/>
                    <a:pt x="27" y="178"/>
                    <a:pt x="53" y="194"/>
                  </a:cubicBezTo>
                  <a:cubicBezTo>
                    <a:pt x="36" y="178"/>
                    <a:pt x="25" y="156"/>
                    <a:pt x="23" y="131"/>
                  </a:cubicBezTo>
                  <a:close/>
                </a:path>
              </a:pathLst>
            </a:custGeom>
            <a:solidFill>
              <a:srgbClr val="7C4B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734">
              <a:extLst>
                <a:ext uri="{FF2B5EF4-FFF2-40B4-BE49-F238E27FC236}">
                  <a16:creationId xmlns:a16="http://schemas.microsoft.com/office/drawing/2014/main" id="{2EF2E7C9-D440-4359-BF22-ED9E53C8D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1300" y="4194176"/>
              <a:ext cx="61913" cy="50800"/>
            </a:xfrm>
            <a:custGeom>
              <a:avLst/>
              <a:gdLst>
                <a:gd name="T0" fmla="*/ 42 w 70"/>
                <a:gd name="T1" fmla="*/ 54 h 59"/>
                <a:gd name="T2" fmla="*/ 0 w 70"/>
                <a:gd name="T3" fmla="*/ 30 h 59"/>
                <a:gd name="T4" fmla="*/ 17 w 70"/>
                <a:gd name="T5" fmla="*/ 0 h 59"/>
                <a:gd name="T6" fmla="*/ 59 w 70"/>
                <a:gd name="T7" fmla="*/ 25 h 59"/>
                <a:gd name="T8" fmla="*/ 65 w 70"/>
                <a:gd name="T9" fmla="*/ 48 h 59"/>
                <a:gd name="T10" fmla="*/ 42 w 70"/>
                <a:gd name="T11" fmla="*/ 5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59">
                  <a:moveTo>
                    <a:pt x="42" y="54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67" y="29"/>
                    <a:pt x="70" y="40"/>
                    <a:pt x="65" y="48"/>
                  </a:cubicBezTo>
                  <a:cubicBezTo>
                    <a:pt x="61" y="56"/>
                    <a:pt x="50" y="59"/>
                    <a:pt x="42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735">
              <a:extLst>
                <a:ext uri="{FF2B5EF4-FFF2-40B4-BE49-F238E27FC236}">
                  <a16:creationId xmlns:a16="http://schemas.microsoft.com/office/drawing/2014/main" id="{1B121890-B69A-4534-93C1-88E119724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6300" y="1749426"/>
              <a:ext cx="263525" cy="244475"/>
            </a:xfrm>
            <a:custGeom>
              <a:avLst/>
              <a:gdLst>
                <a:gd name="T0" fmla="*/ 293 w 303"/>
                <a:gd name="T1" fmla="*/ 212 h 282"/>
                <a:gd name="T2" fmla="*/ 258 w 303"/>
                <a:gd name="T3" fmla="*/ 191 h 282"/>
                <a:gd name="T4" fmla="*/ 206 w 303"/>
                <a:gd name="T5" fmla="*/ 34 h 282"/>
                <a:gd name="T6" fmla="*/ 35 w 303"/>
                <a:gd name="T7" fmla="*/ 80 h 282"/>
                <a:gd name="T8" fmla="*/ 80 w 303"/>
                <a:gd name="T9" fmla="*/ 250 h 282"/>
                <a:gd name="T10" fmla="*/ 240 w 303"/>
                <a:gd name="T11" fmla="*/ 221 h 282"/>
                <a:gd name="T12" fmla="*/ 275 w 303"/>
                <a:gd name="T13" fmla="*/ 241 h 282"/>
                <a:gd name="T14" fmla="*/ 299 w 303"/>
                <a:gd name="T15" fmla="*/ 235 h 282"/>
                <a:gd name="T16" fmla="*/ 293 w 303"/>
                <a:gd name="T17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3" h="282">
                  <a:moveTo>
                    <a:pt x="293" y="212"/>
                  </a:moveTo>
                  <a:cubicBezTo>
                    <a:pt x="258" y="191"/>
                    <a:pt x="258" y="191"/>
                    <a:pt x="258" y="191"/>
                  </a:cubicBezTo>
                  <a:cubicBezTo>
                    <a:pt x="282" y="134"/>
                    <a:pt x="261" y="66"/>
                    <a:pt x="206" y="34"/>
                  </a:cubicBezTo>
                  <a:cubicBezTo>
                    <a:pt x="146" y="0"/>
                    <a:pt x="70" y="20"/>
                    <a:pt x="35" y="80"/>
                  </a:cubicBezTo>
                  <a:cubicBezTo>
                    <a:pt x="0" y="139"/>
                    <a:pt x="21" y="216"/>
                    <a:pt x="80" y="250"/>
                  </a:cubicBezTo>
                  <a:cubicBezTo>
                    <a:pt x="134" y="282"/>
                    <a:pt x="202" y="268"/>
                    <a:pt x="240" y="221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84" y="246"/>
                    <a:pt x="294" y="243"/>
                    <a:pt x="299" y="235"/>
                  </a:cubicBezTo>
                  <a:cubicBezTo>
                    <a:pt x="303" y="227"/>
                    <a:pt x="301" y="216"/>
                    <a:pt x="293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736">
              <a:extLst>
                <a:ext uri="{FF2B5EF4-FFF2-40B4-BE49-F238E27FC236}">
                  <a16:creationId xmlns:a16="http://schemas.microsoft.com/office/drawing/2014/main" id="{1EB0E025-4DDD-46F5-A87E-70E08F482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7250" y="1754188"/>
              <a:ext cx="247650" cy="247650"/>
            </a:xfrm>
            <a:custGeom>
              <a:avLst/>
              <a:gdLst>
                <a:gd name="T0" fmla="*/ 251 w 285"/>
                <a:gd name="T1" fmla="*/ 205 h 285"/>
                <a:gd name="T2" fmla="*/ 80 w 285"/>
                <a:gd name="T3" fmla="*/ 250 h 285"/>
                <a:gd name="T4" fmla="*/ 35 w 285"/>
                <a:gd name="T5" fmla="*/ 79 h 285"/>
                <a:gd name="T6" fmla="*/ 205 w 285"/>
                <a:gd name="T7" fmla="*/ 34 h 285"/>
                <a:gd name="T8" fmla="*/ 251 w 285"/>
                <a:gd name="T9" fmla="*/ 20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5" h="285">
                  <a:moveTo>
                    <a:pt x="251" y="205"/>
                  </a:moveTo>
                  <a:cubicBezTo>
                    <a:pt x="216" y="265"/>
                    <a:pt x="140" y="285"/>
                    <a:pt x="80" y="250"/>
                  </a:cubicBezTo>
                  <a:cubicBezTo>
                    <a:pt x="20" y="216"/>
                    <a:pt x="0" y="139"/>
                    <a:pt x="35" y="79"/>
                  </a:cubicBezTo>
                  <a:cubicBezTo>
                    <a:pt x="69" y="20"/>
                    <a:pt x="146" y="0"/>
                    <a:pt x="205" y="34"/>
                  </a:cubicBezTo>
                  <a:cubicBezTo>
                    <a:pt x="265" y="69"/>
                    <a:pt x="285" y="145"/>
                    <a:pt x="251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737">
              <a:extLst>
                <a:ext uri="{FF2B5EF4-FFF2-40B4-BE49-F238E27FC236}">
                  <a16:creationId xmlns:a16="http://schemas.microsoft.com/office/drawing/2014/main" id="{E5A52628-CBEF-4276-91AA-59E114554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5825" y="1782763"/>
              <a:ext cx="190500" cy="190500"/>
            </a:xfrm>
            <a:custGeom>
              <a:avLst/>
              <a:gdLst>
                <a:gd name="T0" fmla="*/ 213 w 219"/>
                <a:gd name="T1" fmla="*/ 99 h 219"/>
                <a:gd name="T2" fmla="*/ 120 w 219"/>
                <a:gd name="T3" fmla="*/ 213 h 219"/>
                <a:gd name="T4" fmla="*/ 6 w 219"/>
                <a:gd name="T5" fmla="*/ 120 h 219"/>
                <a:gd name="T6" fmla="*/ 99 w 219"/>
                <a:gd name="T7" fmla="*/ 6 h 219"/>
                <a:gd name="T8" fmla="*/ 213 w 219"/>
                <a:gd name="T9" fmla="*/ 9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19">
                  <a:moveTo>
                    <a:pt x="213" y="99"/>
                  </a:moveTo>
                  <a:cubicBezTo>
                    <a:pt x="219" y="156"/>
                    <a:pt x="177" y="207"/>
                    <a:pt x="120" y="213"/>
                  </a:cubicBezTo>
                  <a:cubicBezTo>
                    <a:pt x="63" y="219"/>
                    <a:pt x="12" y="177"/>
                    <a:pt x="6" y="120"/>
                  </a:cubicBezTo>
                  <a:cubicBezTo>
                    <a:pt x="0" y="63"/>
                    <a:pt x="42" y="12"/>
                    <a:pt x="99" y="6"/>
                  </a:cubicBezTo>
                  <a:cubicBezTo>
                    <a:pt x="156" y="0"/>
                    <a:pt x="207" y="41"/>
                    <a:pt x="213" y="99"/>
                  </a:cubicBezTo>
                  <a:close/>
                </a:path>
              </a:pathLst>
            </a:custGeom>
            <a:solidFill>
              <a:srgbClr val="9158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738">
              <a:extLst>
                <a:ext uri="{FF2B5EF4-FFF2-40B4-BE49-F238E27FC236}">
                  <a16:creationId xmlns:a16="http://schemas.microsoft.com/office/drawing/2014/main" id="{27F0D199-300D-4DBF-8751-2A6A90140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5825" y="1784351"/>
              <a:ext cx="158750" cy="168275"/>
            </a:xfrm>
            <a:custGeom>
              <a:avLst/>
              <a:gdLst>
                <a:gd name="T0" fmla="*/ 23 w 183"/>
                <a:gd name="T1" fmla="*/ 131 h 194"/>
                <a:gd name="T2" fmla="*/ 116 w 183"/>
                <a:gd name="T3" fmla="*/ 17 h 194"/>
                <a:gd name="T4" fmla="*/ 183 w 183"/>
                <a:gd name="T5" fmla="*/ 34 h 194"/>
                <a:gd name="T6" fmla="*/ 99 w 183"/>
                <a:gd name="T7" fmla="*/ 4 h 194"/>
                <a:gd name="T8" fmla="*/ 6 w 183"/>
                <a:gd name="T9" fmla="*/ 118 h 194"/>
                <a:gd name="T10" fmla="*/ 53 w 183"/>
                <a:gd name="T11" fmla="*/ 194 h 194"/>
                <a:gd name="T12" fmla="*/ 23 w 183"/>
                <a:gd name="T13" fmla="*/ 13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194">
                  <a:moveTo>
                    <a:pt x="23" y="131"/>
                  </a:moveTo>
                  <a:cubicBezTo>
                    <a:pt x="17" y="74"/>
                    <a:pt x="58" y="23"/>
                    <a:pt x="116" y="17"/>
                  </a:cubicBezTo>
                  <a:cubicBezTo>
                    <a:pt x="140" y="15"/>
                    <a:pt x="164" y="21"/>
                    <a:pt x="183" y="34"/>
                  </a:cubicBezTo>
                  <a:cubicBezTo>
                    <a:pt x="162" y="12"/>
                    <a:pt x="131" y="0"/>
                    <a:pt x="99" y="4"/>
                  </a:cubicBezTo>
                  <a:cubicBezTo>
                    <a:pt x="42" y="10"/>
                    <a:pt x="0" y="61"/>
                    <a:pt x="6" y="118"/>
                  </a:cubicBezTo>
                  <a:cubicBezTo>
                    <a:pt x="9" y="150"/>
                    <a:pt x="27" y="178"/>
                    <a:pt x="53" y="194"/>
                  </a:cubicBezTo>
                  <a:cubicBezTo>
                    <a:pt x="36" y="178"/>
                    <a:pt x="25" y="156"/>
                    <a:pt x="23" y="131"/>
                  </a:cubicBezTo>
                  <a:close/>
                </a:path>
              </a:pathLst>
            </a:custGeom>
            <a:solidFill>
              <a:srgbClr val="7C4B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739">
              <a:extLst>
                <a:ext uri="{FF2B5EF4-FFF2-40B4-BE49-F238E27FC236}">
                  <a16:creationId xmlns:a16="http://schemas.microsoft.com/office/drawing/2014/main" id="{054328A0-52FA-4174-8DF5-C49F77755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8863" y="1916113"/>
              <a:ext cx="61913" cy="50800"/>
            </a:xfrm>
            <a:custGeom>
              <a:avLst/>
              <a:gdLst>
                <a:gd name="T0" fmla="*/ 42 w 70"/>
                <a:gd name="T1" fmla="*/ 54 h 59"/>
                <a:gd name="T2" fmla="*/ 0 w 70"/>
                <a:gd name="T3" fmla="*/ 29 h 59"/>
                <a:gd name="T4" fmla="*/ 17 w 70"/>
                <a:gd name="T5" fmla="*/ 0 h 59"/>
                <a:gd name="T6" fmla="*/ 59 w 70"/>
                <a:gd name="T7" fmla="*/ 24 h 59"/>
                <a:gd name="T8" fmla="*/ 65 w 70"/>
                <a:gd name="T9" fmla="*/ 48 h 59"/>
                <a:gd name="T10" fmla="*/ 42 w 70"/>
                <a:gd name="T11" fmla="*/ 5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59">
                  <a:moveTo>
                    <a:pt x="42" y="54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67" y="29"/>
                    <a:pt x="70" y="40"/>
                    <a:pt x="65" y="48"/>
                  </a:cubicBezTo>
                  <a:cubicBezTo>
                    <a:pt x="61" y="56"/>
                    <a:pt x="50" y="59"/>
                    <a:pt x="42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6403AD8-5BF8-4459-952F-C838B079D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612" y="496752"/>
            <a:ext cx="10339200" cy="784830"/>
          </a:xfrm>
        </p:spPr>
        <p:txBody>
          <a:bodyPr>
            <a:spAutoFit/>
          </a:bodyPr>
          <a:lstStyle/>
          <a:p>
            <a:r>
              <a:rPr lang="sv-SE" sz="6000" dirty="0"/>
              <a:t>Lab work</a:t>
            </a:r>
            <a:endParaRPr lang="en-US" sz="6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3953F29-87F3-4779-981A-B3F14B4622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1036" y="2668816"/>
            <a:ext cx="5953668" cy="3288842"/>
          </a:xfrm>
          <a:prstGeom prst="rect">
            <a:avLst/>
          </a:prstGeom>
        </p:spPr>
      </p:pic>
      <p:sp>
        <p:nvSpPr>
          <p:cNvPr id="768" name="TextBox 767">
            <a:extLst>
              <a:ext uri="{FF2B5EF4-FFF2-40B4-BE49-F238E27FC236}">
                <a16:creationId xmlns:a16="http://schemas.microsoft.com/office/drawing/2014/main" id="{FFB8C5E1-2517-4720-989A-CA9BF992B862}"/>
              </a:ext>
            </a:extLst>
          </p:cNvPr>
          <p:cNvSpPr txBox="1"/>
          <p:nvPr/>
        </p:nvSpPr>
        <p:spPr>
          <a:xfrm>
            <a:off x="821094" y="1758156"/>
            <a:ext cx="544000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sz="1600" spc="-70" dirty="0"/>
              <a:t>Did the data get all the way from the source to PowerBI?</a:t>
            </a:r>
          </a:p>
          <a:p>
            <a:pPr marL="342900" indent="-342900">
              <a:buFontTx/>
              <a:buChar char="-"/>
            </a:pPr>
            <a:r>
              <a:rPr lang="en-US" sz="1600" spc="-70" dirty="0"/>
              <a:t>If so, when?</a:t>
            </a:r>
          </a:p>
          <a:p>
            <a:pPr marL="342900" indent="-342900">
              <a:buFontTx/>
              <a:buChar char="-"/>
            </a:pPr>
            <a:r>
              <a:rPr lang="en-US" sz="1600" spc="-70" dirty="0"/>
              <a:t>Who is accessing these reports?</a:t>
            </a:r>
          </a:p>
        </p:txBody>
      </p:sp>
    </p:spTree>
    <p:extLst>
      <p:ext uri="{BB962C8B-B14F-4D97-AF65-F5344CB8AC3E}">
        <p14:creationId xmlns:p14="http://schemas.microsoft.com/office/powerpoint/2010/main" val="18549674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1F6288C-61D7-4F48-8612-DCBB0A6F6FB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7E39E4C5-F7CE-4A49-9C01-84974E49B9BE}"/>
              </a:ext>
            </a:extLst>
          </p:cNvPr>
          <p:cNvSpPr txBox="1"/>
          <p:nvPr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lang="en-US" sz="8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FC9CFA-33B8-4AC2-8692-F4821C917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53661" y="3010424"/>
            <a:ext cx="3644422" cy="837152"/>
          </a:xfrm>
        </p:spPr>
        <p:txBody>
          <a:bodyPr>
            <a:spAutoFit/>
          </a:bodyPr>
          <a:lstStyle/>
          <a:p>
            <a:r>
              <a:rPr lang="en-US" sz="3200" dirty="0"/>
              <a:t>Business scenario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B625C01-DFD9-4E33-8FD0-01E4C5F07547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41" name="Oval 503">
              <a:extLst>
                <a:ext uri="{FF2B5EF4-FFF2-40B4-BE49-F238E27FC236}">
                  <a16:creationId xmlns:a16="http://schemas.microsoft.com/office/drawing/2014/main" id="{86646E12-A5D7-455E-8B8F-EFD6EF4E28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504">
              <a:extLst>
                <a:ext uri="{FF2B5EF4-FFF2-40B4-BE49-F238E27FC236}">
                  <a16:creationId xmlns:a16="http://schemas.microsoft.com/office/drawing/2014/main" id="{E3B29C9C-2988-48A8-B800-0831BC1A4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505">
              <a:extLst>
                <a:ext uri="{FF2B5EF4-FFF2-40B4-BE49-F238E27FC236}">
                  <a16:creationId xmlns:a16="http://schemas.microsoft.com/office/drawing/2014/main" id="{1BBFC87C-450D-48E3-86E4-9352E9249D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506">
              <a:extLst>
                <a:ext uri="{FF2B5EF4-FFF2-40B4-BE49-F238E27FC236}">
                  <a16:creationId xmlns:a16="http://schemas.microsoft.com/office/drawing/2014/main" id="{5A940483-A4FF-4045-9AE2-A2B8598EE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645633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7F7F01C0-F25B-4792-9352-E819CAD598C2}"/>
              </a:ext>
            </a:extLst>
          </p:cNvPr>
          <p:cNvGrpSpPr>
            <a:grpSpLocks noChangeAspect="1"/>
          </p:cNvGrpSpPr>
          <p:nvPr/>
        </p:nvGrpSpPr>
        <p:grpSpPr>
          <a:xfrm>
            <a:off x="3827869" y="1335512"/>
            <a:ext cx="3900170" cy="4006968"/>
            <a:chOff x="3670052" y="1231351"/>
            <a:chExt cx="4149304" cy="4262915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88E36FA-57CB-4FFA-A837-4B2B562E3B5E}"/>
                </a:ext>
              </a:extLst>
            </p:cNvPr>
            <p:cNvGrpSpPr/>
            <p:nvPr/>
          </p:nvGrpSpPr>
          <p:grpSpPr>
            <a:xfrm>
              <a:off x="3670052" y="1231351"/>
              <a:ext cx="4149304" cy="4149298"/>
              <a:chOff x="3870035" y="1493689"/>
              <a:chExt cx="3953165" cy="3953166"/>
            </a:xfrm>
          </p:grpSpPr>
          <p:sp>
            <p:nvSpPr>
              <p:cNvPr id="25" name="Freeform 63">
                <a:extLst>
                  <a:ext uri="{FF2B5EF4-FFF2-40B4-BE49-F238E27FC236}">
                    <a16:creationId xmlns:a16="http://schemas.microsoft.com/office/drawing/2014/main" id="{98B7D57E-EDF9-4216-929B-F70FFEE6975B}"/>
                  </a:ext>
                </a:extLst>
              </p:cNvPr>
              <p:cNvSpPr/>
              <p:nvPr/>
            </p:nvSpPr>
            <p:spPr bwMode="auto">
              <a:xfrm flipH="1">
                <a:off x="3870035" y="5039787"/>
                <a:ext cx="3953165" cy="228798"/>
              </a:xfrm>
              <a:custGeom>
                <a:avLst/>
                <a:gdLst>
                  <a:gd name="connsiteX0" fmla="*/ 6115478 w 6541770"/>
                  <a:gd name="connsiteY0" fmla="*/ 0 h 378619"/>
                  <a:gd name="connsiteX1" fmla="*/ 426292 w 6541770"/>
                  <a:gd name="connsiteY1" fmla="*/ 0 h 378619"/>
                  <a:gd name="connsiteX2" fmla="*/ 22860 w 6541770"/>
                  <a:gd name="connsiteY2" fmla="*/ 276225 h 378619"/>
                  <a:gd name="connsiteX3" fmla="*/ 27803 w 6541770"/>
                  <a:gd name="connsiteY3" fmla="*/ 276225 h 378619"/>
                  <a:gd name="connsiteX4" fmla="*/ 14041 w 6541770"/>
                  <a:gd name="connsiteY4" fmla="*/ 285504 h 378619"/>
                  <a:gd name="connsiteX5" fmla="*/ 0 w 6541770"/>
                  <a:gd name="connsiteY5" fmla="*/ 319401 h 378619"/>
                  <a:gd name="connsiteX6" fmla="*/ 0 w 6541770"/>
                  <a:gd name="connsiteY6" fmla="*/ 330681 h 378619"/>
                  <a:gd name="connsiteX7" fmla="*/ 47938 w 6541770"/>
                  <a:gd name="connsiteY7" fmla="*/ 378619 h 378619"/>
                  <a:gd name="connsiteX8" fmla="*/ 6493832 w 6541770"/>
                  <a:gd name="connsiteY8" fmla="*/ 378619 h 378619"/>
                  <a:gd name="connsiteX9" fmla="*/ 6541770 w 6541770"/>
                  <a:gd name="connsiteY9" fmla="*/ 330681 h 378619"/>
                  <a:gd name="connsiteX10" fmla="*/ 6541770 w 6541770"/>
                  <a:gd name="connsiteY10" fmla="*/ 319401 h 378619"/>
                  <a:gd name="connsiteX11" fmla="*/ 6527729 w 6541770"/>
                  <a:gd name="connsiteY11" fmla="*/ 285504 h 378619"/>
                  <a:gd name="connsiteX12" fmla="*/ 6513967 w 6541770"/>
                  <a:gd name="connsiteY12" fmla="*/ 276225 h 378619"/>
                  <a:gd name="connsiteX13" fmla="*/ 6518910 w 6541770"/>
                  <a:gd name="connsiteY13" fmla="*/ 276225 h 37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541770" h="378619">
                    <a:moveTo>
                      <a:pt x="6115478" y="0"/>
                    </a:moveTo>
                    <a:lnTo>
                      <a:pt x="426292" y="0"/>
                    </a:lnTo>
                    <a:lnTo>
                      <a:pt x="22860" y="276225"/>
                    </a:lnTo>
                    <a:lnTo>
                      <a:pt x="27803" y="276225"/>
                    </a:lnTo>
                    <a:lnTo>
                      <a:pt x="14041" y="285504"/>
                    </a:lnTo>
                    <a:cubicBezTo>
                      <a:pt x="5366" y="294179"/>
                      <a:pt x="0" y="306164"/>
                      <a:pt x="0" y="319401"/>
                    </a:cubicBezTo>
                    <a:lnTo>
                      <a:pt x="0" y="330681"/>
                    </a:lnTo>
                    <a:cubicBezTo>
                      <a:pt x="0" y="357156"/>
                      <a:pt x="21463" y="378619"/>
                      <a:pt x="47938" y="378619"/>
                    </a:cubicBezTo>
                    <a:lnTo>
                      <a:pt x="6493832" y="378619"/>
                    </a:lnTo>
                    <a:cubicBezTo>
                      <a:pt x="6520307" y="378619"/>
                      <a:pt x="6541770" y="357156"/>
                      <a:pt x="6541770" y="330681"/>
                    </a:cubicBezTo>
                    <a:lnTo>
                      <a:pt x="6541770" y="319401"/>
                    </a:lnTo>
                    <a:cubicBezTo>
                      <a:pt x="6541770" y="306164"/>
                      <a:pt x="6536404" y="294179"/>
                      <a:pt x="6527729" y="285504"/>
                    </a:cubicBezTo>
                    <a:lnTo>
                      <a:pt x="6513967" y="276225"/>
                    </a:lnTo>
                    <a:lnTo>
                      <a:pt x="6518910" y="276225"/>
                    </a:lnTo>
                    <a:close/>
                  </a:path>
                </a:pathLst>
              </a:custGeom>
              <a:solidFill>
                <a:srgbClr val="2189D7"/>
              </a:solidFill>
              <a:ln w="222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38239" tIns="69119" rIns="138239" bIns="691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46159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65">
                <a:extLst>
                  <a:ext uri="{FF2B5EF4-FFF2-40B4-BE49-F238E27FC236}">
                    <a16:creationId xmlns:a16="http://schemas.microsoft.com/office/drawing/2014/main" id="{B4D14B4C-9507-457E-AF2C-FF314DB2A2C4}"/>
                  </a:ext>
                </a:extLst>
              </p:cNvPr>
              <p:cNvSpPr/>
              <p:nvPr/>
            </p:nvSpPr>
            <p:spPr bwMode="auto">
              <a:xfrm rot="14135239">
                <a:off x="5109456" y="3355874"/>
                <a:ext cx="3953165" cy="228798"/>
              </a:xfrm>
              <a:custGeom>
                <a:avLst/>
                <a:gdLst>
                  <a:gd name="connsiteX0" fmla="*/ 6527729 w 6541770"/>
                  <a:gd name="connsiteY0" fmla="*/ 364578 h 378619"/>
                  <a:gd name="connsiteX1" fmla="*/ 6493832 w 6541770"/>
                  <a:gd name="connsiteY1" fmla="*/ 378619 h 378619"/>
                  <a:gd name="connsiteX2" fmla="*/ 47937 w 6541770"/>
                  <a:gd name="connsiteY2" fmla="*/ 378619 h 378619"/>
                  <a:gd name="connsiteX3" fmla="*/ 0 w 6541770"/>
                  <a:gd name="connsiteY3" fmla="*/ 330681 h 378619"/>
                  <a:gd name="connsiteX4" fmla="*/ 0 w 6541770"/>
                  <a:gd name="connsiteY4" fmla="*/ 319402 h 378619"/>
                  <a:gd name="connsiteX5" fmla="*/ 14041 w 6541770"/>
                  <a:gd name="connsiteY5" fmla="*/ 285503 h 378619"/>
                  <a:gd name="connsiteX6" fmla="*/ 36443 w 6541770"/>
                  <a:gd name="connsiteY6" fmla="*/ 276225 h 378619"/>
                  <a:gd name="connsiteX7" fmla="*/ 22860 w 6541770"/>
                  <a:gd name="connsiteY7" fmla="*/ 276225 h 378619"/>
                  <a:gd name="connsiteX8" fmla="*/ 426292 w 6541770"/>
                  <a:gd name="connsiteY8" fmla="*/ 0 h 378619"/>
                  <a:gd name="connsiteX9" fmla="*/ 6115478 w 6541770"/>
                  <a:gd name="connsiteY9" fmla="*/ 0 h 378619"/>
                  <a:gd name="connsiteX10" fmla="*/ 6518910 w 6541770"/>
                  <a:gd name="connsiteY10" fmla="*/ 276225 h 378619"/>
                  <a:gd name="connsiteX11" fmla="*/ 6513966 w 6541770"/>
                  <a:gd name="connsiteY11" fmla="*/ 276225 h 378619"/>
                  <a:gd name="connsiteX12" fmla="*/ 6527729 w 6541770"/>
                  <a:gd name="connsiteY12" fmla="*/ 285504 h 378619"/>
                  <a:gd name="connsiteX13" fmla="*/ 6541770 w 6541770"/>
                  <a:gd name="connsiteY13" fmla="*/ 319401 h 378619"/>
                  <a:gd name="connsiteX14" fmla="*/ 6541770 w 6541770"/>
                  <a:gd name="connsiteY14" fmla="*/ 330681 h 378619"/>
                  <a:gd name="connsiteX15" fmla="*/ 6527729 w 6541770"/>
                  <a:gd name="connsiteY15" fmla="*/ 364578 h 37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541770" h="378619">
                    <a:moveTo>
                      <a:pt x="6527729" y="364578"/>
                    </a:moveTo>
                    <a:cubicBezTo>
                      <a:pt x="6519054" y="373253"/>
                      <a:pt x="6507069" y="378619"/>
                      <a:pt x="6493832" y="378619"/>
                    </a:cubicBezTo>
                    <a:lnTo>
                      <a:pt x="47937" y="378619"/>
                    </a:lnTo>
                    <a:cubicBezTo>
                      <a:pt x="21463" y="378619"/>
                      <a:pt x="0" y="357156"/>
                      <a:pt x="0" y="330681"/>
                    </a:cubicBezTo>
                    <a:lnTo>
                      <a:pt x="0" y="319402"/>
                    </a:lnTo>
                    <a:cubicBezTo>
                      <a:pt x="0" y="306164"/>
                      <a:pt x="5366" y="294179"/>
                      <a:pt x="14041" y="285503"/>
                    </a:cubicBezTo>
                    <a:lnTo>
                      <a:pt x="36443" y="276225"/>
                    </a:lnTo>
                    <a:lnTo>
                      <a:pt x="22860" y="276225"/>
                    </a:lnTo>
                    <a:lnTo>
                      <a:pt x="426292" y="0"/>
                    </a:lnTo>
                    <a:lnTo>
                      <a:pt x="6115478" y="0"/>
                    </a:lnTo>
                    <a:lnTo>
                      <a:pt x="6518910" y="276225"/>
                    </a:lnTo>
                    <a:lnTo>
                      <a:pt x="6513966" y="276225"/>
                    </a:lnTo>
                    <a:lnTo>
                      <a:pt x="6527729" y="285504"/>
                    </a:lnTo>
                    <a:cubicBezTo>
                      <a:pt x="6536404" y="294179"/>
                      <a:pt x="6541770" y="306164"/>
                      <a:pt x="6541770" y="319401"/>
                    </a:cubicBezTo>
                    <a:lnTo>
                      <a:pt x="6541770" y="330681"/>
                    </a:lnTo>
                    <a:cubicBezTo>
                      <a:pt x="6541770" y="343919"/>
                      <a:pt x="6536404" y="355903"/>
                      <a:pt x="6527729" y="364578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222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38239" tIns="69119" rIns="138239" bIns="691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46159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64">
                <a:extLst>
                  <a:ext uri="{FF2B5EF4-FFF2-40B4-BE49-F238E27FC236}">
                    <a16:creationId xmlns:a16="http://schemas.microsoft.com/office/drawing/2014/main" id="{AF52D2B7-EDC7-45B8-8222-ABA5826DD8A9}"/>
                  </a:ext>
                </a:extLst>
              </p:cNvPr>
              <p:cNvSpPr/>
              <p:nvPr/>
            </p:nvSpPr>
            <p:spPr bwMode="auto">
              <a:xfrm rot="7464761" flipH="1">
                <a:off x="2630614" y="3355873"/>
                <a:ext cx="3953165" cy="228798"/>
              </a:xfrm>
              <a:custGeom>
                <a:avLst/>
                <a:gdLst>
                  <a:gd name="connsiteX0" fmla="*/ 6527729 w 6541770"/>
                  <a:gd name="connsiteY0" fmla="*/ 364578 h 378619"/>
                  <a:gd name="connsiteX1" fmla="*/ 6541770 w 6541770"/>
                  <a:gd name="connsiteY1" fmla="*/ 330681 h 378619"/>
                  <a:gd name="connsiteX2" fmla="*/ 6541770 w 6541770"/>
                  <a:gd name="connsiteY2" fmla="*/ 319401 h 378619"/>
                  <a:gd name="connsiteX3" fmla="*/ 6527729 w 6541770"/>
                  <a:gd name="connsiteY3" fmla="*/ 285504 h 378619"/>
                  <a:gd name="connsiteX4" fmla="*/ 6513966 w 6541770"/>
                  <a:gd name="connsiteY4" fmla="*/ 276225 h 378619"/>
                  <a:gd name="connsiteX5" fmla="*/ 6518910 w 6541770"/>
                  <a:gd name="connsiteY5" fmla="*/ 276225 h 378619"/>
                  <a:gd name="connsiteX6" fmla="*/ 6115478 w 6541770"/>
                  <a:gd name="connsiteY6" fmla="*/ 0 h 378619"/>
                  <a:gd name="connsiteX7" fmla="*/ 426292 w 6541770"/>
                  <a:gd name="connsiteY7" fmla="*/ 0 h 378619"/>
                  <a:gd name="connsiteX8" fmla="*/ 22860 w 6541770"/>
                  <a:gd name="connsiteY8" fmla="*/ 276225 h 378619"/>
                  <a:gd name="connsiteX9" fmla="*/ 36442 w 6541770"/>
                  <a:gd name="connsiteY9" fmla="*/ 276225 h 378619"/>
                  <a:gd name="connsiteX10" fmla="*/ 14041 w 6541770"/>
                  <a:gd name="connsiteY10" fmla="*/ 285504 h 378619"/>
                  <a:gd name="connsiteX11" fmla="*/ 0 w 6541770"/>
                  <a:gd name="connsiteY11" fmla="*/ 319401 h 378619"/>
                  <a:gd name="connsiteX12" fmla="*/ 0 w 6541770"/>
                  <a:gd name="connsiteY12" fmla="*/ 330681 h 378619"/>
                  <a:gd name="connsiteX13" fmla="*/ 47938 w 6541770"/>
                  <a:gd name="connsiteY13" fmla="*/ 378619 h 378619"/>
                  <a:gd name="connsiteX14" fmla="*/ 6493832 w 6541770"/>
                  <a:gd name="connsiteY14" fmla="*/ 378619 h 378619"/>
                  <a:gd name="connsiteX15" fmla="*/ 6527729 w 6541770"/>
                  <a:gd name="connsiteY15" fmla="*/ 364578 h 37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541770" h="378619">
                    <a:moveTo>
                      <a:pt x="6527729" y="364578"/>
                    </a:moveTo>
                    <a:cubicBezTo>
                      <a:pt x="6536404" y="355903"/>
                      <a:pt x="6541770" y="343919"/>
                      <a:pt x="6541770" y="330681"/>
                    </a:cubicBezTo>
                    <a:lnTo>
                      <a:pt x="6541770" y="319401"/>
                    </a:lnTo>
                    <a:cubicBezTo>
                      <a:pt x="6541770" y="306163"/>
                      <a:pt x="6536404" y="294179"/>
                      <a:pt x="6527729" y="285504"/>
                    </a:cubicBezTo>
                    <a:lnTo>
                      <a:pt x="6513966" y="276225"/>
                    </a:lnTo>
                    <a:lnTo>
                      <a:pt x="6518910" y="276225"/>
                    </a:lnTo>
                    <a:lnTo>
                      <a:pt x="6115478" y="0"/>
                    </a:lnTo>
                    <a:lnTo>
                      <a:pt x="426292" y="0"/>
                    </a:lnTo>
                    <a:lnTo>
                      <a:pt x="22860" y="276225"/>
                    </a:lnTo>
                    <a:lnTo>
                      <a:pt x="36442" y="276225"/>
                    </a:lnTo>
                    <a:lnTo>
                      <a:pt x="14041" y="285504"/>
                    </a:lnTo>
                    <a:cubicBezTo>
                      <a:pt x="5366" y="294179"/>
                      <a:pt x="0" y="306163"/>
                      <a:pt x="0" y="319401"/>
                    </a:cubicBezTo>
                    <a:lnTo>
                      <a:pt x="0" y="330681"/>
                    </a:lnTo>
                    <a:cubicBezTo>
                      <a:pt x="0" y="357156"/>
                      <a:pt x="21463" y="378619"/>
                      <a:pt x="47938" y="378619"/>
                    </a:cubicBezTo>
                    <a:lnTo>
                      <a:pt x="6493832" y="378619"/>
                    </a:lnTo>
                    <a:cubicBezTo>
                      <a:pt x="6507069" y="378619"/>
                      <a:pt x="6519054" y="373253"/>
                      <a:pt x="6527729" y="36457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22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38239" tIns="69119" rIns="138239" bIns="691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46159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7CAADFB1-537F-4290-982A-1D8197C431E7}"/>
                </a:ext>
              </a:extLst>
            </p:cNvPr>
            <p:cNvSpPr/>
            <p:nvPr/>
          </p:nvSpPr>
          <p:spPr bwMode="auto">
            <a:xfrm>
              <a:off x="3696871" y="1899603"/>
              <a:ext cx="3989439" cy="2890795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headEnd type="triangle"/>
              <a:tailEnd type="none"/>
            </a:ln>
            <a:effectLst>
              <a:outerShdw blurRad="50800" dist="12700" dir="5400000" algn="t" rotWithShape="0">
                <a:prstClr val="black">
                  <a:alpha val="1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137160" tIns="91440" rIns="13716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Aft>
                  <a:spcPts val="300"/>
                </a:spcAft>
              </a:pPr>
              <a:endParaRPr lang="en-US" sz="1500" b="1">
                <a:solidFill>
                  <a:schemeClr val="accent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4F9360C-5A92-4C53-A3FB-13E117672D0F}"/>
                </a:ext>
              </a:extLst>
            </p:cNvPr>
            <p:cNvSpPr/>
            <p:nvPr/>
          </p:nvSpPr>
          <p:spPr bwMode="auto">
            <a:xfrm>
              <a:off x="5325856" y="4656573"/>
              <a:ext cx="837695" cy="837693"/>
            </a:xfrm>
            <a:prstGeom prst="ellipse">
              <a:avLst/>
            </a:prstGeom>
            <a:solidFill>
              <a:srgbClr val="2189D7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38239" tIns="69119" rIns="138239" bIns="691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46159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CA76F27-655B-4CE1-809D-5AF8AAB0EA7D}"/>
                </a:ext>
              </a:extLst>
            </p:cNvPr>
            <p:cNvSpPr/>
            <p:nvPr/>
          </p:nvSpPr>
          <p:spPr bwMode="auto">
            <a:xfrm>
              <a:off x="6506704" y="2673877"/>
              <a:ext cx="837695" cy="83769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38239" tIns="69119" rIns="138239" bIns="691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46159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363BD4FF-EC6D-49A8-88F9-180241102F94}"/>
                </a:ext>
              </a:extLst>
            </p:cNvPr>
            <p:cNvSpPr/>
            <p:nvPr/>
          </p:nvSpPr>
          <p:spPr bwMode="auto">
            <a:xfrm>
              <a:off x="4145009" y="2673878"/>
              <a:ext cx="837695" cy="83769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38239" tIns="69119" rIns="138239" bIns="691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46159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pic>
          <p:nvPicPr>
            <p:cNvPr id="19" name="Graphic 88">
              <a:extLst>
                <a:ext uri="{FF2B5EF4-FFF2-40B4-BE49-F238E27FC236}">
                  <a16:creationId xmlns:a16="http://schemas.microsoft.com/office/drawing/2014/main" id="{8925E23F-D521-4A1C-BFEF-DDEF73418F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706529" y="2863497"/>
              <a:ext cx="458454" cy="458453"/>
            </a:xfrm>
            <a:prstGeom prst="rect">
              <a:avLst/>
            </a:prstGeom>
          </p:spPr>
        </p:pic>
        <p:pic>
          <p:nvPicPr>
            <p:cNvPr id="20" name="Graphic 91">
              <a:extLst>
                <a:ext uri="{FF2B5EF4-FFF2-40B4-BE49-F238E27FC236}">
                  <a16:creationId xmlns:a16="http://schemas.microsoft.com/office/drawing/2014/main" id="{37DBB55F-CD75-4CDB-862A-084CECF825E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535933" y="4873852"/>
              <a:ext cx="417538" cy="403137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EF311884-BA9F-4DA8-AE7A-BAF3D8DD98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4346352" y="2869460"/>
              <a:ext cx="457221" cy="457220"/>
            </a:xfrm>
            <a:prstGeom prst="rect">
              <a:avLst/>
            </a:prstGeom>
            <a:noFill/>
          </p:spPr>
        </p:pic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21431A36-F2B8-43F4-8DE3-7813FB0EC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IME OU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8B8549-C968-42D7-A739-025B20DA35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6400" y="993072"/>
            <a:ext cx="10339200" cy="283026"/>
          </a:xfrm>
        </p:spPr>
        <p:txBody>
          <a:bodyPr/>
          <a:lstStyle/>
          <a:p>
            <a:r>
              <a:rPr lang="en-US" sz="1400" cap="all" spc="60" dirty="0">
                <a:ln w="3175">
                  <a:noFill/>
                </a:ln>
                <a:solidFill>
                  <a:srgbClr val="7F9FD4"/>
                </a:solidFill>
              </a:rPr>
              <a:t>LET’s talk PROCESS &amp; BEST PRACTICES</a:t>
            </a:r>
          </a:p>
        </p:txBody>
      </p:sp>
    </p:spTree>
    <p:extLst>
      <p:ext uri="{BB962C8B-B14F-4D97-AF65-F5344CB8AC3E}">
        <p14:creationId xmlns:p14="http://schemas.microsoft.com/office/powerpoint/2010/main" val="23215048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B51FFE7-06D7-43F6-AE71-C1078E4A40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B51FFE7-06D7-43F6-AE71-C1078E4A40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72489C1-4519-4DB8-873D-7490ED475935}"/>
              </a:ext>
            </a:extLst>
          </p:cNvPr>
          <p:cNvSpPr/>
          <p:nvPr/>
        </p:nvSpPr>
        <p:spPr>
          <a:xfrm>
            <a:off x="4556759" y="0"/>
            <a:ext cx="4575665" cy="6858000"/>
          </a:xfrm>
          <a:prstGeom prst="rect">
            <a:avLst/>
          </a:prstGeom>
          <a:solidFill>
            <a:srgbClr val="252F38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A3D73D3-2D4E-4635-80F7-9F975ED6D25C}"/>
              </a:ext>
            </a:extLst>
          </p:cNvPr>
          <p:cNvGrpSpPr/>
          <p:nvPr/>
        </p:nvGrpSpPr>
        <p:grpSpPr>
          <a:xfrm>
            <a:off x="4796286" y="358663"/>
            <a:ext cx="3842221" cy="1223917"/>
            <a:chOff x="4861941" y="1056297"/>
            <a:chExt cx="3842221" cy="1223917"/>
          </a:xfrm>
        </p:grpSpPr>
        <p:sp>
          <p:nvSpPr>
            <p:cNvPr id="22" name="Title 7">
              <a:extLst>
                <a:ext uri="{FF2B5EF4-FFF2-40B4-BE49-F238E27FC236}">
                  <a16:creationId xmlns:a16="http://schemas.microsoft.com/office/drawing/2014/main" id="{DFAA98A7-C8D9-4DCE-8BAA-5A32B4B3D1D0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4861941" y="1056297"/>
              <a:ext cx="220578" cy="402005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en-US" sz="2800" spc="0" dirty="0">
                  <a:solidFill>
                    <a:srgbClr val="7F9FD4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3" name="Title 7">
              <a:extLst>
                <a:ext uri="{FF2B5EF4-FFF2-40B4-BE49-F238E27FC236}">
                  <a16:creationId xmlns:a16="http://schemas.microsoft.com/office/drawing/2014/main" id="{A2D7C06E-B6DB-4FA5-B774-1D41EC6853E5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5252388" y="1056298"/>
              <a:ext cx="3451774" cy="1223916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5000"/>
                </a:lnSpc>
              </a:pPr>
              <a:r>
                <a:rPr lang="en-US" b="1" dirty="0">
                  <a:solidFill>
                    <a:schemeClr val="bg1"/>
                  </a:solidFill>
                  <a:cs typeface="Arial" panose="020B0604020202020204" pitchFamily="34" charset="0"/>
                </a:rPr>
                <a:t>CONNECTIONS</a:t>
              </a:r>
              <a:endParaRPr lang="en-US" b="1" spc="0" dirty="0">
                <a:solidFill>
                  <a:schemeClr val="bg1"/>
                </a:solidFill>
                <a:cs typeface="Arial" panose="020B0604020202020204" pitchFamily="34" charset="0"/>
              </a:endParaRP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Login information for your accounts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spc="0" dirty="0">
                  <a:solidFill>
                    <a:schemeClr val="bg1"/>
                  </a:solidFill>
                  <a:cs typeface="Arial" panose="020B0604020202020204" pitchFamily="34" charset="0"/>
                </a:rPr>
                <a:t>O365, Salesforce, SQL Server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77041AE-2B11-40A1-ACF6-173210D1E2E6}"/>
              </a:ext>
            </a:extLst>
          </p:cNvPr>
          <p:cNvGrpSpPr/>
          <p:nvPr/>
        </p:nvGrpSpPr>
        <p:grpSpPr>
          <a:xfrm>
            <a:off x="4796286" y="2037280"/>
            <a:ext cx="3842221" cy="1223917"/>
            <a:chOff x="4861941" y="2676753"/>
            <a:chExt cx="3842221" cy="1223917"/>
          </a:xfrm>
        </p:grpSpPr>
        <p:sp>
          <p:nvSpPr>
            <p:cNvPr id="24" name="Title 7">
              <a:extLst>
                <a:ext uri="{FF2B5EF4-FFF2-40B4-BE49-F238E27FC236}">
                  <a16:creationId xmlns:a16="http://schemas.microsoft.com/office/drawing/2014/main" id="{40FF7004-0C07-4197-AD66-D13CA6AC4A37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4861941" y="2676753"/>
              <a:ext cx="220578" cy="402005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en-US" sz="2800" spc="0" dirty="0">
                  <a:solidFill>
                    <a:srgbClr val="7F9FD4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5" name="Title 7">
              <a:extLst>
                <a:ext uri="{FF2B5EF4-FFF2-40B4-BE49-F238E27FC236}">
                  <a16:creationId xmlns:a16="http://schemas.microsoft.com/office/drawing/2014/main" id="{77F105DE-86F2-4299-BB3B-197903146FD1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5252388" y="2676754"/>
              <a:ext cx="3451774" cy="1223916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5000"/>
                </a:lnSpc>
              </a:pPr>
              <a:r>
                <a:rPr lang="en-US" b="1" dirty="0">
                  <a:solidFill>
                    <a:schemeClr val="bg1"/>
                  </a:solidFill>
                  <a:cs typeface="Arial" panose="020B0604020202020204" pitchFamily="34" charset="0"/>
                </a:rPr>
                <a:t>CONNECTORS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The software you want to communicate with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DevOps, Outlook, Teams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endParaRPr lang="en-US" sz="1200" spc="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F095F18-90DF-443C-B5EE-7FA42A99D577}"/>
              </a:ext>
            </a:extLst>
          </p:cNvPr>
          <p:cNvGrpSpPr/>
          <p:nvPr/>
        </p:nvGrpSpPr>
        <p:grpSpPr>
          <a:xfrm>
            <a:off x="4796286" y="3715897"/>
            <a:ext cx="3842221" cy="1223917"/>
            <a:chOff x="4861941" y="4297208"/>
            <a:chExt cx="3842221" cy="1223917"/>
          </a:xfrm>
        </p:grpSpPr>
        <p:sp>
          <p:nvSpPr>
            <p:cNvPr id="26" name="Title 7">
              <a:extLst>
                <a:ext uri="{FF2B5EF4-FFF2-40B4-BE49-F238E27FC236}">
                  <a16:creationId xmlns:a16="http://schemas.microsoft.com/office/drawing/2014/main" id="{A0683609-61AB-4D3F-BDF4-031715A06910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4861941" y="4297208"/>
              <a:ext cx="220578" cy="402005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en-US" sz="2800" spc="0" dirty="0">
                  <a:solidFill>
                    <a:srgbClr val="7F9FD4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7" name="Title 7">
              <a:extLst>
                <a:ext uri="{FF2B5EF4-FFF2-40B4-BE49-F238E27FC236}">
                  <a16:creationId xmlns:a16="http://schemas.microsoft.com/office/drawing/2014/main" id="{798252B5-AC21-4501-A442-02293CB1779B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5252388" y="4297209"/>
              <a:ext cx="3451774" cy="1223916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5000"/>
                </a:lnSpc>
              </a:pPr>
              <a:r>
                <a:rPr lang="en-US" b="1" dirty="0">
                  <a:solidFill>
                    <a:schemeClr val="bg1"/>
                  </a:solidFill>
                  <a:cs typeface="Arial" panose="020B0604020202020204" pitchFamily="34" charset="0"/>
                </a:rPr>
                <a:t>TRIGGERS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What thing will happen to start a Flow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spc="0" dirty="0">
                  <a:solidFill>
                    <a:schemeClr val="bg1"/>
                  </a:solidFill>
                  <a:cs typeface="Arial" panose="020B0604020202020204" pitchFamily="34" charset="0"/>
                </a:rPr>
                <a:t>Getting</a:t>
              </a: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 an email, a new row in table</a:t>
              </a:r>
              <a:endParaRPr lang="en-US" sz="1200" spc="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4C609626-90A4-409D-B024-0B4B1DE87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222773"/>
            <a:ext cx="4556759" cy="412454"/>
          </a:xfrm>
        </p:spPr>
        <p:txBody>
          <a:bodyPr/>
          <a:lstStyle/>
          <a:p>
            <a:pPr algn="ctr"/>
            <a:r>
              <a:rPr lang="sv-SE" sz="3600" dirty="0">
                <a:solidFill>
                  <a:schemeClr val="accent1"/>
                </a:solidFill>
              </a:rPr>
              <a:t>Power </a:t>
            </a:r>
            <a:br>
              <a:rPr lang="sv-SE" sz="3600" dirty="0">
                <a:solidFill>
                  <a:schemeClr val="accent1"/>
                </a:solidFill>
              </a:rPr>
            </a:br>
            <a:r>
              <a:rPr lang="sv-SE" sz="3600" dirty="0">
                <a:solidFill>
                  <a:schemeClr val="accent1"/>
                </a:solidFill>
              </a:rPr>
              <a:t>automate</a:t>
            </a:r>
            <a:endParaRPr lang="en-US" sz="3600" dirty="0">
              <a:solidFill>
                <a:schemeClr val="accent1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C7648CA-6A84-496F-950B-6CABC994BE35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  <a:solidFill>
            <a:schemeClr val="bg1"/>
          </a:solidFill>
        </p:grpSpPr>
        <p:sp>
          <p:nvSpPr>
            <p:cNvPr id="20" name="Oval 503">
              <a:extLst>
                <a:ext uri="{FF2B5EF4-FFF2-40B4-BE49-F238E27FC236}">
                  <a16:creationId xmlns:a16="http://schemas.microsoft.com/office/drawing/2014/main" id="{819869BF-4DE7-4C5B-9892-4C9C34E8BB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504">
              <a:extLst>
                <a:ext uri="{FF2B5EF4-FFF2-40B4-BE49-F238E27FC236}">
                  <a16:creationId xmlns:a16="http://schemas.microsoft.com/office/drawing/2014/main" id="{DC073E30-9FC9-4F60-9F64-7C54D8A52C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505">
              <a:extLst>
                <a:ext uri="{FF2B5EF4-FFF2-40B4-BE49-F238E27FC236}">
                  <a16:creationId xmlns:a16="http://schemas.microsoft.com/office/drawing/2014/main" id="{F5EF9BEA-AD96-46D1-B2AC-D9F6346FF5F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506">
              <a:extLst>
                <a:ext uri="{FF2B5EF4-FFF2-40B4-BE49-F238E27FC236}">
                  <a16:creationId xmlns:a16="http://schemas.microsoft.com/office/drawing/2014/main" id="{AE546C8E-4AF1-4D8A-B9D8-6247D96328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16EEDC57-A0D4-4109-9F19-FE5324E38F7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32424" y="0"/>
            <a:ext cx="3059576" cy="6858000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86877EFF-14B4-4B0D-BF8C-52161B8BD84D}"/>
              </a:ext>
            </a:extLst>
          </p:cNvPr>
          <p:cNvGrpSpPr/>
          <p:nvPr/>
        </p:nvGrpSpPr>
        <p:grpSpPr>
          <a:xfrm>
            <a:off x="4796286" y="5394513"/>
            <a:ext cx="3842221" cy="1223917"/>
            <a:chOff x="4861941" y="4297208"/>
            <a:chExt cx="3842221" cy="1223917"/>
          </a:xfrm>
        </p:grpSpPr>
        <p:sp>
          <p:nvSpPr>
            <p:cNvPr id="35" name="Title 7">
              <a:extLst>
                <a:ext uri="{FF2B5EF4-FFF2-40B4-BE49-F238E27FC236}">
                  <a16:creationId xmlns:a16="http://schemas.microsoft.com/office/drawing/2014/main" id="{EAAB1DF4-D017-4238-8491-8A042F494611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4861941" y="4297208"/>
              <a:ext cx="220578" cy="402005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en-US" sz="2800" dirty="0">
                  <a:solidFill>
                    <a:srgbClr val="7F9FD4"/>
                  </a:solidFill>
                  <a:cs typeface="Arial" panose="020B0604020202020204" pitchFamily="34" charset="0"/>
                </a:rPr>
                <a:t>4</a:t>
              </a:r>
              <a:endParaRPr lang="en-US" sz="2800" spc="0" dirty="0">
                <a:solidFill>
                  <a:srgbClr val="7F9FD4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" name="Title 7">
              <a:extLst>
                <a:ext uri="{FF2B5EF4-FFF2-40B4-BE49-F238E27FC236}">
                  <a16:creationId xmlns:a16="http://schemas.microsoft.com/office/drawing/2014/main" id="{3487597E-6D1B-421B-8205-27A353E95DE4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5252388" y="4297209"/>
              <a:ext cx="3451774" cy="1223916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5000"/>
                </a:lnSpc>
              </a:pPr>
              <a:r>
                <a:rPr lang="en-US" b="1" dirty="0">
                  <a:solidFill>
                    <a:schemeClr val="bg1"/>
                  </a:solidFill>
                  <a:cs typeface="Arial" panose="020B0604020202020204" pitchFamily="34" charset="0"/>
                </a:rPr>
                <a:t>EVENTS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What will happen because of the trigger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Archive a document, create a new task</a:t>
              </a:r>
              <a:endParaRPr lang="en-US" sz="1200" spc="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95874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7" name="Group 766">
            <a:extLst>
              <a:ext uri="{FF2B5EF4-FFF2-40B4-BE49-F238E27FC236}">
                <a16:creationId xmlns:a16="http://schemas.microsoft.com/office/drawing/2014/main" id="{9001FA43-023B-449E-9649-3C3556FBEC55}"/>
              </a:ext>
            </a:extLst>
          </p:cNvPr>
          <p:cNvGrpSpPr/>
          <p:nvPr/>
        </p:nvGrpSpPr>
        <p:grpSpPr>
          <a:xfrm>
            <a:off x="8277225" y="0"/>
            <a:ext cx="5097463" cy="4886325"/>
            <a:chOff x="6600825" y="260351"/>
            <a:chExt cx="5097463" cy="4886325"/>
          </a:xfrm>
        </p:grpSpPr>
        <p:grpSp>
          <p:nvGrpSpPr>
            <p:cNvPr id="7" name="Group 205">
              <a:extLst>
                <a:ext uri="{FF2B5EF4-FFF2-40B4-BE49-F238E27FC236}">
                  <a16:creationId xmlns:a16="http://schemas.microsoft.com/office/drawing/2014/main" id="{BFEA87D8-F9F4-4909-B906-53FB73F7E08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600825" y="260351"/>
              <a:ext cx="5054600" cy="4886325"/>
              <a:chOff x="4158" y="164"/>
              <a:chExt cx="3184" cy="3078"/>
            </a:xfrm>
          </p:grpSpPr>
          <p:sp>
            <p:nvSpPr>
              <p:cNvPr id="567" name="Rectangle 5">
                <a:extLst>
                  <a:ext uri="{FF2B5EF4-FFF2-40B4-BE49-F238E27FC236}">
                    <a16:creationId xmlns:a16="http://schemas.microsoft.com/office/drawing/2014/main" id="{68BA803B-B0C0-446C-92B3-8DE3FA683C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79" y="263"/>
                <a:ext cx="196" cy="102"/>
              </a:xfrm>
              <a:prstGeom prst="rect">
                <a:avLst/>
              </a:pr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8" name="Freeform 6">
                <a:extLst>
                  <a:ext uri="{FF2B5EF4-FFF2-40B4-BE49-F238E27FC236}">
                    <a16:creationId xmlns:a16="http://schemas.microsoft.com/office/drawing/2014/main" id="{1B286794-E1E4-4DC8-80E4-74FBC31CD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0" y="164"/>
                <a:ext cx="375" cy="143"/>
              </a:xfrm>
              <a:custGeom>
                <a:avLst/>
                <a:gdLst>
                  <a:gd name="T0" fmla="*/ 35 w 686"/>
                  <a:gd name="T1" fmla="*/ 112 h 262"/>
                  <a:gd name="T2" fmla="*/ 650 w 686"/>
                  <a:gd name="T3" fmla="*/ 112 h 262"/>
                  <a:gd name="T4" fmla="*/ 679 w 686"/>
                  <a:gd name="T5" fmla="*/ 205 h 262"/>
                  <a:gd name="T6" fmla="*/ 628 w 686"/>
                  <a:gd name="T7" fmla="*/ 251 h 262"/>
                  <a:gd name="T8" fmla="*/ 57 w 686"/>
                  <a:gd name="T9" fmla="*/ 251 h 262"/>
                  <a:gd name="T10" fmla="*/ 7 w 686"/>
                  <a:gd name="T11" fmla="*/ 205 h 262"/>
                  <a:gd name="T12" fmla="*/ 35 w 686"/>
                  <a:gd name="T13" fmla="*/ 11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6" h="262">
                    <a:moveTo>
                      <a:pt x="35" y="112"/>
                    </a:moveTo>
                    <a:cubicBezTo>
                      <a:pt x="236" y="0"/>
                      <a:pt x="450" y="0"/>
                      <a:pt x="650" y="112"/>
                    </a:cubicBezTo>
                    <a:cubicBezTo>
                      <a:pt x="673" y="124"/>
                      <a:pt x="686" y="167"/>
                      <a:pt x="679" y="205"/>
                    </a:cubicBezTo>
                    <a:cubicBezTo>
                      <a:pt x="671" y="243"/>
                      <a:pt x="649" y="262"/>
                      <a:pt x="628" y="251"/>
                    </a:cubicBezTo>
                    <a:cubicBezTo>
                      <a:pt x="442" y="147"/>
                      <a:pt x="244" y="147"/>
                      <a:pt x="57" y="251"/>
                    </a:cubicBezTo>
                    <a:cubicBezTo>
                      <a:pt x="36" y="262"/>
                      <a:pt x="14" y="243"/>
                      <a:pt x="7" y="205"/>
                    </a:cubicBezTo>
                    <a:cubicBezTo>
                      <a:pt x="0" y="167"/>
                      <a:pt x="12" y="124"/>
                      <a:pt x="35" y="112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9" name="Freeform 7">
                <a:extLst>
                  <a:ext uri="{FF2B5EF4-FFF2-40B4-BE49-F238E27FC236}">
                    <a16:creationId xmlns:a16="http://schemas.microsoft.com/office/drawing/2014/main" id="{0FF847E9-8A2B-4A09-880C-06CB9F3E0E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1" y="385"/>
                <a:ext cx="573" cy="571"/>
              </a:xfrm>
              <a:custGeom>
                <a:avLst/>
                <a:gdLst>
                  <a:gd name="T0" fmla="*/ 25 w 1046"/>
                  <a:gd name="T1" fmla="*/ 25 h 1046"/>
                  <a:gd name="T2" fmla="*/ 116 w 1046"/>
                  <a:gd name="T3" fmla="*/ 25 h 1046"/>
                  <a:gd name="T4" fmla="*/ 1020 w 1046"/>
                  <a:gd name="T5" fmla="*/ 929 h 1046"/>
                  <a:gd name="T6" fmla="*/ 1020 w 1046"/>
                  <a:gd name="T7" fmla="*/ 1021 h 1046"/>
                  <a:gd name="T8" fmla="*/ 929 w 1046"/>
                  <a:gd name="T9" fmla="*/ 1021 h 1046"/>
                  <a:gd name="T10" fmla="*/ 25 w 1046"/>
                  <a:gd name="T11" fmla="*/ 116 h 1046"/>
                  <a:gd name="T12" fmla="*/ 25 w 1046"/>
                  <a:gd name="T13" fmla="*/ 25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6" h="1046">
                    <a:moveTo>
                      <a:pt x="25" y="25"/>
                    </a:moveTo>
                    <a:cubicBezTo>
                      <a:pt x="50" y="0"/>
                      <a:pt x="91" y="0"/>
                      <a:pt x="116" y="25"/>
                    </a:cubicBezTo>
                    <a:cubicBezTo>
                      <a:pt x="1020" y="929"/>
                      <a:pt x="1020" y="929"/>
                      <a:pt x="1020" y="929"/>
                    </a:cubicBezTo>
                    <a:cubicBezTo>
                      <a:pt x="1046" y="955"/>
                      <a:pt x="1046" y="995"/>
                      <a:pt x="1020" y="1021"/>
                    </a:cubicBezTo>
                    <a:cubicBezTo>
                      <a:pt x="995" y="1046"/>
                      <a:pt x="954" y="1046"/>
                      <a:pt x="929" y="1021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0" y="91"/>
                      <a:pt x="0" y="50"/>
                      <a:pt x="25" y="25"/>
                    </a:cubicBezTo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0" name="Freeform 8">
                <a:extLst>
                  <a:ext uri="{FF2B5EF4-FFF2-40B4-BE49-F238E27FC236}">
                    <a16:creationId xmlns:a16="http://schemas.microsoft.com/office/drawing/2014/main" id="{65F99480-1029-4DB9-A18D-EDF55E361C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1" y="385"/>
                <a:ext cx="573" cy="571"/>
              </a:xfrm>
              <a:custGeom>
                <a:avLst/>
                <a:gdLst>
                  <a:gd name="T0" fmla="*/ 1020 w 1046"/>
                  <a:gd name="T1" fmla="*/ 25 h 1046"/>
                  <a:gd name="T2" fmla="*/ 1020 w 1046"/>
                  <a:gd name="T3" fmla="*/ 116 h 1046"/>
                  <a:gd name="T4" fmla="*/ 116 w 1046"/>
                  <a:gd name="T5" fmla="*/ 1021 h 1046"/>
                  <a:gd name="T6" fmla="*/ 25 w 1046"/>
                  <a:gd name="T7" fmla="*/ 1021 h 1046"/>
                  <a:gd name="T8" fmla="*/ 25 w 1046"/>
                  <a:gd name="T9" fmla="*/ 929 h 1046"/>
                  <a:gd name="T10" fmla="*/ 929 w 1046"/>
                  <a:gd name="T11" fmla="*/ 25 h 1046"/>
                  <a:gd name="T12" fmla="*/ 1020 w 1046"/>
                  <a:gd name="T13" fmla="*/ 25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6" h="1046">
                    <a:moveTo>
                      <a:pt x="1020" y="25"/>
                    </a:moveTo>
                    <a:cubicBezTo>
                      <a:pt x="1046" y="50"/>
                      <a:pt x="1046" y="91"/>
                      <a:pt x="1020" y="116"/>
                    </a:cubicBezTo>
                    <a:cubicBezTo>
                      <a:pt x="116" y="1021"/>
                      <a:pt x="116" y="1021"/>
                      <a:pt x="116" y="1021"/>
                    </a:cubicBezTo>
                    <a:cubicBezTo>
                      <a:pt x="91" y="1046"/>
                      <a:pt x="50" y="1046"/>
                      <a:pt x="25" y="1021"/>
                    </a:cubicBezTo>
                    <a:cubicBezTo>
                      <a:pt x="0" y="995"/>
                      <a:pt x="0" y="955"/>
                      <a:pt x="25" y="929"/>
                    </a:cubicBezTo>
                    <a:cubicBezTo>
                      <a:pt x="929" y="25"/>
                      <a:pt x="929" y="25"/>
                      <a:pt x="929" y="25"/>
                    </a:cubicBezTo>
                    <a:cubicBezTo>
                      <a:pt x="954" y="0"/>
                      <a:pt x="995" y="0"/>
                      <a:pt x="1020" y="25"/>
                    </a:cubicBezTo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1" name="Freeform 9">
                <a:extLst>
                  <a:ext uri="{FF2B5EF4-FFF2-40B4-BE49-F238E27FC236}">
                    <a16:creationId xmlns:a16="http://schemas.microsoft.com/office/drawing/2014/main" id="{74F52746-F364-44D3-A132-444B52E7B7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5" y="299"/>
                <a:ext cx="745" cy="743"/>
              </a:xfrm>
              <a:custGeom>
                <a:avLst/>
                <a:gdLst>
                  <a:gd name="T0" fmla="*/ 242 w 1362"/>
                  <a:gd name="T1" fmla="*/ 1120 h 1362"/>
                  <a:gd name="T2" fmla="*/ 242 w 1362"/>
                  <a:gd name="T3" fmla="*/ 242 h 1362"/>
                  <a:gd name="T4" fmla="*/ 1119 w 1362"/>
                  <a:gd name="T5" fmla="*/ 242 h 1362"/>
                  <a:gd name="T6" fmla="*/ 1119 w 1362"/>
                  <a:gd name="T7" fmla="*/ 1120 h 1362"/>
                  <a:gd name="T8" fmla="*/ 242 w 1362"/>
                  <a:gd name="T9" fmla="*/ 1120 h 1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62" h="1362">
                    <a:moveTo>
                      <a:pt x="242" y="1120"/>
                    </a:moveTo>
                    <a:cubicBezTo>
                      <a:pt x="0" y="877"/>
                      <a:pt x="0" y="484"/>
                      <a:pt x="242" y="242"/>
                    </a:cubicBezTo>
                    <a:cubicBezTo>
                      <a:pt x="484" y="0"/>
                      <a:pt x="877" y="0"/>
                      <a:pt x="1119" y="242"/>
                    </a:cubicBezTo>
                    <a:cubicBezTo>
                      <a:pt x="1362" y="484"/>
                      <a:pt x="1362" y="877"/>
                      <a:pt x="1119" y="1120"/>
                    </a:cubicBezTo>
                    <a:cubicBezTo>
                      <a:pt x="877" y="1362"/>
                      <a:pt x="484" y="1362"/>
                      <a:pt x="242" y="1120"/>
                    </a:cubicBezTo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2" name="Freeform 10">
                <a:extLst>
                  <a:ext uri="{FF2B5EF4-FFF2-40B4-BE49-F238E27FC236}">
                    <a16:creationId xmlns:a16="http://schemas.microsoft.com/office/drawing/2014/main" id="{DDA0F044-A0AD-4CE6-9510-D09E97D71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12"/>
                <a:ext cx="702" cy="143"/>
              </a:xfrm>
              <a:custGeom>
                <a:avLst/>
                <a:gdLst>
                  <a:gd name="T0" fmla="*/ 66 w 1282"/>
                  <a:gd name="T1" fmla="*/ 112 h 263"/>
                  <a:gd name="T2" fmla="*/ 1216 w 1282"/>
                  <a:gd name="T3" fmla="*/ 112 h 263"/>
                  <a:gd name="T4" fmla="*/ 1268 w 1282"/>
                  <a:gd name="T5" fmla="*/ 205 h 263"/>
                  <a:gd name="T6" fmla="*/ 1174 w 1282"/>
                  <a:gd name="T7" fmla="*/ 251 h 263"/>
                  <a:gd name="T8" fmla="*/ 107 w 1282"/>
                  <a:gd name="T9" fmla="*/ 251 h 263"/>
                  <a:gd name="T10" fmla="*/ 13 w 1282"/>
                  <a:gd name="T11" fmla="*/ 205 h 263"/>
                  <a:gd name="T12" fmla="*/ 66 w 1282"/>
                  <a:gd name="T13" fmla="*/ 112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2" h="263">
                    <a:moveTo>
                      <a:pt x="66" y="112"/>
                    </a:moveTo>
                    <a:cubicBezTo>
                      <a:pt x="441" y="0"/>
                      <a:pt x="841" y="0"/>
                      <a:pt x="1216" y="112"/>
                    </a:cubicBezTo>
                    <a:cubicBezTo>
                      <a:pt x="1258" y="125"/>
                      <a:pt x="1282" y="168"/>
                      <a:pt x="1268" y="205"/>
                    </a:cubicBezTo>
                    <a:cubicBezTo>
                      <a:pt x="1255" y="243"/>
                      <a:pt x="1213" y="263"/>
                      <a:pt x="1174" y="251"/>
                    </a:cubicBezTo>
                    <a:cubicBezTo>
                      <a:pt x="826" y="147"/>
                      <a:pt x="455" y="147"/>
                      <a:pt x="107" y="251"/>
                    </a:cubicBezTo>
                    <a:cubicBezTo>
                      <a:pt x="68" y="263"/>
                      <a:pt x="26" y="243"/>
                      <a:pt x="13" y="205"/>
                    </a:cubicBezTo>
                    <a:cubicBezTo>
                      <a:pt x="0" y="168"/>
                      <a:pt x="23" y="125"/>
                      <a:pt x="66" y="112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3" name="Freeform 11">
                <a:extLst>
                  <a:ext uri="{FF2B5EF4-FFF2-40B4-BE49-F238E27FC236}">
                    <a16:creationId xmlns:a16="http://schemas.microsoft.com/office/drawing/2014/main" id="{7F569259-1666-42E1-90C5-2140422562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5" y="2908"/>
                <a:ext cx="218" cy="201"/>
              </a:xfrm>
              <a:custGeom>
                <a:avLst/>
                <a:gdLst>
                  <a:gd name="T0" fmla="*/ 218 w 218"/>
                  <a:gd name="T1" fmla="*/ 81 h 201"/>
                  <a:gd name="T2" fmla="*/ 63 w 218"/>
                  <a:gd name="T3" fmla="*/ 201 h 201"/>
                  <a:gd name="T4" fmla="*/ 0 w 218"/>
                  <a:gd name="T5" fmla="*/ 120 h 201"/>
                  <a:gd name="T6" fmla="*/ 155 w 218"/>
                  <a:gd name="T7" fmla="*/ 0 h 201"/>
                  <a:gd name="T8" fmla="*/ 218 w 218"/>
                  <a:gd name="T9" fmla="*/ 8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8" h="201">
                    <a:moveTo>
                      <a:pt x="218" y="81"/>
                    </a:moveTo>
                    <a:lnTo>
                      <a:pt x="63" y="201"/>
                    </a:lnTo>
                    <a:lnTo>
                      <a:pt x="0" y="120"/>
                    </a:lnTo>
                    <a:lnTo>
                      <a:pt x="155" y="0"/>
                    </a:lnTo>
                    <a:lnTo>
                      <a:pt x="218" y="81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4" name="Freeform 12">
                <a:extLst>
                  <a:ext uri="{FF2B5EF4-FFF2-40B4-BE49-F238E27FC236}">
                    <a16:creationId xmlns:a16="http://schemas.microsoft.com/office/drawing/2014/main" id="{8D58AA32-334F-4A0B-A072-B288A9C70D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3" y="2911"/>
                <a:ext cx="324" cy="273"/>
              </a:xfrm>
              <a:custGeom>
                <a:avLst/>
                <a:gdLst>
                  <a:gd name="T0" fmla="*/ 582 w 592"/>
                  <a:gd name="T1" fmla="*/ 118 h 500"/>
                  <a:gd name="T2" fmla="*/ 97 w 592"/>
                  <a:gd name="T3" fmla="*/ 496 h 500"/>
                  <a:gd name="T4" fmla="*/ 17 w 592"/>
                  <a:gd name="T5" fmla="*/ 440 h 500"/>
                  <a:gd name="T6" fmla="*/ 29 w 592"/>
                  <a:gd name="T7" fmla="*/ 372 h 500"/>
                  <a:gd name="T8" fmla="*/ 479 w 592"/>
                  <a:gd name="T9" fmla="*/ 22 h 500"/>
                  <a:gd name="T10" fmla="*/ 547 w 592"/>
                  <a:gd name="T11" fmla="*/ 27 h 500"/>
                  <a:gd name="T12" fmla="*/ 582 w 592"/>
                  <a:gd name="T13" fmla="*/ 118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2" h="500">
                    <a:moveTo>
                      <a:pt x="582" y="118"/>
                    </a:moveTo>
                    <a:cubicBezTo>
                      <a:pt x="493" y="330"/>
                      <a:pt x="324" y="461"/>
                      <a:pt x="97" y="496"/>
                    </a:cubicBezTo>
                    <a:cubicBezTo>
                      <a:pt x="71" y="500"/>
                      <a:pt x="35" y="474"/>
                      <a:pt x="17" y="440"/>
                    </a:cubicBezTo>
                    <a:cubicBezTo>
                      <a:pt x="0" y="405"/>
                      <a:pt x="5" y="376"/>
                      <a:pt x="29" y="372"/>
                    </a:cubicBezTo>
                    <a:cubicBezTo>
                      <a:pt x="240" y="340"/>
                      <a:pt x="396" y="218"/>
                      <a:pt x="479" y="22"/>
                    </a:cubicBezTo>
                    <a:cubicBezTo>
                      <a:pt x="489" y="0"/>
                      <a:pt x="518" y="2"/>
                      <a:pt x="547" y="27"/>
                    </a:cubicBezTo>
                    <a:cubicBezTo>
                      <a:pt x="576" y="53"/>
                      <a:pt x="592" y="94"/>
                      <a:pt x="582" y="1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5" name="Freeform 13">
                <a:extLst>
                  <a:ext uri="{FF2B5EF4-FFF2-40B4-BE49-F238E27FC236}">
                    <a16:creationId xmlns:a16="http://schemas.microsoft.com/office/drawing/2014/main" id="{BF01CC71-81EF-4791-845A-3A2916E063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9" y="2646"/>
                <a:ext cx="770" cy="161"/>
              </a:xfrm>
              <a:custGeom>
                <a:avLst/>
                <a:gdLst>
                  <a:gd name="T0" fmla="*/ 1402 w 1406"/>
                  <a:gd name="T1" fmla="*/ 235 h 295"/>
                  <a:gd name="T2" fmla="*/ 1402 w 1406"/>
                  <a:gd name="T3" fmla="*/ 235 h 295"/>
                  <a:gd name="T4" fmla="*/ 1330 w 1406"/>
                  <a:gd name="T5" fmla="*/ 291 h 295"/>
                  <a:gd name="T6" fmla="*/ 61 w 1406"/>
                  <a:gd name="T7" fmla="*/ 133 h 295"/>
                  <a:gd name="T8" fmla="*/ 5 w 1406"/>
                  <a:gd name="T9" fmla="*/ 61 h 295"/>
                  <a:gd name="T10" fmla="*/ 77 w 1406"/>
                  <a:gd name="T11" fmla="*/ 5 h 295"/>
                  <a:gd name="T12" fmla="*/ 1346 w 1406"/>
                  <a:gd name="T13" fmla="*/ 163 h 295"/>
                  <a:gd name="T14" fmla="*/ 1402 w 1406"/>
                  <a:gd name="T15" fmla="*/ 23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6" h="295">
                    <a:moveTo>
                      <a:pt x="1402" y="235"/>
                    </a:moveTo>
                    <a:cubicBezTo>
                      <a:pt x="1402" y="235"/>
                      <a:pt x="1402" y="235"/>
                      <a:pt x="1402" y="235"/>
                    </a:cubicBezTo>
                    <a:cubicBezTo>
                      <a:pt x="1397" y="270"/>
                      <a:pt x="1365" y="295"/>
                      <a:pt x="1330" y="291"/>
                    </a:cubicBezTo>
                    <a:cubicBezTo>
                      <a:pt x="61" y="133"/>
                      <a:pt x="61" y="133"/>
                      <a:pt x="61" y="133"/>
                    </a:cubicBezTo>
                    <a:cubicBezTo>
                      <a:pt x="25" y="128"/>
                      <a:pt x="0" y="96"/>
                      <a:pt x="5" y="61"/>
                    </a:cubicBezTo>
                    <a:cubicBezTo>
                      <a:pt x="9" y="25"/>
                      <a:pt x="41" y="0"/>
                      <a:pt x="77" y="5"/>
                    </a:cubicBezTo>
                    <a:cubicBezTo>
                      <a:pt x="1346" y="163"/>
                      <a:pt x="1346" y="163"/>
                      <a:pt x="1346" y="163"/>
                    </a:cubicBezTo>
                    <a:cubicBezTo>
                      <a:pt x="1381" y="167"/>
                      <a:pt x="1406" y="200"/>
                      <a:pt x="1402" y="235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6" name="Freeform 14">
                <a:extLst>
                  <a:ext uri="{FF2B5EF4-FFF2-40B4-BE49-F238E27FC236}">
                    <a16:creationId xmlns:a16="http://schemas.microsoft.com/office/drawing/2014/main" id="{B0FF48EF-0B8A-4C8E-9DEF-0132297105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4" y="2343"/>
                <a:ext cx="161" cy="768"/>
              </a:xfrm>
              <a:custGeom>
                <a:avLst/>
                <a:gdLst>
                  <a:gd name="T0" fmla="*/ 60 w 295"/>
                  <a:gd name="T1" fmla="*/ 1401 h 1406"/>
                  <a:gd name="T2" fmla="*/ 60 w 295"/>
                  <a:gd name="T3" fmla="*/ 1401 h 1406"/>
                  <a:gd name="T4" fmla="*/ 4 w 295"/>
                  <a:gd name="T5" fmla="*/ 1329 h 1406"/>
                  <a:gd name="T6" fmla="*/ 162 w 295"/>
                  <a:gd name="T7" fmla="*/ 60 h 1406"/>
                  <a:gd name="T8" fmla="*/ 234 w 295"/>
                  <a:gd name="T9" fmla="*/ 4 h 1406"/>
                  <a:gd name="T10" fmla="*/ 290 w 295"/>
                  <a:gd name="T11" fmla="*/ 76 h 1406"/>
                  <a:gd name="T12" fmla="*/ 132 w 295"/>
                  <a:gd name="T13" fmla="*/ 1345 h 1406"/>
                  <a:gd name="T14" fmla="*/ 60 w 295"/>
                  <a:gd name="T15" fmla="*/ 1401 h 1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5" h="1406">
                    <a:moveTo>
                      <a:pt x="60" y="1401"/>
                    </a:moveTo>
                    <a:cubicBezTo>
                      <a:pt x="60" y="1401"/>
                      <a:pt x="60" y="1401"/>
                      <a:pt x="60" y="1401"/>
                    </a:cubicBezTo>
                    <a:cubicBezTo>
                      <a:pt x="25" y="1397"/>
                      <a:pt x="0" y="1365"/>
                      <a:pt x="4" y="1329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67" y="25"/>
                      <a:pt x="199" y="0"/>
                      <a:pt x="234" y="4"/>
                    </a:cubicBezTo>
                    <a:cubicBezTo>
                      <a:pt x="270" y="9"/>
                      <a:pt x="295" y="41"/>
                      <a:pt x="290" y="76"/>
                    </a:cubicBezTo>
                    <a:cubicBezTo>
                      <a:pt x="132" y="1345"/>
                      <a:pt x="132" y="1345"/>
                      <a:pt x="132" y="1345"/>
                    </a:cubicBezTo>
                    <a:cubicBezTo>
                      <a:pt x="128" y="1381"/>
                      <a:pt x="95" y="1406"/>
                      <a:pt x="60" y="1401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7" name="Freeform 15">
                <a:extLst>
                  <a:ext uri="{FF2B5EF4-FFF2-40B4-BE49-F238E27FC236}">
                    <a16:creationId xmlns:a16="http://schemas.microsoft.com/office/drawing/2014/main" id="{BA8A4FA2-17D1-4E7F-822D-DF990678D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4" y="2368"/>
                <a:ext cx="720" cy="718"/>
              </a:xfrm>
              <a:custGeom>
                <a:avLst/>
                <a:gdLst>
                  <a:gd name="T0" fmla="*/ 735 w 1316"/>
                  <a:gd name="T1" fmla="*/ 42 h 1316"/>
                  <a:gd name="T2" fmla="*/ 1274 w 1316"/>
                  <a:gd name="T3" fmla="*/ 735 h 1316"/>
                  <a:gd name="T4" fmla="*/ 581 w 1316"/>
                  <a:gd name="T5" fmla="*/ 1273 h 1316"/>
                  <a:gd name="T6" fmla="*/ 43 w 1316"/>
                  <a:gd name="T7" fmla="*/ 581 h 1316"/>
                  <a:gd name="T8" fmla="*/ 735 w 1316"/>
                  <a:gd name="T9" fmla="*/ 42 h 1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6" h="1316">
                    <a:moveTo>
                      <a:pt x="735" y="42"/>
                    </a:moveTo>
                    <a:cubicBezTo>
                      <a:pt x="1075" y="85"/>
                      <a:pt x="1316" y="395"/>
                      <a:pt x="1274" y="735"/>
                    </a:cubicBezTo>
                    <a:cubicBezTo>
                      <a:pt x="1231" y="1075"/>
                      <a:pt x="921" y="1316"/>
                      <a:pt x="581" y="1273"/>
                    </a:cubicBezTo>
                    <a:cubicBezTo>
                      <a:pt x="241" y="1231"/>
                      <a:pt x="0" y="921"/>
                      <a:pt x="43" y="581"/>
                    </a:cubicBezTo>
                    <a:cubicBezTo>
                      <a:pt x="85" y="241"/>
                      <a:pt x="395" y="0"/>
                      <a:pt x="735" y="42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8" name="Freeform 16">
                <a:extLst>
                  <a:ext uri="{FF2B5EF4-FFF2-40B4-BE49-F238E27FC236}">
                    <a16:creationId xmlns:a16="http://schemas.microsoft.com/office/drawing/2014/main" id="{3726B187-656C-43AB-B8A1-4627A77B2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0" y="2778"/>
                <a:ext cx="572" cy="464"/>
              </a:xfrm>
              <a:custGeom>
                <a:avLst/>
                <a:gdLst>
                  <a:gd name="T0" fmla="*/ 1019 w 1045"/>
                  <a:gd name="T1" fmla="*/ 128 h 850"/>
                  <a:gd name="T2" fmla="*/ 111 w 1045"/>
                  <a:gd name="T3" fmla="*/ 834 h 850"/>
                  <a:gd name="T4" fmla="*/ 12 w 1045"/>
                  <a:gd name="T5" fmla="*/ 793 h 850"/>
                  <a:gd name="T6" fmla="*/ 59 w 1045"/>
                  <a:gd name="T7" fmla="*/ 699 h 850"/>
                  <a:gd name="T8" fmla="*/ 901 w 1045"/>
                  <a:gd name="T9" fmla="*/ 44 h 850"/>
                  <a:gd name="T10" fmla="*/ 1003 w 1045"/>
                  <a:gd name="T11" fmla="*/ 22 h 850"/>
                  <a:gd name="T12" fmla="*/ 1019 w 1045"/>
                  <a:gd name="T13" fmla="*/ 128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5" h="850">
                    <a:moveTo>
                      <a:pt x="1019" y="128"/>
                    </a:moveTo>
                    <a:cubicBezTo>
                      <a:pt x="791" y="447"/>
                      <a:pt x="476" y="692"/>
                      <a:pt x="111" y="834"/>
                    </a:cubicBezTo>
                    <a:cubicBezTo>
                      <a:pt x="70" y="850"/>
                      <a:pt x="25" y="831"/>
                      <a:pt x="12" y="793"/>
                    </a:cubicBezTo>
                    <a:cubicBezTo>
                      <a:pt x="0" y="755"/>
                      <a:pt x="21" y="714"/>
                      <a:pt x="59" y="699"/>
                    </a:cubicBezTo>
                    <a:cubicBezTo>
                      <a:pt x="397" y="567"/>
                      <a:pt x="690" y="339"/>
                      <a:pt x="901" y="44"/>
                    </a:cubicBezTo>
                    <a:cubicBezTo>
                      <a:pt x="924" y="10"/>
                      <a:pt x="970" y="0"/>
                      <a:pt x="1003" y="22"/>
                    </a:cubicBezTo>
                    <a:cubicBezTo>
                      <a:pt x="1037" y="44"/>
                      <a:pt x="1045" y="92"/>
                      <a:pt x="1019" y="128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9" name="Freeform 17">
                <a:extLst>
                  <a:ext uri="{FF2B5EF4-FFF2-40B4-BE49-F238E27FC236}">
                    <a16:creationId xmlns:a16="http://schemas.microsoft.com/office/drawing/2014/main" id="{251AB2CC-64B5-43DA-B97F-97DD5DB0D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6" y="2906"/>
                <a:ext cx="218" cy="201"/>
              </a:xfrm>
              <a:custGeom>
                <a:avLst/>
                <a:gdLst>
                  <a:gd name="T0" fmla="*/ 0 w 218"/>
                  <a:gd name="T1" fmla="*/ 81 h 201"/>
                  <a:gd name="T2" fmla="*/ 155 w 218"/>
                  <a:gd name="T3" fmla="*/ 201 h 201"/>
                  <a:gd name="T4" fmla="*/ 218 w 218"/>
                  <a:gd name="T5" fmla="*/ 120 h 201"/>
                  <a:gd name="T6" fmla="*/ 63 w 218"/>
                  <a:gd name="T7" fmla="*/ 0 h 201"/>
                  <a:gd name="T8" fmla="*/ 0 w 218"/>
                  <a:gd name="T9" fmla="*/ 8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8" h="201">
                    <a:moveTo>
                      <a:pt x="0" y="81"/>
                    </a:moveTo>
                    <a:lnTo>
                      <a:pt x="155" y="201"/>
                    </a:lnTo>
                    <a:lnTo>
                      <a:pt x="218" y="120"/>
                    </a:lnTo>
                    <a:lnTo>
                      <a:pt x="63" y="0"/>
                    </a:lnTo>
                    <a:lnTo>
                      <a:pt x="0" y="81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0" name="Freeform 18">
                <a:extLst>
                  <a:ext uri="{FF2B5EF4-FFF2-40B4-BE49-F238E27FC236}">
                    <a16:creationId xmlns:a16="http://schemas.microsoft.com/office/drawing/2014/main" id="{71052E22-99A6-4D9D-BCD8-537C388BF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2" y="2909"/>
                <a:ext cx="324" cy="273"/>
              </a:xfrm>
              <a:custGeom>
                <a:avLst/>
                <a:gdLst>
                  <a:gd name="T0" fmla="*/ 10 w 592"/>
                  <a:gd name="T1" fmla="*/ 118 h 500"/>
                  <a:gd name="T2" fmla="*/ 495 w 592"/>
                  <a:gd name="T3" fmla="*/ 496 h 500"/>
                  <a:gd name="T4" fmla="*/ 575 w 592"/>
                  <a:gd name="T5" fmla="*/ 440 h 500"/>
                  <a:gd name="T6" fmla="*/ 563 w 592"/>
                  <a:gd name="T7" fmla="*/ 373 h 500"/>
                  <a:gd name="T8" fmla="*/ 113 w 592"/>
                  <a:gd name="T9" fmla="*/ 22 h 500"/>
                  <a:gd name="T10" fmla="*/ 45 w 592"/>
                  <a:gd name="T11" fmla="*/ 27 h 500"/>
                  <a:gd name="T12" fmla="*/ 10 w 592"/>
                  <a:gd name="T13" fmla="*/ 118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2" h="500">
                    <a:moveTo>
                      <a:pt x="10" y="118"/>
                    </a:moveTo>
                    <a:cubicBezTo>
                      <a:pt x="99" y="330"/>
                      <a:pt x="268" y="461"/>
                      <a:pt x="495" y="496"/>
                    </a:cubicBezTo>
                    <a:cubicBezTo>
                      <a:pt x="521" y="500"/>
                      <a:pt x="557" y="474"/>
                      <a:pt x="575" y="440"/>
                    </a:cubicBezTo>
                    <a:cubicBezTo>
                      <a:pt x="592" y="406"/>
                      <a:pt x="587" y="376"/>
                      <a:pt x="563" y="373"/>
                    </a:cubicBezTo>
                    <a:cubicBezTo>
                      <a:pt x="352" y="340"/>
                      <a:pt x="196" y="218"/>
                      <a:pt x="113" y="22"/>
                    </a:cubicBezTo>
                    <a:cubicBezTo>
                      <a:pt x="103" y="0"/>
                      <a:pt x="74" y="2"/>
                      <a:pt x="45" y="27"/>
                    </a:cubicBezTo>
                    <a:cubicBezTo>
                      <a:pt x="16" y="53"/>
                      <a:pt x="0" y="94"/>
                      <a:pt x="10" y="1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1" name="Freeform 19">
                <a:extLst>
                  <a:ext uri="{FF2B5EF4-FFF2-40B4-BE49-F238E27FC236}">
                    <a16:creationId xmlns:a16="http://schemas.microsoft.com/office/drawing/2014/main" id="{69D3E486-AC03-479B-B2DF-7FE35741E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0" y="2645"/>
                <a:ext cx="769" cy="161"/>
              </a:xfrm>
              <a:custGeom>
                <a:avLst/>
                <a:gdLst>
                  <a:gd name="T0" fmla="*/ 4 w 1406"/>
                  <a:gd name="T1" fmla="*/ 235 h 295"/>
                  <a:gd name="T2" fmla="*/ 4 w 1406"/>
                  <a:gd name="T3" fmla="*/ 235 h 295"/>
                  <a:gd name="T4" fmla="*/ 76 w 1406"/>
                  <a:gd name="T5" fmla="*/ 291 h 295"/>
                  <a:gd name="T6" fmla="*/ 1345 w 1406"/>
                  <a:gd name="T7" fmla="*/ 133 h 295"/>
                  <a:gd name="T8" fmla="*/ 1401 w 1406"/>
                  <a:gd name="T9" fmla="*/ 61 h 295"/>
                  <a:gd name="T10" fmla="*/ 1329 w 1406"/>
                  <a:gd name="T11" fmla="*/ 5 h 295"/>
                  <a:gd name="T12" fmla="*/ 60 w 1406"/>
                  <a:gd name="T13" fmla="*/ 163 h 295"/>
                  <a:gd name="T14" fmla="*/ 4 w 1406"/>
                  <a:gd name="T15" fmla="*/ 23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6" h="295">
                    <a:moveTo>
                      <a:pt x="4" y="235"/>
                    </a:moveTo>
                    <a:cubicBezTo>
                      <a:pt x="4" y="235"/>
                      <a:pt x="4" y="235"/>
                      <a:pt x="4" y="235"/>
                    </a:cubicBezTo>
                    <a:cubicBezTo>
                      <a:pt x="9" y="270"/>
                      <a:pt x="41" y="295"/>
                      <a:pt x="76" y="291"/>
                    </a:cubicBezTo>
                    <a:cubicBezTo>
                      <a:pt x="1345" y="133"/>
                      <a:pt x="1345" y="133"/>
                      <a:pt x="1345" y="133"/>
                    </a:cubicBezTo>
                    <a:cubicBezTo>
                      <a:pt x="1381" y="128"/>
                      <a:pt x="1406" y="96"/>
                      <a:pt x="1401" y="61"/>
                    </a:cubicBezTo>
                    <a:cubicBezTo>
                      <a:pt x="1397" y="25"/>
                      <a:pt x="1365" y="0"/>
                      <a:pt x="1329" y="5"/>
                    </a:cubicBezTo>
                    <a:cubicBezTo>
                      <a:pt x="60" y="163"/>
                      <a:pt x="60" y="163"/>
                      <a:pt x="60" y="163"/>
                    </a:cubicBezTo>
                    <a:cubicBezTo>
                      <a:pt x="25" y="167"/>
                      <a:pt x="0" y="200"/>
                      <a:pt x="4" y="235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2" name="Freeform 20">
                <a:extLst>
                  <a:ext uri="{FF2B5EF4-FFF2-40B4-BE49-F238E27FC236}">
                    <a16:creationId xmlns:a16="http://schemas.microsoft.com/office/drawing/2014/main" id="{073D37E2-0C61-4A3E-9391-9780E7D029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3" y="2342"/>
                <a:ext cx="162" cy="767"/>
              </a:xfrm>
              <a:custGeom>
                <a:avLst/>
                <a:gdLst>
                  <a:gd name="T0" fmla="*/ 235 w 295"/>
                  <a:gd name="T1" fmla="*/ 1401 h 1406"/>
                  <a:gd name="T2" fmla="*/ 235 w 295"/>
                  <a:gd name="T3" fmla="*/ 1401 h 1406"/>
                  <a:gd name="T4" fmla="*/ 291 w 295"/>
                  <a:gd name="T5" fmla="*/ 1329 h 1406"/>
                  <a:gd name="T6" fmla="*/ 133 w 295"/>
                  <a:gd name="T7" fmla="*/ 60 h 1406"/>
                  <a:gd name="T8" fmla="*/ 61 w 295"/>
                  <a:gd name="T9" fmla="*/ 4 h 1406"/>
                  <a:gd name="T10" fmla="*/ 5 w 295"/>
                  <a:gd name="T11" fmla="*/ 76 h 1406"/>
                  <a:gd name="T12" fmla="*/ 163 w 295"/>
                  <a:gd name="T13" fmla="*/ 1345 h 1406"/>
                  <a:gd name="T14" fmla="*/ 235 w 295"/>
                  <a:gd name="T15" fmla="*/ 1401 h 1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5" h="1406">
                    <a:moveTo>
                      <a:pt x="235" y="1401"/>
                    </a:moveTo>
                    <a:cubicBezTo>
                      <a:pt x="235" y="1401"/>
                      <a:pt x="235" y="1401"/>
                      <a:pt x="235" y="1401"/>
                    </a:cubicBezTo>
                    <a:cubicBezTo>
                      <a:pt x="270" y="1397"/>
                      <a:pt x="295" y="1365"/>
                      <a:pt x="291" y="1329"/>
                    </a:cubicBezTo>
                    <a:cubicBezTo>
                      <a:pt x="133" y="60"/>
                      <a:pt x="133" y="60"/>
                      <a:pt x="133" y="60"/>
                    </a:cubicBezTo>
                    <a:cubicBezTo>
                      <a:pt x="128" y="25"/>
                      <a:pt x="96" y="0"/>
                      <a:pt x="61" y="4"/>
                    </a:cubicBezTo>
                    <a:cubicBezTo>
                      <a:pt x="25" y="9"/>
                      <a:pt x="0" y="41"/>
                      <a:pt x="5" y="76"/>
                    </a:cubicBezTo>
                    <a:cubicBezTo>
                      <a:pt x="163" y="1345"/>
                      <a:pt x="163" y="1345"/>
                      <a:pt x="163" y="1345"/>
                    </a:cubicBezTo>
                    <a:cubicBezTo>
                      <a:pt x="167" y="1381"/>
                      <a:pt x="200" y="1406"/>
                      <a:pt x="235" y="1401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3" name="Freeform 21">
                <a:extLst>
                  <a:ext uri="{FF2B5EF4-FFF2-40B4-BE49-F238E27FC236}">
                    <a16:creationId xmlns:a16="http://schemas.microsoft.com/office/drawing/2014/main" id="{77E2B33F-78C7-4D0D-B788-60F5651B8C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4" y="2366"/>
                <a:ext cx="721" cy="719"/>
              </a:xfrm>
              <a:custGeom>
                <a:avLst/>
                <a:gdLst>
                  <a:gd name="T0" fmla="*/ 581 w 1316"/>
                  <a:gd name="T1" fmla="*/ 42 h 1316"/>
                  <a:gd name="T2" fmla="*/ 42 w 1316"/>
                  <a:gd name="T3" fmla="*/ 735 h 1316"/>
                  <a:gd name="T4" fmla="*/ 735 w 1316"/>
                  <a:gd name="T5" fmla="*/ 1273 h 1316"/>
                  <a:gd name="T6" fmla="*/ 1273 w 1316"/>
                  <a:gd name="T7" fmla="*/ 581 h 1316"/>
                  <a:gd name="T8" fmla="*/ 581 w 1316"/>
                  <a:gd name="T9" fmla="*/ 42 h 1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6" h="1316">
                    <a:moveTo>
                      <a:pt x="581" y="42"/>
                    </a:moveTo>
                    <a:cubicBezTo>
                      <a:pt x="241" y="85"/>
                      <a:pt x="0" y="395"/>
                      <a:pt x="42" y="735"/>
                    </a:cubicBezTo>
                    <a:cubicBezTo>
                      <a:pt x="85" y="1075"/>
                      <a:pt x="395" y="1316"/>
                      <a:pt x="735" y="1273"/>
                    </a:cubicBezTo>
                    <a:cubicBezTo>
                      <a:pt x="1075" y="1231"/>
                      <a:pt x="1316" y="921"/>
                      <a:pt x="1273" y="581"/>
                    </a:cubicBezTo>
                    <a:cubicBezTo>
                      <a:pt x="1231" y="241"/>
                      <a:pt x="921" y="0"/>
                      <a:pt x="581" y="42"/>
                    </a:cubicBezTo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4" name="Freeform 22">
                <a:extLst>
                  <a:ext uri="{FF2B5EF4-FFF2-40B4-BE49-F238E27FC236}">
                    <a16:creationId xmlns:a16="http://schemas.microsoft.com/office/drawing/2014/main" id="{ACAAD5FE-1AED-457C-92DE-1E2777B74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7" y="2776"/>
                <a:ext cx="572" cy="464"/>
              </a:xfrm>
              <a:custGeom>
                <a:avLst/>
                <a:gdLst>
                  <a:gd name="T0" fmla="*/ 26 w 1045"/>
                  <a:gd name="T1" fmla="*/ 128 h 850"/>
                  <a:gd name="T2" fmla="*/ 934 w 1045"/>
                  <a:gd name="T3" fmla="*/ 834 h 850"/>
                  <a:gd name="T4" fmla="*/ 1033 w 1045"/>
                  <a:gd name="T5" fmla="*/ 793 h 850"/>
                  <a:gd name="T6" fmla="*/ 986 w 1045"/>
                  <a:gd name="T7" fmla="*/ 699 h 850"/>
                  <a:gd name="T8" fmla="*/ 144 w 1045"/>
                  <a:gd name="T9" fmla="*/ 44 h 850"/>
                  <a:gd name="T10" fmla="*/ 42 w 1045"/>
                  <a:gd name="T11" fmla="*/ 22 h 850"/>
                  <a:gd name="T12" fmla="*/ 26 w 1045"/>
                  <a:gd name="T13" fmla="*/ 128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5" h="850">
                    <a:moveTo>
                      <a:pt x="26" y="128"/>
                    </a:moveTo>
                    <a:cubicBezTo>
                      <a:pt x="254" y="447"/>
                      <a:pt x="569" y="692"/>
                      <a:pt x="934" y="834"/>
                    </a:cubicBezTo>
                    <a:cubicBezTo>
                      <a:pt x="975" y="850"/>
                      <a:pt x="1020" y="831"/>
                      <a:pt x="1033" y="793"/>
                    </a:cubicBezTo>
                    <a:cubicBezTo>
                      <a:pt x="1045" y="755"/>
                      <a:pt x="1024" y="714"/>
                      <a:pt x="986" y="699"/>
                    </a:cubicBezTo>
                    <a:cubicBezTo>
                      <a:pt x="648" y="567"/>
                      <a:pt x="355" y="339"/>
                      <a:pt x="144" y="44"/>
                    </a:cubicBezTo>
                    <a:cubicBezTo>
                      <a:pt x="121" y="11"/>
                      <a:pt x="75" y="0"/>
                      <a:pt x="42" y="22"/>
                    </a:cubicBezTo>
                    <a:cubicBezTo>
                      <a:pt x="8" y="44"/>
                      <a:pt x="0" y="92"/>
                      <a:pt x="26" y="128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5" name="Freeform 23">
                <a:extLst>
                  <a:ext uri="{FF2B5EF4-FFF2-40B4-BE49-F238E27FC236}">
                    <a16:creationId xmlns:a16="http://schemas.microsoft.com/office/drawing/2014/main" id="{28972A08-BF74-497F-A67E-B1ED40ED2B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0" y="1228"/>
                <a:ext cx="158" cy="218"/>
              </a:xfrm>
              <a:custGeom>
                <a:avLst/>
                <a:gdLst>
                  <a:gd name="T0" fmla="*/ 0 w 158"/>
                  <a:gd name="T1" fmla="*/ 186 h 218"/>
                  <a:gd name="T2" fmla="*/ 60 w 158"/>
                  <a:gd name="T3" fmla="*/ 0 h 218"/>
                  <a:gd name="T4" fmla="*/ 158 w 158"/>
                  <a:gd name="T5" fmla="*/ 31 h 218"/>
                  <a:gd name="T6" fmla="*/ 98 w 158"/>
                  <a:gd name="T7" fmla="*/ 218 h 218"/>
                  <a:gd name="T8" fmla="*/ 0 w 158"/>
                  <a:gd name="T9" fmla="*/ 186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218">
                    <a:moveTo>
                      <a:pt x="0" y="186"/>
                    </a:moveTo>
                    <a:lnTo>
                      <a:pt x="60" y="0"/>
                    </a:lnTo>
                    <a:lnTo>
                      <a:pt x="158" y="31"/>
                    </a:lnTo>
                    <a:lnTo>
                      <a:pt x="98" y="218"/>
                    </a:lnTo>
                    <a:lnTo>
                      <a:pt x="0" y="186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6" name="Freeform 24">
                <a:extLst>
                  <a:ext uri="{FF2B5EF4-FFF2-40B4-BE49-F238E27FC236}">
                    <a16:creationId xmlns:a16="http://schemas.microsoft.com/office/drawing/2014/main" id="{62591276-352D-4C74-A3C4-7B5B8CD9D4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8" y="1140"/>
                <a:ext cx="206" cy="362"/>
              </a:xfrm>
              <a:custGeom>
                <a:avLst/>
                <a:gdLst>
                  <a:gd name="T0" fmla="*/ 45 w 378"/>
                  <a:gd name="T1" fmla="*/ 602 h 663"/>
                  <a:gd name="T2" fmla="*/ 235 w 378"/>
                  <a:gd name="T3" fmla="*/ 17 h 663"/>
                  <a:gd name="T4" fmla="*/ 332 w 378"/>
                  <a:gd name="T5" fmla="*/ 19 h 663"/>
                  <a:gd name="T6" fmla="*/ 360 w 378"/>
                  <a:gd name="T7" fmla="*/ 81 h 663"/>
                  <a:gd name="T8" fmla="*/ 184 w 378"/>
                  <a:gd name="T9" fmla="*/ 624 h 663"/>
                  <a:gd name="T10" fmla="*/ 124 w 378"/>
                  <a:gd name="T11" fmla="*/ 658 h 663"/>
                  <a:gd name="T12" fmla="*/ 45 w 378"/>
                  <a:gd name="T13" fmla="*/ 602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8" h="663">
                    <a:moveTo>
                      <a:pt x="45" y="602"/>
                    </a:moveTo>
                    <a:cubicBezTo>
                      <a:pt x="0" y="377"/>
                      <a:pt x="66" y="174"/>
                      <a:pt x="235" y="17"/>
                    </a:cubicBezTo>
                    <a:cubicBezTo>
                      <a:pt x="254" y="0"/>
                      <a:pt x="298" y="1"/>
                      <a:pt x="332" y="19"/>
                    </a:cubicBezTo>
                    <a:cubicBezTo>
                      <a:pt x="366" y="38"/>
                      <a:pt x="378" y="65"/>
                      <a:pt x="360" y="81"/>
                    </a:cubicBezTo>
                    <a:cubicBezTo>
                      <a:pt x="204" y="226"/>
                      <a:pt x="142" y="415"/>
                      <a:pt x="184" y="624"/>
                    </a:cubicBezTo>
                    <a:cubicBezTo>
                      <a:pt x="188" y="648"/>
                      <a:pt x="163" y="663"/>
                      <a:pt x="124" y="658"/>
                    </a:cubicBezTo>
                    <a:cubicBezTo>
                      <a:pt x="86" y="653"/>
                      <a:pt x="50" y="628"/>
                      <a:pt x="45" y="602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7" name="Freeform 25">
                <a:extLst>
                  <a:ext uri="{FF2B5EF4-FFF2-40B4-BE49-F238E27FC236}">
                    <a16:creationId xmlns:a16="http://schemas.microsoft.com/office/drawing/2014/main" id="{696011B5-2B14-4AD6-9005-775342EDA5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7" y="1248"/>
                <a:ext cx="704" cy="397"/>
              </a:xfrm>
              <a:custGeom>
                <a:avLst/>
                <a:gdLst>
                  <a:gd name="T0" fmla="*/ 16 w 1286"/>
                  <a:gd name="T1" fmla="*/ 684 h 728"/>
                  <a:gd name="T2" fmla="*/ 16 w 1286"/>
                  <a:gd name="T3" fmla="*/ 684 h 728"/>
                  <a:gd name="T4" fmla="*/ 44 w 1286"/>
                  <a:gd name="T5" fmla="*/ 597 h 728"/>
                  <a:gd name="T6" fmla="*/ 1183 w 1286"/>
                  <a:gd name="T7" fmla="*/ 16 h 728"/>
                  <a:gd name="T8" fmla="*/ 1270 w 1286"/>
                  <a:gd name="T9" fmla="*/ 45 h 728"/>
                  <a:gd name="T10" fmla="*/ 1242 w 1286"/>
                  <a:gd name="T11" fmla="*/ 131 h 728"/>
                  <a:gd name="T12" fmla="*/ 102 w 1286"/>
                  <a:gd name="T13" fmla="*/ 712 h 728"/>
                  <a:gd name="T14" fmla="*/ 16 w 1286"/>
                  <a:gd name="T15" fmla="*/ 684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6" h="728">
                    <a:moveTo>
                      <a:pt x="16" y="684"/>
                    </a:moveTo>
                    <a:cubicBezTo>
                      <a:pt x="16" y="684"/>
                      <a:pt x="16" y="684"/>
                      <a:pt x="16" y="684"/>
                    </a:cubicBezTo>
                    <a:cubicBezTo>
                      <a:pt x="0" y="652"/>
                      <a:pt x="12" y="613"/>
                      <a:pt x="44" y="597"/>
                    </a:cubicBezTo>
                    <a:cubicBezTo>
                      <a:pt x="1183" y="16"/>
                      <a:pt x="1183" y="16"/>
                      <a:pt x="1183" y="16"/>
                    </a:cubicBezTo>
                    <a:cubicBezTo>
                      <a:pt x="1215" y="0"/>
                      <a:pt x="1254" y="13"/>
                      <a:pt x="1270" y="45"/>
                    </a:cubicBezTo>
                    <a:cubicBezTo>
                      <a:pt x="1286" y="76"/>
                      <a:pt x="1274" y="115"/>
                      <a:pt x="1242" y="131"/>
                    </a:cubicBezTo>
                    <a:cubicBezTo>
                      <a:pt x="102" y="712"/>
                      <a:pt x="102" y="712"/>
                      <a:pt x="102" y="712"/>
                    </a:cubicBezTo>
                    <a:cubicBezTo>
                      <a:pt x="71" y="728"/>
                      <a:pt x="32" y="715"/>
                      <a:pt x="16" y="684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8" name="Freeform 26">
                <a:extLst>
                  <a:ext uri="{FF2B5EF4-FFF2-40B4-BE49-F238E27FC236}">
                    <a16:creationId xmlns:a16="http://schemas.microsoft.com/office/drawing/2014/main" id="{0077D620-D677-4B2A-A94F-E80706EF6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0" y="1096"/>
                <a:ext cx="398" cy="702"/>
              </a:xfrm>
              <a:custGeom>
                <a:avLst/>
                <a:gdLst>
                  <a:gd name="T0" fmla="*/ 44 w 728"/>
                  <a:gd name="T1" fmla="*/ 16 h 1286"/>
                  <a:gd name="T2" fmla="*/ 44 w 728"/>
                  <a:gd name="T3" fmla="*/ 16 h 1286"/>
                  <a:gd name="T4" fmla="*/ 131 w 728"/>
                  <a:gd name="T5" fmla="*/ 44 h 1286"/>
                  <a:gd name="T6" fmla="*/ 712 w 728"/>
                  <a:gd name="T7" fmla="*/ 1183 h 1286"/>
                  <a:gd name="T8" fmla="*/ 683 w 728"/>
                  <a:gd name="T9" fmla="*/ 1270 h 1286"/>
                  <a:gd name="T10" fmla="*/ 597 w 728"/>
                  <a:gd name="T11" fmla="*/ 1242 h 1286"/>
                  <a:gd name="T12" fmla="*/ 16 w 728"/>
                  <a:gd name="T13" fmla="*/ 103 h 1286"/>
                  <a:gd name="T14" fmla="*/ 44 w 728"/>
                  <a:gd name="T15" fmla="*/ 16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8" h="1286">
                    <a:moveTo>
                      <a:pt x="44" y="16"/>
                    </a:moveTo>
                    <a:cubicBezTo>
                      <a:pt x="44" y="16"/>
                      <a:pt x="44" y="16"/>
                      <a:pt x="44" y="16"/>
                    </a:cubicBezTo>
                    <a:cubicBezTo>
                      <a:pt x="76" y="0"/>
                      <a:pt x="115" y="12"/>
                      <a:pt x="131" y="44"/>
                    </a:cubicBezTo>
                    <a:cubicBezTo>
                      <a:pt x="712" y="1183"/>
                      <a:pt x="712" y="1183"/>
                      <a:pt x="712" y="1183"/>
                    </a:cubicBezTo>
                    <a:cubicBezTo>
                      <a:pt x="728" y="1215"/>
                      <a:pt x="715" y="1254"/>
                      <a:pt x="683" y="1270"/>
                    </a:cubicBezTo>
                    <a:cubicBezTo>
                      <a:pt x="652" y="1286"/>
                      <a:pt x="613" y="1274"/>
                      <a:pt x="597" y="1242"/>
                    </a:cubicBezTo>
                    <a:cubicBezTo>
                      <a:pt x="16" y="103"/>
                      <a:pt x="16" y="103"/>
                      <a:pt x="16" y="103"/>
                    </a:cubicBezTo>
                    <a:cubicBezTo>
                      <a:pt x="0" y="71"/>
                      <a:pt x="13" y="32"/>
                      <a:pt x="44" y="16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9" name="Freeform 27">
                <a:extLst>
                  <a:ext uri="{FF2B5EF4-FFF2-40B4-BE49-F238E27FC236}">
                    <a16:creationId xmlns:a16="http://schemas.microsoft.com/office/drawing/2014/main" id="{7C2F37B9-8682-4D33-BB67-ACCE4A7FA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1" y="1060"/>
                <a:ext cx="776" cy="773"/>
              </a:xfrm>
              <a:custGeom>
                <a:avLst/>
                <a:gdLst>
                  <a:gd name="T0" fmla="*/ 990 w 1416"/>
                  <a:gd name="T1" fmla="*/ 1261 h 1416"/>
                  <a:gd name="T2" fmla="*/ 155 w 1416"/>
                  <a:gd name="T3" fmla="*/ 990 h 1416"/>
                  <a:gd name="T4" fmla="*/ 426 w 1416"/>
                  <a:gd name="T5" fmla="*/ 155 h 1416"/>
                  <a:gd name="T6" fmla="*/ 1261 w 1416"/>
                  <a:gd name="T7" fmla="*/ 426 h 1416"/>
                  <a:gd name="T8" fmla="*/ 990 w 1416"/>
                  <a:gd name="T9" fmla="*/ 1261 h 1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6" h="1416">
                    <a:moveTo>
                      <a:pt x="990" y="1261"/>
                    </a:moveTo>
                    <a:cubicBezTo>
                      <a:pt x="684" y="1416"/>
                      <a:pt x="311" y="1295"/>
                      <a:pt x="155" y="990"/>
                    </a:cubicBezTo>
                    <a:cubicBezTo>
                      <a:pt x="0" y="684"/>
                      <a:pt x="121" y="311"/>
                      <a:pt x="426" y="155"/>
                    </a:cubicBezTo>
                    <a:cubicBezTo>
                      <a:pt x="731" y="0"/>
                      <a:pt x="1105" y="121"/>
                      <a:pt x="1261" y="426"/>
                    </a:cubicBezTo>
                    <a:cubicBezTo>
                      <a:pt x="1416" y="732"/>
                      <a:pt x="1295" y="1105"/>
                      <a:pt x="990" y="1261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0" name="Freeform 28">
                <a:extLst>
                  <a:ext uri="{FF2B5EF4-FFF2-40B4-BE49-F238E27FC236}">
                    <a16:creationId xmlns:a16="http://schemas.microsoft.com/office/drawing/2014/main" id="{5D8F620B-07BC-4998-ADD6-8BAA518F13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2" y="1001"/>
                <a:ext cx="273" cy="665"/>
              </a:xfrm>
              <a:custGeom>
                <a:avLst/>
                <a:gdLst>
                  <a:gd name="T0" fmla="*/ 1 w 499"/>
                  <a:gd name="T1" fmla="*/ 1139 h 1219"/>
                  <a:gd name="T2" fmla="*/ 357 w 499"/>
                  <a:gd name="T3" fmla="*/ 45 h 1219"/>
                  <a:gd name="T4" fmla="*/ 461 w 499"/>
                  <a:gd name="T5" fmla="*/ 24 h 1219"/>
                  <a:gd name="T6" fmla="*/ 476 w 499"/>
                  <a:gd name="T7" fmla="*/ 128 h 1219"/>
                  <a:gd name="T8" fmla="*/ 146 w 499"/>
                  <a:gd name="T9" fmla="*/ 1143 h 1219"/>
                  <a:gd name="T10" fmla="*/ 73 w 499"/>
                  <a:gd name="T11" fmla="*/ 1218 h 1219"/>
                  <a:gd name="T12" fmla="*/ 1 w 499"/>
                  <a:gd name="T13" fmla="*/ 1139 h 1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9" h="1219">
                    <a:moveTo>
                      <a:pt x="1" y="1139"/>
                    </a:moveTo>
                    <a:cubicBezTo>
                      <a:pt x="11" y="748"/>
                      <a:pt x="134" y="368"/>
                      <a:pt x="357" y="45"/>
                    </a:cubicBezTo>
                    <a:cubicBezTo>
                      <a:pt x="382" y="9"/>
                      <a:pt x="430" y="0"/>
                      <a:pt x="461" y="24"/>
                    </a:cubicBezTo>
                    <a:cubicBezTo>
                      <a:pt x="493" y="48"/>
                      <a:pt x="499" y="94"/>
                      <a:pt x="476" y="128"/>
                    </a:cubicBezTo>
                    <a:cubicBezTo>
                      <a:pt x="270" y="427"/>
                      <a:pt x="155" y="779"/>
                      <a:pt x="146" y="1143"/>
                    </a:cubicBezTo>
                    <a:cubicBezTo>
                      <a:pt x="145" y="1183"/>
                      <a:pt x="114" y="1217"/>
                      <a:pt x="73" y="1218"/>
                    </a:cubicBezTo>
                    <a:cubicBezTo>
                      <a:pt x="33" y="1219"/>
                      <a:pt x="0" y="1184"/>
                      <a:pt x="1" y="1139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1" name="Freeform 29">
                <a:extLst>
                  <a:ext uri="{FF2B5EF4-FFF2-40B4-BE49-F238E27FC236}">
                    <a16:creationId xmlns:a16="http://schemas.microsoft.com/office/drawing/2014/main" id="{CEF9B0F6-2B6B-43D7-A193-4C9EEFE0F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2" y="1238"/>
                <a:ext cx="158" cy="217"/>
              </a:xfrm>
              <a:custGeom>
                <a:avLst/>
                <a:gdLst>
                  <a:gd name="T0" fmla="*/ 98 w 158"/>
                  <a:gd name="T1" fmla="*/ 0 h 217"/>
                  <a:gd name="T2" fmla="*/ 158 w 158"/>
                  <a:gd name="T3" fmla="*/ 186 h 217"/>
                  <a:gd name="T4" fmla="*/ 60 w 158"/>
                  <a:gd name="T5" fmla="*/ 217 h 217"/>
                  <a:gd name="T6" fmla="*/ 0 w 158"/>
                  <a:gd name="T7" fmla="*/ 31 h 217"/>
                  <a:gd name="T8" fmla="*/ 98 w 158"/>
                  <a:gd name="T9" fmla="*/ 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217">
                    <a:moveTo>
                      <a:pt x="98" y="0"/>
                    </a:moveTo>
                    <a:lnTo>
                      <a:pt x="158" y="186"/>
                    </a:lnTo>
                    <a:lnTo>
                      <a:pt x="60" y="217"/>
                    </a:lnTo>
                    <a:lnTo>
                      <a:pt x="0" y="31"/>
                    </a:lnTo>
                    <a:lnTo>
                      <a:pt x="98" y="0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2" name="Freeform 30">
                <a:extLst>
                  <a:ext uri="{FF2B5EF4-FFF2-40B4-BE49-F238E27FC236}">
                    <a16:creationId xmlns:a16="http://schemas.microsoft.com/office/drawing/2014/main" id="{FD5A995C-96B2-44D6-8B7A-7E250EEA00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6" y="1149"/>
                <a:ext cx="206" cy="363"/>
              </a:xfrm>
              <a:custGeom>
                <a:avLst/>
                <a:gdLst>
                  <a:gd name="T0" fmla="*/ 142 w 377"/>
                  <a:gd name="T1" fmla="*/ 18 h 664"/>
                  <a:gd name="T2" fmla="*/ 333 w 377"/>
                  <a:gd name="T3" fmla="*/ 603 h 664"/>
                  <a:gd name="T4" fmla="*/ 253 w 377"/>
                  <a:gd name="T5" fmla="*/ 659 h 664"/>
                  <a:gd name="T6" fmla="*/ 194 w 377"/>
                  <a:gd name="T7" fmla="*/ 625 h 664"/>
                  <a:gd name="T8" fmla="*/ 17 w 377"/>
                  <a:gd name="T9" fmla="*/ 82 h 664"/>
                  <a:gd name="T10" fmla="*/ 45 w 377"/>
                  <a:gd name="T11" fmla="*/ 20 h 664"/>
                  <a:gd name="T12" fmla="*/ 142 w 377"/>
                  <a:gd name="T13" fmla="*/ 18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7" h="664">
                    <a:moveTo>
                      <a:pt x="142" y="18"/>
                    </a:moveTo>
                    <a:cubicBezTo>
                      <a:pt x="311" y="174"/>
                      <a:pt x="377" y="378"/>
                      <a:pt x="333" y="603"/>
                    </a:cubicBezTo>
                    <a:cubicBezTo>
                      <a:pt x="328" y="629"/>
                      <a:pt x="291" y="654"/>
                      <a:pt x="253" y="659"/>
                    </a:cubicBezTo>
                    <a:cubicBezTo>
                      <a:pt x="215" y="664"/>
                      <a:pt x="189" y="649"/>
                      <a:pt x="194" y="625"/>
                    </a:cubicBezTo>
                    <a:cubicBezTo>
                      <a:pt x="235" y="416"/>
                      <a:pt x="173" y="227"/>
                      <a:pt x="17" y="82"/>
                    </a:cubicBezTo>
                    <a:cubicBezTo>
                      <a:pt x="0" y="66"/>
                      <a:pt x="11" y="39"/>
                      <a:pt x="45" y="20"/>
                    </a:cubicBezTo>
                    <a:cubicBezTo>
                      <a:pt x="79" y="2"/>
                      <a:pt x="123" y="0"/>
                      <a:pt x="142" y="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3" name="Freeform 31">
                <a:extLst>
                  <a:ext uri="{FF2B5EF4-FFF2-40B4-BE49-F238E27FC236}">
                    <a16:creationId xmlns:a16="http://schemas.microsoft.com/office/drawing/2014/main" id="{09F50EE9-6A4E-429E-A0CA-74A14BD1A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2" y="1106"/>
                <a:ext cx="398" cy="702"/>
              </a:xfrm>
              <a:custGeom>
                <a:avLst/>
                <a:gdLst>
                  <a:gd name="T0" fmla="*/ 684 w 728"/>
                  <a:gd name="T1" fmla="*/ 16 h 1286"/>
                  <a:gd name="T2" fmla="*/ 684 w 728"/>
                  <a:gd name="T3" fmla="*/ 16 h 1286"/>
                  <a:gd name="T4" fmla="*/ 712 w 728"/>
                  <a:gd name="T5" fmla="*/ 102 h 1286"/>
                  <a:gd name="T6" fmla="*/ 131 w 728"/>
                  <a:gd name="T7" fmla="*/ 1242 h 1286"/>
                  <a:gd name="T8" fmla="*/ 45 w 728"/>
                  <a:gd name="T9" fmla="*/ 1270 h 1286"/>
                  <a:gd name="T10" fmla="*/ 17 w 728"/>
                  <a:gd name="T11" fmla="*/ 1183 h 1286"/>
                  <a:gd name="T12" fmla="*/ 597 w 728"/>
                  <a:gd name="T13" fmla="*/ 44 h 1286"/>
                  <a:gd name="T14" fmla="*/ 684 w 728"/>
                  <a:gd name="T15" fmla="*/ 16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8" h="1286">
                    <a:moveTo>
                      <a:pt x="684" y="16"/>
                    </a:moveTo>
                    <a:cubicBezTo>
                      <a:pt x="684" y="16"/>
                      <a:pt x="684" y="16"/>
                      <a:pt x="684" y="16"/>
                    </a:cubicBezTo>
                    <a:cubicBezTo>
                      <a:pt x="716" y="32"/>
                      <a:pt x="728" y="71"/>
                      <a:pt x="712" y="102"/>
                    </a:cubicBezTo>
                    <a:cubicBezTo>
                      <a:pt x="131" y="1242"/>
                      <a:pt x="131" y="1242"/>
                      <a:pt x="131" y="1242"/>
                    </a:cubicBezTo>
                    <a:cubicBezTo>
                      <a:pt x="115" y="1274"/>
                      <a:pt x="76" y="1286"/>
                      <a:pt x="45" y="1270"/>
                    </a:cubicBezTo>
                    <a:cubicBezTo>
                      <a:pt x="13" y="1254"/>
                      <a:pt x="0" y="1215"/>
                      <a:pt x="17" y="1183"/>
                    </a:cubicBezTo>
                    <a:cubicBezTo>
                      <a:pt x="597" y="44"/>
                      <a:pt x="597" y="44"/>
                      <a:pt x="597" y="44"/>
                    </a:cubicBezTo>
                    <a:cubicBezTo>
                      <a:pt x="613" y="12"/>
                      <a:pt x="652" y="0"/>
                      <a:pt x="684" y="16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4" name="Freeform 32">
                <a:extLst>
                  <a:ext uri="{FF2B5EF4-FFF2-40B4-BE49-F238E27FC236}">
                    <a16:creationId xmlns:a16="http://schemas.microsoft.com/office/drawing/2014/main" id="{A0E15427-AEF8-479D-B22E-64D82551E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9" y="1258"/>
                <a:ext cx="705" cy="397"/>
              </a:xfrm>
              <a:custGeom>
                <a:avLst/>
                <a:gdLst>
                  <a:gd name="T0" fmla="*/ 1270 w 1287"/>
                  <a:gd name="T1" fmla="*/ 683 h 728"/>
                  <a:gd name="T2" fmla="*/ 1270 w 1287"/>
                  <a:gd name="T3" fmla="*/ 683 h 728"/>
                  <a:gd name="T4" fmla="*/ 1184 w 1287"/>
                  <a:gd name="T5" fmla="*/ 712 h 728"/>
                  <a:gd name="T6" fmla="*/ 44 w 1287"/>
                  <a:gd name="T7" fmla="*/ 131 h 728"/>
                  <a:gd name="T8" fmla="*/ 16 w 1287"/>
                  <a:gd name="T9" fmla="*/ 44 h 728"/>
                  <a:gd name="T10" fmla="*/ 103 w 1287"/>
                  <a:gd name="T11" fmla="*/ 16 h 728"/>
                  <a:gd name="T12" fmla="*/ 1242 w 1287"/>
                  <a:gd name="T13" fmla="*/ 597 h 728"/>
                  <a:gd name="T14" fmla="*/ 1270 w 1287"/>
                  <a:gd name="T15" fmla="*/ 683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7" h="728">
                    <a:moveTo>
                      <a:pt x="1270" y="683"/>
                    </a:moveTo>
                    <a:cubicBezTo>
                      <a:pt x="1270" y="683"/>
                      <a:pt x="1270" y="683"/>
                      <a:pt x="1270" y="683"/>
                    </a:cubicBezTo>
                    <a:cubicBezTo>
                      <a:pt x="1254" y="715"/>
                      <a:pt x="1215" y="728"/>
                      <a:pt x="1184" y="712"/>
                    </a:cubicBezTo>
                    <a:cubicBezTo>
                      <a:pt x="44" y="131"/>
                      <a:pt x="44" y="131"/>
                      <a:pt x="44" y="131"/>
                    </a:cubicBezTo>
                    <a:cubicBezTo>
                      <a:pt x="13" y="115"/>
                      <a:pt x="0" y="76"/>
                      <a:pt x="16" y="44"/>
                    </a:cubicBezTo>
                    <a:cubicBezTo>
                      <a:pt x="32" y="13"/>
                      <a:pt x="71" y="0"/>
                      <a:pt x="103" y="16"/>
                    </a:cubicBezTo>
                    <a:cubicBezTo>
                      <a:pt x="1242" y="597"/>
                      <a:pt x="1242" y="597"/>
                      <a:pt x="1242" y="597"/>
                    </a:cubicBezTo>
                    <a:cubicBezTo>
                      <a:pt x="1274" y="613"/>
                      <a:pt x="1287" y="652"/>
                      <a:pt x="1270" y="683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5" name="Freeform 33">
                <a:extLst>
                  <a:ext uri="{FF2B5EF4-FFF2-40B4-BE49-F238E27FC236}">
                    <a16:creationId xmlns:a16="http://schemas.microsoft.com/office/drawing/2014/main" id="{DD7D2269-3E3E-4A12-B656-DCE50F870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3" y="1070"/>
                <a:ext cx="776" cy="773"/>
              </a:xfrm>
              <a:custGeom>
                <a:avLst/>
                <a:gdLst>
                  <a:gd name="T0" fmla="*/ 156 w 1417"/>
                  <a:gd name="T1" fmla="*/ 426 h 1416"/>
                  <a:gd name="T2" fmla="*/ 990 w 1417"/>
                  <a:gd name="T3" fmla="*/ 155 h 1416"/>
                  <a:gd name="T4" fmla="*/ 1261 w 1417"/>
                  <a:gd name="T5" fmla="*/ 990 h 1416"/>
                  <a:gd name="T6" fmla="*/ 427 w 1417"/>
                  <a:gd name="T7" fmla="*/ 1261 h 1416"/>
                  <a:gd name="T8" fmla="*/ 156 w 1417"/>
                  <a:gd name="T9" fmla="*/ 426 h 1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7" h="1416">
                    <a:moveTo>
                      <a:pt x="156" y="426"/>
                    </a:moveTo>
                    <a:cubicBezTo>
                      <a:pt x="311" y="121"/>
                      <a:pt x="685" y="0"/>
                      <a:pt x="990" y="155"/>
                    </a:cubicBezTo>
                    <a:cubicBezTo>
                      <a:pt x="1295" y="311"/>
                      <a:pt x="1417" y="684"/>
                      <a:pt x="1261" y="990"/>
                    </a:cubicBezTo>
                    <a:cubicBezTo>
                      <a:pt x="1106" y="1295"/>
                      <a:pt x="732" y="1416"/>
                      <a:pt x="427" y="1261"/>
                    </a:cubicBezTo>
                    <a:cubicBezTo>
                      <a:pt x="121" y="1105"/>
                      <a:pt x="0" y="732"/>
                      <a:pt x="156" y="426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6" name="Freeform 34">
                <a:extLst>
                  <a:ext uri="{FF2B5EF4-FFF2-40B4-BE49-F238E27FC236}">
                    <a16:creationId xmlns:a16="http://schemas.microsoft.com/office/drawing/2014/main" id="{9D19934C-953E-4C18-B8A8-6E27CA7141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5" y="1011"/>
                <a:ext cx="273" cy="665"/>
              </a:xfrm>
              <a:custGeom>
                <a:avLst/>
                <a:gdLst>
                  <a:gd name="T0" fmla="*/ 143 w 499"/>
                  <a:gd name="T1" fmla="*/ 45 h 1219"/>
                  <a:gd name="T2" fmla="*/ 498 w 499"/>
                  <a:gd name="T3" fmla="*/ 1139 h 1219"/>
                  <a:gd name="T4" fmla="*/ 426 w 499"/>
                  <a:gd name="T5" fmla="*/ 1218 h 1219"/>
                  <a:gd name="T6" fmla="*/ 353 w 499"/>
                  <a:gd name="T7" fmla="*/ 1142 h 1219"/>
                  <a:gd name="T8" fmla="*/ 23 w 499"/>
                  <a:gd name="T9" fmla="*/ 128 h 1219"/>
                  <a:gd name="T10" fmla="*/ 38 w 499"/>
                  <a:gd name="T11" fmla="*/ 24 h 1219"/>
                  <a:gd name="T12" fmla="*/ 143 w 499"/>
                  <a:gd name="T13" fmla="*/ 45 h 1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9" h="1219">
                    <a:moveTo>
                      <a:pt x="143" y="45"/>
                    </a:moveTo>
                    <a:cubicBezTo>
                      <a:pt x="365" y="367"/>
                      <a:pt x="488" y="748"/>
                      <a:pt x="498" y="1139"/>
                    </a:cubicBezTo>
                    <a:cubicBezTo>
                      <a:pt x="499" y="1183"/>
                      <a:pt x="466" y="1219"/>
                      <a:pt x="426" y="1218"/>
                    </a:cubicBezTo>
                    <a:cubicBezTo>
                      <a:pt x="386" y="1217"/>
                      <a:pt x="354" y="1183"/>
                      <a:pt x="353" y="1142"/>
                    </a:cubicBezTo>
                    <a:cubicBezTo>
                      <a:pt x="344" y="779"/>
                      <a:pt x="230" y="427"/>
                      <a:pt x="23" y="128"/>
                    </a:cubicBezTo>
                    <a:cubicBezTo>
                      <a:pt x="0" y="94"/>
                      <a:pt x="6" y="48"/>
                      <a:pt x="38" y="24"/>
                    </a:cubicBezTo>
                    <a:cubicBezTo>
                      <a:pt x="70" y="0"/>
                      <a:pt x="117" y="9"/>
                      <a:pt x="143" y="45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7" name="Freeform 35">
                <a:extLst>
                  <a:ext uri="{FF2B5EF4-FFF2-40B4-BE49-F238E27FC236}">
                    <a16:creationId xmlns:a16="http://schemas.microsoft.com/office/drawing/2014/main" id="{D12DF3EC-1EE8-4C86-903E-9E47050AC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9" y="1193"/>
                <a:ext cx="676" cy="576"/>
              </a:xfrm>
              <a:custGeom>
                <a:avLst/>
                <a:gdLst>
                  <a:gd name="T0" fmla="*/ 204 w 1235"/>
                  <a:gd name="T1" fmla="*/ 1054 h 1054"/>
                  <a:gd name="T2" fmla="*/ 0 w 1235"/>
                  <a:gd name="T3" fmla="*/ 425 h 1054"/>
                  <a:gd name="T4" fmla="*/ 955 w 1235"/>
                  <a:gd name="T5" fmla="*/ 114 h 1054"/>
                  <a:gd name="T6" fmla="*/ 1160 w 1235"/>
                  <a:gd name="T7" fmla="*/ 743 h 1054"/>
                  <a:gd name="T8" fmla="*/ 204 w 1235"/>
                  <a:gd name="T9" fmla="*/ 1054 h 1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5" h="1054">
                    <a:moveTo>
                      <a:pt x="204" y="1054"/>
                    </a:moveTo>
                    <a:cubicBezTo>
                      <a:pt x="0" y="425"/>
                      <a:pt x="0" y="425"/>
                      <a:pt x="0" y="425"/>
                    </a:cubicBezTo>
                    <a:cubicBezTo>
                      <a:pt x="0" y="425"/>
                      <a:pt x="732" y="0"/>
                      <a:pt x="955" y="114"/>
                    </a:cubicBezTo>
                    <a:cubicBezTo>
                      <a:pt x="1103" y="189"/>
                      <a:pt x="1235" y="596"/>
                      <a:pt x="1160" y="743"/>
                    </a:cubicBezTo>
                    <a:cubicBezTo>
                      <a:pt x="1046" y="967"/>
                      <a:pt x="204" y="1054"/>
                      <a:pt x="204" y="1054"/>
                    </a:cubicBezTo>
                    <a:close/>
                  </a:path>
                </a:pathLst>
              </a:custGeom>
              <a:solidFill>
                <a:srgbClr val="4E34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8" name="Freeform 36">
                <a:extLst>
                  <a:ext uri="{FF2B5EF4-FFF2-40B4-BE49-F238E27FC236}">
                    <a16:creationId xmlns:a16="http://schemas.microsoft.com/office/drawing/2014/main" id="{655EDDF6-D045-4C41-858B-A11CEB64A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9" y="1246"/>
                <a:ext cx="276" cy="472"/>
              </a:xfrm>
              <a:custGeom>
                <a:avLst/>
                <a:gdLst>
                  <a:gd name="T0" fmla="*/ 0 w 505"/>
                  <a:gd name="T1" fmla="*/ 864 h 864"/>
                  <a:gd name="T2" fmla="*/ 170 w 505"/>
                  <a:gd name="T3" fmla="*/ 356 h 864"/>
                  <a:gd name="T4" fmla="*/ 168 w 505"/>
                  <a:gd name="T5" fmla="*/ 0 h 864"/>
                  <a:gd name="T6" fmla="*/ 225 w 505"/>
                  <a:gd name="T7" fmla="*/ 17 h 864"/>
                  <a:gd name="T8" fmla="*/ 430 w 505"/>
                  <a:gd name="T9" fmla="*/ 646 h 864"/>
                  <a:gd name="T10" fmla="*/ 0 w 505"/>
                  <a:gd name="T11" fmla="*/ 864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5" h="864">
                    <a:moveTo>
                      <a:pt x="0" y="864"/>
                    </a:moveTo>
                    <a:cubicBezTo>
                      <a:pt x="127" y="738"/>
                      <a:pt x="247" y="507"/>
                      <a:pt x="170" y="356"/>
                    </a:cubicBezTo>
                    <a:cubicBezTo>
                      <a:pt x="87" y="195"/>
                      <a:pt x="139" y="56"/>
                      <a:pt x="168" y="0"/>
                    </a:cubicBezTo>
                    <a:cubicBezTo>
                      <a:pt x="189" y="3"/>
                      <a:pt x="209" y="9"/>
                      <a:pt x="225" y="17"/>
                    </a:cubicBezTo>
                    <a:cubicBezTo>
                      <a:pt x="373" y="92"/>
                      <a:pt x="505" y="499"/>
                      <a:pt x="430" y="646"/>
                    </a:cubicBezTo>
                    <a:cubicBezTo>
                      <a:pt x="381" y="743"/>
                      <a:pt x="195" y="814"/>
                      <a:pt x="0" y="864"/>
                    </a:cubicBezTo>
                    <a:close/>
                  </a:path>
                </a:pathLst>
              </a:custGeom>
              <a:solidFill>
                <a:srgbClr val="3E27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9" name="Freeform 37">
                <a:extLst>
                  <a:ext uri="{FF2B5EF4-FFF2-40B4-BE49-F238E27FC236}">
                    <a16:creationId xmlns:a16="http://schemas.microsoft.com/office/drawing/2014/main" id="{04E3E1FF-2D74-4BED-B6DD-9EB526D12A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8" y="1096"/>
                <a:ext cx="278" cy="570"/>
              </a:xfrm>
              <a:custGeom>
                <a:avLst/>
                <a:gdLst>
                  <a:gd name="T0" fmla="*/ 323 w 508"/>
                  <a:gd name="T1" fmla="*/ 1045 h 1045"/>
                  <a:gd name="T2" fmla="*/ 0 w 508"/>
                  <a:gd name="T3" fmla="*/ 53 h 1045"/>
                  <a:gd name="T4" fmla="*/ 78 w 508"/>
                  <a:gd name="T5" fmla="*/ 28 h 1045"/>
                  <a:gd name="T6" fmla="*/ 288 w 508"/>
                  <a:gd name="T7" fmla="*/ 135 h 1045"/>
                  <a:gd name="T8" fmla="*/ 478 w 508"/>
                  <a:gd name="T9" fmla="*/ 446 h 1045"/>
                  <a:gd name="T10" fmla="*/ 507 w 508"/>
                  <a:gd name="T11" fmla="*/ 810 h 1045"/>
                  <a:gd name="T12" fmla="*/ 400 w 508"/>
                  <a:gd name="T13" fmla="*/ 1020 h 1045"/>
                  <a:gd name="T14" fmla="*/ 323 w 508"/>
                  <a:gd name="T15" fmla="*/ 1045 h 10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8" h="1045">
                    <a:moveTo>
                      <a:pt x="323" y="1045"/>
                    </a:moveTo>
                    <a:cubicBezTo>
                      <a:pt x="0" y="53"/>
                      <a:pt x="0" y="53"/>
                      <a:pt x="0" y="53"/>
                    </a:cubicBezTo>
                    <a:cubicBezTo>
                      <a:pt x="78" y="28"/>
                      <a:pt x="78" y="28"/>
                      <a:pt x="78" y="28"/>
                    </a:cubicBezTo>
                    <a:cubicBezTo>
                      <a:pt x="165" y="0"/>
                      <a:pt x="252" y="88"/>
                      <a:pt x="288" y="135"/>
                    </a:cubicBezTo>
                    <a:cubicBezTo>
                      <a:pt x="342" y="208"/>
                      <a:pt x="478" y="446"/>
                      <a:pt x="478" y="446"/>
                    </a:cubicBezTo>
                    <a:cubicBezTo>
                      <a:pt x="478" y="446"/>
                      <a:pt x="508" y="719"/>
                      <a:pt x="507" y="810"/>
                    </a:cubicBezTo>
                    <a:cubicBezTo>
                      <a:pt x="506" y="869"/>
                      <a:pt x="488" y="991"/>
                      <a:pt x="400" y="1020"/>
                    </a:cubicBezTo>
                    <a:lnTo>
                      <a:pt x="323" y="1045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0" name="Freeform 38">
                <a:extLst>
                  <a:ext uri="{FF2B5EF4-FFF2-40B4-BE49-F238E27FC236}">
                    <a16:creationId xmlns:a16="http://schemas.microsoft.com/office/drawing/2014/main" id="{DFAF4CBC-13B9-4AFB-B985-9C838DAFC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1" y="1134"/>
                <a:ext cx="319" cy="502"/>
              </a:xfrm>
              <a:custGeom>
                <a:avLst/>
                <a:gdLst>
                  <a:gd name="T0" fmla="*/ 183 w 583"/>
                  <a:gd name="T1" fmla="*/ 762 h 918"/>
                  <a:gd name="T2" fmla="*/ 183 w 583"/>
                  <a:gd name="T3" fmla="*/ 606 h 918"/>
                  <a:gd name="T4" fmla="*/ 144 w 583"/>
                  <a:gd name="T5" fmla="*/ 487 h 918"/>
                  <a:gd name="T6" fmla="*/ 53 w 583"/>
                  <a:gd name="T7" fmla="*/ 361 h 918"/>
                  <a:gd name="T8" fmla="*/ 226 w 583"/>
                  <a:gd name="T9" fmla="*/ 51 h 918"/>
                  <a:gd name="T10" fmla="*/ 284 w 583"/>
                  <a:gd name="T11" fmla="*/ 0 h 918"/>
                  <a:gd name="T12" fmla="*/ 583 w 583"/>
                  <a:gd name="T13" fmla="*/ 918 h 918"/>
                  <a:gd name="T14" fmla="*/ 506 w 583"/>
                  <a:gd name="T15" fmla="*/ 911 h 918"/>
                  <a:gd name="T16" fmla="*/ 183 w 583"/>
                  <a:gd name="T17" fmla="*/ 762 h 9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3" h="918">
                    <a:moveTo>
                      <a:pt x="183" y="762"/>
                    </a:moveTo>
                    <a:cubicBezTo>
                      <a:pt x="180" y="730"/>
                      <a:pt x="182" y="660"/>
                      <a:pt x="183" y="606"/>
                    </a:cubicBezTo>
                    <a:cubicBezTo>
                      <a:pt x="185" y="563"/>
                      <a:pt x="171" y="521"/>
                      <a:pt x="144" y="487"/>
                    </a:cubicBezTo>
                    <a:cubicBezTo>
                      <a:pt x="112" y="445"/>
                      <a:pt x="69" y="389"/>
                      <a:pt x="53" y="361"/>
                    </a:cubicBezTo>
                    <a:cubicBezTo>
                      <a:pt x="0" y="270"/>
                      <a:pt x="147" y="120"/>
                      <a:pt x="226" y="51"/>
                    </a:cubicBezTo>
                    <a:cubicBezTo>
                      <a:pt x="284" y="0"/>
                      <a:pt x="284" y="0"/>
                      <a:pt x="284" y="0"/>
                    </a:cubicBezTo>
                    <a:cubicBezTo>
                      <a:pt x="583" y="918"/>
                      <a:pt x="583" y="918"/>
                      <a:pt x="583" y="918"/>
                    </a:cubicBezTo>
                    <a:cubicBezTo>
                      <a:pt x="506" y="911"/>
                      <a:pt x="506" y="911"/>
                      <a:pt x="506" y="911"/>
                    </a:cubicBezTo>
                    <a:cubicBezTo>
                      <a:pt x="401" y="902"/>
                      <a:pt x="194" y="867"/>
                      <a:pt x="183" y="762"/>
                    </a:cubicBez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1" name="Freeform 39">
                <a:extLst>
                  <a:ext uri="{FF2B5EF4-FFF2-40B4-BE49-F238E27FC236}">
                    <a16:creationId xmlns:a16="http://schemas.microsoft.com/office/drawing/2014/main" id="{1C89D9E9-38A6-4B58-B4A6-7E540FF95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" y="1182"/>
                <a:ext cx="676" cy="575"/>
              </a:xfrm>
              <a:custGeom>
                <a:avLst/>
                <a:gdLst>
                  <a:gd name="T0" fmla="*/ 1235 w 1235"/>
                  <a:gd name="T1" fmla="*/ 425 h 1054"/>
                  <a:gd name="T2" fmla="*/ 1031 w 1235"/>
                  <a:gd name="T3" fmla="*/ 1054 h 1054"/>
                  <a:gd name="T4" fmla="*/ 75 w 1235"/>
                  <a:gd name="T5" fmla="*/ 743 h 1054"/>
                  <a:gd name="T6" fmla="*/ 280 w 1235"/>
                  <a:gd name="T7" fmla="*/ 114 h 1054"/>
                  <a:gd name="T8" fmla="*/ 1235 w 1235"/>
                  <a:gd name="T9" fmla="*/ 425 h 1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5" h="1054">
                    <a:moveTo>
                      <a:pt x="1235" y="425"/>
                    </a:moveTo>
                    <a:cubicBezTo>
                      <a:pt x="1031" y="1054"/>
                      <a:pt x="1031" y="1054"/>
                      <a:pt x="1031" y="1054"/>
                    </a:cubicBezTo>
                    <a:cubicBezTo>
                      <a:pt x="1031" y="1054"/>
                      <a:pt x="189" y="967"/>
                      <a:pt x="75" y="743"/>
                    </a:cubicBezTo>
                    <a:cubicBezTo>
                      <a:pt x="0" y="596"/>
                      <a:pt x="132" y="189"/>
                      <a:pt x="280" y="114"/>
                    </a:cubicBezTo>
                    <a:cubicBezTo>
                      <a:pt x="503" y="0"/>
                      <a:pt x="1235" y="425"/>
                      <a:pt x="1235" y="425"/>
                    </a:cubicBezTo>
                    <a:close/>
                  </a:path>
                </a:pathLst>
              </a:custGeom>
              <a:solidFill>
                <a:srgbClr val="4A4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2" name="Freeform 40">
                <a:extLst>
                  <a:ext uri="{FF2B5EF4-FFF2-40B4-BE49-F238E27FC236}">
                    <a16:creationId xmlns:a16="http://schemas.microsoft.com/office/drawing/2014/main" id="{58CF7800-E88A-4D46-B3A6-8CFC6C7105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" y="1217"/>
                <a:ext cx="413" cy="397"/>
              </a:xfrm>
              <a:custGeom>
                <a:avLst/>
                <a:gdLst>
                  <a:gd name="T0" fmla="*/ 755 w 755"/>
                  <a:gd name="T1" fmla="*/ 125 h 726"/>
                  <a:gd name="T2" fmla="*/ 319 w 755"/>
                  <a:gd name="T3" fmla="*/ 437 h 726"/>
                  <a:gd name="T4" fmla="*/ 112 w 755"/>
                  <a:gd name="T5" fmla="*/ 726 h 726"/>
                  <a:gd name="T6" fmla="*/ 75 w 755"/>
                  <a:gd name="T7" fmla="*/ 678 h 726"/>
                  <a:gd name="T8" fmla="*/ 280 w 755"/>
                  <a:gd name="T9" fmla="*/ 49 h 726"/>
                  <a:gd name="T10" fmla="*/ 755 w 755"/>
                  <a:gd name="T11" fmla="*/ 125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55" h="726">
                    <a:moveTo>
                      <a:pt x="755" y="125"/>
                    </a:moveTo>
                    <a:cubicBezTo>
                      <a:pt x="579" y="153"/>
                      <a:pt x="345" y="269"/>
                      <a:pt x="319" y="437"/>
                    </a:cubicBezTo>
                    <a:cubicBezTo>
                      <a:pt x="291" y="616"/>
                      <a:pt x="168" y="698"/>
                      <a:pt x="112" y="726"/>
                    </a:cubicBezTo>
                    <a:cubicBezTo>
                      <a:pt x="96" y="711"/>
                      <a:pt x="83" y="695"/>
                      <a:pt x="75" y="678"/>
                    </a:cubicBezTo>
                    <a:cubicBezTo>
                      <a:pt x="0" y="531"/>
                      <a:pt x="132" y="124"/>
                      <a:pt x="280" y="49"/>
                    </a:cubicBezTo>
                    <a:cubicBezTo>
                      <a:pt x="376" y="0"/>
                      <a:pt x="568" y="51"/>
                      <a:pt x="755" y="125"/>
                    </a:cubicBezTo>
                    <a:close/>
                  </a:path>
                </a:pathLst>
              </a:custGeom>
              <a:solidFill>
                <a:srgbClr val="372F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3" name="Freeform 41">
                <a:extLst>
                  <a:ext uri="{FF2B5EF4-FFF2-40B4-BE49-F238E27FC236}">
                    <a16:creationId xmlns:a16="http://schemas.microsoft.com/office/drawing/2014/main" id="{F05E0716-859C-44C2-8CC1-59ED0A94C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3" y="1084"/>
                <a:ext cx="277" cy="571"/>
              </a:xfrm>
              <a:custGeom>
                <a:avLst/>
                <a:gdLst>
                  <a:gd name="T0" fmla="*/ 507 w 507"/>
                  <a:gd name="T1" fmla="*/ 53 h 1045"/>
                  <a:gd name="T2" fmla="*/ 185 w 507"/>
                  <a:gd name="T3" fmla="*/ 1045 h 1045"/>
                  <a:gd name="T4" fmla="*/ 108 w 507"/>
                  <a:gd name="T5" fmla="*/ 1020 h 1045"/>
                  <a:gd name="T6" fmla="*/ 1 w 507"/>
                  <a:gd name="T7" fmla="*/ 810 h 1045"/>
                  <a:gd name="T8" fmla="*/ 30 w 507"/>
                  <a:gd name="T9" fmla="*/ 446 h 1045"/>
                  <a:gd name="T10" fmla="*/ 220 w 507"/>
                  <a:gd name="T11" fmla="*/ 135 h 1045"/>
                  <a:gd name="T12" fmla="*/ 430 w 507"/>
                  <a:gd name="T13" fmla="*/ 28 h 1045"/>
                  <a:gd name="T14" fmla="*/ 507 w 507"/>
                  <a:gd name="T15" fmla="*/ 53 h 10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7" h="1045">
                    <a:moveTo>
                      <a:pt x="507" y="53"/>
                    </a:moveTo>
                    <a:cubicBezTo>
                      <a:pt x="185" y="1045"/>
                      <a:pt x="185" y="1045"/>
                      <a:pt x="185" y="1045"/>
                    </a:cubicBezTo>
                    <a:cubicBezTo>
                      <a:pt x="108" y="1020"/>
                      <a:pt x="108" y="1020"/>
                      <a:pt x="108" y="1020"/>
                    </a:cubicBezTo>
                    <a:cubicBezTo>
                      <a:pt x="20" y="991"/>
                      <a:pt x="2" y="869"/>
                      <a:pt x="1" y="810"/>
                    </a:cubicBezTo>
                    <a:cubicBezTo>
                      <a:pt x="0" y="719"/>
                      <a:pt x="30" y="446"/>
                      <a:pt x="30" y="446"/>
                    </a:cubicBezTo>
                    <a:cubicBezTo>
                      <a:pt x="30" y="446"/>
                      <a:pt x="166" y="208"/>
                      <a:pt x="220" y="135"/>
                    </a:cubicBezTo>
                    <a:cubicBezTo>
                      <a:pt x="255" y="88"/>
                      <a:pt x="342" y="0"/>
                      <a:pt x="430" y="28"/>
                    </a:cubicBezTo>
                    <a:lnTo>
                      <a:pt x="507" y="53"/>
                    </a:ln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4" name="Freeform 42">
                <a:extLst>
                  <a:ext uri="{FF2B5EF4-FFF2-40B4-BE49-F238E27FC236}">
                    <a16:creationId xmlns:a16="http://schemas.microsoft.com/office/drawing/2014/main" id="{C5EA4983-78FE-486E-B0B0-52A3345D6F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8" y="1124"/>
                <a:ext cx="319" cy="502"/>
              </a:xfrm>
              <a:custGeom>
                <a:avLst/>
                <a:gdLst>
                  <a:gd name="T0" fmla="*/ 530 w 583"/>
                  <a:gd name="T1" fmla="*/ 361 h 919"/>
                  <a:gd name="T2" fmla="*/ 439 w 583"/>
                  <a:gd name="T3" fmla="*/ 487 h 919"/>
                  <a:gd name="T4" fmla="*/ 400 w 583"/>
                  <a:gd name="T5" fmla="*/ 607 h 919"/>
                  <a:gd name="T6" fmla="*/ 400 w 583"/>
                  <a:gd name="T7" fmla="*/ 763 h 919"/>
                  <a:gd name="T8" fmla="*/ 78 w 583"/>
                  <a:gd name="T9" fmla="*/ 912 h 919"/>
                  <a:gd name="T10" fmla="*/ 0 w 583"/>
                  <a:gd name="T11" fmla="*/ 919 h 919"/>
                  <a:gd name="T12" fmla="*/ 299 w 583"/>
                  <a:gd name="T13" fmla="*/ 0 h 919"/>
                  <a:gd name="T14" fmla="*/ 357 w 583"/>
                  <a:gd name="T15" fmla="*/ 51 h 919"/>
                  <a:gd name="T16" fmla="*/ 530 w 583"/>
                  <a:gd name="T17" fmla="*/ 361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3" h="919">
                    <a:moveTo>
                      <a:pt x="530" y="361"/>
                    </a:moveTo>
                    <a:cubicBezTo>
                      <a:pt x="514" y="389"/>
                      <a:pt x="471" y="445"/>
                      <a:pt x="439" y="487"/>
                    </a:cubicBezTo>
                    <a:cubicBezTo>
                      <a:pt x="412" y="521"/>
                      <a:pt x="398" y="564"/>
                      <a:pt x="400" y="607"/>
                    </a:cubicBezTo>
                    <a:cubicBezTo>
                      <a:pt x="402" y="660"/>
                      <a:pt x="403" y="730"/>
                      <a:pt x="400" y="763"/>
                    </a:cubicBezTo>
                    <a:cubicBezTo>
                      <a:pt x="389" y="867"/>
                      <a:pt x="182" y="902"/>
                      <a:pt x="78" y="912"/>
                    </a:cubicBezTo>
                    <a:cubicBezTo>
                      <a:pt x="0" y="919"/>
                      <a:pt x="0" y="919"/>
                      <a:pt x="0" y="919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357" y="51"/>
                      <a:pt x="357" y="51"/>
                      <a:pt x="357" y="51"/>
                    </a:cubicBezTo>
                    <a:cubicBezTo>
                      <a:pt x="436" y="120"/>
                      <a:pt x="583" y="270"/>
                      <a:pt x="530" y="361"/>
                    </a:cubicBez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5" name="Freeform 43">
                <a:extLst>
                  <a:ext uri="{FF2B5EF4-FFF2-40B4-BE49-F238E27FC236}">
                    <a16:creationId xmlns:a16="http://schemas.microsoft.com/office/drawing/2014/main" id="{88A0CF3D-29DB-4F98-A884-0871A6CC5F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4" y="2268"/>
                <a:ext cx="632" cy="661"/>
              </a:xfrm>
              <a:custGeom>
                <a:avLst/>
                <a:gdLst>
                  <a:gd name="T0" fmla="*/ 1153 w 1155"/>
                  <a:gd name="T1" fmla="*/ 770 h 1210"/>
                  <a:gd name="T2" fmla="*/ 646 w 1155"/>
                  <a:gd name="T3" fmla="*/ 1196 h 1210"/>
                  <a:gd name="T4" fmla="*/ 439 w 1155"/>
                  <a:gd name="T5" fmla="*/ 1065 h 1210"/>
                  <a:gd name="T6" fmla="*/ 284 w 1155"/>
                  <a:gd name="T7" fmla="*/ 879 h 1210"/>
                  <a:gd name="T8" fmla="*/ 0 w 1155"/>
                  <a:gd name="T9" fmla="*/ 426 h 1210"/>
                  <a:gd name="T10" fmla="*/ 507 w 1155"/>
                  <a:gd name="T11" fmla="*/ 0 h 1210"/>
                  <a:gd name="T12" fmla="*/ 855 w 1155"/>
                  <a:gd name="T13" fmla="*/ 307 h 1210"/>
                  <a:gd name="T14" fmla="*/ 996 w 1155"/>
                  <a:gd name="T15" fmla="*/ 460 h 1210"/>
                  <a:gd name="T16" fmla="*/ 1147 w 1155"/>
                  <a:gd name="T17" fmla="*/ 711 h 1210"/>
                  <a:gd name="T18" fmla="*/ 1153 w 1155"/>
                  <a:gd name="T19" fmla="*/ 770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5" h="1210">
                    <a:moveTo>
                      <a:pt x="1153" y="770"/>
                    </a:moveTo>
                    <a:cubicBezTo>
                      <a:pt x="1139" y="935"/>
                      <a:pt x="811" y="1210"/>
                      <a:pt x="646" y="1196"/>
                    </a:cubicBezTo>
                    <a:cubicBezTo>
                      <a:pt x="584" y="1190"/>
                      <a:pt x="512" y="1139"/>
                      <a:pt x="439" y="1065"/>
                    </a:cubicBezTo>
                    <a:cubicBezTo>
                      <a:pt x="386" y="1012"/>
                      <a:pt x="334" y="947"/>
                      <a:pt x="284" y="879"/>
                    </a:cubicBezTo>
                    <a:cubicBezTo>
                      <a:pt x="128" y="667"/>
                      <a:pt x="0" y="426"/>
                      <a:pt x="0" y="426"/>
                    </a:cubicBezTo>
                    <a:cubicBezTo>
                      <a:pt x="507" y="0"/>
                      <a:pt x="507" y="0"/>
                      <a:pt x="507" y="0"/>
                    </a:cubicBezTo>
                    <a:cubicBezTo>
                      <a:pt x="507" y="0"/>
                      <a:pt x="686" y="139"/>
                      <a:pt x="855" y="307"/>
                    </a:cubicBezTo>
                    <a:cubicBezTo>
                      <a:pt x="904" y="357"/>
                      <a:pt x="953" y="408"/>
                      <a:pt x="996" y="460"/>
                    </a:cubicBezTo>
                    <a:cubicBezTo>
                      <a:pt x="1070" y="548"/>
                      <a:pt x="1129" y="637"/>
                      <a:pt x="1147" y="711"/>
                    </a:cubicBezTo>
                    <a:cubicBezTo>
                      <a:pt x="1153" y="732"/>
                      <a:pt x="1155" y="752"/>
                      <a:pt x="1153" y="770"/>
                    </a:cubicBez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6" name="Freeform 44">
                <a:extLst>
                  <a:ext uri="{FF2B5EF4-FFF2-40B4-BE49-F238E27FC236}">
                    <a16:creationId xmlns:a16="http://schemas.microsoft.com/office/drawing/2014/main" id="{CDBB5449-D19B-4035-9AB5-CF4F41C729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5" y="2520"/>
                <a:ext cx="391" cy="409"/>
              </a:xfrm>
              <a:custGeom>
                <a:avLst/>
                <a:gdLst>
                  <a:gd name="T0" fmla="*/ 714 w 716"/>
                  <a:gd name="T1" fmla="*/ 310 h 750"/>
                  <a:gd name="T2" fmla="*/ 207 w 716"/>
                  <a:gd name="T3" fmla="*/ 736 h 750"/>
                  <a:gd name="T4" fmla="*/ 0 w 716"/>
                  <a:gd name="T5" fmla="*/ 605 h 750"/>
                  <a:gd name="T6" fmla="*/ 371 w 716"/>
                  <a:gd name="T7" fmla="*/ 346 h 750"/>
                  <a:gd name="T8" fmla="*/ 557 w 716"/>
                  <a:gd name="T9" fmla="*/ 0 h 750"/>
                  <a:gd name="T10" fmla="*/ 708 w 716"/>
                  <a:gd name="T11" fmla="*/ 251 h 750"/>
                  <a:gd name="T12" fmla="*/ 714 w 716"/>
                  <a:gd name="T13" fmla="*/ 31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6" h="750">
                    <a:moveTo>
                      <a:pt x="714" y="310"/>
                    </a:moveTo>
                    <a:cubicBezTo>
                      <a:pt x="700" y="475"/>
                      <a:pt x="372" y="750"/>
                      <a:pt x="207" y="736"/>
                    </a:cubicBezTo>
                    <a:cubicBezTo>
                      <a:pt x="145" y="730"/>
                      <a:pt x="73" y="679"/>
                      <a:pt x="0" y="605"/>
                    </a:cubicBezTo>
                    <a:cubicBezTo>
                      <a:pt x="168" y="609"/>
                      <a:pt x="368" y="481"/>
                      <a:pt x="371" y="346"/>
                    </a:cubicBezTo>
                    <a:cubicBezTo>
                      <a:pt x="375" y="174"/>
                      <a:pt x="483" y="79"/>
                      <a:pt x="557" y="0"/>
                    </a:cubicBezTo>
                    <a:cubicBezTo>
                      <a:pt x="631" y="88"/>
                      <a:pt x="690" y="177"/>
                      <a:pt x="708" y="251"/>
                    </a:cubicBezTo>
                    <a:cubicBezTo>
                      <a:pt x="714" y="272"/>
                      <a:pt x="716" y="292"/>
                      <a:pt x="714" y="310"/>
                    </a:cubicBezTo>
                    <a:close/>
                  </a:path>
                </a:pathLst>
              </a:custGeom>
              <a:solidFill>
                <a:srgbClr val="EC40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7" name="Freeform 45">
                <a:extLst>
                  <a:ext uri="{FF2B5EF4-FFF2-40B4-BE49-F238E27FC236}">
                    <a16:creationId xmlns:a16="http://schemas.microsoft.com/office/drawing/2014/main" id="{35AE25BB-1973-4B47-B8E9-E4715CE4E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2" y="2695"/>
                <a:ext cx="499" cy="438"/>
              </a:xfrm>
              <a:custGeom>
                <a:avLst/>
                <a:gdLst>
                  <a:gd name="T0" fmla="*/ 0 w 910"/>
                  <a:gd name="T1" fmla="*/ 670 h 803"/>
                  <a:gd name="T2" fmla="*/ 799 w 910"/>
                  <a:gd name="T3" fmla="*/ 0 h 803"/>
                  <a:gd name="T4" fmla="*/ 851 w 910"/>
                  <a:gd name="T5" fmla="*/ 62 h 803"/>
                  <a:gd name="T6" fmla="*/ 831 w 910"/>
                  <a:gd name="T7" fmla="*/ 297 h 803"/>
                  <a:gd name="T8" fmla="*/ 614 w 910"/>
                  <a:gd name="T9" fmla="*/ 590 h 803"/>
                  <a:gd name="T10" fmla="*/ 287 w 910"/>
                  <a:gd name="T11" fmla="*/ 753 h 803"/>
                  <a:gd name="T12" fmla="*/ 53 w 910"/>
                  <a:gd name="T13" fmla="*/ 732 h 803"/>
                  <a:gd name="T14" fmla="*/ 0 w 910"/>
                  <a:gd name="T15" fmla="*/ 670 h 8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0" h="803">
                    <a:moveTo>
                      <a:pt x="0" y="670"/>
                    </a:moveTo>
                    <a:cubicBezTo>
                      <a:pt x="799" y="0"/>
                      <a:pt x="799" y="0"/>
                      <a:pt x="799" y="0"/>
                    </a:cubicBezTo>
                    <a:cubicBezTo>
                      <a:pt x="851" y="62"/>
                      <a:pt x="851" y="62"/>
                      <a:pt x="851" y="62"/>
                    </a:cubicBezTo>
                    <a:cubicBezTo>
                      <a:pt x="910" y="133"/>
                      <a:pt x="861" y="246"/>
                      <a:pt x="831" y="297"/>
                    </a:cubicBezTo>
                    <a:cubicBezTo>
                      <a:pt x="784" y="375"/>
                      <a:pt x="614" y="590"/>
                      <a:pt x="614" y="590"/>
                    </a:cubicBezTo>
                    <a:cubicBezTo>
                      <a:pt x="614" y="590"/>
                      <a:pt x="372" y="720"/>
                      <a:pt x="287" y="753"/>
                    </a:cubicBezTo>
                    <a:cubicBezTo>
                      <a:pt x="232" y="774"/>
                      <a:pt x="112" y="803"/>
                      <a:pt x="53" y="732"/>
                    </a:cubicBezTo>
                    <a:lnTo>
                      <a:pt x="0" y="670"/>
                    </a:ln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8" name="Freeform 46">
                <a:extLst>
                  <a:ext uri="{FF2B5EF4-FFF2-40B4-BE49-F238E27FC236}">
                    <a16:creationId xmlns:a16="http://schemas.microsoft.com/office/drawing/2014/main" id="{0607F2B9-52D5-46E4-B79A-412D7CFB54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" y="2651"/>
                <a:ext cx="459" cy="428"/>
              </a:xfrm>
              <a:custGeom>
                <a:avLst/>
                <a:gdLst>
                  <a:gd name="T0" fmla="*/ 92 w 837"/>
                  <a:gd name="T1" fmla="*/ 354 h 783"/>
                  <a:gd name="T2" fmla="*/ 237 w 837"/>
                  <a:gd name="T3" fmla="*/ 296 h 783"/>
                  <a:gd name="T4" fmla="*/ 333 w 837"/>
                  <a:gd name="T5" fmla="*/ 215 h 783"/>
                  <a:gd name="T6" fmla="*/ 416 w 837"/>
                  <a:gd name="T7" fmla="*/ 83 h 783"/>
                  <a:gd name="T8" fmla="*/ 768 w 837"/>
                  <a:gd name="T9" fmla="*/ 127 h 783"/>
                  <a:gd name="T10" fmla="*/ 837 w 837"/>
                  <a:gd name="T11" fmla="*/ 162 h 783"/>
                  <a:gd name="T12" fmla="*/ 97 w 837"/>
                  <a:gd name="T13" fmla="*/ 783 h 783"/>
                  <a:gd name="T14" fmla="*/ 75 w 837"/>
                  <a:gd name="T15" fmla="*/ 709 h 783"/>
                  <a:gd name="T16" fmla="*/ 92 w 837"/>
                  <a:gd name="T17" fmla="*/ 354 h 7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37" h="783">
                    <a:moveTo>
                      <a:pt x="92" y="354"/>
                    </a:moveTo>
                    <a:cubicBezTo>
                      <a:pt x="121" y="339"/>
                      <a:pt x="187" y="314"/>
                      <a:pt x="237" y="296"/>
                    </a:cubicBezTo>
                    <a:cubicBezTo>
                      <a:pt x="277" y="281"/>
                      <a:pt x="311" y="252"/>
                      <a:pt x="333" y="215"/>
                    </a:cubicBezTo>
                    <a:cubicBezTo>
                      <a:pt x="360" y="169"/>
                      <a:pt x="396" y="109"/>
                      <a:pt x="416" y="83"/>
                    </a:cubicBezTo>
                    <a:cubicBezTo>
                      <a:pt x="480" y="0"/>
                      <a:pt x="674" y="80"/>
                      <a:pt x="768" y="127"/>
                    </a:cubicBezTo>
                    <a:cubicBezTo>
                      <a:pt x="837" y="162"/>
                      <a:pt x="837" y="162"/>
                      <a:pt x="837" y="162"/>
                    </a:cubicBezTo>
                    <a:cubicBezTo>
                      <a:pt x="97" y="783"/>
                      <a:pt x="97" y="783"/>
                      <a:pt x="97" y="783"/>
                    </a:cubicBezTo>
                    <a:cubicBezTo>
                      <a:pt x="75" y="709"/>
                      <a:pt x="75" y="709"/>
                      <a:pt x="75" y="709"/>
                    </a:cubicBezTo>
                    <a:cubicBezTo>
                      <a:pt x="45" y="608"/>
                      <a:pt x="0" y="403"/>
                      <a:pt x="92" y="354"/>
                    </a:cubicBez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9" name="Freeform 47">
                <a:extLst>
                  <a:ext uri="{FF2B5EF4-FFF2-40B4-BE49-F238E27FC236}">
                    <a16:creationId xmlns:a16="http://schemas.microsoft.com/office/drawing/2014/main" id="{F5BD1795-2483-49C4-B803-BF4627B2C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2" y="2240"/>
                <a:ext cx="709" cy="722"/>
              </a:xfrm>
              <a:custGeom>
                <a:avLst/>
                <a:gdLst>
                  <a:gd name="T0" fmla="*/ 772 w 1295"/>
                  <a:gd name="T1" fmla="*/ 0 h 1324"/>
                  <a:gd name="T2" fmla="*/ 987 w 1295"/>
                  <a:gd name="T3" fmla="*/ 181 h 1324"/>
                  <a:gd name="T4" fmla="*/ 474 w 1295"/>
                  <a:gd name="T5" fmla="*/ 832 h 1324"/>
                  <a:gd name="T6" fmla="*/ 369 w 1295"/>
                  <a:gd name="T7" fmla="*/ 1007 h 1324"/>
                  <a:gd name="T8" fmla="*/ 506 w 1295"/>
                  <a:gd name="T9" fmla="*/ 879 h 1324"/>
                  <a:gd name="T10" fmla="*/ 1058 w 1295"/>
                  <a:gd name="T11" fmla="*/ 241 h 1324"/>
                  <a:gd name="T12" fmla="*/ 1295 w 1295"/>
                  <a:gd name="T13" fmla="*/ 440 h 1324"/>
                  <a:gd name="T14" fmla="*/ 657 w 1295"/>
                  <a:gd name="T15" fmla="*/ 1323 h 1324"/>
                  <a:gd name="T16" fmla="*/ 12 w 1295"/>
                  <a:gd name="T17" fmla="*/ 782 h 1324"/>
                  <a:gd name="T18" fmla="*/ 772 w 1295"/>
                  <a:gd name="T19" fmla="*/ 0 h 1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95" h="1324">
                    <a:moveTo>
                      <a:pt x="772" y="0"/>
                    </a:moveTo>
                    <a:cubicBezTo>
                      <a:pt x="987" y="181"/>
                      <a:pt x="987" y="181"/>
                      <a:pt x="987" y="181"/>
                    </a:cubicBezTo>
                    <a:cubicBezTo>
                      <a:pt x="987" y="181"/>
                      <a:pt x="651" y="589"/>
                      <a:pt x="474" y="832"/>
                    </a:cubicBezTo>
                    <a:cubicBezTo>
                      <a:pt x="404" y="928"/>
                      <a:pt x="358" y="998"/>
                      <a:pt x="369" y="1007"/>
                    </a:cubicBezTo>
                    <a:cubicBezTo>
                      <a:pt x="377" y="1013"/>
                      <a:pt x="431" y="960"/>
                      <a:pt x="506" y="879"/>
                    </a:cubicBezTo>
                    <a:cubicBezTo>
                      <a:pt x="708" y="660"/>
                      <a:pt x="1058" y="241"/>
                      <a:pt x="1058" y="241"/>
                    </a:cubicBezTo>
                    <a:cubicBezTo>
                      <a:pt x="1295" y="440"/>
                      <a:pt x="1295" y="440"/>
                      <a:pt x="1295" y="440"/>
                    </a:cubicBezTo>
                    <a:cubicBezTo>
                      <a:pt x="1295" y="440"/>
                      <a:pt x="743" y="1324"/>
                      <a:pt x="657" y="1323"/>
                    </a:cubicBezTo>
                    <a:cubicBezTo>
                      <a:pt x="469" y="1322"/>
                      <a:pt x="32" y="961"/>
                      <a:pt x="12" y="782"/>
                    </a:cubicBezTo>
                    <a:cubicBezTo>
                      <a:pt x="0" y="675"/>
                      <a:pt x="772" y="0"/>
                      <a:pt x="772" y="0"/>
                    </a:cubicBezTo>
                  </a:path>
                </a:pathLst>
              </a:custGeom>
              <a:solidFill>
                <a:srgbClr val="213C4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0" name="Freeform 48">
                <a:extLst>
                  <a:ext uri="{FF2B5EF4-FFF2-40B4-BE49-F238E27FC236}">
                    <a16:creationId xmlns:a16="http://schemas.microsoft.com/office/drawing/2014/main" id="{263482B7-8058-45E6-8794-89CD4192F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5" y="2460"/>
                <a:ext cx="430" cy="502"/>
              </a:xfrm>
              <a:custGeom>
                <a:avLst/>
                <a:gdLst>
                  <a:gd name="T0" fmla="*/ 326 w 785"/>
                  <a:gd name="T1" fmla="*/ 0 h 919"/>
                  <a:gd name="T2" fmla="*/ 516 w 785"/>
                  <a:gd name="T3" fmla="*/ 363 h 919"/>
                  <a:gd name="T4" fmla="*/ 468 w 785"/>
                  <a:gd name="T5" fmla="*/ 427 h 919"/>
                  <a:gd name="T6" fmla="*/ 363 w 785"/>
                  <a:gd name="T7" fmla="*/ 603 h 919"/>
                  <a:gd name="T8" fmla="*/ 500 w 785"/>
                  <a:gd name="T9" fmla="*/ 475 h 919"/>
                  <a:gd name="T10" fmla="*/ 549 w 785"/>
                  <a:gd name="T11" fmla="*/ 421 h 919"/>
                  <a:gd name="T12" fmla="*/ 785 w 785"/>
                  <a:gd name="T13" fmla="*/ 784 h 919"/>
                  <a:gd name="T14" fmla="*/ 651 w 785"/>
                  <a:gd name="T15" fmla="*/ 919 h 919"/>
                  <a:gd name="T16" fmla="*/ 6 w 785"/>
                  <a:gd name="T17" fmla="*/ 378 h 919"/>
                  <a:gd name="T18" fmla="*/ 326 w 785"/>
                  <a:gd name="T19" fmla="*/ 0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5" h="919">
                    <a:moveTo>
                      <a:pt x="326" y="0"/>
                    </a:moveTo>
                    <a:cubicBezTo>
                      <a:pt x="384" y="118"/>
                      <a:pt x="449" y="243"/>
                      <a:pt x="516" y="363"/>
                    </a:cubicBezTo>
                    <a:cubicBezTo>
                      <a:pt x="499" y="385"/>
                      <a:pt x="483" y="407"/>
                      <a:pt x="468" y="427"/>
                    </a:cubicBezTo>
                    <a:cubicBezTo>
                      <a:pt x="398" y="524"/>
                      <a:pt x="352" y="594"/>
                      <a:pt x="363" y="603"/>
                    </a:cubicBezTo>
                    <a:cubicBezTo>
                      <a:pt x="371" y="609"/>
                      <a:pt x="425" y="556"/>
                      <a:pt x="500" y="475"/>
                    </a:cubicBezTo>
                    <a:cubicBezTo>
                      <a:pt x="516" y="458"/>
                      <a:pt x="532" y="440"/>
                      <a:pt x="549" y="421"/>
                    </a:cubicBezTo>
                    <a:cubicBezTo>
                      <a:pt x="629" y="560"/>
                      <a:pt x="710" y="689"/>
                      <a:pt x="785" y="784"/>
                    </a:cubicBezTo>
                    <a:cubicBezTo>
                      <a:pt x="722" y="866"/>
                      <a:pt x="672" y="919"/>
                      <a:pt x="651" y="919"/>
                    </a:cubicBezTo>
                    <a:cubicBezTo>
                      <a:pt x="463" y="918"/>
                      <a:pt x="26" y="557"/>
                      <a:pt x="6" y="378"/>
                    </a:cubicBezTo>
                    <a:cubicBezTo>
                      <a:pt x="0" y="330"/>
                      <a:pt x="155" y="166"/>
                      <a:pt x="326" y="0"/>
                    </a:cubicBezTo>
                    <a:close/>
                  </a:path>
                </a:pathLst>
              </a:custGeom>
              <a:solidFill>
                <a:srgbClr val="1B33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1" name="Freeform 49">
                <a:extLst>
                  <a:ext uri="{FF2B5EF4-FFF2-40B4-BE49-F238E27FC236}">
                    <a16:creationId xmlns:a16="http://schemas.microsoft.com/office/drawing/2014/main" id="{EE5AAC3D-3209-4B7B-A086-4B4B2BA22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2" y="2627"/>
                <a:ext cx="614" cy="548"/>
              </a:xfrm>
              <a:custGeom>
                <a:avLst/>
                <a:gdLst>
                  <a:gd name="T0" fmla="*/ 176 w 1122"/>
                  <a:gd name="T1" fmla="*/ 0 h 1004"/>
                  <a:gd name="T2" fmla="*/ 1122 w 1122"/>
                  <a:gd name="T3" fmla="*/ 793 h 1004"/>
                  <a:gd name="T4" fmla="*/ 1021 w 1122"/>
                  <a:gd name="T5" fmla="*/ 914 h 1004"/>
                  <a:gd name="T6" fmla="*/ 410 w 1122"/>
                  <a:gd name="T7" fmla="*/ 682 h 1004"/>
                  <a:gd name="T8" fmla="*/ 75 w 1122"/>
                  <a:gd name="T9" fmla="*/ 120 h 1004"/>
                  <a:gd name="T10" fmla="*/ 176 w 1122"/>
                  <a:gd name="T11" fmla="*/ 0 h 1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22" h="1004">
                    <a:moveTo>
                      <a:pt x="176" y="0"/>
                    </a:moveTo>
                    <a:cubicBezTo>
                      <a:pt x="1122" y="793"/>
                      <a:pt x="1122" y="793"/>
                      <a:pt x="1122" y="793"/>
                    </a:cubicBezTo>
                    <a:cubicBezTo>
                      <a:pt x="1021" y="914"/>
                      <a:pt x="1021" y="914"/>
                      <a:pt x="1021" y="914"/>
                    </a:cubicBezTo>
                    <a:cubicBezTo>
                      <a:pt x="946" y="1004"/>
                      <a:pt x="699" y="924"/>
                      <a:pt x="410" y="682"/>
                    </a:cubicBezTo>
                    <a:cubicBezTo>
                      <a:pt x="105" y="426"/>
                      <a:pt x="0" y="210"/>
                      <a:pt x="75" y="120"/>
                    </a:cubicBezTo>
                    <a:cubicBezTo>
                      <a:pt x="92" y="100"/>
                      <a:pt x="176" y="0"/>
                      <a:pt x="176" y="0"/>
                    </a:cubicBezTo>
                    <a:close/>
                  </a:path>
                </a:pathLst>
              </a:custGeom>
              <a:solidFill>
                <a:srgbClr val="4470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2" name="Freeform 50">
                <a:extLst>
                  <a:ext uri="{FF2B5EF4-FFF2-40B4-BE49-F238E27FC236}">
                    <a16:creationId xmlns:a16="http://schemas.microsoft.com/office/drawing/2014/main" id="{1F56ABCF-2BC2-41A6-8E90-EB4A758B57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9" y="2610"/>
                <a:ext cx="490" cy="441"/>
              </a:xfrm>
              <a:custGeom>
                <a:avLst/>
                <a:gdLst>
                  <a:gd name="T0" fmla="*/ 420 w 896"/>
                  <a:gd name="T1" fmla="*/ 86 h 808"/>
                  <a:gd name="T2" fmla="*/ 783 w 896"/>
                  <a:gd name="T3" fmla="*/ 390 h 808"/>
                  <a:gd name="T4" fmla="*/ 859 w 896"/>
                  <a:gd name="T5" fmla="*/ 651 h 808"/>
                  <a:gd name="T6" fmla="*/ 830 w 896"/>
                  <a:gd name="T7" fmla="*/ 808 h 808"/>
                  <a:gd name="T8" fmla="*/ 0 w 896"/>
                  <a:gd name="T9" fmla="*/ 111 h 808"/>
                  <a:gd name="T10" fmla="*/ 150 w 896"/>
                  <a:gd name="T11" fmla="*/ 56 h 808"/>
                  <a:gd name="T12" fmla="*/ 420 w 896"/>
                  <a:gd name="T13" fmla="*/ 86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96" h="808">
                    <a:moveTo>
                      <a:pt x="420" y="86"/>
                    </a:moveTo>
                    <a:cubicBezTo>
                      <a:pt x="512" y="160"/>
                      <a:pt x="693" y="313"/>
                      <a:pt x="783" y="390"/>
                    </a:cubicBezTo>
                    <a:cubicBezTo>
                      <a:pt x="838" y="439"/>
                      <a:pt x="896" y="541"/>
                      <a:pt x="859" y="651"/>
                    </a:cubicBezTo>
                    <a:cubicBezTo>
                      <a:pt x="830" y="808"/>
                      <a:pt x="830" y="808"/>
                      <a:pt x="830" y="808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252" y="0"/>
                      <a:pt x="362" y="39"/>
                      <a:pt x="420" y="86"/>
                    </a:cubicBezTo>
                    <a:close/>
                  </a:path>
                </a:pathLst>
              </a:custGeom>
              <a:solidFill>
                <a:srgbClr val="4470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3" name="Freeform 51">
                <a:extLst>
                  <a:ext uri="{FF2B5EF4-FFF2-40B4-BE49-F238E27FC236}">
                    <a16:creationId xmlns:a16="http://schemas.microsoft.com/office/drawing/2014/main" id="{7E7A7239-7E27-4D36-9211-068044E882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4" y="2684"/>
                <a:ext cx="407" cy="405"/>
              </a:xfrm>
              <a:custGeom>
                <a:avLst/>
                <a:gdLst>
                  <a:gd name="T0" fmla="*/ 126 w 743"/>
                  <a:gd name="T1" fmla="*/ 179 h 741"/>
                  <a:gd name="T2" fmla="*/ 599 w 743"/>
                  <a:gd name="T3" fmla="*/ 114 h 741"/>
                  <a:gd name="T4" fmla="*/ 617 w 743"/>
                  <a:gd name="T5" fmla="*/ 591 h 741"/>
                  <a:gd name="T6" fmla="*/ 172 w 743"/>
                  <a:gd name="T7" fmla="*/ 623 h 741"/>
                  <a:gd name="T8" fmla="*/ 126 w 743"/>
                  <a:gd name="T9" fmla="*/ 179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3" h="741">
                    <a:moveTo>
                      <a:pt x="126" y="179"/>
                    </a:moveTo>
                    <a:cubicBezTo>
                      <a:pt x="251" y="29"/>
                      <a:pt x="463" y="0"/>
                      <a:pt x="599" y="114"/>
                    </a:cubicBezTo>
                    <a:cubicBezTo>
                      <a:pt x="735" y="228"/>
                      <a:pt x="743" y="442"/>
                      <a:pt x="617" y="591"/>
                    </a:cubicBezTo>
                    <a:cubicBezTo>
                      <a:pt x="491" y="741"/>
                      <a:pt x="307" y="737"/>
                      <a:pt x="172" y="623"/>
                    </a:cubicBezTo>
                    <a:cubicBezTo>
                      <a:pt x="36" y="509"/>
                      <a:pt x="0" y="329"/>
                      <a:pt x="126" y="179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" name="Freeform 52">
                <a:extLst>
                  <a:ext uri="{FF2B5EF4-FFF2-40B4-BE49-F238E27FC236}">
                    <a16:creationId xmlns:a16="http://schemas.microsoft.com/office/drawing/2014/main" id="{B158B3FC-FF73-4F0B-B547-E7B5ADB0A1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9" y="2723"/>
                <a:ext cx="442" cy="405"/>
              </a:xfrm>
              <a:custGeom>
                <a:avLst/>
                <a:gdLst>
                  <a:gd name="T0" fmla="*/ 142 w 806"/>
                  <a:gd name="T1" fmla="*/ 134 h 741"/>
                  <a:gd name="T2" fmla="*/ 365 w 806"/>
                  <a:gd name="T3" fmla="*/ 4 h 741"/>
                  <a:gd name="T4" fmla="*/ 457 w 806"/>
                  <a:gd name="T5" fmla="*/ 57 h 741"/>
                  <a:gd name="T6" fmla="*/ 637 w 806"/>
                  <a:gd name="T7" fmla="*/ 74 h 741"/>
                  <a:gd name="T8" fmla="*/ 664 w 806"/>
                  <a:gd name="T9" fmla="*/ 572 h 741"/>
                  <a:gd name="T10" fmla="*/ 223 w 806"/>
                  <a:gd name="T11" fmla="*/ 568 h 741"/>
                  <a:gd name="T12" fmla="*/ 142 w 806"/>
                  <a:gd name="T13" fmla="*/ 134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6" h="741">
                    <a:moveTo>
                      <a:pt x="142" y="134"/>
                    </a:moveTo>
                    <a:cubicBezTo>
                      <a:pt x="208" y="54"/>
                      <a:pt x="292" y="0"/>
                      <a:pt x="365" y="4"/>
                    </a:cubicBezTo>
                    <a:cubicBezTo>
                      <a:pt x="400" y="6"/>
                      <a:pt x="419" y="49"/>
                      <a:pt x="457" y="57"/>
                    </a:cubicBezTo>
                    <a:cubicBezTo>
                      <a:pt x="510" y="69"/>
                      <a:pt x="552" y="4"/>
                      <a:pt x="637" y="74"/>
                    </a:cubicBezTo>
                    <a:cubicBezTo>
                      <a:pt x="783" y="194"/>
                      <a:pt x="806" y="403"/>
                      <a:pt x="664" y="572"/>
                    </a:cubicBezTo>
                    <a:cubicBezTo>
                      <a:pt x="522" y="741"/>
                      <a:pt x="367" y="689"/>
                      <a:pt x="223" y="568"/>
                    </a:cubicBezTo>
                    <a:cubicBezTo>
                      <a:pt x="78" y="447"/>
                      <a:pt x="0" y="303"/>
                      <a:pt x="142" y="134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" name="Freeform 53">
                <a:extLst>
                  <a:ext uri="{FF2B5EF4-FFF2-40B4-BE49-F238E27FC236}">
                    <a16:creationId xmlns:a16="http://schemas.microsoft.com/office/drawing/2014/main" id="{16413F5E-70EB-47F8-8FC2-807885A30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5" y="2743"/>
                <a:ext cx="374" cy="361"/>
              </a:xfrm>
              <a:custGeom>
                <a:avLst/>
                <a:gdLst>
                  <a:gd name="T0" fmla="*/ 127 w 684"/>
                  <a:gd name="T1" fmla="*/ 177 h 661"/>
                  <a:gd name="T2" fmla="*/ 314 w 684"/>
                  <a:gd name="T3" fmla="*/ 49 h 661"/>
                  <a:gd name="T4" fmla="*/ 390 w 684"/>
                  <a:gd name="T5" fmla="*/ 69 h 661"/>
                  <a:gd name="T6" fmla="*/ 533 w 684"/>
                  <a:gd name="T7" fmla="*/ 62 h 661"/>
                  <a:gd name="T8" fmla="*/ 557 w 684"/>
                  <a:gd name="T9" fmla="*/ 510 h 661"/>
                  <a:gd name="T10" fmla="*/ 161 w 684"/>
                  <a:gd name="T11" fmla="*/ 506 h 661"/>
                  <a:gd name="T12" fmla="*/ 127 w 684"/>
                  <a:gd name="T13" fmla="*/ 177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4" h="661">
                    <a:moveTo>
                      <a:pt x="127" y="177"/>
                    </a:moveTo>
                    <a:cubicBezTo>
                      <a:pt x="187" y="105"/>
                      <a:pt x="248" y="45"/>
                      <a:pt x="314" y="49"/>
                    </a:cubicBezTo>
                    <a:cubicBezTo>
                      <a:pt x="345" y="51"/>
                      <a:pt x="356" y="62"/>
                      <a:pt x="390" y="69"/>
                    </a:cubicBezTo>
                    <a:cubicBezTo>
                      <a:pt x="437" y="79"/>
                      <a:pt x="456" y="0"/>
                      <a:pt x="533" y="62"/>
                    </a:cubicBezTo>
                    <a:cubicBezTo>
                      <a:pt x="663" y="170"/>
                      <a:pt x="684" y="358"/>
                      <a:pt x="557" y="510"/>
                    </a:cubicBezTo>
                    <a:cubicBezTo>
                      <a:pt x="430" y="661"/>
                      <a:pt x="290" y="614"/>
                      <a:pt x="161" y="506"/>
                    </a:cubicBezTo>
                    <a:cubicBezTo>
                      <a:pt x="31" y="397"/>
                      <a:pt x="0" y="328"/>
                      <a:pt x="127" y="177"/>
                    </a:cubicBezTo>
                    <a:close/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" name="Freeform 54">
                <a:extLst>
                  <a:ext uri="{FF2B5EF4-FFF2-40B4-BE49-F238E27FC236}">
                    <a16:creationId xmlns:a16="http://schemas.microsoft.com/office/drawing/2014/main" id="{E75F928F-EF38-4B9F-AB97-0B873C8BDA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" y="2713"/>
                <a:ext cx="81" cy="80"/>
              </a:xfrm>
              <a:custGeom>
                <a:avLst/>
                <a:gdLst>
                  <a:gd name="T0" fmla="*/ 141 w 147"/>
                  <a:gd name="T1" fmla="*/ 61 h 147"/>
                  <a:gd name="T2" fmla="*/ 126 w 147"/>
                  <a:gd name="T3" fmla="*/ 147 h 147"/>
                  <a:gd name="T4" fmla="*/ 0 w 147"/>
                  <a:gd name="T5" fmla="*/ 41 h 147"/>
                  <a:gd name="T6" fmla="*/ 82 w 147"/>
                  <a:gd name="T7" fmla="*/ 11 h 147"/>
                  <a:gd name="T8" fmla="*/ 141 w 147"/>
                  <a:gd name="T9" fmla="*/ 61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7" h="147">
                    <a:moveTo>
                      <a:pt x="141" y="61"/>
                    </a:moveTo>
                    <a:cubicBezTo>
                      <a:pt x="126" y="147"/>
                      <a:pt x="126" y="147"/>
                      <a:pt x="126" y="147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114" y="0"/>
                      <a:pt x="147" y="27"/>
                      <a:pt x="141" y="61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" name="Freeform 55">
                <a:extLst>
                  <a:ext uri="{FF2B5EF4-FFF2-40B4-BE49-F238E27FC236}">
                    <a16:creationId xmlns:a16="http://schemas.microsoft.com/office/drawing/2014/main" id="{0ACBDDBE-62B5-4CC6-966D-5C280ABF8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4" y="483"/>
                <a:ext cx="539" cy="661"/>
              </a:xfrm>
              <a:custGeom>
                <a:avLst/>
                <a:gdLst>
                  <a:gd name="T0" fmla="*/ 829 w 986"/>
                  <a:gd name="T1" fmla="*/ 1211 h 1211"/>
                  <a:gd name="T2" fmla="*/ 547 w 986"/>
                  <a:gd name="T3" fmla="*/ 1211 h 1211"/>
                  <a:gd name="T4" fmla="*/ 522 w 986"/>
                  <a:gd name="T5" fmla="*/ 383 h 1211"/>
                  <a:gd name="T6" fmla="*/ 490 w 986"/>
                  <a:gd name="T7" fmla="*/ 181 h 1211"/>
                  <a:gd name="T8" fmla="*/ 467 w 986"/>
                  <a:gd name="T9" fmla="*/ 367 h 1211"/>
                  <a:gd name="T10" fmla="*/ 454 w 986"/>
                  <a:gd name="T11" fmla="*/ 1211 h 1211"/>
                  <a:gd name="T12" fmla="*/ 145 w 986"/>
                  <a:gd name="T13" fmla="*/ 1211 h 1211"/>
                  <a:gd name="T14" fmla="*/ 66 w 986"/>
                  <a:gd name="T15" fmla="*/ 124 h 1211"/>
                  <a:gd name="T16" fmla="*/ 908 w 986"/>
                  <a:gd name="T17" fmla="*/ 124 h 1211"/>
                  <a:gd name="T18" fmla="*/ 829 w 986"/>
                  <a:gd name="T19" fmla="*/ 1211 h 1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86" h="1211">
                    <a:moveTo>
                      <a:pt x="829" y="1211"/>
                    </a:moveTo>
                    <a:cubicBezTo>
                      <a:pt x="547" y="1211"/>
                      <a:pt x="547" y="1211"/>
                      <a:pt x="547" y="1211"/>
                    </a:cubicBezTo>
                    <a:cubicBezTo>
                      <a:pt x="547" y="1211"/>
                      <a:pt x="543" y="683"/>
                      <a:pt x="522" y="383"/>
                    </a:cubicBezTo>
                    <a:cubicBezTo>
                      <a:pt x="514" y="264"/>
                      <a:pt x="504" y="181"/>
                      <a:pt x="490" y="181"/>
                    </a:cubicBezTo>
                    <a:cubicBezTo>
                      <a:pt x="480" y="181"/>
                      <a:pt x="472" y="257"/>
                      <a:pt x="467" y="367"/>
                    </a:cubicBezTo>
                    <a:cubicBezTo>
                      <a:pt x="453" y="664"/>
                      <a:pt x="454" y="1211"/>
                      <a:pt x="454" y="1211"/>
                    </a:cubicBezTo>
                    <a:cubicBezTo>
                      <a:pt x="145" y="1211"/>
                      <a:pt x="145" y="1211"/>
                      <a:pt x="145" y="1211"/>
                    </a:cubicBezTo>
                    <a:cubicBezTo>
                      <a:pt x="145" y="1211"/>
                      <a:pt x="0" y="178"/>
                      <a:pt x="66" y="124"/>
                    </a:cubicBezTo>
                    <a:cubicBezTo>
                      <a:pt x="210" y="4"/>
                      <a:pt x="777" y="0"/>
                      <a:pt x="908" y="124"/>
                    </a:cubicBezTo>
                    <a:cubicBezTo>
                      <a:pt x="986" y="198"/>
                      <a:pt x="829" y="1211"/>
                      <a:pt x="829" y="1211"/>
                    </a:cubicBezTo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" name="Freeform 56">
                <a:extLst>
                  <a:ext uri="{FF2B5EF4-FFF2-40B4-BE49-F238E27FC236}">
                    <a16:creationId xmlns:a16="http://schemas.microsoft.com/office/drawing/2014/main" id="{3E45DEE8-5703-4681-8B7A-92708FAFC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9" y="483"/>
                <a:ext cx="491" cy="338"/>
              </a:xfrm>
              <a:custGeom>
                <a:avLst/>
                <a:gdLst>
                  <a:gd name="T0" fmla="*/ 860 w 897"/>
                  <a:gd name="T1" fmla="*/ 619 h 619"/>
                  <a:gd name="T2" fmla="*/ 481 w 897"/>
                  <a:gd name="T3" fmla="*/ 463 h 619"/>
                  <a:gd name="T4" fmla="*/ 476 w 897"/>
                  <a:gd name="T5" fmla="*/ 383 h 619"/>
                  <a:gd name="T6" fmla="*/ 444 w 897"/>
                  <a:gd name="T7" fmla="*/ 181 h 619"/>
                  <a:gd name="T8" fmla="*/ 421 w 897"/>
                  <a:gd name="T9" fmla="*/ 368 h 619"/>
                  <a:gd name="T10" fmla="*/ 418 w 897"/>
                  <a:gd name="T11" fmla="*/ 440 h 619"/>
                  <a:gd name="T12" fmla="*/ 4 w 897"/>
                  <a:gd name="T13" fmla="*/ 313 h 619"/>
                  <a:gd name="T14" fmla="*/ 20 w 897"/>
                  <a:gd name="T15" fmla="*/ 124 h 619"/>
                  <a:gd name="T16" fmla="*/ 862 w 897"/>
                  <a:gd name="T17" fmla="*/ 124 h 619"/>
                  <a:gd name="T18" fmla="*/ 860 w 897"/>
                  <a:gd name="T19" fmla="*/ 619 h 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97" h="619">
                    <a:moveTo>
                      <a:pt x="860" y="619"/>
                    </a:moveTo>
                    <a:cubicBezTo>
                      <a:pt x="739" y="566"/>
                      <a:pt x="609" y="512"/>
                      <a:pt x="481" y="463"/>
                    </a:cubicBezTo>
                    <a:cubicBezTo>
                      <a:pt x="480" y="435"/>
                      <a:pt x="478" y="408"/>
                      <a:pt x="476" y="383"/>
                    </a:cubicBezTo>
                    <a:cubicBezTo>
                      <a:pt x="468" y="264"/>
                      <a:pt x="458" y="181"/>
                      <a:pt x="444" y="181"/>
                    </a:cubicBezTo>
                    <a:cubicBezTo>
                      <a:pt x="434" y="181"/>
                      <a:pt x="427" y="257"/>
                      <a:pt x="421" y="368"/>
                    </a:cubicBezTo>
                    <a:cubicBezTo>
                      <a:pt x="420" y="390"/>
                      <a:pt x="419" y="414"/>
                      <a:pt x="418" y="440"/>
                    </a:cubicBezTo>
                    <a:cubicBezTo>
                      <a:pt x="268" y="384"/>
                      <a:pt x="123" y="338"/>
                      <a:pt x="4" y="313"/>
                    </a:cubicBezTo>
                    <a:cubicBezTo>
                      <a:pt x="0" y="210"/>
                      <a:pt x="4" y="137"/>
                      <a:pt x="20" y="124"/>
                    </a:cubicBezTo>
                    <a:cubicBezTo>
                      <a:pt x="164" y="4"/>
                      <a:pt x="732" y="0"/>
                      <a:pt x="862" y="124"/>
                    </a:cubicBezTo>
                    <a:cubicBezTo>
                      <a:pt x="897" y="157"/>
                      <a:pt x="885" y="382"/>
                      <a:pt x="860" y="619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" name="Freeform 57">
                <a:extLst>
                  <a:ext uri="{FF2B5EF4-FFF2-40B4-BE49-F238E27FC236}">
                    <a16:creationId xmlns:a16="http://schemas.microsoft.com/office/drawing/2014/main" id="{CA8A355B-9D21-439E-970A-3C7BF16F38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4" y="307"/>
                <a:ext cx="677" cy="203"/>
              </a:xfrm>
              <a:custGeom>
                <a:avLst/>
                <a:gdLst>
                  <a:gd name="T0" fmla="*/ 1236 w 1236"/>
                  <a:gd name="T1" fmla="*/ 372 h 372"/>
                  <a:gd name="T2" fmla="*/ 0 w 1236"/>
                  <a:gd name="T3" fmla="*/ 372 h 372"/>
                  <a:gd name="T4" fmla="*/ 0 w 1236"/>
                  <a:gd name="T5" fmla="*/ 215 h 372"/>
                  <a:gd name="T6" fmla="*/ 618 w 1236"/>
                  <a:gd name="T7" fmla="*/ 0 h 372"/>
                  <a:gd name="T8" fmla="*/ 1236 w 1236"/>
                  <a:gd name="T9" fmla="*/ 215 h 372"/>
                  <a:gd name="T10" fmla="*/ 1236 w 1236"/>
                  <a:gd name="T11" fmla="*/ 372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36" h="372">
                    <a:moveTo>
                      <a:pt x="1236" y="372"/>
                    </a:moveTo>
                    <a:cubicBezTo>
                      <a:pt x="0" y="372"/>
                      <a:pt x="0" y="372"/>
                      <a:pt x="0" y="372"/>
                    </a:cubicBezTo>
                    <a:cubicBezTo>
                      <a:pt x="0" y="215"/>
                      <a:pt x="0" y="215"/>
                      <a:pt x="0" y="215"/>
                    </a:cubicBezTo>
                    <a:cubicBezTo>
                      <a:pt x="0" y="98"/>
                      <a:pt x="241" y="0"/>
                      <a:pt x="618" y="0"/>
                    </a:cubicBezTo>
                    <a:cubicBezTo>
                      <a:pt x="1016" y="0"/>
                      <a:pt x="1236" y="98"/>
                      <a:pt x="1236" y="215"/>
                    </a:cubicBezTo>
                    <a:cubicBezTo>
                      <a:pt x="1236" y="241"/>
                      <a:pt x="1236" y="372"/>
                      <a:pt x="1236" y="372"/>
                    </a:cubicBez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" name="Freeform 58">
                <a:extLst>
                  <a:ext uri="{FF2B5EF4-FFF2-40B4-BE49-F238E27FC236}">
                    <a16:creationId xmlns:a16="http://schemas.microsoft.com/office/drawing/2014/main" id="{DC4A0D5B-0F11-490A-9B0A-FDDD55100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457"/>
                <a:ext cx="594" cy="159"/>
              </a:xfrm>
              <a:custGeom>
                <a:avLst/>
                <a:gdLst>
                  <a:gd name="T0" fmla="*/ 779 w 1084"/>
                  <a:gd name="T1" fmla="*/ 290 h 292"/>
                  <a:gd name="T2" fmla="*/ 305 w 1084"/>
                  <a:gd name="T3" fmla="*/ 290 h 292"/>
                  <a:gd name="T4" fmla="*/ 79 w 1084"/>
                  <a:gd name="T5" fmla="*/ 139 h 292"/>
                  <a:gd name="T6" fmla="*/ 0 w 1084"/>
                  <a:gd name="T7" fmla="*/ 0 h 292"/>
                  <a:gd name="T8" fmla="*/ 1084 w 1084"/>
                  <a:gd name="T9" fmla="*/ 0 h 292"/>
                  <a:gd name="T10" fmla="*/ 1004 w 1084"/>
                  <a:gd name="T11" fmla="*/ 139 h 292"/>
                  <a:gd name="T12" fmla="*/ 779 w 1084"/>
                  <a:gd name="T13" fmla="*/ 290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4" h="292">
                    <a:moveTo>
                      <a:pt x="779" y="290"/>
                    </a:moveTo>
                    <a:cubicBezTo>
                      <a:pt x="660" y="292"/>
                      <a:pt x="423" y="292"/>
                      <a:pt x="305" y="290"/>
                    </a:cubicBezTo>
                    <a:cubicBezTo>
                      <a:pt x="231" y="289"/>
                      <a:pt x="121" y="248"/>
                      <a:pt x="79" y="13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84" y="0"/>
                      <a:pt x="1084" y="0"/>
                      <a:pt x="1084" y="0"/>
                    </a:cubicBezTo>
                    <a:cubicBezTo>
                      <a:pt x="1004" y="139"/>
                      <a:pt x="1004" y="139"/>
                      <a:pt x="1004" y="139"/>
                    </a:cubicBezTo>
                    <a:cubicBezTo>
                      <a:pt x="962" y="248"/>
                      <a:pt x="852" y="289"/>
                      <a:pt x="779" y="290"/>
                    </a:cubicBez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" name="Oval 59">
                <a:extLst>
                  <a:ext uri="{FF2B5EF4-FFF2-40B4-BE49-F238E27FC236}">
                    <a16:creationId xmlns:a16="http://schemas.microsoft.com/office/drawing/2014/main" id="{5CDC4DDA-8AAE-415B-9754-A891090942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4" y="276"/>
                <a:ext cx="351" cy="363"/>
              </a:xfrm>
              <a:prstGeom prst="ellipse">
                <a:avLst/>
              </a:pr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" name="Freeform 60">
                <a:extLst>
                  <a:ext uri="{FF2B5EF4-FFF2-40B4-BE49-F238E27FC236}">
                    <a16:creationId xmlns:a16="http://schemas.microsoft.com/office/drawing/2014/main" id="{4B8D1EE1-05D8-4061-86E9-A3E4EBF86C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0" y="616"/>
                <a:ext cx="60" cy="64"/>
              </a:xfrm>
              <a:custGeom>
                <a:avLst/>
                <a:gdLst>
                  <a:gd name="T0" fmla="*/ 29 w 109"/>
                  <a:gd name="T1" fmla="*/ 87 h 117"/>
                  <a:gd name="T2" fmla="*/ 0 w 109"/>
                  <a:gd name="T3" fmla="*/ 0 h 117"/>
                  <a:gd name="T4" fmla="*/ 109 w 109"/>
                  <a:gd name="T5" fmla="*/ 0 h 117"/>
                  <a:gd name="T6" fmla="*/ 80 w 109"/>
                  <a:gd name="T7" fmla="*/ 87 h 117"/>
                  <a:gd name="T8" fmla="*/ 29 w 109"/>
                  <a:gd name="T9" fmla="*/ 8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117">
                    <a:moveTo>
                      <a:pt x="29" y="87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80" y="87"/>
                      <a:pt x="80" y="87"/>
                      <a:pt x="80" y="87"/>
                    </a:cubicBezTo>
                    <a:cubicBezTo>
                      <a:pt x="69" y="117"/>
                      <a:pt x="40" y="117"/>
                      <a:pt x="29" y="87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" name="Freeform 61">
                <a:extLst>
                  <a:ext uri="{FF2B5EF4-FFF2-40B4-BE49-F238E27FC236}">
                    <a16:creationId xmlns:a16="http://schemas.microsoft.com/office/drawing/2014/main" id="{E0D4A6BA-7474-4B01-8437-09FEB68DE2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265"/>
                <a:ext cx="373" cy="369"/>
              </a:xfrm>
              <a:custGeom>
                <a:avLst/>
                <a:gdLst>
                  <a:gd name="T0" fmla="*/ 682 w 682"/>
                  <a:gd name="T1" fmla="*/ 280 h 676"/>
                  <a:gd name="T2" fmla="*/ 341 w 682"/>
                  <a:gd name="T3" fmla="*/ 0 h 676"/>
                  <a:gd name="T4" fmla="*/ 0 w 682"/>
                  <a:gd name="T5" fmla="*/ 280 h 676"/>
                  <a:gd name="T6" fmla="*/ 219 w 682"/>
                  <a:gd name="T7" fmla="*/ 610 h 676"/>
                  <a:gd name="T8" fmla="*/ 219 w 682"/>
                  <a:gd name="T9" fmla="*/ 610 h 676"/>
                  <a:gd name="T10" fmla="*/ 222 w 682"/>
                  <a:gd name="T11" fmla="*/ 611 h 676"/>
                  <a:gd name="T12" fmla="*/ 224 w 682"/>
                  <a:gd name="T13" fmla="*/ 612 h 676"/>
                  <a:gd name="T14" fmla="*/ 270 w 682"/>
                  <a:gd name="T15" fmla="*/ 676 h 676"/>
                  <a:gd name="T16" fmla="*/ 389 w 682"/>
                  <a:gd name="T17" fmla="*/ 623 h 676"/>
                  <a:gd name="T18" fmla="*/ 391 w 682"/>
                  <a:gd name="T19" fmla="*/ 623 h 676"/>
                  <a:gd name="T20" fmla="*/ 374 w 682"/>
                  <a:gd name="T21" fmla="*/ 652 h 676"/>
                  <a:gd name="T22" fmla="*/ 473 w 682"/>
                  <a:gd name="T23" fmla="*/ 599 h 676"/>
                  <a:gd name="T24" fmla="*/ 473 w 682"/>
                  <a:gd name="T25" fmla="*/ 627 h 676"/>
                  <a:gd name="T26" fmla="*/ 628 w 682"/>
                  <a:gd name="T27" fmla="*/ 489 h 676"/>
                  <a:gd name="T28" fmla="*/ 627 w 682"/>
                  <a:gd name="T29" fmla="*/ 489 h 676"/>
                  <a:gd name="T30" fmla="*/ 682 w 682"/>
                  <a:gd name="T31" fmla="*/ 280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82" h="676">
                    <a:moveTo>
                      <a:pt x="682" y="280"/>
                    </a:moveTo>
                    <a:cubicBezTo>
                      <a:pt x="682" y="59"/>
                      <a:pt x="530" y="0"/>
                      <a:pt x="341" y="0"/>
                    </a:cubicBezTo>
                    <a:cubicBezTo>
                      <a:pt x="153" y="0"/>
                      <a:pt x="0" y="59"/>
                      <a:pt x="0" y="280"/>
                    </a:cubicBezTo>
                    <a:cubicBezTo>
                      <a:pt x="0" y="450"/>
                      <a:pt x="91" y="566"/>
                      <a:pt x="219" y="610"/>
                    </a:cubicBezTo>
                    <a:cubicBezTo>
                      <a:pt x="219" y="610"/>
                      <a:pt x="219" y="610"/>
                      <a:pt x="219" y="610"/>
                    </a:cubicBezTo>
                    <a:cubicBezTo>
                      <a:pt x="219" y="610"/>
                      <a:pt x="220" y="610"/>
                      <a:pt x="222" y="611"/>
                    </a:cubicBezTo>
                    <a:cubicBezTo>
                      <a:pt x="223" y="611"/>
                      <a:pt x="224" y="611"/>
                      <a:pt x="224" y="612"/>
                    </a:cubicBezTo>
                    <a:cubicBezTo>
                      <a:pt x="243" y="618"/>
                      <a:pt x="303" y="642"/>
                      <a:pt x="270" y="676"/>
                    </a:cubicBezTo>
                    <a:cubicBezTo>
                      <a:pt x="389" y="623"/>
                      <a:pt x="389" y="623"/>
                      <a:pt x="389" y="623"/>
                    </a:cubicBezTo>
                    <a:cubicBezTo>
                      <a:pt x="390" y="623"/>
                      <a:pt x="390" y="623"/>
                      <a:pt x="391" y="623"/>
                    </a:cubicBezTo>
                    <a:cubicBezTo>
                      <a:pt x="392" y="624"/>
                      <a:pt x="396" y="629"/>
                      <a:pt x="374" y="652"/>
                    </a:cubicBezTo>
                    <a:cubicBezTo>
                      <a:pt x="407" y="656"/>
                      <a:pt x="473" y="599"/>
                      <a:pt x="473" y="599"/>
                    </a:cubicBezTo>
                    <a:cubicBezTo>
                      <a:pt x="473" y="599"/>
                      <a:pt x="483" y="608"/>
                      <a:pt x="473" y="627"/>
                    </a:cubicBezTo>
                    <a:cubicBezTo>
                      <a:pt x="541" y="602"/>
                      <a:pt x="628" y="489"/>
                      <a:pt x="628" y="489"/>
                    </a:cubicBezTo>
                    <a:cubicBezTo>
                      <a:pt x="627" y="489"/>
                      <a:pt x="627" y="489"/>
                      <a:pt x="627" y="489"/>
                    </a:cubicBezTo>
                    <a:cubicBezTo>
                      <a:pt x="664" y="439"/>
                      <a:pt x="682" y="362"/>
                      <a:pt x="682" y="280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" name="Freeform 62">
                <a:extLst>
                  <a:ext uri="{FF2B5EF4-FFF2-40B4-BE49-F238E27FC236}">
                    <a16:creationId xmlns:a16="http://schemas.microsoft.com/office/drawing/2014/main" id="{37BBF909-DFAC-47A1-92AB-4DA38E887F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5" y="287"/>
                <a:ext cx="321" cy="332"/>
              </a:xfrm>
              <a:custGeom>
                <a:avLst/>
                <a:gdLst>
                  <a:gd name="T0" fmla="*/ 580 w 585"/>
                  <a:gd name="T1" fmla="*/ 240 h 608"/>
                  <a:gd name="T2" fmla="*/ 300 w 585"/>
                  <a:gd name="T3" fmla="*/ 0 h 608"/>
                  <a:gd name="T4" fmla="*/ 0 w 585"/>
                  <a:gd name="T5" fmla="*/ 247 h 608"/>
                  <a:gd name="T6" fmla="*/ 193 w 585"/>
                  <a:gd name="T7" fmla="*/ 538 h 608"/>
                  <a:gd name="T8" fmla="*/ 193 w 585"/>
                  <a:gd name="T9" fmla="*/ 538 h 608"/>
                  <a:gd name="T10" fmla="*/ 195 w 585"/>
                  <a:gd name="T11" fmla="*/ 538 h 608"/>
                  <a:gd name="T12" fmla="*/ 197 w 585"/>
                  <a:gd name="T13" fmla="*/ 539 h 608"/>
                  <a:gd name="T14" fmla="*/ 255 w 585"/>
                  <a:gd name="T15" fmla="*/ 608 h 608"/>
                  <a:gd name="T16" fmla="*/ 377 w 585"/>
                  <a:gd name="T17" fmla="*/ 550 h 608"/>
                  <a:gd name="T18" fmla="*/ 364 w 585"/>
                  <a:gd name="T19" fmla="*/ 575 h 608"/>
                  <a:gd name="T20" fmla="*/ 451 w 585"/>
                  <a:gd name="T21" fmla="*/ 528 h 608"/>
                  <a:gd name="T22" fmla="*/ 451 w 585"/>
                  <a:gd name="T23" fmla="*/ 553 h 608"/>
                  <a:gd name="T24" fmla="*/ 580 w 585"/>
                  <a:gd name="T25" fmla="*/ 24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5" h="608">
                    <a:moveTo>
                      <a:pt x="580" y="240"/>
                    </a:moveTo>
                    <a:cubicBezTo>
                      <a:pt x="580" y="46"/>
                      <a:pt x="466" y="0"/>
                      <a:pt x="300" y="0"/>
                    </a:cubicBezTo>
                    <a:cubicBezTo>
                      <a:pt x="134" y="0"/>
                      <a:pt x="0" y="52"/>
                      <a:pt x="0" y="247"/>
                    </a:cubicBezTo>
                    <a:cubicBezTo>
                      <a:pt x="0" y="397"/>
                      <a:pt x="80" y="499"/>
                      <a:pt x="193" y="538"/>
                    </a:cubicBezTo>
                    <a:cubicBezTo>
                      <a:pt x="193" y="538"/>
                      <a:pt x="193" y="538"/>
                      <a:pt x="193" y="538"/>
                    </a:cubicBezTo>
                    <a:cubicBezTo>
                      <a:pt x="193" y="538"/>
                      <a:pt x="194" y="538"/>
                      <a:pt x="195" y="538"/>
                    </a:cubicBezTo>
                    <a:cubicBezTo>
                      <a:pt x="196" y="539"/>
                      <a:pt x="197" y="539"/>
                      <a:pt x="197" y="539"/>
                    </a:cubicBezTo>
                    <a:cubicBezTo>
                      <a:pt x="214" y="545"/>
                      <a:pt x="284" y="578"/>
                      <a:pt x="255" y="608"/>
                    </a:cubicBezTo>
                    <a:cubicBezTo>
                      <a:pt x="377" y="550"/>
                      <a:pt x="377" y="550"/>
                      <a:pt x="377" y="550"/>
                    </a:cubicBezTo>
                    <a:cubicBezTo>
                      <a:pt x="378" y="549"/>
                      <a:pt x="384" y="554"/>
                      <a:pt x="364" y="575"/>
                    </a:cubicBezTo>
                    <a:cubicBezTo>
                      <a:pt x="393" y="578"/>
                      <a:pt x="451" y="528"/>
                      <a:pt x="451" y="528"/>
                    </a:cubicBezTo>
                    <a:cubicBezTo>
                      <a:pt x="451" y="528"/>
                      <a:pt x="460" y="536"/>
                      <a:pt x="451" y="553"/>
                    </a:cubicBezTo>
                    <a:cubicBezTo>
                      <a:pt x="585" y="493"/>
                      <a:pt x="580" y="313"/>
                      <a:pt x="580" y="240"/>
                    </a:cubicBezTo>
                    <a:close/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5" name="Oval 63">
                <a:extLst>
                  <a:ext uri="{FF2B5EF4-FFF2-40B4-BE49-F238E27FC236}">
                    <a16:creationId xmlns:a16="http://schemas.microsoft.com/office/drawing/2014/main" id="{188D2966-B231-47E6-83EA-4D27EE129C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7" y="801"/>
                <a:ext cx="2066" cy="2060"/>
              </a:xfrm>
              <a:prstGeom prst="ellipse">
                <a:avLst/>
              </a:prstGeom>
              <a:solidFill>
                <a:srgbClr val="BF9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6" name="Freeform 64">
                <a:extLst>
                  <a:ext uri="{FF2B5EF4-FFF2-40B4-BE49-F238E27FC236}">
                    <a16:creationId xmlns:a16="http://schemas.microsoft.com/office/drawing/2014/main" id="{FEA5E51C-5F1F-42EF-899C-89BC399171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1" y="1900"/>
                <a:ext cx="164" cy="226"/>
              </a:xfrm>
              <a:custGeom>
                <a:avLst/>
                <a:gdLst>
                  <a:gd name="T0" fmla="*/ 57 w 299"/>
                  <a:gd name="T1" fmla="*/ 19 h 414"/>
                  <a:gd name="T2" fmla="*/ 57 w 299"/>
                  <a:gd name="T3" fmla="*/ 19 h 414"/>
                  <a:gd name="T4" fmla="*/ 163 w 299"/>
                  <a:gd name="T5" fmla="*/ 57 h 414"/>
                  <a:gd name="T6" fmla="*/ 299 w 299"/>
                  <a:gd name="T7" fmla="*/ 346 h 414"/>
                  <a:gd name="T8" fmla="*/ 154 w 299"/>
                  <a:gd name="T9" fmla="*/ 414 h 414"/>
                  <a:gd name="T10" fmla="*/ 18 w 299"/>
                  <a:gd name="T11" fmla="*/ 125 h 414"/>
                  <a:gd name="T12" fmla="*/ 57 w 299"/>
                  <a:gd name="T13" fmla="*/ 19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9" h="414">
                    <a:moveTo>
                      <a:pt x="57" y="19"/>
                    </a:moveTo>
                    <a:cubicBezTo>
                      <a:pt x="57" y="19"/>
                      <a:pt x="57" y="19"/>
                      <a:pt x="57" y="19"/>
                    </a:cubicBezTo>
                    <a:cubicBezTo>
                      <a:pt x="97" y="0"/>
                      <a:pt x="145" y="17"/>
                      <a:pt x="163" y="57"/>
                    </a:cubicBezTo>
                    <a:cubicBezTo>
                      <a:pt x="299" y="346"/>
                      <a:pt x="299" y="346"/>
                      <a:pt x="299" y="346"/>
                    </a:cubicBezTo>
                    <a:cubicBezTo>
                      <a:pt x="154" y="414"/>
                      <a:pt x="154" y="414"/>
                      <a:pt x="154" y="414"/>
                    </a:cubicBezTo>
                    <a:cubicBezTo>
                      <a:pt x="18" y="125"/>
                      <a:pt x="18" y="125"/>
                      <a:pt x="18" y="125"/>
                    </a:cubicBezTo>
                    <a:cubicBezTo>
                      <a:pt x="0" y="85"/>
                      <a:pt x="17" y="37"/>
                      <a:pt x="57" y="1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7" name="Freeform 65">
                <a:extLst>
                  <a:ext uri="{FF2B5EF4-FFF2-40B4-BE49-F238E27FC236}">
                    <a16:creationId xmlns:a16="http://schemas.microsoft.com/office/drawing/2014/main" id="{D8AA0FF3-A2EA-4F2E-9F53-D1719123F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063"/>
                <a:ext cx="74" cy="51"/>
              </a:xfrm>
              <a:custGeom>
                <a:avLst/>
                <a:gdLst>
                  <a:gd name="T0" fmla="*/ 0 w 74"/>
                  <a:gd name="T1" fmla="*/ 30 h 51"/>
                  <a:gd name="T2" fmla="*/ 64 w 74"/>
                  <a:gd name="T3" fmla="*/ 0 h 51"/>
                  <a:gd name="T4" fmla="*/ 74 w 74"/>
                  <a:gd name="T5" fmla="*/ 21 h 51"/>
                  <a:gd name="T6" fmla="*/ 11 w 74"/>
                  <a:gd name="T7" fmla="*/ 51 h 51"/>
                  <a:gd name="T8" fmla="*/ 0 w 74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51">
                    <a:moveTo>
                      <a:pt x="0" y="30"/>
                    </a:moveTo>
                    <a:lnTo>
                      <a:pt x="64" y="0"/>
                    </a:lnTo>
                    <a:lnTo>
                      <a:pt x="74" y="21"/>
                    </a:lnTo>
                    <a:lnTo>
                      <a:pt x="11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BCAA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8" name="Freeform 66">
                <a:extLst>
                  <a:ext uri="{FF2B5EF4-FFF2-40B4-BE49-F238E27FC236}">
                    <a16:creationId xmlns:a16="http://schemas.microsoft.com/office/drawing/2014/main" id="{D550EDB7-E310-4FB2-9BFF-750F190654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8" y="2038"/>
                <a:ext cx="73" cy="50"/>
              </a:xfrm>
              <a:custGeom>
                <a:avLst/>
                <a:gdLst>
                  <a:gd name="T0" fmla="*/ 0 w 73"/>
                  <a:gd name="T1" fmla="*/ 30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3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30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188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9" name="Freeform 67">
                <a:extLst>
                  <a:ext uri="{FF2B5EF4-FFF2-40B4-BE49-F238E27FC236}">
                    <a16:creationId xmlns:a16="http://schemas.microsoft.com/office/drawing/2014/main" id="{A866751A-FCA4-4826-B6B7-D0B1FB4F8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6" y="2012"/>
                <a:ext cx="73" cy="51"/>
              </a:xfrm>
              <a:custGeom>
                <a:avLst/>
                <a:gdLst>
                  <a:gd name="T0" fmla="*/ 0 w 73"/>
                  <a:gd name="T1" fmla="*/ 30 h 51"/>
                  <a:gd name="T2" fmla="*/ 63 w 73"/>
                  <a:gd name="T3" fmla="*/ 0 h 51"/>
                  <a:gd name="T4" fmla="*/ 73 w 73"/>
                  <a:gd name="T5" fmla="*/ 22 h 51"/>
                  <a:gd name="T6" fmla="*/ 10 w 73"/>
                  <a:gd name="T7" fmla="*/ 51 h 51"/>
                  <a:gd name="T8" fmla="*/ 0 w 73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1">
                    <a:moveTo>
                      <a:pt x="0" y="30"/>
                    </a:moveTo>
                    <a:lnTo>
                      <a:pt x="63" y="0"/>
                    </a:lnTo>
                    <a:lnTo>
                      <a:pt x="73" y="22"/>
                    </a:lnTo>
                    <a:lnTo>
                      <a:pt x="10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0" name="Freeform 68">
                <a:extLst>
                  <a:ext uri="{FF2B5EF4-FFF2-40B4-BE49-F238E27FC236}">
                    <a16:creationId xmlns:a16="http://schemas.microsoft.com/office/drawing/2014/main" id="{63E9E06C-CEEA-4FB3-8304-6D15523FB3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987"/>
                <a:ext cx="73" cy="51"/>
              </a:xfrm>
              <a:custGeom>
                <a:avLst/>
                <a:gdLst>
                  <a:gd name="T0" fmla="*/ 0 w 73"/>
                  <a:gd name="T1" fmla="*/ 30 h 51"/>
                  <a:gd name="T2" fmla="*/ 63 w 73"/>
                  <a:gd name="T3" fmla="*/ 0 h 51"/>
                  <a:gd name="T4" fmla="*/ 73 w 73"/>
                  <a:gd name="T5" fmla="*/ 22 h 51"/>
                  <a:gd name="T6" fmla="*/ 10 w 73"/>
                  <a:gd name="T7" fmla="*/ 51 h 51"/>
                  <a:gd name="T8" fmla="*/ 0 w 73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1">
                    <a:moveTo>
                      <a:pt x="0" y="30"/>
                    </a:moveTo>
                    <a:lnTo>
                      <a:pt x="63" y="0"/>
                    </a:lnTo>
                    <a:lnTo>
                      <a:pt x="73" y="22"/>
                    </a:lnTo>
                    <a:lnTo>
                      <a:pt x="10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1" name="Freeform 69">
                <a:extLst>
                  <a:ext uri="{FF2B5EF4-FFF2-40B4-BE49-F238E27FC236}">
                    <a16:creationId xmlns:a16="http://schemas.microsoft.com/office/drawing/2014/main" id="{3F5AB45A-6330-446D-A414-83F8338606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2" y="1962"/>
                <a:ext cx="73" cy="50"/>
              </a:xfrm>
              <a:custGeom>
                <a:avLst/>
                <a:gdLst>
                  <a:gd name="T0" fmla="*/ 0 w 73"/>
                  <a:gd name="T1" fmla="*/ 29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2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29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6D4C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2" name="Freeform 70">
                <a:extLst>
                  <a:ext uri="{FF2B5EF4-FFF2-40B4-BE49-F238E27FC236}">
                    <a16:creationId xmlns:a16="http://schemas.microsoft.com/office/drawing/2014/main" id="{4EA31756-E02D-44B9-B25A-CB91A1EACD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" y="1937"/>
                <a:ext cx="73" cy="50"/>
              </a:xfrm>
              <a:custGeom>
                <a:avLst/>
                <a:gdLst>
                  <a:gd name="T0" fmla="*/ 0 w 73"/>
                  <a:gd name="T1" fmla="*/ 29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2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29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5D4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" name="Freeform 71">
                <a:extLst>
                  <a:ext uri="{FF2B5EF4-FFF2-40B4-BE49-F238E27FC236}">
                    <a16:creationId xmlns:a16="http://schemas.microsoft.com/office/drawing/2014/main" id="{BB3C6AE9-E14B-4FA2-817A-AD687EB49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3" y="1922"/>
                <a:ext cx="18" cy="18"/>
              </a:xfrm>
              <a:custGeom>
                <a:avLst/>
                <a:gdLst>
                  <a:gd name="T0" fmla="*/ 3 w 34"/>
                  <a:gd name="T1" fmla="*/ 23 h 34"/>
                  <a:gd name="T2" fmla="*/ 10 w 34"/>
                  <a:gd name="T3" fmla="*/ 3 h 34"/>
                  <a:gd name="T4" fmla="*/ 30 w 34"/>
                  <a:gd name="T5" fmla="*/ 10 h 34"/>
                  <a:gd name="T6" fmla="*/ 23 w 34"/>
                  <a:gd name="T7" fmla="*/ 30 h 34"/>
                  <a:gd name="T8" fmla="*/ 3 w 34"/>
                  <a:gd name="T9" fmla="*/ 2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3" y="23"/>
                    </a:moveTo>
                    <a:cubicBezTo>
                      <a:pt x="0" y="16"/>
                      <a:pt x="3" y="7"/>
                      <a:pt x="10" y="3"/>
                    </a:cubicBezTo>
                    <a:cubicBezTo>
                      <a:pt x="18" y="0"/>
                      <a:pt x="27" y="3"/>
                      <a:pt x="30" y="10"/>
                    </a:cubicBezTo>
                    <a:cubicBezTo>
                      <a:pt x="34" y="18"/>
                      <a:pt x="30" y="27"/>
                      <a:pt x="23" y="30"/>
                    </a:cubicBezTo>
                    <a:cubicBezTo>
                      <a:pt x="16" y="34"/>
                      <a:pt x="7" y="30"/>
                      <a:pt x="3" y="23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" name="Freeform 72">
                <a:extLst>
                  <a:ext uri="{FF2B5EF4-FFF2-40B4-BE49-F238E27FC236}">
                    <a16:creationId xmlns:a16="http://schemas.microsoft.com/office/drawing/2014/main" id="{6E07BE48-2D8D-415B-AE55-211D5AE4C3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3" y="1898"/>
                <a:ext cx="189" cy="215"/>
              </a:xfrm>
              <a:custGeom>
                <a:avLst/>
                <a:gdLst>
                  <a:gd name="T0" fmla="*/ 43 w 345"/>
                  <a:gd name="T1" fmla="*/ 26 h 394"/>
                  <a:gd name="T2" fmla="*/ 43 w 345"/>
                  <a:gd name="T3" fmla="*/ 26 h 394"/>
                  <a:gd name="T4" fmla="*/ 155 w 345"/>
                  <a:gd name="T5" fmla="*/ 42 h 394"/>
                  <a:gd name="T6" fmla="*/ 345 w 345"/>
                  <a:gd name="T7" fmla="*/ 298 h 394"/>
                  <a:gd name="T8" fmla="*/ 216 w 345"/>
                  <a:gd name="T9" fmla="*/ 394 h 394"/>
                  <a:gd name="T10" fmla="*/ 26 w 345"/>
                  <a:gd name="T11" fmla="*/ 138 h 394"/>
                  <a:gd name="T12" fmla="*/ 43 w 345"/>
                  <a:gd name="T13" fmla="*/ 26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5" h="394">
                    <a:moveTo>
                      <a:pt x="43" y="26"/>
                    </a:moveTo>
                    <a:cubicBezTo>
                      <a:pt x="43" y="26"/>
                      <a:pt x="43" y="26"/>
                      <a:pt x="43" y="26"/>
                    </a:cubicBezTo>
                    <a:cubicBezTo>
                      <a:pt x="78" y="0"/>
                      <a:pt x="128" y="7"/>
                      <a:pt x="155" y="42"/>
                    </a:cubicBezTo>
                    <a:cubicBezTo>
                      <a:pt x="345" y="298"/>
                      <a:pt x="345" y="298"/>
                      <a:pt x="345" y="298"/>
                    </a:cubicBezTo>
                    <a:cubicBezTo>
                      <a:pt x="216" y="394"/>
                      <a:pt x="216" y="394"/>
                      <a:pt x="216" y="394"/>
                    </a:cubicBezTo>
                    <a:cubicBezTo>
                      <a:pt x="26" y="138"/>
                      <a:pt x="26" y="138"/>
                      <a:pt x="26" y="138"/>
                    </a:cubicBezTo>
                    <a:cubicBezTo>
                      <a:pt x="0" y="103"/>
                      <a:pt x="7" y="52"/>
                      <a:pt x="43" y="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5" name="Freeform 73">
                <a:extLst>
                  <a:ext uri="{FF2B5EF4-FFF2-40B4-BE49-F238E27FC236}">
                    <a16:creationId xmlns:a16="http://schemas.microsoft.com/office/drawing/2014/main" id="{FDABCC91-CD3E-4CD6-B37E-A65595047B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9" y="2040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EF9A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6" name="Freeform 74">
                <a:extLst>
                  <a:ext uri="{FF2B5EF4-FFF2-40B4-BE49-F238E27FC236}">
                    <a16:creationId xmlns:a16="http://schemas.microsoft.com/office/drawing/2014/main" id="{9DC5DF73-1C1E-4DDB-BE34-3BA17DC6CB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" y="2017"/>
                <a:ext cx="69" cy="61"/>
              </a:xfrm>
              <a:custGeom>
                <a:avLst/>
                <a:gdLst>
                  <a:gd name="T0" fmla="*/ 0 w 69"/>
                  <a:gd name="T1" fmla="*/ 42 h 61"/>
                  <a:gd name="T2" fmla="*/ 55 w 69"/>
                  <a:gd name="T3" fmla="*/ 0 h 61"/>
                  <a:gd name="T4" fmla="*/ 69 w 69"/>
                  <a:gd name="T5" fmla="*/ 19 h 61"/>
                  <a:gd name="T6" fmla="*/ 13 w 69"/>
                  <a:gd name="T7" fmla="*/ 61 h 61"/>
                  <a:gd name="T8" fmla="*/ 0 w 69"/>
                  <a:gd name="T9" fmla="*/ 42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61">
                    <a:moveTo>
                      <a:pt x="0" y="42"/>
                    </a:moveTo>
                    <a:lnTo>
                      <a:pt x="55" y="0"/>
                    </a:lnTo>
                    <a:lnTo>
                      <a:pt x="69" y="19"/>
                    </a:lnTo>
                    <a:lnTo>
                      <a:pt x="13" y="61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E5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7" name="Freeform 75">
                <a:extLst>
                  <a:ext uri="{FF2B5EF4-FFF2-40B4-BE49-F238E27FC236}">
                    <a16:creationId xmlns:a16="http://schemas.microsoft.com/office/drawing/2014/main" id="{3D82EA04-162C-4821-AB9B-17ABD55BB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1995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5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5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EF53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8" name="Freeform 76">
                <a:extLst>
                  <a:ext uri="{FF2B5EF4-FFF2-40B4-BE49-F238E27FC236}">
                    <a16:creationId xmlns:a16="http://schemas.microsoft.com/office/drawing/2014/main" id="{28CC8D1F-AE39-450F-A7E5-476B29403E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9" y="1973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8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8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9" name="Freeform 77">
                <a:extLst>
                  <a:ext uri="{FF2B5EF4-FFF2-40B4-BE49-F238E27FC236}">
                    <a16:creationId xmlns:a16="http://schemas.microsoft.com/office/drawing/2014/main" id="{88A4E00F-B1F9-4E35-926C-56F4E1AA82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1950"/>
                <a:ext cx="70" cy="60"/>
              </a:xfrm>
              <a:custGeom>
                <a:avLst/>
                <a:gdLst>
                  <a:gd name="T0" fmla="*/ 0 w 70"/>
                  <a:gd name="T1" fmla="*/ 42 h 60"/>
                  <a:gd name="T2" fmla="*/ 56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2"/>
                    </a:moveTo>
                    <a:lnTo>
                      <a:pt x="56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E539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0" name="Freeform 78">
                <a:extLst>
                  <a:ext uri="{FF2B5EF4-FFF2-40B4-BE49-F238E27FC236}">
                    <a16:creationId xmlns:a16="http://schemas.microsoft.com/office/drawing/2014/main" id="{58396785-982C-4C73-8D52-781635E9E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5" y="1928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8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8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D3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1" name="Freeform 79">
                <a:extLst>
                  <a:ext uri="{FF2B5EF4-FFF2-40B4-BE49-F238E27FC236}">
                    <a16:creationId xmlns:a16="http://schemas.microsoft.com/office/drawing/2014/main" id="{6F7B70CB-6D3D-4E85-96E0-14A37BD6C2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1"/>
                <a:ext cx="18" cy="18"/>
              </a:xfrm>
              <a:custGeom>
                <a:avLst/>
                <a:gdLst>
                  <a:gd name="T0" fmla="*/ 5 w 34"/>
                  <a:gd name="T1" fmla="*/ 26 h 33"/>
                  <a:gd name="T2" fmla="*/ 8 w 34"/>
                  <a:gd name="T3" fmla="*/ 5 h 33"/>
                  <a:gd name="T4" fmla="*/ 29 w 34"/>
                  <a:gd name="T5" fmla="*/ 8 h 33"/>
                  <a:gd name="T6" fmla="*/ 26 w 34"/>
                  <a:gd name="T7" fmla="*/ 29 h 33"/>
                  <a:gd name="T8" fmla="*/ 5 w 34"/>
                  <a:gd name="T9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3">
                    <a:moveTo>
                      <a:pt x="5" y="26"/>
                    </a:moveTo>
                    <a:cubicBezTo>
                      <a:pt x="0" y="19"/>
                      <a:pt x="1" y="10"/>
                      <a:pt x="8" y="5"/>
                    </a:cubicBezTo>
                    <a:cubicBezTo>
                      <a:pt x="15" y="0"/>
                      <a:pt x="24" y="1"/>
                      <a:pt x="29" y="8"/>
                    </a:cubicBezTo>
                    <a:cubicBezTo>
                      <a:pt x="34" y="14"/>
                      <a:pt x="32" y="24"/>
                      <a:pt x="26" y="29"/>
                    </a:cubicBezTo>
                    <a:cubicBezTo>
                      <a:pt x="19" y="33"/>
                      <a:pt x="10" y="32"/>
                      <a:pt x="5" y="26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2" name="Freeform 80">
                <a:extLst>
                  <a:ext uri="{FF2B5EF4-FFF2-40B4-BE49-F238E27FC236}">
                    <a16:creationId xmlns:a16="http://schemas.microsoft.com/office/drawing/2014/main" id="{E22FA0C5-3AAF-496E-A5BF-274A3139C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2" y="1898"/>
                <a:ext cx="207" cy="198"/>
              </a:xfrm>
              <a:custGeom>
                <a:avLst/>
                <a:gdLst>
                  <a:gd name="T0" fmla="*/ 30 w 378"/>
                  <a:gd name="T1" fmla="*/ 35 h 363"/>
                  <a:gd name="T2" fmla="*/ 30 w 378"/>
                  <a:gd name="T3" fmla="*/ 35 h 363"/>
                  <a:gd name="T4" fmla="*/ 143 w 378"/>
                  <a:gd name="T5" fmla="*/ 30 h 363"/>
                  <a:gd name="T6" fmla="*/ 378 w 378"/>
                  <a:gd name="T7" fmla="*/ 245 h 363"/>
                  <a:gd name="T8" fmla="*/ 270 w 378"/>
                  <a:gd name="T9" fmla="*/ 363 h 363"/>
                  <a:gd name="T10" fmla="*/ 35 w 378"/>
                  <a:gd name="T11" fmla="*/ 149 h 363"/>
                  <a:gd name="T12" fmla="*/ 30 w 378"/>
                  <a:gd name="T13" fmla="*/ 3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8" h="363">
                    <a:moveTo>
                      <a:pt x="30" y="35"/>
                    </a:moveTo>
                    <a:cubicBezTo>
                      <a:pt x="30" y="35"/>
                      <a:pt x="30" y="35"/>
                      <a:pt x="30" y="35"/>
                    </a:cubicBezTo>
                    <a:cubicBezTo>
                      <a:pt x="59" y="3"/>
                      <a:pt x="110" y="0"/>
                      <a:pt x="143" y="30"/>
                    </a:cubicBezTo>
                    <a:cubicBezTo>
                      <a:pt x="378" y="245"/>
                      <a:pt x="378" y="245"/>
                      <a:pt x="378" y="245"/>
                    </a:cubicBezTo>
                    <a:cubicBezTo>
                      <a:pt x="270" y="363"/>
                      <a:pt x="270" y="363"/>
                      <a:pt x="270" y="363"/>
                    </a:cubicBezTo>
                    <a:cubicBezTo>
                      <a:pt x="35" y="149"/>
                      <a:pt x="35" y="149"/>
                      <a:pt x="35" y="149"/>
                    </a:cubicBezTo>
                    <a:cubicBezTo>
                      <a:pt x="2" y="119"/>
                      <a:pt x="0" y="68"/>
                      <a:pt x="30" y="3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3" name="Freeform 81">
                <a:extLst>
                  <a:ext uri="{FF2B5EF4-FFF2-40B4-BE49-F238E27FC236}">
                    <a16:creationId xmlns:a16="http://schemas.microsoft.com/office/drawing/2014/main" id="{A181CF10-6A52-4615-B0D7-5F2147E3E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017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6 w 64"/>
                  <a:gd name="T3" fmla="*/ 0 h 67"/>
                  <a:gd name="T4" fmla="*/ 64 w 64"/>
                  <a:gd name="T5" fmla="*/ 16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6" y="0"/>
                    </a:lnTo>
                    <a:lnTo>
                      <a:pt x="64" y="16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CC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4" name="Freeform 82">
                <a:extLst>
                  <a:ext uri="{FF2B5EF4-FFF2-40B4-BE49-F238E27FC236}">
                    <a16:creationId xmlns:a16="http://schemas.microsoft.com/office/drawing/2014/main" id="{FF8EF73D-DC8B-46DE-8BCF-BB2D4177A4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1" y="1998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5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5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B7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5" name="Freeform 83">
                <a:extLst>
                  <a:ext uri="{FF2B5EF4-FFF2-40B4-BE49-F238E27FC236}">
                    <a16:creationId xmlns:a16="http://schemas.microsoft.com/office/drawing/2014/main" id="{8C6327A9-F585-4F3E-BD25-8FCB73694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0" y="1979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6 h 67"/>
                  <a:gd name="T6" fmla="*/ 18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8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A7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6" name="Freeform 84">
                <a:extLst>
                  <a:ext uri="{FF2B5EF4-FFF2-40B4-BE49-F238E27FC236}">
                    <a16:creationId xmlns:a16="http://schemas.microsoft.com/office/drawing/2014/main" id="{0D4F97B8-E9AD-40CA-A233-BF051AE1A9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0" y="1960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6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9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7" name="Freeform 85">
                <a:extLst>
                  <a:ext uri="{FF2B5EF4-FFF2-40B4-BE49-F238E27FC236}">
                    <a16:creationId xmlns:a16="http://schemas.microsoft.com/office/drawing/2014/main" id="{69B176E8-5DD5-467E-A131-1001F7D25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1941"/>
                <a:ext cx="64" cy="68"/>
              </a:xfrm>
              <a:custGeom>
                <a:avLst/>
                <a:gdLst>
                  <a:gd name="T0" fmla="*/ 0 w 64"/>
                  <a:gd name="T1" fmla="*/ 52 h 68"/>
                  <a:gd name="T2" fmla="*/ 47 w 64"/>
                  <a:gd name="T3" fmla="*/ 0 h 68"/>
                  <a:gd name="T4" fmla="*/ 64 w 64"/>
                  <a:gd name="T5" fmla="*/ 16 h 68"/>
                  <a:gd name="T6" fmla="*/ 17 w 64"/>
                  <a:gd name="T7" fmla="*/ 68 h 68"/>
                  <a:gd name="T8" fmla="*/ 0 w 64"/>
                  <a:gd name="T9" fmla="*/ 52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8">
                    <a:moveTo>
                      <a:pt x="0" y="52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7" y="68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F57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8" name="Freeform 86">
                <a:extLst>
                  <a:ext uri="{FF2B5EF4-FFF2-40B4-BE49-F238E27FC236}">
                    <a16:creationId xmlns:a16="http://schemas.microsoft.com/office/drawing/2014/main" id="{C1E6594C-5BC3-466A-9C50-BD976E134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8" y="1922"/>
                <a:ext cx="65" cy="67"/>
              </a:xfrm>
              <a:custGeom>
                <a:avLst/>
                <a:gdLst>
                  <a:gd name="T0" fmla="*/ 0 w 65"/>
                  <a:gd name="T1" fmla="*/ 52 h 67"/>
                  <a:gd name="T2" fmla="*/ 47 w 65"/>
                  <a:gd name="T3" fmla="*/ 0 h 67"/>
                  <a:gd name="T4" fmla="*/ 65 w 65"/>
                  <a:gd name="T5" fmla="*/ 16 h 67"/>
                  <a:gd name="T6" fmla="*/ 17 w 65"/>
                  <a:gd name="T7" fmla="*/ 67 h 67"/>
                  <a:gd name="T8" fmla="*/ 0 w 65"/>
                  <a:gd name="T9" fmla="*/ 5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67">
                    <a:moveTo>
                      <a:pt x="0" y="52"/>
                    </a:moveTo>
                    <a:lnTo>
                      <a:pt x="47" y="0"/>
                    </a:lnTo>
                    <a:lnTo>
                      <a:pt x="65" y="16"/>
                    </a:lnTo>
                    <a:lnTo>
                      <a:pt x="17" y="67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EF6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9" name="Freeform 87">
                <a:extLst>
                  <a:ext uri="{FF2B5EF4-FFF2-40B4-BE49-F238E27FC236}">
                    <a16:creationId xmlns:a16="http://schemas.microsoft.com/office/drawing/2014/main" id="{BC081AAF-A0D6-4602-AAD2-C7AF38959A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8"/>
              </a:xfrm>
              <a:custGeom>
                <a:avLst/>
                <a:gdLst>
                  <a:gd name="T0" fmla="*/ 7 w 33"/>
                  <a:gd name="T1" fmla="*/ 28 h 33"/>
                  <a:gd name="T2" fmla="*/ 6 w 33"/>
                  <a:gd name="T3" fmla="*/ 7 h 33"/>
                  <a:gd name="T4" fmla="*/ 27 w 33"/>
                  <a:gd name="T5" fmla="*/ 6 h 33"/>
                  <a:gd name="T6" fmla="*/ 28 w 33"/>
                  <a:gd name="T7" fmla="*/ 27 h 33"/>
                  <a:gd name="T8" fmla="*/ 7 w 33"/>
                  <a:gd name="T9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3">
                    <a:moveTo>
                      <a:pt x="7" y="28"/>
                    </a:moveTo>
                    <a:cubicBezTo>
                      <a:pt x="1" y="22"/>
                      <a:pt x="0" y="13"/>
                      <a:pt x="6" y="7"/>
                    </a:cubicBezTo>
                    <a:cubicBezTo>
                      <a:pt x="11" y="1"/>
                      <a:pt x="21" y="0"/>
                      <a:pt x="27" y="6"/>
                    </a:cubicBezTo>
                    <a:cubicBezTo>
                      <a:pt x="33" y="11"/>
                      <a:pt x="33" y="21"/>
                      <a:pt x="28" y="27"/>
                    </a:cubicBezTo>
                    <a:cubicBezTo>
                      <a:pt x="22" y="33"/>
                      <a:pt x="13" y="33"/>
                      <a:pt x="7" y="28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0" name="Freeform 88">
                <a:extLst>
                  <a:ext uri="{FF2B5EF4-FFF2-40B4-BE49-F238E27FC236}">
                    <a16:creationId xmlns:a16="http://schemas.microsoft.com/office/drawing/2014/main" id="{D4484202-5762-4E9C-BA21-297799D03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8" y="1892"/>
                <a:ext cx="221" cy="179"/>
              </a:xfrm>
              <a:custGeom>
                <a:avLst/>
                <a:gdLst>
                  <a:gd name="T0" fmla="*/ 23 w 404"/>
                  <a:gd name="T1" fmla="*/ 49 h 328"/>
                  <a:gd name="T2" fmla="*/ 23 w 404"/>
                  <a:gd name="T3" fmla="*/ 49 h 328"/>
                  <a:gd name="T4" fmla="*/ 134 w 404"/>
                  <a:gd name="T5" fmla="*/ 23 h 328"/>
                  <a:gd name="T6" fmla="*/ 404 w 404"/>
                  <a:gd name="T7" fmla="*/ 192 h 328"/>
                  <a:gd name="T8" fmla="*/ 319 w 404"/>
                  <a:gd name="T9" fmla="*/ 328 h 328"/>
                  <a:gd name="T10" fmla="*/ 49 w 404"/>
                  <a:gd name="T11" fmla="*/ 159 h 328"/>
                  <a:gd name="T12" fmla="*/ 23 w 404"/>
                  <a:gd name="T13" fmla="*/ 4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4" h="328">
                    <a:moveTo>
                      <a:pt x="23" y="49"/>
                    </a:moveTo>
                    <a:cubicBezTo>
                      <a:pt x="23" y="49"/>
                      <a:pt x="23" y="49"/>
                      <a:pt x="23" y="49"/>
                    </a:cubicBezTo>
                    <a:cubicBezTo>
                      <a:pt x="47" y="11"/>
                      <a:pt x="96" y="0"/>
                      <a:pt x="134" y="23"/>
                    </a:cubicBezTo>
                    <a:cubicBezTo>
                      <a:pt x="404" y="192"/>
                      <a:pt x="404" y="192"/>
                      <a:pt x="404" y="192"/>
                    </a:cubicBezTo>
                    <a:cubicBezTo>
                      <a:pt x="319" y="328"/>
                      <a:pt x="319" y="328"/>
                      <a:pt x="319" y="328"/>
                    </a:cubicBezTo>
                    <a:cubicBezTo>
                      <a:pt x="49" y="159"/>
                      <a:pt x="49" y="159"/>
                      <a:pt x="49" y="159"/>
                    </a:cubicBezTo>
                    <a:cubicBezTo>
                      <a:pt x="11" y="136"/>
                      <a:pt x="0" y="86"/>
                      <a:pt x="23" y="4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1" name="Freeform 89">
                <a:extLst>
                  <a:ext uri="{FF2B5EF4-FFF2-40B4-BE49-F238E27FC236}">
                    <a16:creationId xmlns:a16="http://schemas.microsoft.com/office/drawing/2014/main" id="{2BC3A16C-5427-43FA-A41E-F1669D3C2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" y="1987"/>
                <a:ext cx="57" cy="71"/>
              </a:xfrm>
              <a:custGeom>
                <a:avLst/>
                <a:gdLst>
                  <a:gd name="T0" fmla="*/ 0 w 57"/>
                  <a:gd name="T1" fmla="*/ 59 h 71"/>
                  <a:gd name="T2" fmla="*/ 38 w 57"/>
                  <a:gd name="T3" fmla="*/ 0 h 71"/>
                  <a:gd name="T4" fmla="*/ 57 w 57"/>
                  <a:gd name="T5" fmla="*/ 13 h 71"/>
                  <a:gd name="T6" fmla="*/ 21 w 57"/>
                  <a:gd name="T7" fmla="*/ 71 h 71"/>
                  <a:gd name="T8" fmla="*/ 0 w 57"/>
                  <a:gd name="T9" fmla="*/ 5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9"/>
                    </a:moveTo>
                    <a:lnTo>
                      <a:pt x="38" y="0"/>
                    </a:lnTo>
                    <a:lnTo>
                      <a:pt x="57" y="13"/>
                    </a:lnTo>
                    <a:lnTo>
                      <a:pt x="21" y="71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FFF1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2" name="Freeform 90">
                <a:extLst>
                  <a:ext uri="{FF2B5EF4-FFF2-40B4-BE49-F238E27FC236}">
                    <a16:creationId xmlns:a16="http://schemas.microsoft.com/office/drawing/2014/main" id="{C6AD274A-BEF3-4F88-B231-B79A9995DD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" y="1973"/>
                <a:ext cx="57" cy="71"/>
              </a:xfrm>
              <a:custGeom>
                <a:avLst/>
                <a:gdLst>
                  <a:gd name="T0" fmla="*/ 0 w 57"/>
                  <a:gd name="T1" fmla="*/ 58 h 71"/>
                  <a:gd name="T2" fmla="*/ 36 w 57"/>
                  <a:gd name="T3" fmla="*/ 0 h 71"/>
                  <a:gd name="T4" fmla="*/ 57 w 57"/>
                  <a:gd name="T5" fmla="*/ 12 h 71"/>
                  <a:gd name="T6" fmla="*/ 19 w 57"/>
                  <a:gd name="T7" fmla="*/ 71 h 71"/>
                  <a:gd name="T8" fmla="*/ 0 w 57"/>
                  <a:gd name="T9" fmla="*/ 5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8"/>
                    </a:moveTo>
                    <a:lnTo>
                      <a:pt x="36" y="0"/>
                    </a:lnTo>
                    <a:lnTo>
                      <a:pt x="57" y="12"/>
                    </a:lnTo>
                    <a:lnTo>
                      <a:pt x="19" y="71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FFEE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3" name="Freeform 91">
                <a:extLst>
                  <a:ext uri="{FF2B5EF4-FFF2-40B4-BE49-F238E27FC236}">
                    <a16:creationId xmlns:a16="http://schemas.microsoft.com/office/drawing/2014/main" id="{53031A32-B1F0-4AED-B628-BDAE850E2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2" y="1957"/>
                <a:ext cx="57" cy="72"/>
              </a:xfrm>
              <a:custGeom>
                <a:avLst/>
                <a:gdLst>
                  <a:gd name="T0" fmla="*/ 0 w 57"/>
                  <a:gd name="T1" fmla="*/ 59 h 72"/>
                  <a:gd name="T2" fmla="*/ 37 w 57"/>
                  <a:gd name="T3" fmla="*/ 0 h 72"/>
                  <a:gd name="T4" fmla="*/ 57 w 57"/>
                  <a:gd name="T5" fmla="*/ 13 h 72"/>
                  <a:gd name="T6" fmla="*/ 20 w 57"/>
                  <a:gd name="T7" fmla="*/ 72 h 72"/>
                  <a:gd name="T8" fmla="*/ 0 w 57"/>
                  <a:gd name="T9" fmla="*/ 5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2">
                    <a:moveTo>
                      <a:pt x="0" y="59"/>
                    </a:moveTo>
                    <a:lnTo>
                      <a:pt x="37" y="0"/>
                    </a:lnTo>
                    <a:lnTo>
                      <a:pt x="57" y="13"/>
                    </a:lnTo>
                    <a:lnTo>
                      <a:pt x="20" y="72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4" name="Freeform 92">
                <a:extLst>
                  <a:ext uri="{FF2B5EF4-FFF2-40B4-BE49-F238E27FC236}">
                    <a16:creationId xmlns:a16="http://schemas.microsoft.com/office/drawing/2014/main" id="{08E38D7B-919C-4434-8D49-DA594F595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8" y="1943"/>
                <a:ext cx="57" cy="71"/>
              </a:xfrm>
              <a:custGeom>
                <a:avLst/>
                <a:gdLst>
                  <a:gd name="T0" fmla="*/ 0 w 57"/>
                  <a:gd name="T1" fmla="*/ 58 h 71"/>
                  <a:gd name="T2" fmla="*/ 37 w 57"/>
                  <a:gd name="T3" fmla="*/ 0 h 71"/>
                  <a:gd name="T4" fmla="*/ 57 w 57"/>
                  <a:gd name="T5" fmla="*/ 12 h 71"/>
                  <a:gd name="T6" fmla="*/ 20 w 57"/>
                  <a:gd name="T7" fmla="*/ 71 h 71"/>
                  <a:gd name="T8" fmla="*/ 0 w 57"/>
                  <a:gd name="T9" fmla="*/ 5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8"/>
                    </a:moveTo>
                    <a:lnTo>
                      <a:pt x="37" y="0"/>
                    </a:lnTo>
                    <a:lnTo>
                      <a:pt x="57" y="12"/>
                    </a:lnTo>
                    <a:lnTo>
                      <a:pt x="20" y="71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FDD8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" name="Freeform 93">
                <a:extLst>
                  <a:ext uri="{FF2B5EF4-FFF2-40B4-BE49-F238E27FC236}">
                    <a16:creationId xmlns:a16="http://schemas.microsoft.com/office/drawing/2014/main" id="{E05E122E-6F56-4413-A8F4-2AFE148E9D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5" y="1928"/>
                <a:ext cx="57" cy="71"/>
              </a:xfrm>
              <a:custGeom>
                <a:avLst/>
                <a:gdLst>
                  <a:gd name="T0" fmla="*/ 0 w 57"/>
                  <a:gd name="T1" fmla="*/ 59 h 71"/>
                  <a:gd name="T2" fmla="*/ 36 w 57"/>
                  <a:gd name="T3" fmla="*/ 0 h 71"/>
                  <a:gd name="T4" fmla="*/ 57 w 57"/>
                  <a:gd name="T5" fmla="*/ 12 h 71"/>
                  <a:gd name="T6" fmla="*/ 19 w 57"/>
                  <a:gd name="T7" fmla="*/ 71 h 71"/>
                  <a:gd name="T8" fmla="*/ 0 w 57"/>
                  <a:gd name="T9" fmla="*/ 5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9"/>
                    </a:moveTo>
                    <a:lnTo>
                      <a:pt x="36" y="0"/>
                    </a:lnTo>
                    <a:lnTo>
                      <a:pt x="57" y="12"/>
                    </a:lnTo>
                    <a:lnTo>
                      <a:pt x="19" y="71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" name="Freeform 94">
                <a:extLst>
                  <a:ext uri="{FF2B5EF4-FFF2-40B4-BE49-F238E27FC236}">
                    <a16:creationId xmlns:a16="http://schemas.microsoft.com/office/drawing/2014/main" id="{6656C0CE-DFC8-43BF-BE91-0F45A3C2B0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" y="1913"/>
                <a:ext cx="56" cy="72"/>
              </a:xfrm>
              <a:custGeom>
                <a:avLst/>
                <a:gdLst>
                  <a:gd name="T0" fmla="*/ 0 w 56"/>
                  <a:gd name="T1" fmla="*/ 59 h 72"/>
                  <a:gd name="T2" fmla="*/ 37 w 56"/>
                  <a:gd name="T3" fmla="*/ 0 h 72"/>
                  <a:gd name="T4" fmla="*/ 56 w 56"/>
                  <a:gd name="T5" fmla="*/ 13 h 72"/>
                  <a:gd name="T6" fmla="*/ 20 w 56"/>
                  <a:gd name="T7" fmla="*/ 72 h 72"/>
                  <a:gd name="T8" fmla="*/ 0 w 56"/>
                  <a:gd name="T9" fmla="*/ 5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72">
                    <a:moveTo>
                      <a:pt x="0" y="59"/>
                    </a:moveTo>
                    <a:lnTo>
                      <a:pt x="37" y="0"/>
                    </a:lnTo>
                    <a:lnTo>
                      <a:pt x="56" y="13"/>
                    </a:lnTo>
                    <a:lnTo>
                      <a:pt x="20" y="72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7" name="Freeform 95">
                <a:extLst>
                  <a:ext uri="{FF2B5EF4-FFF2-40B4-BE49-F238E27FC236}">
                    <a16:creationId xmlns:a16="http://schemas.microsoft.com/office/drawing/2014/main" id="{D587F3E1-7E71-4AA6-955A-1E01FFF4A8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1"/>
                <a:ext cx="18" cy="19"/>
              </a:xfrm>
              <a:custGeom>
                <a:avLst/>
                <a:gdLst>
                  <a:gd name="T0" fmla="*/ 9 w 34"/>
                  <a:gd name="T1" fmla="*/ 29 h 34"/>
                  <a:gd name="T2" fmla="*/ 4 w 34"/>
                  <a:gd name="T3" fmla="*/ 9 h 34"/>
                  <a:gd name="T4" fmla="*/ 25 w 34"/>
                  <a:gd name="T5" fmla="*/ 4 h 34"/>
                  <a:gd name="T6" fmla="*/ 30 w 34"/>
                  <a:gd name="T7" fmla="*/ 25 h 34"/>
                  <a:gd name="T8" fmla="*/ 9 w 34"/>
                  <a:gd name="T9" fmla="*/ 2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9" y="29"/>
                    </a:moveTo>
                    <a:cubicBezTo>
                      <a:pt x="2" y="25"/>
                      <a:pt x="0" y="16"/>
                      <a:pt x="4" y="9"/>
                    </a:cubicBezTo>
                    <a:cubicBezTo>
                      <a:pt x="9" y="2"/>
                      <a:pt x="18" y="0"/>
                      <a:pt x="25" y="4"/>
                    </a:cubicBezTo>
                    <a:cubicBezTo>
                      <a:pt x="32" y="9"/>
                      <a:pt x="34" y="18"/>
                      <a:pt x="30" y="25"/>
                    </a:cubicBezTo>
                    <a:cubicBezTo>
                      <a:pt x="25" y="32"/>
                      <a:pt x="16" y="34"/>
                      <a:pt x="9" y="29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8" name="Freeform 96">
                <a:extLst>
                  <a:ext uri="{FF2B5EF4-FFF2-40B4-BE49-F238E27FC236}">
                    <a16:creationId xmlns:a16="http://schemas.microsoft.com/office/drawing/2014/main" id="{65D28321-5E42-4B38-9631-98D7F74CC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" y="1891"/>
                <a:ext cx="229" cy="149"/>
              </a:xfrm>
              <a:custGeom>
                <a:avLst/>
                <a:gdLst>
                  <a:gd name="T0" fmla="*/ 15 w 418"/>
                  <a:gd name="T1" fmla="*/ 63 h 272"/>
                  <a:gd name="T2" fmla="*/ 15 w 418"/>
                  <a:gd name="T3" fmla="*/ 63 h 272"/>
                  <a:gd name="T4" fmla="*/ 117 w 418"/>
                  <a:gd name="T5" fmla="*/ 15 h 272"/>
                  <a:gd name="T6" fmla="*/ 418 w 418"/>
                  <a:gd name="T7" fmla="*/ 121 h 272"/>
                  <a:gd name="T8" fmla="*/ 364 w 418"/>
                  <a:gd name="T9" fmla="*/ 272 h 272"/>
                  <a:gd name="T10" fmla="*/ 64 w 418"/>
                  <a:gd name="T11" fmla="*/ 166 h 272"/>
                  <a:gd name="T12" fmla="*/ 15 w 418"/>
                  <a:gd name="T13" fmla="*/ 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8" h="272">
                    <a:moveTo>
                      <a:pt x="15" y="63"/>
                    </a:moveTo>
                    <a:cubicBezTo>
                      <a:pt x="15" y="63"/>
                      <a:pt x="15" y="63"/>
                      <a:pt x="15" y="63"/>
                    </a:cubicBezTo>
                    <a:cubicBezTo>
                      <a:pt x="30" y="22"/>
                      <a:pt x="76" y="0"/>
                      <a:pt x="117" y="15"/>
                    </a:cubicBezTo>
                    <a:cubicBezTo>
                      <a:pt x="418" y="121"/>
                      <a:pt x="418" y="121"/>
                      <a:pt x="418" y="121"/>
                    </a:cubicBezTo>
                    <a:cubicBezTo>
                      <a:pt x="364" y="272"/>
                      <a:pt x="364" y="272"/>
                      <a:pt x="364" y="272"/>
                    </a:cubicBezTo>
                    <a:cubicBezTo>
                      <a:pt x="64" y="166"/>
                      <a:pt x="64" y="166"/>
                      <a:pt x="64" y="166"/>
                    </a:cubicBezTo>
                    <a:cubicBezTo>
                      <a:pt x="22" y="151"/>
                      <a:pt x="0" y="105"/>
                      <a:pt x="15" y="6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9" name="Freeform 97">
                <a:extLst>
                  <a:ext uri="{FF2B5EF4-FFF2-40B4-BE49-F238E27FC236}">
                    <a16:creationId xmlns:a16="http://schemas.microsoft.com/office/drawing/2014/main" id="{565565E1-DA7C-4C7C-81BE-3897131B68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955"/>
                <a:ext cx="45" cy="73"/>
              </a:xfrm>
              <a:custGeom>
                <a:avLst/>
                <a:gdLst>
                  <a:gd name="T0" fmla="*/ 0 w 45"/>
                  <a:gd name="T1" fmla="*/ 66 h 73"/>
                  <a:gd name="T2" fmla="*/ 23 w 45"/>
                  <a:gd name="T3" fmla="*/ 0 h 73"/>
                  <a:gd name="T4" fmla="*/ 45 w 45"/>
                  <a:gd name="T5" fmla="*/ 8 h 73"/>
                  <a:gd name="T6" fmla="*/ 22 w 45"/>
                  <a:gd name="T7" fmla="*/ 73 h 73"/>
                  <a:gd name="T8" fmla="*/ 0 w 45"/>
                  <a:gd name="T9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6"/>
                    </a:moveTo>
                    <a:lnTo>
                      <a:pt x="23" y="0"/>
                    </a:lnTo>
                    <a:lnTo>
                      <a:pt x="45" y="8"/>
                    </a:lnTo>
                    <a:lnTo>
                      <a:pt x="22" y="73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E6EE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0" name="Freeform 98">
                <a:extLst>
                  <a:ext uri="{FF2B5EF4-FFF2-40B4-BE49-F238E27FC236}">
                    <a16:creationId xmlns:a16="http://schemas.microsoft.com/office/drawing/2014/main" id="{A726B54A-F4F4-4DA4-8282-724AC687F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0" y="1946"/>
                <a:ext cx="45" cy="73"/>
              </a:xfrm>
              <a:custGeom>
                <a:avLst/>
                <a:gdLst>
                  <a:gd name="T0" fmla="*/ 0 w 45"/>
                  <a:gd name="T1" fmla="*/ 65 h 73"/>
                  <a:gd name="T2" fmla="*/ 24 w 45"/>
                  <a:gd name="T3" fmla="*/ 0 h 73"/>
                  <a:gd name="T4" fmla="*/ 45 w 45"/>
                  <a:gd name="T5" fmla="*/ 7 h 73"/>
                  <a:gd name="T6" fmla="*/ 22 w 45"/>
                  <a:gd name="T7" fmla="*/ 73 h 73"/>
                  <a:gd name="T8" fmla="*/ 0 w 45"/>
                  <a:gd name="T9" fmla="*/ 6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5"/>
                    </a:moveTo>
                    <a:lnTo>
                      <a:pt x="24" y="0"/>
                    </a:lnTo>
                    <a:lnTo>
                      <a:pt x="45" y="7"/>
                    </a:lnTo>
                    <a:lnTo>
                      <a:pt x="22" y="73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DCE77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1" name="Freeform 99">
                <a:extLst>
                  <a:ext uri="{FF2B5EF4-FFF2-40B4-BE49-F238E27FC236}">
                    <a16:creationId xmlns:a16="http://schemas.microsoft.com/office/drawing/2014/main" id="{F69E95FD-011E-4FC5-B499-6C359ED9E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4" y="1937"/>
                <a:ext cx="45" cy="73"/>
              </a:xfrm>
              <a:custGeom>
                <a:avLst/>
                <a:gdLst>
                  <a:gd name="T0" fmla="*/ 0 w 45"/>
                  <a:gd name="T1" fmla="*/ 64 h 73"/>
                  <a:gd name="T2" fmla="*/ 23 w 45"/>
                  <a:gd name="T3" fmla="*/ 0 h 73"/>
                  <a:gd name="T4" fmla="*/ 45 w 45"/>
                  <a:gd name="T5" fmla="*/ 7 h 73"/>
                  <a:gd name="T6" fmla="*/ 22 w 45"/>
                  <a:gd name="T7" fmla="*/ 73 h 73"/>
                  <a:gd name="T8" fmla="*/ 0 w 45"/>
                  <a:gd name="T9" fmla="*/ 6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4"/>
                    </a:moveTo>
                    <a:lnTo>
                      <a:pt x="23" y="0"/>
                    </a:lnTo>
                    <a:lnTo>
                      <a:pt x="45" y="7"/>
                    </a:lnTo>
                    <a:lnTo>
                      <a:pt x="22" y="73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2" name="Freeform 100">
                <a:extLst>
                  <a:ext uri="{FF2B5EF4-FFF2-40B4-BE49-F238E27FC236}">
                    <a16:creationId xmlns:a16="http://schemas.microsoft.com/office/drawing/2014/main" id="{3320A667-29D2-4325-9627-6DD64612C1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7" y="1927"/>
                <a:ext cx="46" cy="73"/>
              </a:xfrm>
              <a:custGeom>
                <a:avLst/>
                <a:gdLst>
                  <a:gd name="T0" fmla="*/ 0 w 46"/>
                  <a:gd name="T1" fmla="*/ 65 h 73"/>
                  <a:gd name="T2" fmla="*/ 23 w 46"/>
                  <a:gd name="T3" fmla="*/ 0 h 73"/>
                  <a:gd name="T4" fmla="*/ 46 w 46"/>
                  <a:gd name="T5" fmla="*/ 8 h 73"/>
                  <a:gd name="T6" fmla="*/ 22 w 46"/>
                  <a:gd name="T7" fmla="*/ 73 h 73"/>
                  <a:gd name="T8" fmla="*/ 0 w 46"/>
                  <a:gd name="T9" fmla="*/ 6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0" y="65"/>
                    </a:moveTo>
                    <a:lnTo>
                      <a:pt x="23" y="0"/>
                    </a:lnTo>
                    <a:lnTo>
                      <a:pt x="46" y="8"/>
                    </a:lnTo>
                    <a:lnTo>
                      <a:pt x="22" y="73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CDDC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3" name="Freeform 101">
                <a:extLst>
                  <a:ext uri="{FF2B5EF4-FFF2-40B4-BE49-F238E27FC236}">
                    <a16:creationId xmlns:a16="http://schemas.microsoft.com/office/drawing/2014/main" id="{9F976ACC-0A27-4728-8AB9-92F1DC017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1" y="1917"/>
                <a:ext cx="45" cy="74"/>
              </a:xfrm>
              <a:custGeom>
                <a:avLst/>
                <a:gdLst>
                  <a:gd name="T0" fmla="*/ 0 w 45"/>
                  <a:gd name="T1" fmla="*/ 66 h 74"/>
                  <a:gd name="T2" fmla="*/ 23 w 45"/>
                  <a:gd name="T3" fmla="*/ 0 h 74"/>
                  <a:gd name="T4" fmla="*/ 45 w 45"/>
                  <a:gd name="T5" fmla="*/ 9 h 74"/>
                  <a:gd name="T6" fmla="*/ 22 w 45"/>
                  <a:gd name="T7" fmla="*/ 74 h 74"/>
                  <a:gd name="T8" fmla="*/ 0 w 45"/>
                  <a:gd name="T9" fmla="*/ 6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4">
                    <a:moveTo>
                      <a:pt x="0" y="66"/>
                    </a:moveTo>
                    <a:lnTo>
                      <a:pt x="23" y="0"/>
                    </a:lnTo>
                    <a:lnTo>
                      <a:pt x="45" y="9"/>
                    </a:lnTo>
                    <a:lnTo>
                      <a:pt x="22" y="74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C0CA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4" name="Freeform 102">
                <a:extLst>
                  <a:ext uri="{FF2B5EF4-FFF2-40B4-BE49-F238E27FC236}">
                    <a16:creationId xmlns:a16="http://schemas.microsoft.com/office/drawing/2014/main" id="{5E758009-E188-468F-8DF0-D50F294FC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908"/>
                <a:ext cx="46" cy="73"/>
              </a:xfrm>
              <a:custGeom>
                <a:avLst/>
                <a:gdLst>
                  <a:gd name="T0" fmla="*/ 0 w 46"/>
                  <a:gd name="T1" fmla="*/ 66 h 73"/>
                  <a:gd name="T2" fmla="*/ 24 w 46"/>
                  <a:gd name="T3" fmla="*/ 0 h 73"/>
                  <a:gd name="T4" fmla="*/ 46 w 46"/>
                  <a:gd name="T5" fmla="*/ 8 h 73"/>
                  <a:gd name="T6" fmla="*/ 23 w 46"/>
                  <a:gd name="T7" fmla="*/ 73 h 73"/>
                  <a:gd name="T8" fmla="*/ 0 w 46"/>
                  <a:gd name="T9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0" y="66"/>
                    </a:moveTo>
                    <a:lnTo>
                      <a:pt x="24" y="0"/>
                    </a:lnTo>
                    <a:lnTo>
                      <a:pt x="46" y="8"/>
                    </a:lnTo>
                    <a:lnTo>
                      <a:pt x="23" y="73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AFB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5" name="Freeform 103">
                <a:extLst>
                  <a:ext uri="{FF2B5EF4-FFF2-40B4-BE49-F238E27FC236}">
                    <a16:creationId xmlns:a16="http://schemas.microsoft.com/office/drawing/2014/main" id="{80356FB1-D90D-4EF3-84A4-00B7FE1863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9"/>
              </a:xfrm>
              <a:custGeom>
                <a:avLst/>
                <a:gdLst>
                  <a:gd name="T0" fmla="*/ 12 w 33"/>
                  <a:gd name="T1" fmla="*/ 30 h 33"/>
                  <a:gd name="T2" fmla="*/ 2 w 33"/>
                  <a:gd name="T3" fmla="*/ 11 h 33"/>
                  <a:gd name="T4" fmla="*/ 21 w 33"/>
                  <a:gd name="T5" fmla="*/ 2 h 33"/>
                  <a:gd name="T6" fmla="*/ 31 w 33"/>
                  <a:gd name="T7" fmla="*/ 21 h 33"/>
                  <a:gd name="T8" fmla="*/ 12 w 33"/>
                  <a:gd name="T9" fmla="*/ 3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3">
                    <a:moveTo>
                      <a:pt x="12" y="30"/>
                    </a:moveTo>
                    <a:cubicBezTo>
                      <a:pt x="4" y="28"/>
                      <a:pt x="0" y="19"/>
                      <a:pt x="2" y="11"/>
                    </a:cubicBezTo>
                    <a:cubicBezTo>
                      <a:pt x="5" y="4"/>
                      <a:pt x="14" y="0"/>
                      <a:pt x="21" y="2"/>
                    </a:cubicBezTo>
                    <a:cubicBezTo>
                      <a:pt x="29" y="5"/>
                      <a:pt x="33" y="14"/>
                      <a:pt x="31" y="21"/>
                    </a:cubicBezTo>
                    <a:cubicBezTo>
                      <a:pt x="28" y="29"/>
                      <a:pt x="19" y="33"/>
                      <a:pt x="12" y="30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6" name="Freeform 104">
                <a:extLst>
                  <a:ext uri="{FF2B5EF4-FFF2-40B4-BE49-F238E27FC236}">
                    <a16:creationId xmlns:a16="http://schemas.microsoft.com/office/drawing/2014/main" id="{F288D20D-0249-4BB9-B795-C0BCBCC03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" y="1887"/>
                <a:ext cx="225" cy="107"/>
              </a:xfrm>
              <a:custGeom>
                <a:avLst/>
                <a:gdLst>
                  <a:gd name="T0" fmla="*/ 5 w 410"/>
                  <a:gd name="T1" fmla="*/ 76 h 196"/>
                  <a:gd name="T2" fmla="*/ 5 w 410"/>
                  <a:gd name="T3" fmla="*/ 76 h 196"/>
                  <a:gd name="T4" fmla="*/ 93 w 410"/>
                  <a:gd name="T5" fmla="*/ 4 h 196"/>
                  <a:gd name="T6" fmla="*/ 410 w 410"/>
                  <a:gd name="T7" fmla="*/ 37 h 196"/>
                  <a:gd name="T8" fmla="*/ 393 w 410"/>
                  <a:gd name="T9" fmla="*/ 196 h 196"/>
                  <a:gd name="T10" fmla="*/ 76 w 410"/>
                  <a:gd name="T11" fmla="*/ 164 h 196"/>
                  <a:gd name="T12" fmla="*/ 5 w 410"/>
                  <a:gd name="T13" fmla="*/ 7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0" h="196">
                    <a:moveTo>
                      <a:pt x="5" y="76"/>
                    </a:moveTo>
                    <a:cubicBezTo>
                      <a:pt x="5" y="76"/>
                      <a:pt x="5" y="76"/>
                      <a:pt x="5" y="76"/>
                    </a:cubicBezTo>
                    <a:cubicBezTo>
                      <a:pt x="9" y="32"/>
                      <a:pt x="49" y="0"/>
                      <a:pt x="93" y="4"/>
                    </a:cubicBezTo>
                    <a:cubicBezTo>
                      <a:pt x="410" y="37"/>
                      <a:pt x="410" y="37"/>
                      <a:pt x="410" y="37"/>
                    </a:cubicBezTo>
                    <a:cubicBezTo>
                      <a:pt x="393" y="196"/>
                      <a:pt x="393" y="196"/>
                      <a:pt x="393" y="196"/>
                    </a:cubicBezTo>
                    <a:cubicBezTo>
                      <a:pt x="76" y="164"/>
                      <a:pt x="76" y="164"/>
                      <a:pt x="76" y="164"/>
                    </a:cubicBezTo>
                    <a:cubicBezTo>
                      <a:pt x="32" y="159"/>
                      <a:pt x="0" y="120"/>
                      <a:pt x="5" y="7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7" name="Freeform 105">
                <a:extLst>
                  <a:ext uri="{FF2B5EF4-FFF2-40B4-BE49-F238E27FC236}">
                    <a16:creationId xmlns:a16="http://schemas.microsoft.com/office/drawing/2014/main" id="{297A74DF-660D-472E-8098-462149FDFB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8" y="1912"/>
                <a:ext cx="31" cy="72"/>
              </a:xfrm>
              <a:custGeom>
                <a:avLst/>
                <a:gdLst>
                  <a:gd name="T0" fmla="*/ 0 w 31"/>
                  <a:gd name="T1" fmla="*/ 70 h 72"/>
                  <a:gd name="T2" fmla="*/ 7 w 31"/>
                  <a:gd name="T3" fmla="*/ 0 h 72"/>
                  <a:gd name="T4" fmla="*/ 31 w 31"/>
                  <a:gd name="T5" fmla="*/ 3 h 72"/>
                  <a:gd name="T6" fmla="*/ 24 w 31"/>
                  <a:gd name="T7" fmla="*/ 72 h 72"/>
                  <a:gd name="T8" fmla="*/ 0 w 31"/>
                  <a:gd name="T9" fmla="*/ 7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0" y="70"/>
                    </a:moveTo>
                    <a:lnTo>
                      <a:pt x="7" y="0"/>
                    </a:lnTo>
                    <a:lnTo>
                      <a:pt x="31" y="3"/>
                    </a:lnTo>
                    <a:lnTo>
                      <a:pt x="24" y="72"/>
                    </a:lnTo>
                    <a:lnTo>
                      <a:pt x="0" y="70"/>
                    </a:lnTo>
                    <a:close/>
                  </a:path>
                </a:pathLst>
              </a:custGeom>
              <a:solidFill>
                <a:srgbClr val="C5E1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8" name="Freeform 106">
                <a:extLst>
                  <a:ext uri="{FF2B5EF4-FFF2-40B4-BE49-F238E27FC236}">
                    <a16:creationId xmlns:a16="http://schemas.microsoft.com/office/drawing/2014/main" id="{4D6225FE-D55C-40DC-A38A-94CD4D9AB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" y="1910"/>
                <a:ext cx="31" cy="71"/>
              </a:xfrm>
              <a:custGeom>
                <a:avLst/>
                <a:gdLst>
                  <a:gd name="T0" fmla="*/ 0 w 31"/>
                  <a:gd name="T1" fmla="*/ 69 h 71"/>
                  <a:gd name="T2" fmla="*/ 7 w 31"/>
                  <a:gd name="T3" fmla="*/ 0 h 71"/>
                  <a:gd name="T4" fmla="*/ 31 w 31"/>
                  <a:gd name="T5" fmla="*/ 2 h 71"/>
                  <a:gd name="T6" fmla="*/ 24 w 31"/>
                  <a:gd name="T7" fmla="*/ 71 h 71"/>
                  <a:gd name="T8" fmla="*/ 0 w 31"/>
                  <a:gd name="T9" fmla="*/ 6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0" y="69"/>
                    </a:moveTo>
                    <a:lnTo>
                      <a:pt x="7" y="0"/>
                    </a:lnTo>
                    <a:lnTo>
                      <a:pt x="31" y="2"/>
                    </a:lnTo>
                    <a:lnTo>
                      <a:pt x="24" y="71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AED5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9" name="Freeform 107">
                <a:extLst>
                  <a:ext uri="{FF2B5EF4-FFF2-40B4-BE49-F238E27FC236}">
                    <a16:creationId xmlns:a16="http://schemas.microsoft.com/office/drawing/2014/main" id="{184F0614-A5A6-4C2A-A30B-2ECD9DD132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2" y="1907"/>
                <a:ext cx="31" cy="72"/>
              </a:xfrm>
              <a:custGeom>
                <a:avLst/>
                <a:gdLst>
                  <a:gd name="T0" fmla="*/ 0 w 31"/>
                  <a:gd name="T1" fmla="*/ 69 h 72"/>
                  <a:gd name="T2" fmla="*/ 7 w 31"/>
                  <a:gd name="T3" fmla="*/ 0 h 72"/>
                  <a:gd name="T4" fmla="*/ 31 w 31"/>
                  <a:gd name="T5" fmla="*/ 2 h 72"/>
                  <a:gd name="T6" fmla="*/ 24 w 31"/>
                  <a:gd name="T7" fmla="*/ 72 h 72"/>
                  <a:gd name="T8" fmla="*/ 0 w 31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0" y="69"/>
                    </a:moveTo>
                    <a:lnTo>
                      <a:pt x="7" y="0"/>
                    </a:lnTo>
                    <a:lnTo>
                      <a:pt x="31" y="2"/>
                    </a:lnTo>
                    <a:lnTo>
                      <a:pt x="24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9CCC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0" name="Freeform 108">
                <a:extLst>
                  <a:ext uri="{FF2B5EF4-FFF2-40B4-BE49-F238E27FC236}">
                    <a16:creationId xmlns:a16="http://schemas.microsoft.com/office/drawing/2014/main" id="{885973B0-D7BC-41B3-95B0-E0B3F35A58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1904"/>
                <a:ext cx="31" cy="71"/>
              </a:xfrm>
              <a:custGeom>
                <a:avLst/>
                <a:gdLst>
                  <a:gd name="T0" fmla="*/ 0 w 31"/>
                  <a:gd name="T1" fmla="*/ 69 h 71"/>
                  <a:gd name="T2" fmla="*/ 8 w 31"/>
                  <a:gd name="T3" fmla="*/ 0 h 71"/>
                  <a:gd name="T4" fmla="*/ 31 w 31"/>
                  <a:gd name="T5" fmla="*/ 2 h 71"/>
                  <a:gd name="T6" fmla="*/ 24 w 31"/>
                  <a:gd name="T7" fmla="*/ 71 h 71"/>
                  <a:gd name="T8" fmla="*/ 0 w 31"/>
                  <a:gd name="T9" fmla="*/ 6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0" y="69"/>
                    </a:moveTo>
                    <a:lnTo>
                      <a:pt x="8" y="0"/>
                    </a:lnTo>
                    <a:lnTo>
                      <a:pt x="31" y="2"/>
                    </a:lnTo>
                    <a:lnTo>
                      <a:pt x="24" y="71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1" name="Freeform 109">
                <a:extLst>
                  <a:ext uri="{FF2B5EF4-FFF2-40B4-BE49-F238E27FC236}">
                    <a16:creationId xmlns:a16="http://schemas.microsoft.com/office/drawing/2014/main" id="{E952FAAE-79ED-4F86-A93C-3626A2032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1901"/>
                <a:ext cx="30" cy="72"/>
              </a:xfrm>
              <a:custGeom>
                <a:avLst/>
                <a:gdLst>
                  <a:gd name="T0" fmla="*/ 0 w 30"/>
                  <a:gd name="T1" fmla="*/ 69 h 72"/>
                  <a:gd name="T2" fmla="*/ 7 w 30"/>
                  <a:gd name="T3" fmla="*/ 0 h 72"/>
                  <a:gd name="T4" fmla="*/ 30 w 30"/>
                  <a:gd name="T5" fmla="*/ 3 h 72"/>
                  <a:gd name="T6" fmla="*/ 23 w 30"/>
                  <a:gd name="T7" fmla="*/ 72 h 72"/>
                  <a:gd name="T8" fmla="*/ 0 w 30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72">
                    <a:moveTo>
                      <a:pt x="0" y="69"/>
                    </a:moveTo>
                    <a:lnTo>
                      <a:pt x="7" y="0"/>
                    </a:lnTo>
                    <a:lnTo>
                      <a:pt x="30" y="3"/>
                    </a:lnTo>
                    <a:lnTo>
                      <a:pt x="23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7CB3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2" name="Freeform 110">
                <a:extLst>
                  <a:ext uri="{FF2B5EF4-FFF2-40B4-BE49-F238E27FC236}">
                    <a16:creationId xmlns:a16="http://schemas.microsoft.com/office/drawing/2014/main" id="{FBF8D14E-A43B-49E7-8676-A560D1259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9" y="1898"/>
                <a:ext cx="30" cy="72"/>
              </a:xfrm>
              <a:custGeom>
                <a:avLst/>
                <a:gdLst>
                  <a:gd name="T0" fmla="*/ 0 w 30"/>
                  <a:gd name="T1" fmla="*/ 69 h 72"/>
                  <a:gd name="T2" fmla="*/ 7 w 30"/>
                  <a:gd name="T3" fmla="*/ 0 h 72"/>
                  <a:gd name="T4" fmla="*/ 30 w 30"/>
                  <a:gd name="T5" fmla="*/ 2 h 72"/>
                  <a:gd name="T6" fmla="*/ 23 w 30"/>
                  <a:gd name="T7" fmla="*/ 72 h 72"/>
                  <a:gd name="T8" fmla="*/ 0 w 30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72">
                    <a:moveTo>
                      <a:pt x="0" y="69"/>
                    </a:moveTo>
                    <a:lnTo>
                      <a:pt x="7" y="0"/>
                    </a:lnTo>
                    <a:lnTo>
                      <a:pt x="30" y="2"/>
                    </a:lnTo>
                    <a:lnTo>
                      <a:pt x="23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689F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3" name="Freeform 111">
                <a:extLst>
                  <a:ext uri="{FF2B5EF4-FFF2-40B4-BE49-F238E27FC236}">
                    <a16:creationId xmlns:a16="http://schemas.microsoft.com/office/drawing/2014/main" id="{194F6BEB-A6F3-4204-A3E7-28D0AB2875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2"/>
                <a:ext cx="17" cy="17"/>
              </a:xfrm>
              <a:custGeom>
                <a:avLst/>
                <a:gdLst>
                  <a:gd name="T0" fmla="*/ 14 w 31"/>
                  <a:gd name="T1" fmla="*/ 31 h 32"/>
                  <a:gd name="T2" fmla="*/ 1 w 31"/>
                  <a:gd name="T3" fmla="*/ 14 h 32"/>
                  <a:gd name="T4" fmla="*/ 17 w 31"/>
                  <a:gd name="T5" fmla="*/ 1 h 32"/>
                  <a:gd name="T6" fmla="*/ 30 w 31"/>
                  <a:gd name="T7" fmla="*/ 17 h 32"/>
                  <a:gd name="T8" fmla="*/ 14 w 31"/>
                  <a:gd name="T9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2">
                    <a:moveTo>
                      <a:pt x="14" y="31"/>
                    </a:moveTo>
                    <a:cubicBezTo>
                      <a:pt x="6" y="30"/>
                      <a:pt x="0" y="23"/>
                      <a:pt x="1" y="14"/>
                    </a:cubicBezTo>
                    <a:cubicBezTo>
                      <a:pt x="2" y="6"/>
                      <a:pt x="9" y="0"/>
                      <a:pt x="17" y="1"/>
                    </a:cubicBezTo>
                    <a:cubicBezTo>
                      <a:pt x="25" y="2"/>
                      <a:pt x="31" y="9"/>
                      <a:pt x="30" y="17"/>
                    </a:cubicBezTo>
                    <a:cubicBezTo>
                      <a:pt x="30" y="26"/>
                      <a:pt x="22" y="32"/>
                      <a:pt x="14" y="31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4" name="Freeform 112">
                <a:extLst>
                  <a:ext uri="{FF2B5EF4-FFF2-40B4-BE49-F238E27FC236}">
                    <a16:creationId xmlns:a16="http://schemas.microsoft.com/office/drawing/2014/main" id="{E6A7D0A3-C279-46E0-A2AD-A201233ACE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" y="1866"/>
                <a:ext cx="224" cy="109"/>
              </a:xfrm>
              <a:custGeom>
                <a:avLst/>
                <a:gdLst>
                  <a:gd name="T0" fmla="*/ 5 w 410"/>
                  <a:gd name="T1" fmla="*/ 124 h 200"/>
                  <a:gd name="T2" fmla="*/ 5 w 410"/>
                  <a:gd name="T3" fmla="*/ 124 h 200"/>
                  <a:gd name="T4" fmla="*/ 75 w 410"/>
                  <a:gd name="T5" fmla="*/ 35 h 200"/>
                  <a:gd name="T6" fmla="*/ 392 w 410"/>
                  <a:gd name="T7" fmla="*/ 0 h 200"/>
                  <a:gd name="T8" fmla="*/ 410 w 410"/>
                  <a:gd name="T9" fmla="*/ 159 h 200"/>
                  <a:gd name="T10" fmla="*/ 93 w 410"/>
                  <a:gd name="T11" fmla="*/ 195 h 200"/>
                  <a:gd name="T12" fmla="*/ 5 w 410"/>
                  <a:gd name="T13" fmla="*/ 124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0" h="200">
                    <a:moveTo>
                      <a:pt x="5" y="124"/>
                    </a:moveTo>
                    <a:cubicBezTo>
                      <a:pt x="5" y="124"/>
                      <a:pt x="5" y="124"/>
                      <a:pt x="5" y="124"/>
                    </a:cubicBezTo>
                    <a:cubicBezTo>
                      <a:pt x="0" y="80"/>
                      <a:pt x="31" y="40"/>
                      <a:pt x="75" y="35"/>
                    </a:cubicBezTo>
                    <a:cubicBezTo>
                      <a:pt x="392" y="0"/>
                      <a:pt x="392" y="0"/>
                      <a:pt x="392" y="0"/>
                    </a:cubicBezTo>
                    <a:cubicBezTo>
                      <a:pt x="410" y="159"/>
                      <a:pt x="410" y="159"/>
                      <a:pt x="410" y="159"/>
                    </a:cubicBezTo>
                    <a:cubicBezTo>
                      <a:pt x="93" y="195"/>
                      <a:pt x="93" y="195"/>
                      <a:pt x="93" y="195"/>
                    </a:cubicBezTo>
                    <a:cubicBezTo>
                      <a:pt x="49" y="200"/>
                      <a:pt x="10" y="168"/>
                      <a:pt x="5" y="1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5" name="Freeform 113">
                <a:extLst>
                  <a:ext uri="{FF2B5EF4-FFF2-40B4-BE49-F238E27FC236}">
                    <a16:creationId xmlns:a16="http://schemas.microsoft.com/office/drawing/2014/main" id="{D9EB15A7-C8BC-498E-B5AC-BF1CB4446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7" y="1876"/>
                <a:ext cx="31" cy="71"/>
              </a:xfrm>
              <a:custGeom>
                <a:avLst/>
                <a:gdLst>
                  <a:gd name="T0" fmla="*/ 8 w 31"/>
                  <a:gd name="T1" fmla="*/ 71 h 71"/>
                  <a:gd name="T2" fmla="*/ 0 w 31"/>
                  <a:gd name="T3" fmla="*/ 3 h 71"/>
                  <a:gd name="T4" fmla="*/ 23 w 31"/>
                  <a:gd name="T5" fmla="*/ 0 h 71"/>
                  <a:gd name="T6" fmla="*/ 31 w 31"/>
                  <a:gd name="T7" fmla="*/ 69 h 71"/>
                  <a:gd name="T8" fmla="*/ 8 w 31"/>
                  <a:gd name="T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8" y="71"/>
                    </a:moveTo>
                    <a:lnTo>
                      <a:pt x="0" y="3"/>
                    </a:lnTo>
                    <a:lnTo>
                      <a:pt x="23" y="0"/>
                    </a:lnTo>
                    <a:lnTo>
                      <a:pt x="31" y="69"/>
                    </a:lnTo>
                    <a:lnTo>
                      <a:pt x="8" y="71"/>
                    </a:lnTo>
                    <a:close/>
                  </a:path>
                </a:pathLst>
              </a:custGeom>
              <a:solidFill>
                <a:srgbClr val="80CB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6" name="Freeform 114">
                <a:extLst>
                  <a:ext uri="{FF2B5EF4-FFF2-40B4-BE49-F238E27FC236}">
                    <a16:creationId xmlns:a16="http://schemas.microsoft.com/office/drawing/2014/main" id="{FC3880F6-7A19-4FBC-80C9-497368FF86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9" y="1879"/>
                <a:ext cx="31" cy="72"/>
              </a:xfrm>
              <a:custGeom>
                <a:avLst/>
                <a:gdLst>
                  <a:gd name="T0" fmla="*/ 8 w 31"/>
                  <a:gd name="T1" fmla="*/ 72 h 72"/>
                  <a:gd name="T2" fmla="*/ 0 w 31"/>
                  <a:gd name="T3" fmla="*/ 3 h 72"/>
                  <a:gd name="T4" fmla="*/ 23 w 31"/>
                  <a:gd name="T5" fmla="*/ 0 h 72"/>
                  <a:gd name="T6" fmla="*/ 31 w 31"/>
                  <a:gd name="T7" fmla="*/ 69 h 72"/>
                  <a:gd name="T8" fmla="*/ 8 w 31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8" y="72"/>
                    </a:moveTo>
                    <a:lnTo>
                      <a:pt x="0" y="3"/>
                    </a:lnTo>
                    <a:lnTo>
                      <a:pt x="23" y="0"/>
                    </a:lnTo>
                    <a:lnTo>
                      <a:pt x="31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4DB6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7" name="Freeform 115">
                <a:extLst>
                  <a:ext uri="{FF2B5EF4-FFF2-40B4-BE49-F238E27FC236}">
                    <a16:creationId xmlns:a16="http://schemas.microsoft.com/office/drawing/2014/main" id="{8995C09D-66A0-4A50-A710-B881A9354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" y="1882"/>
                <a:ext cx="31" cy="72"/>
              </a:xfrm>
              <a:custGeom>
                <a:avLst/>
                <a:gdLst>
                  <a:gd name="T0" fmla="*/ 8 w 31"/>
                  <a:gd name="T1" fmla="*/ 72 h 72"/>
                  <a:gd name="T2" fmla="*/ 0 w 31"/>
                  <a:gd name="T3" fmla="*/ 3 h 72"/>
                  <a:gd name="T4" fmla="*/ 24 w 31"/>
                  <a:gd name="T5" fmla="*/ 0 h 72"/>
                  <a:gd name="T6" fmla="*/ 31 w 31"/>
                  <a:gd name="T7" fmla="*/ 69 h 72"/>
                  <a:gd name="T8" fmla="*/ 8 w 31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1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26A6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8" name="Freeform 116">
                <a:extLst>
                  <a:ext uri="{FF2B5EF4-FFF2-40B4-BE49-F238E27FC236}">
                    <a16:creationId xmlns:a16="http://schemas.microsoft.com/office/drawing/2014/main" id="{02E1561F-A0A1-4AD5-A216-6818D5F3E4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3" y="1885"/>
                <a:ext cx="32" cy="72"/>
              </a:xfrm>
              <a:custGeom>
                <a:avLst/>
                <a:gdLst>
                  <a:gd name="T0" fmla="*/ 8 w 32"/>
                  <a:gd name="T1" fmla="*/ 72 h 72"/>
                  <a:gd name="T2" fmla="*/ 0 w 32"/>
                  <a:gd name="T3" fmla="*/ 3 h 72"/>
                  <a:gd name="T4" fmla="*/ 24 w 32"/>
                  <a:gd name="T5" fmla="*/ 0 h 72"/>
                  <a:gd name="T6" fmla="*/ 32 w 32"/>
                  <a:gd name="T7" fmla="*/ 70 h 72"/>
                  <a:gd name="T8" fmla="*/ 8 w 32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2" y="70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0096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9" name="Freeform 117">
                <a:extLst>
                  <a:ext uri="{FF2B5EF4-FFF2-40B4-BE49-F238E27FC236}">
                    <a16:creationId xmlns:a16="http://schemas.microsoft.com/office/drawing/2014/main" id="{5C290804-0A41-4923-BFD7-F8C5E6004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5" y="1888"/>
                <a:ext cx="32" cy="72"/>
              </a:xfrm>
              <a:custGeom>
                <a:avLst/>
                <a:gdLst>
                  <a:gd name="T0" fmla="*/ 8 w 32"/>
                  <a:gd name="T1" fmla="*/ 72 h 72"/>
                  <a:gd name="T2" fmla="*/ 0 w 32"/>
                  <a:gd name="T3" fmla="*/ 3 h 72"/>
                  <a:gd name="T4" fmla="*/ 24 w 32"/>
                  <a:gd name="T5" fmla="*/ 0 h 72"/>
                  <a:gd name="T6" fmla="*/ 32 w 32"/>
                  <a:gd name="T7" fmla="*/ 69 h 72"/>
                  <a:gd name="T8" fmla="*/ 8 w 32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2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0089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0" name="Freeform 118">
                <a:extLst>
                  <a:ext uri="{FF2B5EF4-FFF2-40B4-BE49-F238E27FC236}">
                    <a16:creationId xmlns:a16="http://schemas.microsoft.com/office/drawing/2014/main" id="{FA5CDC67-A3F0-4D12-AEF7-61F0B5829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7" y="1892"/>
                <a:ext cx="32" cy="71"/>
              </a:xfrm>
              <a:custGeom>
                <a:avLst/>
                <a:gdLst>
                  <a:gd name="T0" fmla="*/ 8 w 32"/>
                  <a:gd name="T1" fmla="*/ 71 h 71"/>
                  <a:gd name="T2" fmla="*/ 0 w 32"/>
                  <a:gd name="T3" fmla="*/ 2 h 71"/>
                  <a:gd name="T4" fmla="*/ 24 w 32"/>
                  <a:gd name="T5" fmla="*/ 0 h 71"/>
                  <a:gd name="T6" fmla="*/ 32 w 32"/>
                  <a:gd name="T7" fmla="*/ 69 h 71"/>
                  <a:gd name="T8" fmla="*/ 8 w 32"/>
                  <a:gd name="T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1">
                    <a:moveTo>
                      <a:pt x="8" y="71"/>
                    </a:moveTo>
                    <a:lnTo>
                      <a:pt x="0" y="2"/>
                    </a:lnTo>
                    <a:lnTo>
                      <a:pt x="24" y="0"/>
                    </a:lnTo>
                    <a:lnTo>
                      <a:pt x="32" y="69"/>
                    </a:lnTo>
                    <a:lnTo>
                      <a:pt x="8" y="71"/>
                    </a:lnTo>
                    <a:close/>
                  </a:path>
                </a:pathLst>
              </a:custGeom>
              <a:solidFill>
                <a:srgbClr val="0079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1" name="Freeform 119">
                <a:extLst>
                  <a:ext uri="{FF2B5EF4-FFF2-40B4-BE49-F238E27FC236}">
                    <a16:creationId xmlns:a16="http://schemas.microsoft.com/office/drawing/2014/main" id="{1F040C92-6377-4ECA-B87E-2652886FAE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3"/>
                <a:ext cx="17" cy="17"/>
              </a:xfrm>
              <a:custGeom>
                <a:avLst/>
                <a:gdLst>
                  <a:gd name="T0" fmla="*/ 17 w 31"/>
                  <a:gd name="T1" fmla="*/ 30 h 31"/>
                  <a:gd name="T2" fmla="*/ 0 w 31"/>
                  <a:gd name="T3" fmla="*/ 17 h 31"/>
                  <a:gd name="T4" fmla="*/ 14 w 31"/>
                  <a:gd name="T5" fmla="*/ 1 h 31"/>
                  <a:gd name="T6" fmla="*/ 30 w 31"/>
                  <a:gd name="T7" fmla="*/ 14 h 31"/>
                  <a:gd name="T8" fmla="*/ 17 w 31"/>
                  <a:gd name="T9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1">
                    <a:moveTo>
                      <a:pt x="17" y="30"/>
                    </a:moveTo>
                    <a:cubicBezTo>
                      <a:pt x="9" y="31"/>
                      <a:pt x="1" y="25"/>
                      <a:pt x="0" y="17"/>
                    </a:cubicBezTo>
                    <a:cubicBezTo>
                      <a:pt x="0" y="9"/>
                      <a:pt x="5" y="1"/>
                      <a:pt x="14" y="1"/>
                    </a:cubicBezTo>
                    <a:cubicBezTo>
                      <a:pt x="22" y="0"/>
                      <a:pt x="29" y="5"/>
                      <a:pt x="30" y="14"/>
                    </a:cubicBezTo>
                    <a:cubicBezTo>
                      <a:pt x="31" y="22"/>
                      <a:pt x="25" y="29"/>
                      <a:pt x="17" y="30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2" name="Freeform 120">
                <a:extLst>
                  <a:ext uri="{FF2B5EF4-FFF2-40B4-BE49-F238E27FC236}">
                    <a16:creationId xmlns:a16="http://schemas.microsoft.com/office/drawing/2014/main" id="{7868BCA3-300A-48B0-AACE-433A61A35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" y="1825"/>
                <a:ext cx="228" cy="151"/>
              </a:xfrm>
              <a:custGeom>
                <a:avLst/>
                <a:gdLst>
                  <a:gd name="T0" fmla="*/ 15 w 417"/>
                  <a:gd name="T1" fmla="*/ 213 h 276"/>
                  <a:gd name="T2" fmla="*/ 15 w 417"/>
                  <a:gd name="T3" fmla="*/ 213 h 276"/>
                  <a:gd name="T4" fmla="*/ 62 w 417"/>
                  <a:gd name="T5" fmla="*/ 110 h 276"/>
                  <a:gd name="T6" fmla="*/ 361 w 417"/>
                  <a:gd name="T7" fmla="*/ 0 h 276"/>
                  <a:gd name="T8" fmla="*/ 417 w 417"/>
                  <a:gd name="T9" fmla="*/ 150 h 276"/>
                  <a:gd name="T10" fmla="*/ 118 w 417"/>
                  <a:gd name="T11" fmla="*/ 260 h 276"/>
                  <a:gd name="T12" fmla="*/ 15 w 417"/>
                  <a:gd name="T13" fmla="*/ 213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7" h="276">
                    <a:moveTo>
                      <a:pt x="15" y="213"/>
                    </a:moveTo>
                    <a:cubicBezTo>
                      <a:pt x="15" y="213"/>
                      <a:pt x="15" y="213"/>
                      <a:pt x="15" y="213"/>
                    </a:cubicBezTo>
                    <a:cubicBezTo>
                      <a:pt x="0" y="171"/>
                      <a:pt x="21" y="125"/>
                      <a:pt x="62" y="110"/>
                    </a:cubicBezTo>
                    <a:cubicBezTo>
                      <a:pt x="361" y="0"/>
                      <a:pt x="361" y="0"/>
                      <a:pt x="361" y="0"/>
                    </a:cubicBezTo>
                    <a:cubicBezTo>
                      <a:pt x="417" y="150"/>
                      <a:pt x="417" y="150"/>
                      <a:pt x="417" y="150"/>
                    </a:cubicBezTo>
                    <a:cubicBezTo>
                      <a:pt x="118" y="260"/>
                      <a:pt x="118" y="260"/>
                      <a:pt x="118" y="260"/>
                    </a:cubicBezTo>
                    <a:cubicBezTo>
                      <a:pt x="76" y="276"/>
                      <a:pt x="30" y="254"/>
                      <a:pt x="15" y="2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3" name="Freeform 121">
                <a:extLst>
                  <a:ext uri="{FF2B5EF4-FFF2-40B4-BE49-F238E27FC236}">
                    <a16:creationId xmlns:a16="http://schemas.microsoft.com/office/drawing/2014/main" id="{BDD2F821-504A-4880-94B5-0D04B3F1A4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5" y="1837"/>
                <a:ext cx="47" cy="73"/>
              </a:xfrm>
              <a:custGeom>
                <a:avLst/>
                <a:gdLst>
                  <a:gd name="T0" fmla="*/ 24 w 47"/>
                  <a:gd name="T1" fmla="*/ 73 h 73"/>
                  <a:gd name="T2" fmla="*/ 0 w 47"/>
                  <a:gd name="T3" fmla="*/ 8 h 73"/>
                  <a:gd name="T4" fmla="*/ 23 w 47"/>
                  <a:gd name="T5" fmla="*/ 0 h 73"/>
                  <a:gd name="T6" fmla="*/ 47 w 47"/>
                  <a:gd name="T7" fmla="*/ 65 h 73"/>
                  <a:gd name="T8" fmla="*/ 24 w 47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3">
                    <a:moveTo>
                      <a:pt x="24" y="73"/>
                    </a:moveTo>
                    <a:lnTo>
                      <a:pt x="0" y="8"/>
                    </a:lnTo>
                    <a:lnTo>
                      <a:pt x="23" y="0"/>
                    </a:lnTo>
                    <a:lnTo>
                      <a:pt x="47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81D4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4" name="Freeform 122">
                <a:extLst>
                  <a:ext uri="{FF2B5EF4-FFF2-40B4-BE49-F238E27FC236}">
                    <a16:creationId xmlns:a16="http://schemas.microsoft.com/office/drawing/2014/main" id="{74E1474D-72B8-4E21-99E0-C0EA235A4C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1846"/>
                <a:ext cx="46" cy="74"/>
              </a:xfrm>
              <a:custGeom>
                <a:avLst/>
                <a:gdLst>
                  <a:gd name="T0" fmla="*/ 24 w 46"/>
                  <a:gd name="T1" fmla="*/ 74 h 74"/>
                  <a:gd name="T2" fmla="*/ 0 w 46"/>
                  <a:gd name="T3" fmla="*/ 8 h 74"/>
                  <a:gd name="T4" fmla="*/ 22 w 46"/>
                  <a:gd name="T5" fmla="*/ 0 h 74"/>
                  <a:gd name="T6" fmla="*/ 46 w 46"/>
                  <a:gd name="T7" fmla="*/ 65 h 74"/>
                  <a:gd name="T8" fmla="*/ 24 w 46"/>
                  <a:gd name="T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4">
                    <a:moveTo>
                      <a:pt x="24" y="74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4"/>
                    </a:lnTo>
                    <a:close/>
                  </a:path>
                </a:pathLst>
              </a:custGeom>
              <a:solidFill>
                <a:srgbClr val="4FC3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5" name="Freeform 123">
                <a:extLst>
                  <a:ext uri="{FF2B5EF4-FFF2-40B4-BE49-F238E27FC236}">
                    <a16:creationId xmlns:a16="http://schemas.microsoft.com/office/drawing/2014/main" id="{B46B7594-62AF-4D46-B95E-6CEC97D81D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3" y="1856"/>
                <a:ext cx="46" cy="73"/>
              </a:xfrm>
              <a:custGeom>
                <a:avLst/>
                <a:gdLst>
                  <a:gd name="T0" fmla="*/ 24 w 46"/>
                  <a:gd name="T1" fmla="*/ 73 h 73"/>
                  <a:gd name="T2" fmla="*/ 0 w 46"/>
                  <a:gd name="T3" fmla="*/ 8 h 73"/>
                  <a:gd name="T4" fmla="*/ 22 w 46"/>
                  <a:gd name="T5" fmla="*/ 0 h 73"/>
                  <a:gd name="T6" fmla="*/ 46 w 46"/>
                  <a:gd name="T7" fmla="*/ 65 h 73"/>
                  <a:gd name="T8" fmla="*/ 24 w 46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24" y="73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29B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6" name="Freeform 124">
                <a:extLst>
                  <a:ext uri="{FF2B5EF4-FFF2-40B4-BE49-F238E27FC236}">
                    <a16:creationId xmlns:a16="http://schemas.microsoft.com/office/drawing/2014/main" id="{E36BE161-1C98-4A65-9E28-29C9BF2FD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6" y="1866"/>
                <a:ext cx="47" cy="73"/>
              </a:xfrm>
              <a:custGeom>
                <a:avLst/>
                <a:gdLst>
                  <a:gd name="T0" fmla="*/ 24 w 47"/>
                  <a:gd name="T1" fmla="*/ 73 h 73"/>
                  <a:gd name="T2" fmla="*/ 0 w 47"/>
                  <a:gd name="T3" fmla="*/ 8 h 73"/>
                  <a:gd name="T4" fmla="*/ 23 w 47"/>
                  <a:gd name="T5" fmla="*/ 0 h 73"/>
                  <a:gd name="T6" fmla="*/ 47 w 47"/>
                  <a:gd name="T7" fmla="*/ 64 h 73"/>
                  <a:gd name="T8" fmla="*/ 24 w 47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3">
                    <a:moveTo>
                      <a:pt x="24" y="73"/>
                    </a:moveTo>
                    <a:lnTo>
                      <a:pt x="0" y="8"/>
                    </a:lnTo>
                    <a:lnTo>
                      <a:pt x="23" y="0"/>
                    </a:lnTo>
                    <a:lnTo>
                      <a:pt x="47" y="64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03A9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7" name="Freeform 125">
                <a:extLst>
                  <a:ext uri="{FF2B5EF4-FFF2-40B4-BE49-F238E27FC236}">
                    <a16:creationId xmlns:a16="http://schemas.microsoft.com/office/drawing/2014/main" id="{FFD2CA59-B02F-40A9-BF67-2DE923216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0" y="1875"/>
                <a:ext cx="47" cy="74"/>
              </a:xfrm>
              <a:custGeom>
                <a:avLst/>
                <a:gdLst>
                  <a:gd name="T0" fmla="*/ 24 w 47"/>
                  <a:gd name="T1" fmla="*/ 74 h 74"/>
                  <a:gd name="T2" fmla="*/ 0 w 47"/>
                  <a:gd name="T3" fmla="*/ 9 h 74"/>
                  <a:gd name="T4" fmla="*/ 22 w 47"/>
                  <a:gd name="T5" fmla="*/ 0 h 74"/>
                  <a:gd name="T6" fmla="*/ 47 w 47"/>
                  <a:gd name="T7" fmla="*/ 65 h 74"/>
                  <a:gd name="T8" fmla="*/ 24 w 47"/>
                  <a:gd name="T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4">
                    <a:moveTo>
                      <a:pt x="24" y="74"/>
                    </a:moveTo>
                    <a:lnTo>
                      <a:pt x="0" y="9"/>
                    </a:lnTo>
                    <a:lnTo>
                      <a:pt x="22" y="0"/>
                    </a:lnTo>
                    <a:lnTo>
                      <a:pt x="47" y="65"/>
                    </a:lnTo>
                    <a:lnTo>
                      <a:pt x="24" y="74"/>
                    </a:lnTo>
                    <a:close/>
                  </a:path>
                </a:pathLst>
              </a:custGeom>
              <a:solidFill>
                <a:srgbClr val="039B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8" name="Freeform 126">
                <a:extLst>
                  <a:ext uri="{FF2B5EF4-FFF2-40B4-BE49-F238E27FC236}">
                    <a16:creationId xmlns:a16="http://schemas.microsoft.com/office/drawing/2014/main" id="{1D05BC67-9929-44B7-83A6-5BA3D2873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885"/>
                <a:ext cx="46" cy="73"/>
              </a:xfrm>
              <a:custGeom>
                <a:avLst/>
                <a:gdLst>
                  <a:gd name="T0" fmla="*/ 24 w 46"/>
                  <a:gd name="T1" fmla="*/ 73 h 73"/>
                  <a:gd name="T2" fmla="*/ 0 w 46"/>
                  <a:gd name="T3" fmla="*/ 8 h 73"/>
                  <a:gd name="T4" fmla="*/ 22 w 46"/>
                  <a:gd name="T5" fmla="*/ 0 h 73"/>
                  <a:gd name="T6" fmla="*/ 46 w 46"/>
                  <a:gd name="T7" fmla="*/ 65 h 73"/>
                  <a:gd name="T8" fmla="*/ 24 w 46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24" y="73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0288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9" name="Freeform 127">
                <a:extLst>
                  <a:ext uri="{FF2B5EF4-FFF2-40B4-BE49-F238E27FC236}">
                    <a16:creationId xmlns:a16="http://schemas.microsoft.com/office/drawing/2014/main" id="{F6B8E404-D271-410F-9E05-9DAF97083D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9"/>
              </a:xfrm>
              <a:custGeom>
                <a:avLst/>
                <a:gdLst>
                  <a:gd name="T0" fmla="*/ 22 w 33"/>
                  <a:gd name="T1" fmla="*/ 31 h 34"/>
                  <a:gd name="T2" fmla="*/ 2 w 33"/>
                  <a:gd name="T3" fmla="*/ 22 h 34"/>
                  <a:gd name="T4" fmla="*/ 11 w 33"/>
                  <a:gd name="T5" fmla="*/ 3 h 34"/>
                  <a:gd name="T6" fmla="*/ 30 w 33"/>
                  <a:gd name="T7" fmla="*/ 12 h 34"/>
                  <a:gd name="T8" fmla="*/ 22 w 33"/>
                  <a:gd name="T9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4">
                    <a:moveTo>
                      <a:pt x="22" y="31"/>
                    </a:moveTo>
                    <a:cubicBezTo>
                      <a:pt x="14" y="34"/>
                      <a:pt x="5" y="30"/>
                      <a:pt x="2" y="22"/>
                    </a:cubicBezTo>
                    <a:cubicBezTo>
                      <a:pt x="0" y="15"/>
                      <a:pt x="4" y="6"/>
                      <a:pt x="11" y="3"/>
                    </a:cubicBezTo>
                    <a:cubicBezTo>
                      <a:pt x="19" y="0"/>
                      <a:pt x="28" y="4"/>
                      <a:pt x="30" y="12"/>
                    </a:cubicBezTo>
                    <a:cubicBezTo>
                      <a:pt x="33" y="20"/>
                      <a:pt x="29" y="28"/>
                      <a:pt x="22" y="31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0" name="Freeform 128">
                <a:extLst>
                  <a:ext uri="{FF2B5EF4-FFF2-40B4-BE49-F238E27FC236}">
                    <a16:creationId xmlns:a16="http://schemas.microsoft.com/office/drawing/2014/main" id="{9ED94142-CE4D-400D-BF8C-381737330E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14"/>
                <a:ext cx="492" cy="389"/>
              </a:xfrm>
              <a:custGeom>
                <a:avLst/>
                <a:gdLst>
                  <a:gd name="T0" fmla="*/ 729 w 900"/>
                  <a:gd name="T1" fmla="*/ 705 h 711"/>
                  <a:gd name="T2" fmla="*/ 34 w 900"/>
                  <a:gd name="T3" fmla="*/ 519 h 711"/>
                  <a:gd name="T4" fmla="*/ 6 w 900"/>
                  <a:gd name="T5" fmla="*/ 471 h 711"/>
                  <a:gd name="T6" fmla="*/ 123 w 900"/>
                  <a:gd name="T7" fmla="*/ 34 h 711"/>
                  <a:gd name="T8" fmla="*/ 172 w 900"/>
                  <a:gd name="T9" fmla="*/ 6 h 711"/>
                  <a:gd name="T10" fmla="*/ 866 w 900"/>
                  <a:gd name="T11" fmla="*/ 192 h 711"/>
                  <a:gd name="T12" fmla="*/ 894 w 900"/>
                  <a:gd name="T13" fmla="*/ 240 h 711"/>
                  <a:gd name="T14" fmla="*/ 777 w 900"/>
                  <a:gd name="T15" fmla="*/ 677 h 711"/>
                  <a:gd name="T16" fmla="*/ 729 w 900"/>
                  <a:gd name="T17" fmla="*/ 705 h 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0" h="711">
                    <a:moveTo>
                      <a:pt x="729" y="705"/>
                    </a:moveTo>
                    <a:cubicBezTo>
                      <a:pt x="34" y="519"/>
                      <a:pt x="34" y="519"/>
                      <a:pt x="34" y="519"/>
                    </a:cubicBezTo>
                    <a:cubicBezTo>
                      <a:pt x="13" y="514"/>
                      <a:pt x="0" y="492"/>
                      <a:pt x="6" y="471"/>
                    </a:cubicBezTo>
                    <a:cubicBezTo>
                      <a:pt x="123" y="34"/>
                      <a:pt x="123" y="34"/>
                      <a:pt x="123" y="34"/>
                    </a:cubicBezTo>
                    <a:cubicBezTo>
                      <a:pt x="129" y="12"/>
                      <a:pt x="151" y="0"/>
                      <a:pt x="172" y="6"/>
                    </a:cubicBezTo>
                    <a:cubicBezTo>
                      <a:pt x="866" y="192"/>
                      <a:pt x="866" y="192"/>
                      <a:pt x="866" y="192"/>
                    </a:cubicBezTo>
                    <a:cubicBezTo>
                      <a:pt x="888" y="197"/>
                      <a:pt x="900" y="219"/>
                      <a:pt x="894" y="240"/>
                    </a:cubicBezTo>
                    <a:cubicBezTo>
                      <a:pt x="777" y="677"/>
                      <a:pt x="777" y="677"/>
                      <a:pt x="777" y="677"/>
                    </a:cubicBezTo>
                    <a:cubicBezTo>
                      <a:pt x="772" y="698"/>
                      <a:pt x="750" y="711"/>
                      <a:pt x="729" y="705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1" name="Freeform 129">
                <a:extLst>
                  <a:ext uri="{FF2B5EF4-FFF2-40B4-BE49-F238E27FC236}">
                    <a16:creationId xmlns:a16="http://schemas.microsoft.com/office/drawing/2014/main" id="{929AA544-EC89-400D-A01F-6076D4388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2239"/>
                <a:ext cx="253" cy="299"/>
              </a:xfrm>
              <a:custGeom>
                <a:avLst/>
                <a:gdLst>
                  <a:gd name="T0" fmla="*/ 462 w 462"/>
                  <a:gd name="T1" fmla="*/ 87 h 548"/>
                  <a:gd name="T2" fmla="*/ 152 w 462"/>
                  <a:gd name="T3" fmla="*/ 5 h 548"/>
                  <a:gd name="T4" fmla="*/ 111 w 462"/>
                  <a:gd name="T5" fmla="*/ 28 h 548"/>
                  <a:gd name="T6" fmla="*/ 5 w 462"/>
                  <a:gd name="T7" fmla="*/ 424 h 548"/>
                  <a:gd name="T8" fmla="*/ 29 w 462"/>
                  <a:gd name="T9" fmla="*/ 465 h 548"/>
                  <a:gd name="T10" fmla="*/ 338 w 462"/>
                  <a:gd name="T11" fmla="*/ 548 h 548"/>
                  <a:gd name="T12" fmla="*/ 462 w 462"/>
                  <a:gd name="T13" fmla="*/ 87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8">
                    <a:moveTo>
                      <a:pt x="462" y="87"/>
                    </a:moveTo>
                    <a:cubicBezTo>
                      <a:pt x="152" y="5"/>
                      <a:pt x="152" y="5"/>
                      <a:pt x="152" y="5"/>
                    </a:cubicBezTo>
                    <a:cubicBezTo>
                      <a:pt x="134" y="0"/>
                      <a:pt x="116" y="10"/>
                      <a:pt x="111" y="28"/>
                    </a:cubicBezTo>
                    <a:cubicBezTo>
                      <a:pt x="5" y="424"/>
                      <a:pt x="5" y="424"/>
                      <a:pt x="5" y="424"/>
                    </a:cubicBezTo>
                    <a:cubicBezTo>
                      <a:pt x="0" y="442"/>
                      <a:pt x="11" y="461"/>
                      <a:pt x="29" y="465"/>
                    </a:cubicBezTo>
                    <a:cubicBezTo>
                      <a:pt x="338" y="548"/>
                      <a:pt x="338" y="548"/>
                      <a:pt x="338" y="548"/>
                    </a:cubicBezTo>
                    <a:cubicBezTo>
                      <a:pt x="462" y="87"/>
                      <a:pt x="462" y="87"/>
                      <a:pt x="462" y="87"/>
                    </a:cubicBezTo>
                  </a:path>
                </a:pathLst>
              </a:custGeom>
              <a:solidFill>
                <a:srgbClr val="454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2" name="Freeform 130">
                <a:extLst>
                  <a:ext uri="{FF2B5EF4-FFF2-40B4-BE49-F238E27FC236}">
                    <a16:creationId xmlns:a16="http://schemas.microsoft.com/office/drawing/2014/main" id="{D781287F-E95B-4B89-B4CC-A35700D4BA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4" y="2289"/>
                <a:ext cx="253" cy="299"/>
              </a:xfrm>
              <a:custGeom>
                <a:avLst/>
                <a:gdLst>
                  <a:gd name="T0" fmla="*/ 124 w 462"/>
                  <a:gd name="T1" fmla="*/ 0 h 549"/>
                  <a:gd name="T2" fmla="*/ 0 w 462"/>
                  <a:gd name="T3" fmla="*/ 461 h 549"/>
                  <a:gd name="T4" fmla="*/ 310 w 462"/>
                  <a:gd name="T5" fmla="*/ 544 h 549"/>
                  <a:gd name="T6" fmla="*/ 351 w 462"/>
                  <a:gd name="T7" fmla="*/ 520 h 549"/>
                  <a:gd name="T8" fmla="*/ 457 w 462"/>
                  <a:gd name="T9" fmla="*/ 124 h 549"/>
                  <a:gd name="T10" fmla="*/ 434 w 462"/>
                  <a:gd name="T11" fmla="*/ 83 h 549"/>
                  <a:gd name="T12" fmla="*/ 124 w 462"/>
                  <a:gd name="T13" fmla="*/ 0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9">
                    <a:moveTo>
                      <a:pt x="124" y="0"/>
                    </a:moveTo>
                    <a:cubicBezTo>
                      <a:pt x="0" y="461"/>
                      <a:pt x="0" y="461"/>
                      <a:pt x="0" y="461"/>
                    </a:cubicBezTo>
                    <a:cubicBezTo>
                      <a:pt x="310" y="544"/>
                      <a:pt x="310" y="544"/>
                      <a:pt x="310" y="544"/>
                    </a:cubicBezTo>
                    <a:cubicBezTo>
                      <a:pt x="328" y="549"/>
                      <a:pt x="346" y="538"/>
                      <a:pt x="351" y="520"/>
                    </a:cubicBezTo>
                    <a:cubicBezTo>
                      <a:pt x="457" y="124"/>
                      <a:pt x="457" y="124"/>
                      <a:pt x="457" y="124"/>
                    </a:cubicBezTo>
                    <a:cubicBezTo>
                      <a:pt x="462" y="106"/>
                      <a:pt x="451" y="88"/>
                      <a:pt x="434" y="83"/>
                    </a:cubicBezTo>
                    <a:cubicBezTo>
                      <a:pt x="124" y="0"/>
                      <a:pt x="124" y="0"/>
                      <a:pt x="124" y="0"/>
                    </a:cubicBezTo>
                  </a:path>
                </a:pathLst>
              </a:custGeom>
              <a:solidFill>
                <a:srgbClr val="454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3" name="Freeform 131">
                <a:extLst>
                  <a:ext uri="{FF2B5EF4-FFF2-40B4-BE49-F238E27FC236}">
                    <a16:creationId xmlns:a16="http://schemas.microsoft.com/office/drawing/2014/main" id="{3A7A8ECC-86C1-4AB3-A109-4BEB37B6E4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9" y="2234"/>
                <a:ext cx="252" cy="299"/>
              </a:xfrm>
              <a:custGeom>
                <a:avLst/>
                <a:gdLst>
                  <a:gd name="T0" fmla="*/ 461 w 461"/>
                  <a:gd name="T1" fmla="*/ 87 h 548"/>
                  <a:gd name="T2" fmla="*/ 152 w 461"/>
                  <a:gd name="T3" fmla="*/ 4 h 548"/>
                  <a:gd name="T4" fmla="*/ 111 w 461"/>
                  <a:gd name="T5" fmla="*/ 28 h 548"/>
                  <a:gd name="T6" fmla="*/ 5 w 461"/>
                  <a:gd name="T7" fmla="*/ 424 h 548"/>
                  <a:gd name="T8" fmla="*/ 28 w 461"/>
                  <a:gd name="T9" fmla="*/ 465 h 548"/>
                  <a:gd name="T10" fmla="*/ 338 w 461"/>
                  <a:gd name="T11" fmla="*/ 548 h 548"/>
                  <a:gd name="T12" fmla="*/ 461 w 461"/>
                  <a:gd name="T13" fmla="*/ 87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1" h="548">
                    <a:moveTo>
                      <a:pt x="461" y="87"/>
                    </a:moveTo>
                    <a:cubicBezTo>
                      <a:pt x="152" y="4"/>
                      <a:pt x="152" y="4"/>
                      <a:pt x="152" y="4"/>
                    </a:cubicBezTo>
                    <a:cubicBezTo>
                      <a:pt x="134" y="0"/>
                      <a:pt x="115" y="10"/>
                      <a:pt x="111" y="28"/>
                    </a:cubicBezTo>
                    <a:cubicBezTo>
                      <a:pt x="5" y="424"/>
                      <a:pt x="5" y="424"/>
                      <a:pt x="5" y="424"/>
                    </a:cubicBezTo>
                    <a:cubicBezTo>
                      <a:pt x="0" y="442"/>
                      <a:pt x="10" y="460"/>
                      <a:pt x="28" y="465"/>
                    </a:cubicBezTo>
                    <a:cubicBezTo>
                      <a:pt x="338" y="548"/>
                      <a:pt x="338" y="548"/>
                      <a:pt x="338" y="548"/>
                    </a:cubicBezTo>
                    <a:cubicBezTo>
                      <a:pt x="461" y="87"/>
                      <a:pt x="461" y="87"/>
                      <a:pt x="461" y="87"/>
                    </a:cubicBezTo>
                  </a:path>
                </a:pathLst>
              </a:cu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4" name="Freeform 132">
                <a:extLst>
                  <a:ext uri="{FF2B5EF4-FFF2-40B4-BE49-F238E27FC236}">
                    <a16:creationId xmlns:a16="http://schemas.microsoft.com/office/drawing/2014/main" id="{0E2781FA-0F5E-4D2B-9452-AA49BBBDE9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1" y="2284"/>
                <a:ext cx="253" cy="299"/>
              </a:xfrm>
              <a:custGeom>
                <a:avLst/>
                <a:gdLst>
                  <a:gd name="T0" fmla="*/ 123 w 462"/>
                  <a:gd name="T1" fmla="*/ 0 h 548"/>
                  <a:gd name="T2" fmla="*/ 0 w 462"/>
                  <a:gd name="T3" fmla="*/ 461 h 548"/>
                  <a:gd name="T4" fmla="*/ 310 w 462"/>
                  <a:gd name="T5" fmla="*/ 544 h 548"/>
                  <a:gd name="T6" fmla="*/ 351 w 462"/>
                  <a:gd name="T7" fmla="*/ 520 h 548"/>
                  <a:gd name="T8" fmla="*/ 457 w 462"/>
                  <a:gd name="T9" fmla="*/ 124 h 548"/>
                  <a:gd name="T10" fmla="*/ 433 w 462"/>
                  <a:gd name="T11" fmla="*/ 83 h 548"/>
                  <a:gd name="T12" fmla="*/ 123 w 462"/>
                  <a:gd name="T13" fmla="*/ 0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8">
                    <a:moveTo>
                      <a:pt x="123" y="0"/>
                    </a:moveTo>
                    <a:cubicBezTo>
                      <a:pt x="0" y="461"/>
                      <a:pt x="0" y="461"/>
                      <a:pt x="0" y="461"/>
                    </a:cubicBezTo>
                    <a:cubicBezTo>
                      <a:pt x="310" y="544"/>
                      <a:pt x="310" y="544"/>
                      <a:pt x="310" y="544"/>
                    </a:cubicBezTo>
                    <a:cubicBezTo>
                      <a:pt x="328" y="548"/>
                      <a:pt x="346" y="538"/>
                      <a:pt x="351" y="520"/>
                    </a:cubicBezTo>
                    <a:cubicBezTo>
                      <a:pt x="457" y="124"/>
                      <a:pt x="457" y="124"/>
                      <a:pt x="457" y="124"/>
                    </a:cubicBezTo>
                    <a:cubicBezTo>
                      <a:pt x="462" y="106"/>
                      <a:pt x="451" y="88"/>
                      <a:pt x="433" y="83"/>
                    </a:cubicBezTo>
                    <a:cubicBezTo>
                      <a:pt x="123" y="0"/>
                      <a:pt x="123" y="0"/>
                      <a:pt x="123" y="0"/>
                    </a:cubicBezTo>
                  </a:path>
                </a:pathLst>
              </a:cu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5" name="Freeform 133">
                <a:extLst>
                  <a:ext uri="{FF2B5EF4-FFF2-40B4-BE49-F238E27FC236}">
                    <a16:creationId xmlns:a16="http://schemas.microsoft.com/office/drawing/2014/main" id="{F75E5D12-B8DA-4CA5-BD74-245710789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2281"/>
                <a:ext cx="249" cy="252"/>
              </a:xfrm>
              <a:custGeom>
                <a:avLst/>
                <a:gdLst>
                  <a:gd name="T0" fmla="*/ 451 w 455"/>
                  <a:gd name="T1" fmla="*/ 0 h 462"/>
                  <a:gd name="T2" fmla="*/ 329 w 455"/>
                  <a:gd name="T3" fmla="*/ 457 h 462"/>
                  <a:gd name="T4" fmla="*/ 19 w 455"/>
                  <a:gd name="T5" fmla="*/ 374 h 462"/>
                  <a:gd name="T6" fmla="*/ 0 w 455"/>
                  <a:gd name="T7" fmla="*/ 361 h 462"/>
                  <a:gd name="T8" fmla="*/ 22 w 455"/>
                  <a:gd name="T9" fmla="*/ 379 h 462"/>
                  <a:gd name="T10" fmla="*/ 332 w 455"/>
                  <a:gd name="T11" fmla="*/ 462 h 462"/>
                  <a:gd name="T12" fmla="*/ 455 w 455"/>
                  <a:gd name="T13" fmla="*/ 1 h 462"/>
                  <a:gd name="T14" fmla="*/ 451 w 455"/>
                  <a:gd name="T15" fmla="*/ 0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5" h="462">
                    <a:moveTo>
                      <a:pt x="451" y="0"/>
                    </a:moveTo>
                    <a:cubicBezTo>
                      <a:pt x="329" y="457"/>
                      <a:pt x="329" y="457"/>
                      <a:pt x="329" y="457"/>
                    </a:cubicBezTo>
                    <a:cubicBezTo>
                      <a:pt x="19" y="374"/>
                      <a:pt x="19" y="374"/>
                      <a:pt x="19" y="374"/>
                    </a:cubicBezTo>
                    <a:cubicBezTo>
                      <a:pt x="11" y="372"/>
                      <a:pt x="5" y="367"/>
                      <a:pt x="0" y="361"/>
                    </a:cubicBezTo>
                    <a:cubicBezTo>
                      <a:pt x="4" y="369"/>
                      <a:pt x="12" y="376"/>
                      <a:pt x="22" y="379"/>
                    </a:cubicBezTo>
                    <a:cubicBezTo>
                      <a:pt x="332" y="462"/>
                      <a:pt x="332" y="462"/>
                      <a:pt x="332" y="462"/>
                    </a:cubicBezTo>
                    <a:cubicBezTo>
                      <a:pt x="455" y="1"/>
                      <a:pt x="455" y="1"/>
                      <a:pt x="455" y="1"/>
                    </a:cubicBezTo>
                    <a:cubicBezTo>
                      <a:pt x="451" y="0"/>
                      <a:pt x="451" y="0"/>
                      <a:pt x="451" y="0"/>
                    </a:cubicBezTo>
                  </a:path>
                </a:pathLst>
              </a:custGeom>
              <a:solidFill>
                <a:srgbClr val="D6D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6" name="Freeform 134">
                <a:extLst>
                  <a:ext uri="{FF2B5EF4-FFF2-40B4-BE49-F238E27FC236}">
                    <a16:creationId xmlns:a16="http://schemas.microsoft.com/office/drawing/2014/main" id="{6F6C67F7-A486-4D39-9157-733A17DD2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1" y="2336"/>
                <a:ext cx="252" cy="247"/>
              </a:xfrm>
              <a:custGeom>
                <a:avLst/>
                <a:gdLst>
                  <a:gd name="T0" fmla="*/ 452 w 460"/>
                  <a:gd name="T1" fmla="*/ 0 h 452"/>
                  <a:gd name="T2" fmla="*/ 454 w 460"/>
                  <a:gd name="T3" fmla="*/ 22 h 452"/>
                  <a:gd name="T4" fmla="*/ 348 w 460"/>
                  <a:gd name="T5" fmla="*/ 418 h 452"/>
                  <a:gd name="T6" fmla="*/ 307 w 460"/>
                  <a:gd name="T7" fmla="*/ 442 h 452"/>
                  <a:gd name="T8" fmla="*/ 1 w 460"/>
                  <a:gd name="T9" fmla="*/ 360 h 452"/>
                  <a:gd name="T10" fmla="*/ 0 w 460"/>
                  <a:gd name="T11" fmla="*/ 365 h 452"/>
                  <a:gd name="T12" fmla="*/ 310 w 460"/>
                  <a:gd name="T13" fmla="*/ 448 h 452"/>
                  <a:gd name="T14" fmla="*/ 351 w 460"/>
                  <a:gd name="T15" fmla="*/ 424 h 452"/>
                  <a:gd name="T16" fmla="*/ 457 w 460"/>
                  <a:gd name="T17" fmla="*/ 28 h 452"/>
                  <a:gd name="T18" fmla="*/ 452 w 460"/>
                  <a:gd name="T19" fmla="*/ 0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0" h="452">
                    <a:moveTo>
                      <a:pt x="452" y="0"/>
                    </a:moveTo>
                    <a:cubicBezTo>
                      <a:pt x="455" y="7"/>
                      <a:pt x="456" y="15"/>
                      <a:pt x="454" y="22"/>
                    </a:cubicBezTo>
                    <a:cubicBezTo>
                      <a:pt x="348" y="418"/>
                      <a:pt x="348" y="418"/>
                      <a:pt x="348" y="418"/>
                    </a:cubicBezTo>
                    <a:cubicBezTo>
                      <a:pt x="343" y="436"/>
                      <a:pt x="324" y="447"/>
                      <a:pt x="307" y="442"/>
                    </a:cubicBezTo>
                    <a:cubicBezTo>
                      <a:pt x="1" y="360"/>
                      <a:pt x="1" y="360"/>
                      <a:pt x="1" y="360"/>
                    </a:cubicBezTo>
                    <a:cubicBezTo>
                      <a:pt x="0" y="365"/>
                      <a:pt x="0" y="365"/>
                      <a:pt x="0" y="365"/>
                    </a:cubicBezTo>
                    <a:cubicBezTo>
                      <a:pt x="310" y="448"/>
                      <a:pt x="310" y="448"/>
                      <a:pt x="310" y="448"/>
                    </a:cubicBezTo>
                    <a:cubicBezTo>
                      <a:pt x="328" y="452"/>
                      <a:pt x="346" y="442"/>
                      <a:pt x="351" y="424"/>
                    </a:cubicBezTo>
                    <a:cubicBezTo>
                      <a:pt x="457" y="28"/>
                      <a:pt x="457" y="28"/>
                      <a:pt x="457" y="28"/>
                    </a:cubicBezTo>
                    <a:cubicBezTo>
                      <a:pt x="460" y="18"/>
                      <a:pt x="457" y="8"/>
                      <a:pt x="452" y="0"/>
                    </a:cubicBezTo>
                    <a:close/>
                  </a:path>
                </a:pathLst>
              </a:custGeom>
              <a:solidFill>
                <a:srgbClr val="D6D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7" name="Freeform 135">
                <a:extLst>
                  <a:ext uri="{FF2B5EF4-FFF2-40B4-BE49-F238E27FC236}">
                    <a16:creationId xmlns:a16="http://schemas.microsoft.com/office/drawing/2014/main" id="{D0557176-3D17-4324-8754-7AA2CAF2B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8" y="2301"/>
                <a:ext cx="10" cy="9"/>
              </a:xfrm>
              <a:custGeom>
                <a:avLst/>
                <a:gdLst>
                  <a:gd name="T0" fmla="*/ 16 w 17"/>
                  <a:gd name="T1" fmla="*/ 10 h 16"/>
                  <a:gd name="T2" fmla="*/ 6 w 17"/>
                  <a:gd name="T3" fmla="*/ 15 h 16"/>
                  <a:gd name="T4" fmla="*/ 1 w 17"/>
                  <a:gd name="T5" fmla="*/ 6 h 16"/>
                  <a:gd name="T6" fmla="*/ 10 w 17"/>
                  <a:gd name="T7" fmla="*/ 1 h 16"/>
                  <a:gd name="T8" fmla="*/ 16 w 17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6">
                    <a:moveTo>
                      <a:pt x="16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7" y="6"/>
                      <a:pt x="16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8" name="Freeform 136">
                <a:extLst>
                  <a:ext uri="{FF2B5EF4-FFF2-40B4-BE49-F238E27FC236}">
                    <a16:creationId xmlns:a16="http://schemas.microsoft.com/office/drawing/2014/main" id="{452F5131-FBC4-431E-9881-F2D0BAAC8F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8" y="2341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5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9" name="Freeform 137">
                <a:extLst>
                  <a:ext uri="{FF2B5EF4-FFF2-40B4-BE49-F238E27FC236}">
                    <a16:creationId xmlns:a16="http://schemas.microsoft.com/office/drawing/2014/main" id="{9E0AA0F9-CDB4-44C5-92CE-983366CB74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7" y="2380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6 w 17"/>
                  <a:gd name="T3" fmla="*/ 16 h 17"/>
                  <a:gd name="T4" fmla="*/ 1 w 17"/>
                  <a:gd name="T5" fmla="*/ 7 h 17"/>
                  <a:gd name="T6" fmla="*/ 10 w 17"/>
                  <a:gd name="T7" fmla="*/ 2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0" y="17"/>
                      <a:pt x="6" y="16"/>
                    </a:cubicBezTo>
                    <a:cubicBezTo>
                      <a:pt x="2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2"/>
                    </a:cubicBezTo>
                    <a:cubicBezTo>
                      <a:pt x="14" y="3"/>
                      <a:pt x="17" y="7"/>
                      <a:pt x="16" y="11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0" name="Freeform 138">
                <a:extLst>
                  <a:ext uri="{FF2B5EF4-FFF2-40B4-BE49-F238E27FC236}">
                    <a16:creationId xmlns:a16="http://schemas.microsoft.com/office/drawing/2014/main" id="{B069C2DA-3D81-4ECD-9BBA-D3606A29E9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5" y="2499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1" name="Freeform 139">
                <a:extLst>
                  <a:ext uri="{FF2B5EF4-FFF2-40B4-BE49-F238E27FC236}">
                    <a16:creationId xmlns:a16="http://schemas.microsoft.com/office/drawing/2014/main" id="{C16E0FBA-C5A8-4B0F-ACB6-ED184B66D4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" y="2459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1 w 17"/>
                  <a:gd name="T7" fmla="*/ 2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7" y="0"/>
                      <a:pt x="11" y="2"/>
                    </a:cubicBezTo>
                    <a:cubicBezTo>
                      <a:pt x="15" y="3"/>
                      <a:pt x="17" y="7"/>
                      <a:pt x="16" y="11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2" name="Freeform 140">
                <a:extLst>
                  <a:ext uri="{FF2B5EF4-FFF2-40B4-BE49-F238E27FC236}">
                    <a16:creationId xmlns:a16="http://schemas.microsoft.com/office/drawing/2014/main" id="{9D8FFD49-F164-47E9-A903-62A9498860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6" y="2420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3" name="Freeform 141">
                <a:extLst>
                  <a:ext uri="{FF2B5EF4-FFF2-40B4-BE49-F238E27FC236}">
                    <a16:creationId xmlns:a16="http://schemas.microsoft.com/office/drawing/2014/main" id="{7196D28A-6498-4F67-A11F-9F5BF76DCA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8" y="2309"/>
                <a:ext cx="10" cy="9"/>
              </a:xfrm>
              <a:custGeom>
                <a:avLst/>
                <a:gdLst>
                  <a:gd name="T0" fmla="*/ 16 w 17"/>
                  <a:gd name="T1" fmla="*/ 11 h 17"/>
                  <a:gd name="T2" fmla="*/ 6 w 17"/>
                  <a:gd name="T3" fmla="*/ 16 h 17"/>
                  <a:gd name="T4" fmla="*/ 1 w 17"/>
                  <a:gd name="T5" fmla="*/ 7 h 17"/>
                  <a:gd name="T6" fmla="*/ 10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0" y="17"/>
                      <a:pt x="6" y="16"/>
                    </a:cubicBezTo>
                    <a:cubicBezTo>
                      <a:pt x="2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1"/>
                    </a:cubicBezTo>
                    <a:cubicBezTo>
                      <a:pt x="14" y="2"/>
                      <a:pt x="17" y="7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4" name="Freeform 142">
                <a:extLst>
                  <a:ext uri="{FF2B5EF4-FFF2-40B4-BE49-F238E27FC236}">
                    <a16:creationId xmlns:a16="http://schemas.microsoft.com/office/drawing/2014/main" id="{DFEEF809-7DE3-4CF5-9B6A-CA52D021E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" y="2349"/>
                <a:ext cx="9" cy="8"/>
              </a:xfrm>
              <a:custGeom>
                <a:avLst/>
                <a:gdLst>
                  <a:gd name="T0" fmla="*/ 15 w 16"/>
                  <a:gd name="T1" fmla="*/ 10 h 16"/>
                  <a:gd name="T2" fmla="*/ 6 w 16"/>
                  <a:gd name="T3" fmla="*/ 15 h 16"/>
                  <a:gd name="T4" fmla="*/ 1 w 16"/>
                  <a:gd name="T5" fmla="*/ 6 h 16"/>
                  <a:gd name="T6" fmla="*/ 10 w 16"/>
                  <a:gd name="T7" fmla="*/ 1 h 16"/>
                  <a:gd name="T8" fmla="*/ 15 w 16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5" name="Freeform 143">
                <a:extLst>
                  <a:ext uri="{FF2B5EF4-FFF2-40B4-BE49-F238E27FC236}">
                    <a16:creationId xmlns:a16="http://schemas.microsoft.com/office/drawing/2014/main" id="{27271D7D-6C8C-4898-B62F-50227D4D2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" y="2388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0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1"/>
                    </a:cubicBezTo>
                    <a:cubicBezTo>
                      <a:pt x="14" y="2"/>
                      <a:pt x="17" y="7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6" name="Freeform 144">
                <a:extLst>
                  <a:ext uri="{FF2B5EF4-FFF2-40B4-BE49-F238E27FC236}">
                    <a16:creationId xmlns:a16="http://schemas.microsoft.com/office/drawing/2014/main" id="{A01E69B0-9E9D-4800-A071-94D724630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507"/>
                <a:ext cx="10" cy="9"/>
              </a:xfrm>
              <a:custGeom>
                <a:avLst/>
                <a:gdLst>
                  <a:gd name="T0" fmla="*/ 15 w 17"/>
                  <a:gd name="T1" fmla="*/ 10 h 16"/>
                  <a:gd name="T2" fmla="*/ 6 w 17"/>
                  <a:gd name="T3" fmla="*/ 15 h 16"/>
                  <a:gd name="T4" fmla="*/ 1 w 17"/>
                  <a:gd name="T5" fmla="*/ 6 h 16"/>
                  <a:gd name="T6" fmla="*/ 10 w 17"/>
                  <a:gd name="T7" fmla="*/ 1 h 16"/>
                  <a:gd name="T8" fmla="*/ 15 w 17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7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7" name="Freeform 145">
                <a:extLst>
                  <a:ext uri="{FF2B5EF4-FFF2-40B4-BE49-F238E27FC236}">
                    <a16:creationId xmlns:a16="http://schemas.microsoft.com/office/drawing/2014/main" id="{97C5AAC5-A058-45DE-BE4F-788BFB4F9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" y="2467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1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7" y="0"/>
                      <a:pt x="11" y="1"/>
                    </a:cubicBezTo>
                    <a:cubicBezTo>
                      <a:pt x="15" y="2"/>
                      <a:pt x="17" y="6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8" name="Freeform 146">
                <a:extLst>
                  <a:ext uri="{FF2B5EF4-FFF2-40B4-BE49-F238E27FC236}">
                    <a16:creationId xmlns:a16="http://schemas.microsoft.com/office/drawing/2014/main" id="{3FCABD4D-5EC9-47E5-B42A-32719E9DF6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28"/>
                <a:ext cx="8" cy="9"/>
              </a:xfrm>
              <a:custGeom>
                <a:avLst/>
                <a:gdLst>
                  <a:gd name="T0" fmla="*/ 15 w 16"/>
                  <a:gd name="T1" fmla="*/ 10 h 16"/>
                  <a:gd name="T2" fmla="*/ 6 w 16"/>
                  <a:gd name="T3" fmla="*/ 15 h 16"/>
                  <a:gd name="T4" fmla="*/ 1 w 16"/>
                  <a:gd name="T5" fmla="*/ 6 h 16"/>
                  <a:gd name="T6" fmla="*/ 10 w 16"/>
                  <a:gd name="T7" fmla="*/ 1 h 16"/>
                  <a:gd name="T8" fmla="*/ 15 w 16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9" name="Freeform 147">
                <a:extLst>
                  <a:ext uri="{FF2B5EF4-FFF2-40B4-BE49-F238E27FC236}">
                    <a16:creationId xmlns:a16="http://schemas.microsoft.com/office/drawing/2014/main" id="{CC954639-0540-4E3E-B78E-901088D35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304"/>
                <a:ext cx="30" cy="11"/>
              </a:xfrm>
              <a:custGeom>
                <a:avLst/>
                <a:gdLst>
                  <a:gd name="T0" fmla="*/ 55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5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5" y="18"/>
                    </a:moveTo>
                    <a:cubicBezTo>
                      <a:pt x="55" y="19"/>
                      <a:pt x="54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2"/>
                      <a:pt x="1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5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0" name="Freeform 148">
                <a:extLst>
                  <a:ext uri="{FF2B5EF4-FFF2-40B4-BE49-F238E27FC236}">
                    <a16:creationId xmlns:a16="http://schemas.microsoft.com/office/drawing/2014/main" id="{C26C0854-DBE7-47BD-BECE-0B8C3B447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304"/>
                <a:ext cx="30" cy="9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4 w 55"/>
                  <a:gd name="T5" fmla="*/ 15 h 16"/>
                  <a:gd name="T6" fmla="*/ 55 w 55"/>
                  <a:gd name="T7" fmla="*/ 16 h 16"/>
                  <a:gd name="T8" fmla="*/ 53 w 55"/>
                  <a:gd name="T9" fmla="*/ 13 h 16"/>
                  <a:gd name="T10" fmla="*/ 5 w 55"/>
                  <a:gd name="T11" fmla="*/ 0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4" y="15"/>
                      <a:pt x="55" y="15"/>
                      <a:pt x="55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4"/>
                      <a:pt x="0" y="6"/>
                      <a:pt x="1" y="7"/>
                    </a:cubicBezTo>
                    <a:cubicBezTo>
                      <a:pt x="1" y="6"/>
                      <a:pt x="1" y="5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1" name="Freeform 149">
                <a:extLst>
                  <a:ext uri="{FF2B5EF4-FFF2-40B4-BE49-F238E27FC236}">
                    <a16:creationId xmlns:a16="http://schemas.microsoft.com/office/drawing/2014/main" id="{2BC59B2B-7C53-4333-94D6-E061631EBE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8" y="2308"/>
                <a:ext cx="4" cy="5"/>
              </a:xfrm>
              <a:custGeom>
                <a:avLst/>
                <a:gdLst>
                  <a:gd name="T0" fmla="*/ 0 w 4"/>
                  <a:gd name="T1" fmla="*/ 4 h 5"/>
                  <a:gd name="T2" fmla="*/ 0 w 4"/>
                  <a:gd name="T3" fmla="*/ 4 h 5"/>
                  <a:gd name="T4" fmla="*/ 3 w 4"/>
                  <a:gd name="T5" fmla="*/ 5 h 5"/>
                  <a:gd name="T6" fmla="*/ 3 w 4"/>
                  <a:gd name="T7" fmla="*/ 5 h 5"/>
                  <a:gd name="T8" fmla="*/ 0 w 4"/>
                  <a:gd name="T9" fmla="*/ 4 h 5"/>
                  <a:gd name="T10" fmla="*/ 1 w 4"/>
                  <a:gd name="T11" fmla="*/ 0 h 5"/>
                  <a:gd name="T12" fmla="*/ 1 w 4"/>
                  <a:gd name="T13" fmla="*/ 0 h 5"/>
                  <a:gd name="T14" fmla="*/ 4 w 4"/>
                  <a:gd name="T15" fmla="*/ 0 h 5"/>
                  <a:gd name="T16" fmla="*/ 4 w 4"/>
                  <a:gd name="T17" fmla="*/ 0 h 5"/>
                  <a:gd name="T18" fmla="*/ 1 w 4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5">
                    <a:moveTo>
                      <a:pt x="0" y="4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4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2" name="Freeform 150">
                <a:extLst>
                  <a:ext uri="{FF2B5EF4-FFF2-40B4-BE49-F238E27FC236}">
                    <a16:creationId xmlns:a16="http://schemas.microsoft.com/office/drawing/2014/main" id="{D98D57EF-CC79-4C01-8AFC-BEFECF1552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8" y="2308"/>
                <a:ext cx="4" cy="5"/>
              </a:xfrm>
              <a:custGeom>
                <a:avLst/>
                <a:gdLst>
                  <a:gd name="T0" fmla="*/ 0 w 4"/>
                  <a:gd name="T1" fmla="*/ 4 h 5"/>
                  <a:gd name="T2" fmla="*/ 0 w 4"/>
                  <a:gd name="T3" fmla="*/ 4 h 5"/>
                  <a:gd name="T4" fmla="*/ 3 w 4"/>
                  <a:gd name="T5" fmla="*/ 5 h 5"/>
                  <a:gd name="T6" fmla="*/ 3 w 4"/>
                  <a:gd name="T7" fmla="*/ 5 h 5"/>
                  <a:gd name="T8" fmla="*/ 0 w 4"/>
                  <a:gd name="T9" fmla="*/ 4 h 5"/>
                  <a:gd name="T10" fmla="*/ 1 w 4"/>
                  <a:gd name="T11" fmla="*/ 0 h 5"/>
                  <a:gd name="T12" fmla="*/ 1 w 4"/>
                  <a:gd name="T13" fmla="*/ 0 h 5"/>
                  <a:gd name="T14" fmla="*/ 4 w 4"/>
                  <a:gd name="T15" fmla="*/ 0 h 5"/>
                  <a:gd name="T16" fmla="*/ 4 w 4"/>
                  <a:gd name="T17" fmla="*/ 0 h 5"/>
                  <a:gd name="T18" fmla="*/ 1 w 4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5">
                    <a:moveTo>
                      <a:pt x="0" y="4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4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3" name="Freeform 151">
                <a:extLst>
                  <a:ext uri="{FF2B5EF4-FFF2-40B4-BE49-F238E27FC236}">
                    <a16:creationId xmlns:a16="http://schemas.microsoft.com/office/drawing/2014/main" id="{98D45B23-5FC9-4F77-B8F1-64A0C4AFC4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7" y="2307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1 w 2"/>
                  <a:gd name="T5" fmla="*/ 5 h 5"/>
                  <a:gd name="T6" fmla="*/ 1 w 2"/>
                  <a:gd name="T7" fmla="*/ 5 h 5"/>
                  <a:gd name="T8" fmla="*/ 0 w 2"/>
                  <a:gd name="T9" fmla="*/ 5 h 5"/>
                  <a:gd name="T10" fmla="*/ 2 w 2"/>
                  <a:gd name="T11" fmla="*/ 0 h 5"/>
                  <a:gd name="T12" fmla="*/ 2 w 2"/>
                  <a:gd name="T13" fmla="*/ 0 h 5"/>
                  <a:gd name="T14" fmla="*/ 2 w 2"/>
                  <a:gd name="T15" fmla="*/ 1 h 5"/>
                  <a:gd name="T16" fmla="*/ 2 w 2"/>
                  <a:gd name="T17" fmla="*/ 1 h 5"/>
                  <a:gd name="T18" fmla="*/ 2 w 2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5"/>
                    </a:lnTo>
                    <a:close/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4" name="Freeform 152">
                <a:extLst>
                  <a:ext uri="{FF2B5EF4-FFF2-40B4-BE49-F238E27FC236}">
                    <a16:creationId xmlns:a16="http://schemas.microsoft.com/office/drawing/2014/main" id="{0450F220-CED6-442A-A883-5442B54462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7" y="2307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1 w 2"/>
                  <a:gd name="T5" fmla="*/ 5 h 5"/>
                  <a:gd name="T6" fmla="*/ 1 w 2"/>
                  <a:gd name="T7" fmla="*/ 5 h 5"/>
                  <a:gd name="T8" fmla="*/ 0 w 2"/>
                  <a:gd name="T9" fmla="*/ 5 h 5"/>
                  <a:gd name="T10" fmla="*/ 2 w 2"/>
                  <a:gd name="T11" fmla="*/ 0 h 5"/>
                  <a:gd name="T12" fmla="*/ 2 w 2"/>
                  <a:gd name="T13" fmla="*/ 0 h 5"/>
                  <a:gd name="T14" fmla="*/ 2 w 2"/>
                  <a:gd name="T15" fmla="*/ 1 h 5"/>
                  <a:gd name="T16" fmla="*/ 2 w 2"/>
                  <a:gd name="T17" fmla="*/ 1 h 5"/>
                  <a:gd name="T18" fmla="*/ 2 w 2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5"/>
                    </a:lnTo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5" name="Freeform 153">
                <a:extLst>
                  <a:ext uri="{FF2B5EF4-FFF2-40B4-BE49-F238E27FC236}">
                    <a16:creationId xmlns:a16="http://schemas.microsoft.com/office/drawing/2014/main" id="{DE3EECDF-EAA2-4843-A36C-3CFE2712A6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1" y="2308"/>
                <a:ext cx="9" cy="7"/>
              </a:xfrm>
              <a:custGeom>
                <a:avLst/>
                <a:gdLst>
                  <a:gd name="T0" fmla="*/ 0 w 9"/>
                  <a:gd name="T1" fmla="*/ 5 h 7"/>
                  <a:gd name="T2" fmla="*/ 0 w 9"/>
                  <a:gd name="T3" fmla="*/ 5 h 7"/>
                  <a:gd name="T4" fmla="*/ 8 w 9"/>
                  <a:gd name="T5" fmla="*/ 7 h 7"/>
                  <a:gd name="T6" fmla="*/ 8 w 9"/>
                  <a:gd name="T7" fmla="*/ 7 h 7"/>
                  <a:gd name="T8" fmla="*/ 0 w 9"/>
                  <a:gd name="T9" fmla="*/ 5 h 7"/>
                  <a:gd name="T10" fmla="*/ 1 w 9"/>
                  <a:gd name="T11" fmla="*/ 0 h 7"/>
                  <a:gd name="T12" fmla="*/ 1 w 9"/>
                  <a:gd name="T13" fmla="*/ 0 h 7"/>
                  <a:gd name="T14" fmla="*/ 9 w 9"/>
                  <a:gd name="T15" fmla="*/ 2 h 7"/>
                  <a:gd name="T16" fmla="*/ 9 w 9"/>
                  <a:gd name="T17" fmla="*/ 2 h 7"/>
                  <a:gd name="T18" fmla="*/ 1 w 9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7">
                    <a:moveTo>
                      <a:pt x="0" y="5"/>
                    </a:moveTo>
                    <a:lnTo>
                      <a:pt x="0" y="5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0" y="5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6" name="Freeform 154">
                <a:extLst>
                  <a:ext uri="{FF2B5EF4-FFF2-40B4-BE49-F238E27FC236}">
                    <a16:creationId xmlns:a16="http://schemas.microsoft.com/office/drawing/2014/main" id="{9C8545D3-C945-41A6-AD9D-1F2E09C0BE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1" y="2308"/>
                <a:ext cx="9" cy="7"/>
              </a:xfrm>
              <a:custGeom>
                <a:avLst/>
                <a:gdLst>
                  <a:gd name="T0" fmla="*/ 0 w 9"/>
                  <a:gd name="T1" fmla="*/ 5 h 7"/>
                  <a:gd name="T2" fmla="*/ 0 w 9"/>
                  <a:gd name="T3" fmla="*/ 5 h 7"/>
                  <a:gd name="T4" fmla="*/ 8 w 9"/>
                  <a:gd name="T5" fmla="*/ 7 h 7"/>
                  <a:gd name="T6" fmla="*/ 8 w 9"/>
                  <a:gd name="T7" fmla="*/ 7 h 7"/>
                  <a:gd name="T8" fmla="*/ 0 w 9"/>
                  <a:gd name="T9" fmla="*/ 5 h 7"/>
                  <a:gd name="T10" fmla="*/ 1 w 9"/>
                  <a:gd name="T11" fmla="*/ 0 h 7"/>
                  <a:gd name="T12" fmla="*/ 1 w 9"/>
                  <a:gd name="T13" fmla="*/ 0 h 7"/>
                  <a:gd name="T14" fmla="*/ 9 w 9"/>
                  <a:gd name="T15" fmla="*/ 2 h 7"/>
                  <a:gd name="T16" fmla="*/ 9 w 9"/>
                  <a:gd name="T17" fmla="*/ 2 h 7"/>
                  <a:gd name="T18" fmla="*/ 1 w 9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7">
                    <a:moveTo>
                      <a:pt x="0" y="5"/>
                    </a:moveTo>
                    <a:lnTo>
                      <a:pt x="0" y="5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0" y="5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7" name="Freeform 155">
                <a:extLst>
                  <a:ext uri="{FF2B5EF4-FFF2-40B4-BE49-F238E27FC236}">
                    <a16:creationId xmlns:a16="http://schemas.microsoft.com/office/drawing/2014/main" id="{6425F98C-AD42-4627-81DE-7706010C0D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9" y="2310"/>
                <a:ext cx="4" cy="5"/>
              </a:xfrm>
              <a:custGeom>
                <a:avLst/>
                <a:gdLst>
                  <a:gd name="T0" fmla="*/ 0 w 7"/>
                  <a:gd name="T1" fmla="*/ 8 h 8"/>
                  <a:gd name="T2" fmla="*/ 0 w 7"/>
                  <a:gd name="T3" fmla="*/ 8 h 8"/>
                  <a:gd name="T4" fmla="*/ 3 w 7"/>
                  <a:gd name="T5" fmla="*/ 8 h 8"/>
                  <a:gd name="T6" fmla="*/ 0 w 7"/>
                  <a:gd name="T7" fmla="*/ 8 h 8"/>
                  <a:gd name="T8" fmla="*/ 2 w 7"/>
                  <a:gd name="T9" fmla="*/ 0 h 8"/>
                  <a:gd name="T10" fmla="*/ 2 w 7"/>
                  <a:gd name="T11" fmla="*/ 0 h 8"/>
                  <a:gd name="T12" fmla="*/ 5 w 7"/>
                  <a:gd name="T13" fmla="*/ 1 h 8"/>
                  <a:gd name="T14" fmla="*/ 7 w 7"/>
                  <a:gd name="T15" fmla="*/ 5 h 8"/>
                  <a:gd name="T16" fmla="*/ 5 w 7"/>
                  <a:gd name="T17" fmla="*/ 1 h 8"/>
                  <a:gd name="T18" fmla="*/ 2 w 7"/>
                  <a:gd name="T1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8">
                    <a:moveTo>
                      <a:pt x="0" y="8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0" y="8"/>
                      <a:pt x="0" y="8"/>
                      <a:pt x="0" y="8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3"/>
                      <a:pt x="7" y="5"/>
                    </a:cubicBezTo>
                    <a:cubicBezTo>
                      <a:pt x="7" y="3"/>
                      <a:pt x="6" y="1"/>
                      <a:pt x="5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8" name="Freeform 156">
                <a:extLst>
                  <a:ext uri="{FF2B5EF4-FFF2-40B4-BE49-F238E27FC236}">
                    <a16:creationId xmlns:a16="http://schemas.microsoft.com/office/drawing/2014/main" id="{F479153C-B8B0-456C-A4A1-AC7710D500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7" y="2307"/>
                <a:ext cx="16" cy="8"/>
              </a:xfrm>
              <a:custGeom>
                <a:avLst/>
                <a:gdLst>
                  <a:gd name="T0" fmla="*/ 2 w 28"/>
                  <a:gd name="T1" fmla="*/ 0 h 14"/>
                  <a:gd name="T2" fmla="*/ 2 w 28"/>
                  <a:gd name="T3" fmla="*/ 0 h 14"/>
                  <a:gd name="T4" fmla="*/ 26 w 28"/>
                  <a:gd name="T5" fmla="*/ 7 h 14"/>
                  <a:gd name="T6" fmla="*/ 28 w 28"/>
                  <a:gd name="T7" fmla="*/ 10 h 14"/>
                  <a:gd name="T8" fmla="*/ 27 w 28"/>
                  <a:gd name="T9" fmla="*/ 9 h 14"/>
                  <a:gd name="T10" fmla="*/ 1 w 28"/>
                  <a:gd name="T11" fmla="*/ 2 h 14"/>
                  <a:gd name="T12" fmla="*/ 0 w 28"/>
                  <a:gd name="T13" fmla="*/ 8 h 14"/>
                  <a:gd name="T14" fmla="*/ 1 w 28"/>
                  <a:gd name="T15" fmla="*/ 8 h 14"/>
                  <a:gd name="T16" fmla="*/ 6 w 28"/>
                  <a:gd name="T17" fmla="*/ 10 h 14"/>
                  <a:gd name="T18" fmla="*/ 21 w 28"/>
                  <a:gd name="T19" fmla="*/ 14 h 14"/>
                  <a:gd name="T20" fmla="*/ 24 w 28"/>
                  <a:gd name="T21" fmla="*/ 14 h 14"/>
                  <a:gd name="T22" fmla="*/ 25 w 28"/>
                  <a:gd name="T23" fmla="*/ 14 h 14"/>
                  <a:gd name="T24" fmla="*/ 27 w 28"/>
                  <a:gd name="T25" fmla="*/ 14 h 14"/>
                  <a:gd name="T26" fmla="*/ 28 w 28"/>
                  <a:gd name="T27" fmla="*/ 12 h 14"/>
                  <a:gd name="T28" fmla="*/ 28 w 28"/>
                  <a:gd name="T29" fmla="*/ 11 h 14"/>
                  <a:gd name="T30" fmla="*/ 26 w 28"/>
                  <a:gd name="T31" fmla="*/ 7 h 14"/>
                  <a:gd name="T32" fmla="*/ 23 w 28"/>
                  <a:gd name="T33" fmla="*/ 6 h 14"/>
                  <a:gd name="T34" fmla="*/ 8 w 28"/>
                  <a:gd name="T35" fmla="*/ 2 h 14"/>
                  <a:gd name="T36" fmla="*/ 3 w 28"/>
                  <a:gd name="T37" fmla="*/ 1 h 14"/>
                  <a:gd name="T38" fmla="*/ 2 w 28"/>
                  <a:gd name="T3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8" y="10"/>
                    </a:cubicBezTo>
                    <a:cubicBezTo>
                      <a:pt x="28" y="9"/>
                      <a:pt x="27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4" y="14"/>
                      <a:pt x="25" y="14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7" y="13"/>
                      <a:pt x="28" y="13"/>
                      <a:pt x="28" y="12"/>
                    </a:cubicBezTo>
                    <a:cubicBezTo>
                      <a:pt x="28" y="11"/>
                      <a:pt x="28" y="11"/>
                      <a:pt x="28" y="11"/>
                    </a:cubicBezTo>
                    <a:cubicBezTo>
                      <a:pt x="28" y="9"/>
                      <a:pt x="27" y="7"/>
                      <a:pt x="26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9" name="Freeform 157">
                <a:extLst>
                  <a:ext uri="{FF2B5EF4-FFF2-40B4-BE49-F238E27FC236}">
                    <a16:creationId xmlns:a16="http://schemas.microsoft.com/office/drawing/2014/main" id="{7E76D4A4-D9D7-44B7-92E8-78E614674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" y="2307"/>
                <a:ext cx="15" cy="6"/>
              </a:xfrm>
              <a:custGeom>
                <a:avLst/>
                <a:gdLst>
                  <a:gd name="T0" fmla="*/ 1 w 27"/>
                  <a:gd name="T1" fmla="*/ 0 h 10"/>
                  <a:gd name="T2" fmla="*/ 0 w 27"/>
                  <a:gd name="T3" fmla="*/ 2 h 10"/>
                  <a:gd name="T4" fmla="*/ 26 w 27"/>
                  <a:gd name="T5" fmla="*/ 9 h 10"/>
                  <a:gd name="T6" fmla="*/ 27 w 27"/>
                  <a:gd name="T7" fmla="*/ 10 h 10"/>
                  <a:gd name="T8" fmla="*/ 25 w 27"/>
                  <a:gd name="T9" fmla="*/ 7 h 10"/>
                  <a:gd name="T10" fmla="*/ 1 w 27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6" y="9"/>
                      <a:pt x="27" y="9"/>
                      <a:pt x="27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0" name="Freeform 158">
                <a:extLst>
                  <a:ext uri="{FF2B5EF4-FFF2-40B4-BE49-F238E27FC236}">
                    <a16:creationId xmlns:a16="http://schemas.microsoft.com/office/drawing/2014/main" id="{8742E592-4BCA-4A17-9791-2169AF1370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343"/>
                <a:ext cx="30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1 h 21"/>
                  <a:gd name="T6" fmla="*/ 4 w 56"/>
                  <a:gd name="T7" fmla="*/ 8 h 21"/>
                  <a:gd name="T8" fmla="*/ 1 w 56"/>
                  <a:gd name="T9" fmla="*/ 3 h 21"/>
                  <a:gd name="T10" fmla="*/ 3 w 56"/>
                  <a:gd name="T11" fmla="*/ 1 h 21"/>
                  <a:gd name="T12" fmla="*/ 6 w 56"/>
                  <a:gd name="T13" fmla="*/ 1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6" y="19"/>
                      <a:pt x="55" y="20"/>
                      <a:pt x="54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3" y="1"/>
                      <a:pt x="5" y="0"/>
                      <a:pt x="6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1" name="Freeform 159">
                <a:extLst>
                  <a:ext uri="{FF2B5EF4-FFF2-40B4-BE49-F238E27FC236}">
                    <a16:creationId xmlns:a16="http://schemas.microsoft.com/office/drawing/2014/main" id="{40DCCC97-2150-4B81-BC4C-9C1D92B79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343"/>
                <a:ext cx="30" cy="9"/>
              </a:xfrm>
              <a:custGeom>
                <a:avLst/>
                <a:gdLst>
                  <a:gd name="T0" fmla="*/ 2 w 56"/>
                  <a:gd name="T1" fmla="*/ 5 h 16"/>
                  <a:gd name="T2" fmla="*/ 7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6 w 56"/>
                  <a:gd name="T11" fmla="*/ 1 h 16"/>
                  <a:gd name="T12" fmla="*/ 1 w 56"/>
                  <a:gd name="T13" fmla="*/ 3 h 16"/>
                  <a:gd name="T14" fmla="*/ 2 w 56"/>
                  <a:gd name="T15" fmla="*/ 7 h 16"/>
                  <a:gd name="T16" fmla="*/ 2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2" y="5"/>
                    </a:moveTo>
                    <a:cubicBezTo>
                      <a:pt x="2" y="3"/>
                      <a:pt x="5" y="2"/>
                      <a:pt x="7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6"/>
                      <a:pt x="56" y="16"/>
                    </a:cubicBezTo>
                    <a:cubicBezTo>
                      <a:pt x="56" y="15"/>
                      <a:pt x="55" y="14"/>
                      <a:pt x="53" y="13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3" y="0"/>
                      <a:pt x="1" y="1"/>
                      <a:pt x="1" y="3"/>
                    </a:cubicBezTo>
                    <a:cubicBezTo>
                      <a:pt x="0" y="5"/>
                      <a:pt x="1" y="6"/>
                      <a:pt x="2" y="7"/>
                    </a:cubicBezTo>
                    <a:cubicBezTo>
                      <a:pt x="2" y="6"/>
                      <a:pt x="2" y="6"/>
                      <a:pt x="2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2" name="Freeform 160">
                <a:extLst>
                  <a:ext uri="{FF2B5EF4-FFF2-40B4-BE49-F238E27FC236}">
                    <a16:creationId xmlns:a16="http://schemas.microsoft.com/office/drawing/2014/main" id="{BC381D31-BB2C-486B-BC91-11F164C30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6" y="2347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6 h 14"/>
                  <a:gd name="T6" fmla="*/ 29 w 29"/>
                  <a:gd name="T7" fmla="*/ 9 h 14"/>
                  <a:gd name="T8" fmla="*/ 27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3 h 14"/>
                  <a:gd name="T20" fmla="*/ 29 w 29"/>
                  <a:gd name="T21" fmla="*/ 11 h 14"/>
                  <a:gd name="T22" fmla="*/ 29 w 29"/>
                  <a:gd name="T23" fmla="*/ 10 h 14"/>
                  <a:gd name="T24" fmla="*/ 26 w 29"/>
                  <a:gd name="T25" fmla="*/ 6 h 14"/>
                  <a:gd name="T26" fmla="*/ 26 w 29"/>
                  <a:gd name="T27" fmla="*/ 6 h 14"/>
                  <a:gd name="T28" fmla="*/ 2 w 29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8" y="9"/>
                      <a:pt x="28" y="8"/>
                      <a:pt x="27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6" y="6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3" name="Freeform 161">
                <a:extLst>
                  <a:ext uri="{FF2B5EF4-FFF2-40B4-BE49-F238E27FC236}">
                    <a16:creationId xmlns:a16="http://schemas.microsoft.com/office/drawing/2014/main" id="{B9EEC40D-6233-447A-AAF5-352FAD9B6D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8" y="2347"/>
                <a:ext cx="14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5 w 27"/>
                  <a:gd name="T5" fmla="*/ 8 h 9"/>
                  <a:gd name="T6" fmla="*/ 27 w 27"/>
                  <a:gd name="T7" fmla="*/ 9 h 9"/>
                  <a:gd name="T8" fmla="*/ 24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6" y="8"/>
                      <a:pt x="26" y="9"/>
                      <a:pt x="27" y="9"/>
                    </a:cubicBezTo>
                    <a:cubicBezTo>
                      <a:pt x="27" y="8"/>
                      <a:pt x="26" y="7"/>
                      <a:pt x="24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4" name="Freeform 162">
                <a:extLst>
                  <a:ext uri="{FF2B5EF4-FFF2-40B4-BE49-F238E27FC236}">
                    <a16:creationId xmlns:a16="http://schemas.microsoft.com/office/drawing/2014/main" id="{6830D058-1AB9-4E67-BA08-CCC59DB7B3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1" y="2383"/>
                <a:ext cx="31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5" y="19"/>
                      <a:pt x="55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2"/>
                      <a:pt x="1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5" name="Freeform 163">
                <a:extLst>
                  <a:ext uri="{FF2B5EF4-FFF2-40B4-BE49-F238E27FC236}">
                    <a16:creationId xmlns:a16="http://schemas.microsoft.com/office/drawing/2014/main" id="{5CE19905-0BA7-421D-ADCD-AF08BA4BE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1" y="2383"/>
                <a:ext cx="31" cy="9"/>
              </a:xfrm>
              <a:custGeom>
                <a:avLst/>
                <a:gdLst>
                  <a:gd name="T0" fmla="*/ 1 w 56"/>
                  <a:gd name="T1" fmla="*/ 5 h 16"/>
                  <a:gd name="T2" fmla="*/ 6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5 w 56"/>
                  <a:gd name="T11" fmla="*/ 0 h 16"/>
                  <a:gd name="T12" fmla="*/ 0 w 56"/>
                  <a:gd name="T13" fmla="*/ 3 h 16"/>
                  <a:gd name="T14" fmla="*/ 1 w 56"/>
                  <a:gd name="T15" fmla="*/ 7 h 16"/>
                  <a:gd name="T16" fmla="*/ 1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1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5"/>
                      <a:pt x="56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4"/>
                      <a:pt x="0" y="6"/>
                      <a:pt x="1" y="7"/>
                    </a:cubicBezTo>
                    <a:cubicBezTo>
                      <a:pt x="1" y="6"/>
                      <a:pt x="1" y="5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6" name="Freeform 164">
                <a:extLst>
                  <a:ext uri="{FF2B5EF4-FFF2-40B4-BE49-F238E27FC236}">
                    <a16:creationId xmlns:a16="http://schemas.microsoft.com/office/drawing/2014/main" id="{C2BAE547-43FC-4487-89FF-B405A59833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2386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7 h 14"/>
                  <a:gd name="T6" fmla="*/ 29 w 29"/>
                  <a:gd name="T7" fmla="*/ 10 h 14"/>
                  <a:gd name="T8" fmla="*/ 27 w 29"/>
                  <a:gd name="T9" fmla="*/ 9 h 14"/>
                  <a:gd name="T10" fmla="*/ 1 w 29"/>
                  <a:gd name="T11" fmla="*/ 2 h 14"/>
                  <a:gd name="T12" fmla="*/ 0 w 29"/>
                  <a:gd name="T13" fmla="*/ 8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4 h 14"/>
                  <a:gd name="T20" fmla="*/ 29 w 29"/>
                  <a:gd name="T21" fmla="*/ 12 h 14"/>
                  <a:gd name="T22" fmla="*/ 29 w 29"/>
                  <a:gd name="T23" fmla="*/ 11 h 14"/>
                  <a:gd name="T24" fmla="*/ 26 w 29"/>
                  <a:gd name="T25" fmla="*/ 7 h 14"/>
                  <a:gd name="T26" fmla="*/ 23 w 29"/>
                  <a:gd name="T27" fmla="*/ 6 h 14"/>
                  <a:gd name="T28" fmla="*/ 8 w 29"/>
                  <a:gd name="T29" fmla="*/ 2 h 14"/>
                  <a:gd name="T30" fmla="*/ 3 w 29"/>
                  <a:gd name="T31" fmla="*/ 1 h 14"/>
                  <a:gd name="T32" fmla="*/ 2 w 29"/>
                  <a:gd name="T3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9" y="10"/>
                    </a:cubicBezTo>
                    <a:cubicBezTo>
                      <a:pt x="28" y="9"/>
                      <a:pt x="28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4" y="14"/>
                      <a:pt x="25" y="14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8" y="13"/>
                      <a:pt x="28" y="13"/>
                      <a:pt x="29" y="12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29" y="9"/>
                      <a:pt x="27" y="7"/>
                      <a:pt x="26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7" name="Freeform 165">
                <a:extLst>
                  <a:ext uri="{FF2B5EF4-FFF2-40B4-BE49-F238E27FC236}">
                    <a16:creationId xmlns:a16="http://schemas.microsoft.com/office/drawing/2014/main" id="{1809A618-FA26-4719-9D0A-9DFA53CEE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386"/>
                <a:ext cx="15" cy="6"/>
              </a:xfrm>
              <a:custGeom>
                <a:avLst/>
                <a:gdLst>
                  <a:gd name="T0" fmla="*/ 1 w 28"/>
                  <a:gd name="T1" fmla="*/ 0 h 10"/>
                  <a:gd name="T2" fmla="*/ 0 w 28"/>
                  <a:gd name="T3" fmla="*/ 2 h 10"/>
                  <a:gd name="T4" fmla="*/ 26 w 28"/>
                  <a:gd name="T5" fmla="*/ 9 h 10"/>
                  <a:gd name="T6" fmla="*/ 28 w 28"/>
                  <a:gd name="T7" fmla="*/ 10 h 10"/>
                  <a:gd name="T8" fmla="*/ 25 w 28"/>
                  <a:gd name="T9" fmla="*/ 7 h 10"/>
                  <a:gd name="T10" fmla="*/ 1 w 28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7" y="9"/>
                      <a:pt x="27" y="9"/>
                      <a:pt x="28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8" name="Freeform 166">
                <a:extLst>
                  <a:ext uri="{FF2B5EF4-FFF2-40B4-BE49-F238E27FC236}">
                    <a16:creationId xmlns:a16="http://schemas.microsoft.com/office/drawing/2014/main" id="{23982B3B-1B3D-4412-8750-F73C1A69C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0" y="2422"/>
                <a:ext cx="32" cy="12"/>
              </a:xfrm>
              <a:custGeom>
                <a:avLst/>
                <a:gdLst>
                  <a:gd name="T0" fmla="*/ 56 w 57"/>
                  <a:gd name="T1" fmla="*/ 18 h 21"/>
                  <a:gd name="T2" fmla="*/ 54 w 57"/>
                  <a:gd name="T3" fmla="*/ 20 h 21"/>
                  <a:gd name="T4" fmla="*/ 51 w 57"/>
                  <a:gd name="T5" fmla="*/ 21 h 21"/>
                  <a:gd name="T6" fmla="*/ 4 w 57"/>
                  <a:gd name="T7" fmla="*/ 8 h 21"/>
                  <a:gd name="T8" fmla="*/ 1 w 57"/>
                  <a:gd name="T9" fmla="*/ 3 h 21"/>
                  <a:gd name="T10" fmla="*/ 3 w 57"/>
                  <a:gd name="T11" fmla="*/ 1 h 21"/>
                  <a:gd name="T12" fmla="*/ 6 w 57"/>
                  <a:gd name="T13" fmla="*/ 1 h 21"/>
                  <a:gd name="T14" fmla="*/ 53 w 57"/>
                  <a:gd name="T15" fmla="*/ 13 h 21"/>
                  <a:gd name="T16" fmla="*/ 56 w 57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21">
                    <a:moveTo>
                      <a:pt x="56" y="18"/>
                    </a:moveTo>
                    <a:cubicBezTo>
                      <a:pt x="56" y="19"/>
                      <a:pt x="55" y="20"/>
                      <a:pt x="54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4" y="0"/>
                      <a:pt x="5" y="0"/>
                      <a:pt x="6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7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9" name="Freeform 167">
                <a:extLst>
                  <a:ext uri="{FF2B5EF4-FFF2-40B4-BE49-F238E27FC236}">
                    <a16:creationId xmlns:a16="http://schemas.microsoft.com/office/drawing/2014/main" id="{E7343D37-7A14-4E9D-855E-2D443C1780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1" y="2422"/>
                <a:ext cx="30" cy="9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3 w 55"/>
                  <a:gd name="T5" fmla="*/ 15 h 16"/>
                  <a:gd name="T6" fmla="*/ 55 w 55"/>
                  <a:gd name="T7" fmla="*/ 16 h 16"/>
                  <a:gd name="T8" fmla="*/ 52 w 55"/>
                  <a:gd name="T9" fmla="*/ 13 h 16"/>
                  <a:gd name="T10" fmla="*/ 5 w 55"/>
                  <a:gd name="T11" fmla="*/ 1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2"/>
                      <a:pt x="6" y="2"/>
                    </a:cubicBezTo>
                    <a:cubicBezTo>
                      <a:pt x="53" y="15"/>
                      <a:pt x="53" y="15"/>
                      <a:pt x="53" y="15"/>
                    </a:cubicBezTo>
                    <a:cubicBezTo>
                      <a:pt x="54" y="15"/>
                      <a:pt x="55" y="16"/>
                      <a:pt x="55" y="16"/>
                    </a:cubicBezTo>
                    <a:cubicBezTo>
                      <a:pt x="55" y="15"/>
                      <a:pt x="54" y="14"/>
                      <a:pt x="52" y="1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5"/>
                      <a:pt x="0" y="6"/>
                      <a:pt x="1" y="7"/>
                    </a:cubicBezTo>
                    <a:cubicBezTo>
                      <a:pt x="1" y="6"/>
                      <a:pt x="1" y="6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0" name="Freeform 168">
                <a:extLst>
                  <a:ext uri="{FF2B5EF4-FFF2-40B4-BE49-F238E27FC236}">
                    <a16:creationId xmlns:a16="http://schemas.microsoft.com/office/drawing/2014/main" id="{316F303C-645D-4CEE-A5C6-6661B5FB2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7" y="2426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0 w 3"/>
                  <a:gd name="T3" fmla="*/ 0 h 1"/>
                  <a:gd name="T4" fmla="*/ 3 w 3"/>
                  <a:gd name="T5" fmla="*/ 1 h 1"/>
                  <a:gd name="T6" fmla="*/ 3 w 3"/>
                  <a:gd name="T7" fmla="*/ 1 h 1"/>
                  <a:gd name="T8" fmla="*/ 0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1" name="Freeform 169">
                <a:extLst>
                  <a:ext uri="{FF2B5EF4-FFF2-40B4-BE49-F238E27FC236}">
                    <a16:creationId xmlns:a16="http://schemas.microsoft.com/office/drawing/2014/main" id="{31FC8C7F-961A-47EB-AA9C-4B8ECF3042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7" y="2426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0 w 3"/>
                  <a:gd name="T3" fmla="*/ 0 h 1"/>
                  <a:gd name="T4" fmla="*/ 3 w 3"/>
                  <a:gd name="T5" fmla="*/ 1 h 1"/>
                  <a:gd name="T6" fmla="*/ 3 w 3"/>
                  <a:gd name="T7" fmla="*/ 1 h 1"/>
                  <a:gd name="T8" fmla="*/ 0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2" name="Rectangle 170">
                <a:extLst>
                  <a:ext uri="{FF2B5EF4-FFF2-40B4-BE49-F238E27FC236}">
                    <a16:creationId xmlns:a16="http://schemas.microsoft.com/office/drawing/2014/main" id="{23066A20-55C9-43C7-920C-CADE039018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26"/>
                <a:ext cx="1" cy="1"/>
              </a:xfrm>
              <a:prstGeom prst="rect">
                <a:avLst/>
              </a:pr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3" name="Rectangle 171">
                <a:extLst>
                  <a:ext uri="{FF2B5EF4-FFF2-40B4-BE49-F238E27FC236}">
                    <a16:creationId xmlns:a16="http://schemas.microsoft.com/office/drawing/2014/main" id="{7B5D0D3B-97EB-4F4C-9DA6-518F0D7B12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26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4" name="Freeform 172">
                <a:extLst>
                  <a:ext uri="{FF2B5EF4-FFF2-40B4-BE49-F238E27FC236}">
                    <a16:creationId xmlns:a16="http://schemas.microsoft.com/office/drawing/2014/main" id="{B4047AE1-C7DF-4872-ADAF-95DEB8E62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0" y="2427"/>
                <a:ext cx="8" cy="3"/>
              </a:xfrm>
              <a:custGeom>
                <a:avLst/>
                <a:gdLst>
                  <a:gd name="T0" fmla="*/ 0 w 8"/>
                  <a:gd name="T1" fmla="*/ 0 h 3"/>
                  <a:gd name="T2" fmla="*/ 0 w 8"/>
                  <a:gd name="T3" fmla="*/ 0 h 3"/>
                  <a:gd name="T4" fmla="*/ 8 w 8"/>
                  <a:gd name="T5" fmla="*/ 3 h 3"/>
                  <a:gd name="T6" fmla="*/ 8 w 8"/>
                  <a:gd name="T7" fmla="*/ 3 h 3"/>
                  <a:gd name="T8" fmla="*/ 0 w 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0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5" name="Freeform 173">
                <a:extLst>
                  <a:ext uri="{FF2B5EF4-FFF2-40B4-BE49-F238E27FC236}">
                    <a16:creationId xmlns:a16="http://schemas.microsoft.com/office/drawing/2014/main" id="{B28F1AA0-22EE-401E-A8B5-4DFC0D6D9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0" y="2427"/>
                <a:ext cx="8" cy="3"/>
              </a:xfrm>
              <a:custGeom>
                <a:avLst/>
                <a:gdLst>
                  <a:gd name="T0" fmla="*/ 0 w 8"/>
                  <a:gd name="T1" fmla="*/ 0 h 3"/>
                  <a:gd name="T2" fmla="*/ 0 w 8"/>
                  <a:gd name="T3" fmla="*/ 0 h 3"/>
                  <a:gd name="T4" fmla="*/ 8 w 8"/>
                  <a:gd name="T5" fmla="*/ 3 h 3"/>
                  <a:gd name="T6" fmla="*/ 8 w 8"/>
                  <a:gd name="T7" fmla="*/ 3 h 3"/>
                  <a:gd name="T8" fmla="*/ 0 w 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0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6" name="Freeform 174">
                <a:extLst>
                  <a:ext uri="{FF2B5EF4-FFF2-40B4-BE49-F238E27FC236}">
                    <a16:creationId xmlns:a16="http://schemas.microsoft.com/office/drawing/2014/main" id="{867118F8-407F-4A06-B3EF-CBAFBD95B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8" y="2430"/>
                <a:ext cx="3" cy="2"/>
              </a:xfrm>
              <a:custGeom>
                <a:avLst/>
                <a:gdLst>
                  <a:gd name="T0" fmla="*/ 0 w 5"/>
                  <a:gd name="T1" fmla="*/ 0 h 4"/>
                  <a:gd name="T2" fmla="*/ 0 w 5"/>
                  <a:gd name="T3" fmla="*/ 0 h 4"/>
                  <a:gd name="T4" fmla="*/ 2 w 5"/>
                  <a:gd name="T5" fmla="*/ 0 h 4"/>
                  <a:gd name="T6" fmla="*/ 5 w 5"/>
                  <a:gd name="T7" fmla="*/ 4 h 4"/>
                  <a:gd name="T8" fmla="*/ 2 w 5"/>
                  <a:gd name="T9" fmla="*/ 0 h 4"/>
                  <a:gd name="T10" fmla="*/ 0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4" y="1"/>
                      <a:pt x="5" y="2"/>
                      <a:pt x="5" y="4"/>
                    </a:cubicBezTo>
                    <a:cubicBezTo>
                      <a:pt x="5" y="2"/>
                      <a:pt x="4" y="1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7" name="Rectangle 175">
                <a:extLst>
                  <a:ext uri="{FF2B5EF4-FFF2-40B4-BE49-F238E27FC236}">
                    <a16:creationId xmlns:a16="http://schemas.microsoft.com/office/drawing/2014/main" id="{3FC1DF01-18E7-4481-9EEA-5F78628D7B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31"/>
                <a:ext cx="3" cy="1"/>
              </a:xfrm>
              <a:prstGeom prst="rect">
                <a:avLst/>
              </a:pr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8" name="Rectangle 176">
                <a:extLst>
                  <a:ext uri="{FF2B5EF4-FFF2-40B4-BE49-F238E27FC236}">
                    <a16:creationId xmlns:a16="http://schemas.microsoft.com/office/drawing/2014/main" id="{617C6F6D-305F-430D-B04F-8AF59DFB2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31"/>
                <a:ext cx="3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9" name="Freeform 177">
                <a:extLst>
                  <a:ext uri="{FF2B5EF4-FFF2-40B4-BE49-F238E27FC236}">
                    <a16:creationId xmlns:a16="http://schemas.microsoft.com/office/drawing/2014/main" id="{E9312015-5D1A-4B6E-A2A4-819DB9D14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30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1 w 1"/>
                  <a:gd name="T7" fmla="*/ 1 h 1"/>
                  <a:gd name="T8" fmla="*/ 0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0" name="Freeform 178">
                <a:extLst>
                  <a:ext uri="{FF2B5EF4-FFF2-40B4-BE49-F238E27FC236}">
                    <a16:creationId xmlns:a16="http://schemas.microsoft.com/office/drawing/2014/main" id="{F3098728-8FAC-4346-89D8-56E5EB3AA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30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1 w 1"/>
                  <a:gd name="T7" fmla="*/ 1 h 1"/>
                  <a:gd name="T8" fmla="*/ 0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1" name="Freeform 179">
                <a:extLst>
                  <a:ext uri="{FF2B5EF4-FFF2-40B4-BE49-F238E27FC236}">
                    <a16:creationId xmlns:a16="http://schemas.microsoft.com/office/drawing/2014/main" id="{D0522D0F-ACCC-4D6F-B1F3-FAB35CD83E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9" y="2431"/>
                <a:ext cx="8" cy="2"/>
              </a:xfrm>
              <a:custGeom>
                <a:avLst/>
                <a:gdLst>
                  <a:gd name="T0" fmla="*/ 0 w 8"/>
                  <a:gd name="T1" fmla="*/ 0 h 2"/>
                  <a:gd name="T2" fmla="*/ 0 w 8"/>
                  <a:gd name="T3" fmla="*/ 0 h 2"/>
                  <a:gd name="T4" fmla="*/ 8 w 8"/>
                  <a:gd name="T5" fmla="*/ 2 h 2"/>
                  <a:gd name="T6" fmla="*/ 8 w 8"/>
                  <a:gd name="T7" fmla="*/ 2 h 2"/>
                  <a:gd name="T8" fmla="*/ 0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2" name="Freeform 180">
                <a:extLst>
                  <a:ext uri="{FF2B5EF4-FFF2-40B4-BE49-F238E27FC236}">
                    <a16:creationId xmlns:a16="http://schemas.microsoft.com/office/drawing/2014/main" id="{4A447CD6-9986-4BD0-A919-97073D05F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9" y="2431"/>
                <a:ext cx="8" cy="2"/>
              </a:xfrm>
              <a:custGeom>
                <a:avLst/>
                <a:gdLst>
                  <a:gd name="T0" fmla="*/ 0 w 8"/>
                  <a:gd name="T1" fmla="*/ 0 h 2"/>
                  <a:gd name="T2" fmla="*/ 0 w 8"/>
                  <a:gd name="T3" fmla="*/ 0 h 2"/>
                  <a:gd name="T4" fmla="*/ 8 w 8"/>
                  <a:gd name="T5" fmla="*/ 2 h 2"/>
                  <a:gd name="T6" fmla="*/ 8 w 8"/>
                  <a:gd name="T7" fmla="*/ 2 h 2"/>
                  <a:gd name="T8" fmla="*/ 0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3" name="Freeform 181">
                <a:extLst>
                  <a:ext uri="{FF2B5EF4-FFF2-40B4-BE49-F238E27FC236}">
                    <a16:creationId xmlns:a16="http://schemas.microsoft.com/office/drawing/2014/main" id="{80A35623-76FD-4FFA-95FE-67F7A90C7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33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4" name="Freeform 182">
                <a:extLst>
                  <a:ext uri="{FF2B5EF4-FFF2-40B4-BE49-F238E27FC236}">
                    <a16:creationId xmlns:a16="http://schemas.microsoft.com/office/drawing/2014/main" id="{5D31CC78-95CE-4EE2-9124-3313730A82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33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5" name="Freeform 183">
                <a:extLst>
                  <a:ext uri="{FF2B5EF4-FFF2-40B4-BE49-F238E27FC236}">
                    <a16:creationId xmlns:a16="http://schemas.microsoft.com/office/drawing/2014/main" id="{1CBDB465-0962-4CC8-B6E1-8682E3C955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26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6 h 14"/>
                  <a:gd name="T6" fmla="*/ 29 w 29"/>
                  <a:gd name="T7" fmla="*/ 9 h 14"/>
                  <a:gd name="T8" fmla="*/ 27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1 w 29"/>
                  <a:gd name="T15" fmla="*/ 8 h 14"/>
                  <a:gd name="T16" fmla="*/ 7 w 29"/>
                  <a:gd name="T17" fmla="*/ 9 h 14"/>
                  <a:gd name="T18" fmla="*/ 22 w 29"/>
                  <a:gd name="T19" fmla="*/ 13 h 14"/>
                  <a:gd name="T20" fmla="*/ 24 w 29"/>
                  <a:gd name="T21" fmla="*/ 14 h 14"/>
                  <a:gd name="T22" fmla="*/ 25 w 29"/>
                  <a:gd name="T23" fmla="*/ 14 h 14"/>
                  <a:gd name="T24" fmla="*/ 27 w 29"/>
                  <a:gd name="T25" fmla="*/ 13 h 14"/>
                  <a:gd name="T26" fmla="*/ 29 w 29"/>
                  <a:gd name="T27" fmla="*/ 11 h 14"/>
                  <a:gd name="T28" fmla="*/ 29 w 29"/>
                  <a:gd name="T29" fmla="*/ 10 h 14"/>
                  <a:gd name="T30" fmla="*/ 26 w 29"/>
                  <a:gd name="T31" fmla="*/ 6 h 14"/>
                  <a:gd name="T32" fmla="*/ 24 w 29"/>
                  <a:gd name="T33" fmla="*/ 6 h 14"/>
                  <a:gd name="T34" fmla="*/ 9 w 29"/>
                  <a:gd name="T35" fmla="*/ 2 h 14"/>
                  <a:gd name="T36" fmla="*/ 3 w 29"/>
                  <a:gd name="T37" fmla="*/ 0 h 14"/>
                  <a:gd name="T38" fmla="*/ 2 w 29"/>
                  <a:gd name="T3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9" y="9"/>
                      <a:pt x="28" y="8"/>
                      <a:pt x="27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6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6" name="Freeform 184">
                <a:extLst>
                  <a:ext uri="{FF2B5EF4-FFF2-40B4-BE49-F238E27FC236}">
                    <a16:creationId xmlns:a16="http://schemas.microsoft.com/office/drawing/2014/main" id="{EF13A941-8D7E-42BF-A9D7-47B026796F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" y="2426"/>
                <a:ext cx="15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5 w 27"/>
                  <a:gd name="T5" fmla="*/ 8 h 9"/>
                  <a:gd name="T6" fmla="*/ 27 w 27"/>
                  <a:gd name="T7" fmla="*/ 9 h 9"/>
                  <a:gd name="T8" fmla="*/ 24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6" y="8"/>
                      <a:pt x="27" y="9"/>
                      <a:pt x="27" y="9"/>
                    </a:cubicBezTo>
                    <a:cubicBezTo>
                      <a:pt x="27" y="8"/>
                      <a:pt x="26" y="7"/>
                      <a:pt x="24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7" name="Freeform 185">
                <a:extLst>
                  <a:ext uri="{FF2B5EF4-FFF2-40B4-BE49-F238E27FC236}">
                    <a16:creationId xmlns:a16="http://schemas.microsoft.com/office/drawing/2014/main" id="{37C08602-DE69-44C1-8266-AD4B46677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0" y="2462"/>
                <a:ext cx="31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1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5" y="19"/>
                      <a:pt x="55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8" name="Freeform 186">
                <a:extLst>
                  <a:ext uri="{FF2B5EF4-FFF2-40B4-BE49-F238E27FC236}">
                    <a16:creationId xmlns:a16="http://schemas.microsoft.com/office/drawing/2014/main" id="{44D72623-B546-4F70-B3AD-64351C4B4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0" y="2462"/>
                <a:ext cx="31" cy="9"/>
              </a:xfrm>
              <a:custGeom>
                <a:avLst/>
                <a:gdLst>
                  <a:gd name="T0" fmla="*/ 2 w 56"/>
                  <a:gd name="T1" fmla="*/ 5 h 16"/>
                  <a:gd name="T2" fmla="*/ 6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5 w 56"/>
                  <a:gd name="T11" fmla="*/ 0 h 16"/>
                  <a:gd name="T12" fmla="*/ 1 w 56"/>
                  <a:gd name="T13" fmla="*/ 3 h 16"/>
                  <a:gd name="T14" fmla="*/ 2 w 56"/>
                  <a:gd name="T15" fmla="*/ 7 h 16"/>
                  <a:gd name="T16" fmla="*/ 2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2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5"/>
                      <a:pt x="56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1" y="3"/>
                    </a:cubicBezTo>
                    <a:cubicBezTo>
                      <a:pt x="0" y="4"/>
                      <a:pt x="1" y="6"/>
                      <a:pt x="2" y="7"/>
                    </a:cubicBezTo>
                    <a:cubicBezTo>
                      <a:pt x="1" y="6"/>
                      <a:pt x="1" y="5"/>
                      <a:pt x="2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9" name="Freeform 187">
                <a:extLst>
                  <a:ext uri="{FF2B5EF4-FFF2-40B4-BE49-F238E27FC236}">
                    <a16:creationId xmlns:a16="http://schemas.microsoft.com/office/drawing/2014/main" id="{3EC875B0-F179-48A2-9CEF-7726801476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466"/>
                <a:ext cx="16" cy="7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7 h 14"/>
                  <a:gd name="T6" fmla="*/ 29 w 29"/>
                  <a:gd name="T7" fmla="*/ 10 h 14"/>
                  <a:gd name="T8" fmla="*/ 27 w 29"/>
                  <a:gd name="T9" fmla="*/ 9 h 14"/>
                  <a:gd name="T10" fmla="*/ 1 w 29"/>
                  <a:gd name="T11" fmla="*/ 2 h 14"/>
                  <a:gd name="T12" fmla="*/ 0 w 29"/>
                  <a:gd name="T13" fmla="*/ 8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4 h 14"/>
                  <a:gd name="T20" fmla="*/ 29 w 29"/>
                  <a:gd name="T21" fmla="*/ 12 h 14"/>
                  <a:gd name="T22" fmla="*/ 29 w 29"/>
                  <a:gd name="T23" fmla="*/ 11 h 14"/>
                  <a:gd name="T24" fmla="*/ 26 w 29"/>
                  <a:gd name="T25" fmla="*/ 7 h 14"/>
                  <a:gd name="T26" fmla="*/ 26 w 29"/>
                  <a:gd name="T27" fmla="*/ 7 h 14"/>
                  <a:gd name="T28" fmla="*/ 2 w 29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9" y="10"/>
                    </a:cubicBezTo>
                    <a:cubicBezTo>
                      <a:pt x="28" y="9"/>
                      <a:pt x="28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5" y="14"/>
                      <a:pt x="25" y="14"/>
                    </a:cubicBezTo>
                    <a:cubicBezTo>
                      <a:pt x="26" y="14"/>
                      <a:pt x="26" y="14"/>
                      <a:pt x="27" y="14"/>
                    </a:cubicBezTo>
                    <a:cubicBezTo>
                      <a:pt x="28" y="13"/>
                      <a:pt x="28" y="13"/>
                      <a:pt x="29" y="12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29" y="9"/>
                      <a:pt x="28" y="7"/>
                      <a:pt x="26" y="7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0" name="Freeform 188">
                <a:extLst>
                  <a:ext uri="{FF2B5EF4-FFF2-40B4-BE49-F238E27FC236}">
                    <a16:creationId xmlns:a16="http://schemas.microsoft.com/office/drawing/2014/main" id="{D7B93DA0-EC89-44A1-BCBB-162569C69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466"/>
                <a:ext cx="16" cy="5"/>
              </a:xfrm>
              <a:custGeom>
                <a:avLst/>
                <a:gdLst>
                  <a:gd name="T0" fmla="*/ 1 w 28"/>
                  <a:gd name="T1" fmla="*/ 0 h 10"/>
                  <a:gd name="T2" fmla="*/ 0 w 28"/>
                  <a:gd name="T3" fmla="*/ 2 h 10"/>
                  <a:gd name="T4" fmla="*/ 26 w 28"/>
                  <a:gd name="T5" fmla="*/ 9 h 10"/>
                  <a:gd name="T6" fmla="*/ 28 w 28"/>
                  <a:gd name="T7" fmla="*/ 10 h 10"/>
                  <a:gd name="T8" fmla="*/ 25 w 28"/>
                  <a:gd name="T9" fmla="*/ 7 h 10"/>
                  <a:gd name="T10" fmla="*/ 1 w 28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7" y="9"/>
                      <a:pt x="27" y="9"/>
                      <a:pt x="28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1" name="Freeform 189">
                <a:extLst>
                  <a:ext uri="{FF2B5EF4-FFF2-40B4-BE49-F238E27FC236}">
                    <a16:creationId xmlns:a16="http://schemas.microsoft.com/office/drawing/2014/main" id="{7FFBEA9A-5CED-41B9-9113-30219B5A4F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" y="2502"/>
                <a:ext cx="30" cy="11"/>
              </a:xfrm>
              <a:custGeom>
                <a:avLst/>
                <a:gdLst>
                  <a:gd name="T0" fmla="*/ 55 w 56"/>
                  <a:gd name="T1" fmla="*/ 18 h 21"/>
                  <a:gd name="T2" fmla="*/ 53 w 56"/>
                  <a:gd name="T3" fmla="*/ 20 h 21"/>
                  <a:gd name="T4" fmla="*/ 51 w 56"/>
                  <a:gd name="T5" fmla="*/ 21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1 h 21"/>
                  <a:gd name="T12" fmla="*/ 5 w 56"/>
                  <a:gd name="T13" fmla="*/ 1 h 21"/>
                  <a:gd name="T14" fmla="*/ 53 w 56"/>
                  <a:gd name="T15" fmla="*/ 13 h 21"/>
                  <a:gd name="T16" fmla="*/ 55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5" y="18"/>
                    </a:moveTo>
                    <a:cubicBezTo>
                      <a:pt x="55" y="19"/>
                      <a:pt x="54" y="20"/>
                      <a:pt x="53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2"/>
                      <a:pt x="1" y="1"/>
                      <a:pt x="2" y="1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6" y="16"/>
                      <a:pt x="55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2" name="Freeform 190">
                <a:extLst>
                  <a:ext uri="{FF2B5EF4-FFF2-40B4-BE49-F238E27FC236}">
                    <a16:creationId xmlns:a16="http://schemas.microsoft.com/office/drawing/2014/main" id="{9C1D49C4-082D-4B81-A8FF-3DCF987A6E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" y="2502"/>
                <a:ext cx="30" cy="8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4 w 55"/>
                  <a:gd name="T5" fmla="*/ 15 h 16"/>
                  <a:gd name="T6" fmla="*/ 55 w 55"/>
                  <a:gd name="T7" fmla="*/ 16 h 16"/>
                  <a:gd name="T8" fmla="*/ 53 w 55"/>
                  <a:gd name="T9" fmla="*/ 13 h 16"/>
                  <a:gd name="T10" fmla="*/ 5 w 55"/>
                  <a:gd name="T11" fmla="*/ 1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2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4" y="15"/>
                      <a:pt x="55" y="16"/>
                      <a:pt x="55" y="16"/>
                    </a:cubicBezTo>
                    <a:cubicBezTo>
                      <a:pt x="55" y="15"/>
                      <a:pt x="54" y="14"/>
                      <a:pt x="53" y="1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5"/>
                      <a:pt x="0" y="6"/>
                      <a:pt x="1" y="7"/>
                    </a:cubicBezTo>
                    <a:cubicBezTo>
                      <a:pt x="1" y="6"/>
                      <a:pt x="1" y="6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3" name="Freeform 191">
                <a:extLst>
                  <a:ext uri="{FF2B5EF4-FFF2-40B4-BE49-F238E27FC236}">
                    <a16:creationId xmlns:a16="http://schemas.microsoft.com/office/drawing/2014/main" id="{49629C6D-DD11-4CDB-B4CB-D5AE74EF47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4" y="2505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7 w 29"/>
                  <a:gd name="T5" fmla="*/ 6 h 14"/>
                  <a:gd name="T6" fmla="*/ 29 w 29"/>
                  <a:gd name="T7" fmla="*/ 9 h 14"/>
                  <a:gd name="T8" fmla="*/ 28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25 w 29"/>
                  <a:gd name="T15" fmla="*/ 14 h 14"/>
                  <a:gd name="T16" fmla="*/ 26 w 29"/>
                  <a:gd name="T17" fmla="*/ 14 h 14"/>
                  <a:gd name="T18" fmla="*/ 27 w 29"/>
                  <a:gd name="T19" fmla="*/ 13 h 14"/>
                  <a:gd name="T20" fmla="*/ 29 w 29"/>
                  <a:gd name="T21" fmla="*/ 11 h 14"/>
                  <a:gd name="T22" fmla="*/ 29 w 29"/>
                  <a:gd name="T23" fmla="*/ 10 h 14"/>
                  <a:gd name="T24" fmla="*/ 27 w 29"/>
                  <a:gd name="T25" fmla="*/ 6 h 14"/>
                  <a:gd name="T26" fmla="*/ 24 w 29"/>
                  <a:gd name="T27" fmla="*/ 6 h 14"/>
                  <a:gd name="T28" fmla="*/ 9 w 29"/>
                  <a:gd name="T29" fmla="*/ 2 h 14"/>
                  <a:gd name="T30" fmla="*/ 3 w 29"/>
                  <a:gd name="T31" fmla="*/ 0 h 14"/>
                  <a:gd name="T32" fmla="*/ 2 w 29"/>
                  <a:gd name="T3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9" y="9"/>
                      <a:pt x="28" y="8"/>
                      <a:pt x="28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5" y="14"/>
                      <a:pt x="25" y="14"/>
                      <a:pt x="26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7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4" name="Freeform 192">
                <a:extLst>
                  <a:ext uri="{FF2B5EF4-FFF2-40B4-BE49-F238E27FC236}">
                    <a16:creationId xmlns:a16="http://schemas.microsoft.com/office/drawing/2014/main" id="{0F1F4AFA-E954-4505-A904-BD5A49F1F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5" y="2505"/>
                <a:ext cx="15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6 w 27"/>
                  <a:gd name="T5" fmla="*/ 8 h 9"/>
                  <a:gd name="T6" fmla="*/ 27 w 27"/>
                  <a:gd name="T7" fmla="*/ 9 h 9"/>
                  <a:gd name="T8" fmla="*/ 25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6" y="8"/>
                      <a:pt x="27" y="9"/>
                      <a:pt x="27" y="9"/>
                    </a:cubicBezTo>
                    <a:cubicBezTo>
                      <a:pt x="27" y="8"/>
                      <a:pt x="26" y="7"/>
                      <a:pt x="25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5" name="Freeform 193">
                <a:extLst>
                  <a:ext uri="{FF2B5EF4-FFF2-40B4-BE49-F238E27FC236}">
                    <a16:creationId xmlns:a16="http://schemas.microsoft.com/office/drawing/2014/main" id="{C94BCCFC-6E1E-42B6-AA08-634FC5DE0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0" y="2362"/>
                <a:ext cx="20" cy="32"/>
              </a:xfrm>
              <a:custGeom>
                <a:avLst/>
                <a:gdLst>
                  <a:gd name="T0" fmla="*/ 13 w 20"/>
                  <a:gd name="T1" fmla="*/ 32 h 32"/>
                  <a:gd name="T2" fmla="*/ 0 w 20"/>
                  <a:gd name="T3" fmla="*/ 28 h 32"/>
                  <a:gd name="T4" fmla="*/ 7 w 20"/>
                  <a:gd name="T5" fmla="*/ 0 h 32"/>
                  <a:gd name="T6" fmla="*/ 20 w 20"/>
                  <a:gd name="T7" fmla="*/ 4 h 32"/>
                  <a:gd name="T8" fmla="*/ 13 w 20"/>
                  <a:gd name="T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2">
                    <a:moveTo>
                      <a:pt x="13" y="32"/>
                    </a:moveTo>
                    <a:lnTo>
                      <a:pt x="0" y="28"/>
                    </a:lnTo>
                    <a:lnTo>
                      <a:pt x="7" y="0"/>
                    </a:lnTo>
                    <a:lnTo>
                      <a:pt x="20" y="4"/>
                    </a:lnTo>
                    <a:lnTo>
                      <a:pt x="13" y="32"/>
                    </a:lnTo>
                    <a:close/>
                  </a:path>
                </a:pathLst>
              </a:custGeom>
              <a:solidFill>
                <a:srgbClr val="EF53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6" name="Freeform 194">
                <a:extLst>
                  <a:ext uri="{FF2B5EF4-FFF2-40B4-BE49-F238E27FC236}">
                    <a16:creationId xmlns:a16="http://schemas.microsoft.com/office/drawing/2014/main" id="{A4201B50-FE4A-4494-9B00-A0ADE304C2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9" y="2404"/>
                <a:ext cx="20" cy="32"/>
              </a:xfrm>
              <a:custGeom>
                <a:avLst/>
                <a:gdLst>
                  <a:gd name="T0" fmla="*/ 12 w 20"/>
                  <a:gd name="T1" fmla="*/ 32 h 32"/>
                  <a:gd name="T2" fmla="*/ 0 w 20"/>
                  <a:gd name="T3" fmla="*/ 28 h 32"/>
                  <a:gd name="T4" fmla="*/ 7 w 20"/>
                  <a:gd name="T5" fmla="*/ 0 h 32"/>
                  <a:gd name="T6" fmla="*/ 20 w 20"/>
                  <a:gd name="T7" fmla="*/ 3 h 32"/>
                  <a:gd name="T8" fmla="*/ 12 w 20"/>
                  <a:gd name="T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2">
                    <a:moveTo>
                      <a:pt x="12" y="32"/>
                    </a:moveTo>
                    <a:lnTo>
                      <a:pt x="0" y="28"/>
                    </a:lnTo>
                    <a:lnTo>
                      <a:pt x="7" y="0"/>
                    </a:lnTo>
                    <a:lnTo>
                      <a:pt x="20" y="3"/>
                    </a:lnTo>
                    <a:lnTo>
                      <a:pt x="12" y="32"/>
                    </a:lnTo>
                    <a:close/>
                  </a:path>
                </a:pathLst>
              </a:custGeom>
              <a:solidFill>
                <a:srgbClr val="8FDC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7" name="Freeform 195">
                <a:extLst>
                  <a:ext uri="{FF2B5EF4-FFF2-40B4-BE49-F238E27FC236}">
                    <a16:creationId xmlns:a16="http://schemas.microsoft.com/office/drawing/2014/main" id="{040EC471-B18B-4524-856E-E917E25575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" y="2387"/>
                <a:ext cx="25" cy="33"/>
              </a:xfrm>
              <a:custGeom>
                <a:avLst/>
                <a:gdLst>
                  <a:gd name="T0" fmla="*/ 17 w 25"/>
                  <a:gd name="T1" fmla="*/ 33 h 33"/>
                  <a:gd name="T2" fmla="*/ 0 w 25"/>
                  <a:gd name="T3" fmla="*/ 28 h 33"/>
                  <a:gd name="T4" fmla="*/ 8 w 25"/>
                  <a:gd name="T5" fmla="*/ 0 h 33"/>
                  <a:gd name="T6" fmla="*/ 25 w 25"/>
                  <a:gd name="T7" fmla="*/ 5 h 33"/>
                  <a:gd name="T8" fmla="*/ 17 w 25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33">
                    <a:moveTo>
                      <a:pt x="17" y="33"/>
                    </a:moveTo>
                    <a:lnTo>
                      <a:pt x="0" y="28"/>
                    </a:lnTo>
                    <a:lnTo>
                      <a:pt x="8" y="0"/>
                    </a:lnTo>
                    <a:lnTo>
                      <a:pt x="25" y="5"/>
                    </a:lnTo>
                    <a:lnTo>
                      <a:pt x="17" y="33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8" name="Freeform 196">
                <a:extLst>
                  <a:ext uri="{FF2B5EF4-FFF2-40B4-BE49-F238E27FC236}">
                    <a16:creationId xmlns:a16="http://schemas.microsoft.com/office/drawing/2014/main" id="{760A5B0F-2515-4410-8688-3BBF8312B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" y="2263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9" name="Freeform 197">
                <a:extLst>
                  <a:ext uri="{FF2B5EF4-FFF2-40B4-BE49-F238E27FC236}">
                    <a16:creationId xmlns:a16="http://schemas.microsoft.com/office/drawing/2014/main" id="{136B7A02-33E1-42E4-8FAE-B8B576DAF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" y="2276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0" name="Freeform 198">
                <a:extLst>
                  <a:ext uri="{FF2B5EF4-FFF2-40B4-BE49-F238E27FC236}">
                    <a16:creationId xmlns:a16="http://schemas.microsoft.com/office/drawing/2014/main" id="{A038D938-5D4E-4058-A4E1-504C0D303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5" y="2288"/>
                <a:ext cx="138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1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1" name="Freeform 199">
                <a:extLst>
                  <a:ext uri="{FF2B5EF4-FFF2-40B4-BE49-F238E27FC236}">
                    <a16:creationId xmlns:a16="http://schemas.microsoft.com/office/drawing/2014/main" id="{1B9D715A-EC9F-4B8A-A0B6-B52A154E0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2" y="2301"/>
                <a:ext cx="138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8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2" name="Freeform 200">
                <a:extLst>
                  <a:ext uri="{FF2B5EF4-FFF2-40B4-BE49-F238E27FC236}">
                    <a16:creationId xmlns:a16="http://schemas.microsoft.com/office/drawing/2014/main" id="{C42C2F4D-5A74-4676-AF9F-674E374861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313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8"/>
                      <a:pt x="253" y="68"/>
                      <a:pt x="253" y="68"/>
                    </a:cubicBezTo>
                    <a:cubicBezTo>
                      <a:pt x="252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3" name="Freeform 201">
                <a:extLst>
                  <a:ext uri="{FF2B5EF4-FFF2-40B4-BE49-F238E27FC236}">
                    <a16:creationId xmlns:a16="http://schemas.microsoft.com/office/drawing/2014/main" id="{86647506-B47B-4A12-93DA-D479FB3C2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5" y="2326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8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4" name="Freeform 202">
                <a:extLst>
                  <a:ext uri="{FF2B5EF4-FFF2-40B4-BE49-F238E27FC236}">
                    <a16:creationId xmlns:a16="http://schemas.microsoft.com/office/drawing/2014/main" id="{60B9C95F-56D4-4BDB-A109-729A91631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2" y="2338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8 h 69"/>
                  <a:gd name="T10" fmla="*/ 252 w 252"/>
                  <a:gd name="T11" fmla="*/ 69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2" y="68"/>
                      <a:pt x="252" y="69"/>
                    </a:cubicBezTo>
                    <a:cubicBezTo>
                      <a:pt x="252" y="69"/>
                      <a:pt x="252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5" name="Freeform 203">
                <a:extLst>
                  <a:ext uri="{FF2B5EF4-FFF2-40B4-BE49-F238E27FC236}">
                    <a16:creationId xmlns:a16="http://schemas.microsoft.com/office/drawing/2014/main" id="{72742FF2-CC75-48D5-A901-04594EB81E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51"/>
                <a:ext cx="137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1 w 252"/>
                  <a:gd name="T9" fmla="*/ 68 h 69"/>
                  <a:gd name="T10" fmla="*/ 252 w 252"/>
                  <a:gd name="T11" fmla="*/ 69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51" y="68"/>
                      <a:pt x="251" y="68"/>
                      <a:pt x="251" y="68"/>
                    </a:cubicBezTo>
                    <a:cubicBezTo>
                      <a:pt x="252" y="68"/>
                      <a:pt x="252" y="68"/>
                      <a:pt x="252" y="69"/>
                    </a:cubicBezTo>
                    <a:cubicBezTo>
                      <a:pt x="252" y="69"/>
                      <a:pt x="251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6" name="Freeform 204">
                <a:extLst>
                  <a:ext uri="{FF2B5EF4-FFF2-40B4-BE49-F238E27FC236}">
                    <a16:creationId xmlns:a16="http://schemas.microsoft.com/office/drawing/2014/main" id="{A1917ECF-7CD9-45B8-B9AC-361BBE00F3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5" y="2363"/>
                <a:ext cx="138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1 w 253"/>
                  <a:gd name="T5" fmla="*/ 1 h 69"/>
                  <a:gd name="T6" fmla="*/ 1 w 253"/>
                  <a:gd name="T7" fmla="*/ 1 h 69"/>
                  <a:gd name="T8" fmla="*/ 252 w 253"/>
                  <a:gd name="T9" fmla="*/ 68 h 69"/>
                  <a:gd name="T10" fmla="*/ 253 w 253"/>
                  <a:gd name="T11" fmla="*/ 69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1"/>
                      <a:pt x="1" y="0"/>
                      <a:pt x="1" y="1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3" y="68"/>
                      <a:pt x="253" y="68"/>
                      <a:pt x="253" y="69"/>
                    </a:cubicBezTo>
                    <a:cubicBezTo>
                      <a:pt x="253" y="69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" name="Group 406">
              <a:extLst>
                <a:ext uri="{FF2B5EF4-FFF2-40B4-BE49-F238E27FC236}">
                  <a16:creationId xmlns:a16="http://schemas.microsoft.com/office/drawing/2014/main" id="{53EA9CB8-50DC-473C-99CE-8AFCCA8D6E4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08950" y="1360488"/>
              <a:ext cx="2019300" cy="2759075"/>
              <a:chOff x="5108" y="857"/>
              <a:chExt cx="1272" cy="1738"/>
            </a:xfrm>
          </p:grpSpPr>
          <p:sp>
            <p:nvSpPr>
              <p:cNvPr id="367" name="Freeform 206">
                <a:extLst>
                  <a:ext uri="{FF2B5EF4-FFF2-40B4-BE49-F238E27FC236}">
                    <a16:creationId xmlns:a16="http://schemas.microsoft.com/office/drawing/2014/main" id="{4798BC5C-9BB4-4BEF-B74B-D74DC9D7C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1" y="2376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1 h 69"/>
                  <a:gd name="T8" fmla="*/ 252 w 253"/>
                  <a:gd name="T9" fmla="*/ 68 h 69"/>
                  <a:gd name="T10" fmla="*/ 253 w 253"/>
                  <a:gd name="T11" fmla="*/ 69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3" y="68"/>
                      <a:pt x="253" y="69"/>
                    </a:cubicBezTo>
                    <a:cubicBezTo>
                      <a:pt x="253" y="69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207">
                <a:extLst>
                  <a:ext uri="{FF2B5EF4-FFF2-40B4-BE49-F238E27FC236}">
                    <a16:creationId xmlns:a16="http://schemas.microsoft.com/office/drawing/2014/main" id="{A0EB452C-429D-43A4-BF61-139972950A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8" y="2389"/>
                <a:ext cx="139" cy="37"/>
              </a:xfrm>
              <a:custGeom>
                <a:avLst/>
                <a:gdLst>
                  <a:gd name="T0" fmla="*/ 252 w 253"/>
                  <a:gd name="T1" fmla="*/ 68 h 68"/>
                  <a:gd name="T2" fmla="*/ 1 w 253"/>
                  <a:gd name="T3" fmla="*/ 1 h 68"/>
                  <a:gd name="T4" fmla="*/ 0 w 253"/>
                  <a:gd name="T5" fmla="*/ 0 h 68"/>
                  <a:gd name="T6" fmla="*/ 1 w 253"/>
                  <a:gd name="T7" fmla="*/ 0 h 68"/>
                  <a:gd name="T8" fmla="*/ 252 w 253"/>
                  <a:gd name="T9" fmla="*/ 67 h 68"/>
                  <a:gd name="T10" fmla="*/ 252 w 253"/>
                  <a:gd name="T11" fmla="*/ 68 h 68"/>
                  <a:gd name="T12" fmla="*/ 252 w 253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8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7"/>
                      <a:pt x="252" y="68"/>
                    </a:cubicBezTo>
                    <a:cubicBezTo>
                      <a:pt x="252" y="68"/>
                      <a:pt x="252" y="68"/>
                      <a:pt x="252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208">
                <a:extLst>
                  <a:ext uri="{FF2B5EF4-FFF2-40B4-BE49-F238E27FC236}">
                    <a16:creationId xmlns:a16="http://schemas.microsoft.com/office/drawing/2014/main" id="{2ABE8BC9-3174-430E-89B0-0F09902AA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5" y="2402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1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2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8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209">
                <a:extLst>
                  <a:ext uri="{FF2B5EF4-FFF2-40B4-BE49-F238E27FC236}">
                    <a16:creationId xmlns:a16="http://schemas.microsoft.com/office/drawing/2014/main" id="{8C8B4ACF-C1DB-4164-9EF5-BA6B276939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2" y="2414"/>
                <a:ext cx="138" cy="38"/>
              </a:xfrm>
              <a:custGeom>
                <a:avLst/>
                <a:gdLst>
                  <a:gd name="T0" fmla="*/ 251 w 252"/>
                  <a:gd name="T1" fmla="*/ 68 h 69"/>
                  <a:gd name="T2" fmla="*/ 0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9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210">
                <a:extLst>
                  <a:ext uri="{FF2B5EF4-FFF2-40B4-BE49-F238E27FC236}">
                    <a16:creationId xmlns:a16="http://schemas.microsoft.com/office/drawing/2014/main" id="{95729F69-4135-42E8-84F4-D115D9BD5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8" y="2427"/>
                <a:ext cx="138" cy="37"/>
              </a:xfrm>
              <a:custGeom>
                <a:avLst/>
                <a:gdLst>
                  <a:gd name="T0" fmla="*/ 251 w 252"/>
                  <a:gd name="T1" fmla="*/ 68 h 69"/>
                  <a:gd name="T2" fmla="*/ 0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1 w 252"/>
                  <a:gd name="T9" fmla="*/ 67 h 69"/>
                  <a:gd name="T10" fmla="*/ 252 w 252"/>
                  <a:gd name="T11" fmla="*/ 68 h 69"/>
                  <a:gd name="T12" fmla="*/ 251 w 252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8"/>
                      <a:pt x="251" y="69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211">
                <a:extLst>
                  <a:ext uri="{FF2B5EF4-FFF2-40B4-BE49-F238E27FC236}">
                    <a16:creationId xmlns:a16="http://schemas.microsoft.com/office/drawing/2014/main" id="{B35A6572-A9D5-42F2-B142-EB51E9581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" y="2439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8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212">
                <a:extLst>
                  <a:ext uri="{FF2B5EF4-FFF2-40B4-BE49-F238E27FC236}">
                    <a16:creationId xmlns:a16="http://schemas.microsoft.com/office/drawing/2014/main" id="{724AF34D-A7CA-4631-A3DE-D64054DA3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1" y="2452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3" y="68"/>
                    </a:cubicBezTo>
                    <a:cubicBezTo>
                      <a:pt x="252" y="68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213">
                <a:extLst>
                  <a:ext uri="{FF2B5EF4-FFF2-40B4-BE49-F238E27FC236}">
                    <a16:creationId xmlns:a16="http://schemas.microsoft.com/office/drawing/2014/main" id="{929E761E-EEA1-43E0-8A22-F8E3A7D36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8" y="2464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1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214">
                <a:extLst>
                  <a:ext uri="{FF2B5EF4-FFF2-40B4-BE49-F238E27FC236}">
                    <a16:creationId xmlns:a16="http://schemas.microsoft.com/office/drawing/2014/main" id="{961B78A1-2549-45D1-8A96-69A74B297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8" y="2339"/>
                <a:ext cx="47" cy="14"/>
              </a:xfrm>
              <a:custGeom>
                <a:avLst/>
                <a:gdLst>
                  <a:gd name="T0" fmla="*/ 83 w 85"/>
                  <a:gd name="T1" fmla="*/ 24 h 24"/>
                  <a:gd name="T2" fmla="*/ 0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2 h 24"/>
                  <a:gd name="T10" fmla="*/ 84 w 85"/>
                  <a:gd name="T11" fmla="*/ 23 h 24"/>
                  <a:gd name="T12" fmla="*/ 83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3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84" y="22"/>
                      <a:pt x="84" y="22"/>
                      <a:pt x="84" y="22"/>
                    </a:cubicBezTo>
                    <a:cubicBezTo>
                      <a:pt x="84" y="23"/>
                      <a:pt x="85" y="23"/>
                      <a:pt x="84" y="23"/>
                    </a:cubicBezTo>
                    <a:cubicBezTo>
                      <a:pt x="84" y="24"/>
                      <a:pt x="84" y="24"/>
                      <a:pt x="83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Freeform 215">
                <a:extLst>
                  <a:ext uri="{FF2B5EF4-FFF2-40B4-BE49-F238E27FC236}">
                    <a16:creationId xmlns:a16="http://schemas.microsoft.com/office/drawing/2014/main" id="{F71F5D83-F820-4831-971A-332CBD4782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" y="2352"/>
                <a:ext cx="46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1 w 85"/>
                  <a:gd name="T5" fmla="*/ 1 h 24"/>
                  <a:gd name="T6" fmla="*/ 1 w 85"/>
                  <a:gd name="T7" fmla="*/ 0 h 24"/>
                  <a:gd name="T8" fmla="*/ 85 w 85"/>
                  <a:gd name="T9" fmla="*/ 22 h 24"/>
                  <a:gd name="T10" fmla="*/ 85 w 85"/>
                  <a:gd name="T11" fmla="*/ 23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85" y="22"/>
                      <a:pt x="85" y="22"/>
                      <a:pt x="85" y="22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4"/>
                      <a:pt x="85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Freeform 216">
                <a:extLst>
                  <a:ext uri="{FF2B5EF4-FFF2-40B4-BE49-F238E27FC236}">
                    <a16:creationId xmlns:a16="http://schemas.microsoft.com/office/drawing/2014/main" id="{D85BCA8D-A4C0-45BE-8163-CD5B7F2CCD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" y="2365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5 w 85"/>
                  <a:gd name="T9" fmla="*/ 23 h 24"/>
                  <a:gd name="T10" fmla="*/ 85 w 85"/>
                  <a:gd name="T11" fmla="*/ 23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4"/>
                      <a:pt x="85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8" name="Freeform 217">
                <a:extLst>
                  <a:ext uri="{FF2B5EF4-FFF2-40B4-BE49-F238E27FC236}">
                    <a16:creationId xmlns:a16="http://schemas.microsoft.com/office/drawing/2014/main" id="{B6A3291E-0158-4ED9-9B71-A1C0A37DC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8" y="2377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5" y="23"/>
                      <a:pt x="85" y="23"/>
                      <a:pt x="85" y="24"/>
                    </a:cubicBezTo>
                    <a:cubicBezTo>
                      <a:pt x="85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Freeform 218">
                <a:extLst>
                  <a:ext uri="{FF2B5EF4-FFF2-40B4-BE49-F238E27FC236}">
                    <a16:creationId xmlns:a16="http://schemas.microsoft.com/office/drawing/2014/main" id="{1E7A9B52-08CC-4676-BC25-BED9AA389F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" y="2390"/>
                <a:ext cx="46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5" y="23"/>
                      <a:pt x="85" y="23"/>
                      <a:pt x="85" y="24"/>
                    </a:cubicBezTo>
                    <a:cubicBezTo>
                      <a:pt x="85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Freeform 219">
                <a:extLst>
                  <a:ext uri="{FF2B5EF4-FFF2-40B4-BE49-F238E27FC236}">
                    <a16:creationId xmlns:a16="http://schemas.microsoft.com/office/drawing/2014/main" id="{7A375989-39E0-48AF-98E8-BD16A064E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1" y="2402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0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4" y="23"/>
                      <a:pt x="85" y="23"/>
                      <a:pt x="85" y="24"/>
                    </a:cubicBezTo>
                    <a:cubicBezTo>
                      <a:pt x="84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Freeform 220">
                <a:extLst>
                  <a:ext uri="{FF2B5EF4-FFF2-40B4-BE49-F238E27FC236}">
                    <a16:creationId xmlns:a16="http://schemas.microsoft.com/office/drawing/2014/main" id="{4D436458-25E7-4C60-B0D1-74FC0A19F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15"/>
                <a:ext cx="46" cy="13"/>
              </a:xfrm>
              <a:custGeom>
                <a:avLst/>
                <a:gdLst>
                  <a:gd name="T0" fmla="*/ 83 w 84"/>
                  <a:gd name="T1" fmla="*/ 24 h 24"/>
                  <a:gd name="T2" fmla="*/ 0 w 84"/>
                  <a:gd name="T3" fmla="*/ 2 h 24"/>
                  <a:gd name="T4" fmla="*/ 0 w 84"/>
                  <a:gd name="T5" fmla="*/ 1 h 24"/>
                  <a:gd name="T6" fmla="*/ 1 w 84"/>
                  <a:gd name="T7" fmla="*/ 0 h 24"/>
                  <a:gd name="T8" fmla="*/ 84 w 84"/>
                  <a:gd name="T9" fmla="*/ 23 h 24"/>
                  <a:gd name="T10" fmla="*/ 84 w 84"/>
                  <a:gd name="T11" fmla="*/ 24 h 24"/>
                  <a:gd name="T12" fmla="*/ 83 w 84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24">
                    <a:moveTo>
                      <a:pt x="83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4" y="23"/>
                      <a:pt x="84" y="23"/>
                      <a:pt x="84" y="24"/>
                    </a:cubicBezTo>
                    <a:cubicBezTo>
                      <a:pt x="84" y="24"/>
                      <a:pt x="84" y="24"/>
                      <a:pt x="83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Freeform 221">
                <a:extLst>
                  <a:ext uri="{FF2B5EF4-FFF2-40B4-BE49-F238E27FC236}">
                    <a16:creationId xmlns:a16="http://schemas.microsoft.com/office/drawing/2014/main" id="{2E21A502-C4FF-4D97-8827-90BAF8BCC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3" y="2403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0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2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8"/>
                      <a:pt x="251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Freeform 222">
                <a:extLst>
                  <a:ext uri="{FF2B5EF4-FFF2-40B4-BE49-F238E27FC236}">
                    <a16:creationId xmlns:a16="http://schemas.microsoft.com/office/drawing/2014/main" id="{A4140B52-F92F-4B4A-8EFE-AF18F4E24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0" y="2416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0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1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1" y="68"/>
                      <a:pt x="251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Freeform 223">
                <a:extLst>
                  <a:ext uri="{FF2B5EF4-FFF2-40B4-BE49-F238E27FC236}">
                    <a16:creationId xmlns:a16="http://schemas.microsoft.com/office/drawing/2014/main" id="{3138074F-679D-4718-A5C3-37FFE83E42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6" y="2428"/>
                <a:ext cx="138" cy="38"/>
              </a:xfrm>
              <a:custGeom>
                <a:avLst/>
                <a:gdLst>
                  <a:gd name="T0" fmla="*/ 252 w 253"/>
                  <a:gd name="T1" fmla="*/ 68 h 69"/>
                  <a:gd name="T2" fmla="*/ 1 w 253"/>
                  <a:gd name="T3" fmla="*/ 1 h 69"/>
                  <a:gd name="T4" fmla="*/ 1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7"/>
                      <a:pt x="253" y="68"/>
                    </a:cubicBezTo>
                    <a:cubicBezTo>
                      <a:pt x="253" y="68"/>
                      <a:pt x="252" y="69"/>
                      <a:pt x="252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Freeform 224">
                <a:extLst>
                  <a:ext uri="{FF2B5EF4-FFF2-40B4-BE49-F238E27FC236}">
                    <a16:creationId xmlns:a16="http://schemas.microsoft.com/office/drawing/2014/main" id="{52A93AF8-AC8B-4347-97FD-C2D1A5EAB7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2" y="2441"/>
                <a:ext cx="139" cy="38"/>
              </a:xfrm>
              <a:custGeom>
                <a:avLst/>
                <a:gdLst>
                  <a:gd name="T0" fmla="*/ 252 w 253"/>
                  <a:gd name="T1" fmla="*/ 68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8"/>
                      <a:pt x="252" y="69"/>
                      <a:pt x="252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Freeform 225">
                <a:extLst>
                  <a:ext uri="{FF2B5EF4-FFF2-40B4-BE49-F238E27FC236}">
                    <a16:creationId xmlns:a16="http://schemas.microsoft.com/office/drawing/2014/main" id="{4D9DEC18-B19B-4FAF-B9F3-3383055F13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9" y="2454"/>
                <a:ext cx="139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2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2" y="68"/>
                    </a:cubicBezTo>
                    <a:cubicBezTo>
                      <a:pt x="252" y="68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Freeform 226">
                <a:extLst>
                  <a:ext uri="{FF2B5EF4-FFF2-40B4-BE49-F238E27FC236}">
                    <a16:creationId xmlns:a16="http://schemas.microsoft.com/office/drawing/2014/main" id="{971BE79F-923D-4A4D-A416-053168D78A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6" y="2466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8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Freeform 227">
                <a:extLst>
                  <a:ext uri="{FF2B5EF4-FFF2-40B4-BE49-F238E27FC236}">
                    <a16:creationId xmlns:a16="http://schemas.microsoft.com/office/drawing/2014/main" id="{494E53A7-3C3F-4CDC-BD0B-DA2147628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479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1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Freeform 228">
                <a:extLst>
                  <a:ext uri="{FF2B5EF4-FFF2-40B4-BE49-F238E27FC236}">
                    <a16:creationId xmlns:a16="http://schemas.microsoft.com/office/drawing/2014/main" id="{78080B31-D1DB-46E4-883D-13E1FA5F22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9" y="2491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1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1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Freeform 229">
                <a:extLst>
                  <a:ext uri="{FF2B5EF4-FFF2-40B4-BE49-F238E27FC236}">
                    <a16:creationId xmlns:a16="http://schemas.microsoft.com/office/drawing/2014/main" id="{C6491041-D199-46E5-82B5-55AF5BABF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2504"/>
                <a:ext cx="138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Freeform 230">
                <a:extLst>
                  <a:ext uri="{FF2B5EF4-FFF2-40B4-BE49-F238E27FC236}">
                    <a16:creationId xmlns:a16="http://schemas.microsoft.com/office/drawing/2014/main" id="{5ADE6041-EDAB-41C0-B9E2-699796B8C0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516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3" y="68"/>
                    </a:cubicBezTo>
                    <a:cubicBezTo>
                      <a:pt x="252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Freeform 231">
                <a:extLst>
                  <a:ext uri="{FF2B5EF4-FFF2-40B4-BE49-F238E27FC236}">
                    <a16:creationId xmlns:a16="http://schemas.microsoft.com/office/drawing/2014/main" id="{89D26C9E-77DB-439C-A41A-D935B7734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9" y="2314"/>
                <a:ext cx="22" cy="79"/>
              </a:xfrm>
              <a:custGeom>
                <a:avLst/>
                <a:gdLst>
                  <a:gd name="T0" fmla="*/ 1 w 41"/>
                  <a:gd name="T1" fmla="*/ 146 h 146"/>
                  <a:gd name="T2" fmla="*/ 1 w 41"/>
                  <a:gd name="T3" fmla="*/ 145 h 146"/>
                  <a:gd name="T4" fmla="*/ 39 w 41"/>
                  <a:gd name="T5" fmla="*/ 0 h 146"/>
                  <a:gd name="T6" fmla="*/ 40 w 41"/>
                  <a:gd name="T7" fmla="*/ 0 h 146"/>
                  <a:gd name="T8" fmla="*/ 41 w 41"/>
                  <a:gd name="T9" fmla="*/ 1 h 146"/>
                  <a:gd name="T10" fmla="*/ 2 w 41"/>
                  <a:gd name="T11" fmla="*/ 146 h 146"/>
                  <a:gd name="T12" fmla="*/ 1 w 41"/>
                  <a:gd name="T13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146">
                    <a:moveTo>
                      <a:pt x="1" y="146"/>
                    </a:moveTo>
                    <a:cubicBezTo>
                      <a:pt x="1" y="146"/>
                      <a:pt x="0" y="146"/>
                      <a:pt x="1" y="14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40" y="0"/>
                      <a:pt x="40" y="0"/>
                    </a:cubicBezTo>
                    <a:cubicBezTo>
                      <a:pt x="41" y="0"/>
                      <a:pt x="41" y="0"/>
                      <a:pt x="41" y="1"/>
                    </a:cubicBezTo>
                    <a:cubicBezTo>
                      <a:pt x="2" y="146"/>
                      <a:pt x="2" y="146"/>
                      <a:pt x="2" y="146"/>
                    </a:cubicBezTo>
                    <a:cubicBezTo>
                      <a:pt x="2" y="146"/>
                      <a:pt x="1" y="146"/>
                      <a:pt x="1" y="146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Freeform 232">
                <a:extLst>
                  <a:ext uri="{FF2B5EF4-FFF2-40B4-BE49-F238E27FC236}">
                    <a16:creationId xmlns:a16="http://schemas.microsoft.com/office/drawing/2014/main" id="{14C0270B-D41F-4ACE-8E23-9E39D785C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6" y="2387"/>
                <a:ext cx="81" cy="23"/>
              </a:xfrm>
              <a:custGeom>
                <a:avLst/>
                <a:gdLst>
                  <a:gd name="T0" fmla="*/ 146 w 148"/>
                  <a:gd name="T1" fmla="*/ 41 h 41"/>
                  <a:gd name="T2" fmla="*/ 1 w 148"/>
                  <a:gd name="T3" fmla="*/ 2 h 41"/>
                  <a:gd name="T4" fmla="*/ 0 w 148"/>
                  <a:gd name="T5" fmla="*/ 1 h 41"/>
                  <a:gd name="T6" fmla="*/ 1 w 148"/>
                  <a:gd name="T7" fmla="*/ 0 h 41"/>
                  <a:gd name="T8" fmla="*/ 147 w 148"/>
                  <a:gd name="T9" fmla="*/ 39 h 41"/>
                  <a:gd name="T10" fmla="*/ 147 w 148"/>
                  <a:gd name="T11" fmla="*/ 40 h 41"/>
                  <a:gd name="T12" fmla="*/ 146 w 148"/>
                  <a:gd name="T13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" h="41">
                    <a:moveTo>
                      <a:pt x="146" y="41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47" y="39"/>
                      <a:pt x="147" y="39"/>
                      <a:pt x="147" y="39"/>
                    </a:cubicBezTo>
                    <a:cubicBezTo>
                      <a:pt x="147" y="39"/>
                      <a:pt x="148" y="40"/>
                      <a:pt x="147" y="40"/>
                    </a:cubicBezTo>
                    <a:cubicBezTo>
                      <a:pt x="147" y="41"/>
                      <a:pt x="147" y="41"/>
                      <a:pt x="146" y="41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Freeform 233">
                <a:extLst>
                  <a:ext uri="{FF2B5EF4-FFF2-40B4-BE49-F238E27FC236}">
                    <a16:creationId xmlns:a16="http://schemas.microsoft.com/office/drawing/2014/main" id="{B3A106E9-D298-477B-9D94-C48936C46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0" y="2334"/>
                <a:ext cx="87" cy="52"/>
              </a:xfrm>
              <a:custGeom>
                <a:avLst/>
                <a:gdLst>
                  <a:gd name="T0" fmla="*/ 0 w 87"/>
                  <a:gd name="T1" fmla="*/ 47 h 52"/>
                  <a:gd name="T2" fmla="*/ 0 w 87"/>
                  <a:gd name="T3" fmla="*/ 47 h 52"/>
                  <a:gd name="T4" fmla="*/ 0 w 87"/>
                  <a:gd name="T5" fmla="*/ 47 h 52"/>
                  <a:gd name="T6" fmla="*/ 21 w 87"/>
                  <a:gd name="T7" fmla="*/ 27 h 52"/>
                  <a:gd name="T8" fmla="*/ 21 w 87"/>
                  <a:gd name="T9" fmla="*/ 27 h 52"/>
                  <a:gd name="T10" fmla="*/ 22 w 87"/>
                  <a:gd name="T11" fmla="*/ 27 h 52"/>
                  <a:gd name="T12" fmla="*/ 28 w 87"/>
                  <a:gd name="T13" fmla="*/ 35 h 52"/>
                  <a:gd name="T14" fmla="*/ 43 w 87"/>
                  <a:gd name="T15" fmla="*/ 15 h 52"/>
                  <a:gd name="T16" fmla="*/ 43 w 87"/>
                  <a:gd name="T17" fmla="*/ 15 h 52"/>
                  <a:gd name="T18" fmla="*/ 43 w 87"/>
                  <a:gd name="T19" fmla="*/ 15 h 52"/>
                  <a:gd name="T20" fmla="*/ 43 w 87"/>
                  <a:gd name="T21" fmla="*/ 15 h 52"/>
                  <a:gd name="T22" fmla="*/ 46 w 87"/>
                  <a:gd name="T23" fmla="*/ 50 h 52"/>
                  <a:gd name="T24" fmla="*/ 56 w 87"/>
                  <a:gd name="T25" fmla="*/ 31 h 52"/>
                  <a:gd name="T26" fmla="*/ 57 w 87"/>
                  <a:gd name="T27" fmla="*/ 30 h 52"/>
                  <a:gd name="T28" fmla="*/ 57 w 87"/>
                  <a:gd name="T29" fmla="*/ 31 h 52"/>
                  <a:gd name="T30" fmla="*/ 60 w 87"/>
                  <a:gd name="T31" fmla="*/ 39 h 52"/>
                  <a:gd name="T32" fmla="*/ 70 w 87"/>
                  <a:gd name="T33" fmla="*/ 17 h 52"/>
                  <a:gd name="T34" fmla="*/ 70 w 87"/>
                  <a:gd name="T35" fmla="*/ 17 h 52"/>
                  <a:gd name="T36" fmla="*/ 70 w 87"/>
                  <a:gd name="T37" fmla="*/ 17 h 52"/>
                  <a:gd name="T38" fmla="*/ 73 w 87"/>
                  <a:gd name="T39" fmla="*/ 22 h 52"/>
                  <a:gd name="T40" fmla="*/ 86 w 87"/>
                  <a:gd name="T41" fmla="*/ 0 h 52"/>
                  <a:gd name="T42" fmla="*/ 87 w 87"/>
                  <a:gd name="T43" fmla="*/ 0 h 52"/>
                  <a:gd name="T44" fmla="*/ 87 w 87"/>
                  <a:gd name="T45" fmla="*/ 1 h 52"/>
                  <a:gd name="T46" fmla="*/ 73 w 87"/>
                  <a:gd name="T47" fmla="*/ 23 h 52"/>
                  <a:gd name="T48" fmla="*/ 73 w 87"/>
                  <a:gd name="T49" fmla="*/ 23 h 52"/>
                  <a:gd name="T50" fmla="*/ 72 w 87"/>
                  <a:gd name="T51" fmla="*/ 23 h 52"/>
                  <a:gd name="T52" fmla="*/ 70 w 87"/>
                  <a:gd name="T53" fmla="*/ 19 h 52"/>
                  <a:gd name="T54" fmla="*/ 60 w 87"/>
                  <a:gd name="T55" fmla="*/ 40 h 52"/>
                  <a:gd name="T56" fmla="*/ 60 w 87"/>
                  <a:gd name="T57" fmla="*/ 40 h 52"/>
                  <a:gd name="T58" fmla="*/ 60 w 87"/>
                  <a:gd name="T59" fmla="*/ 40 h 52"/>
                  <a:gd name="T60" fmla="*/ 57 w 87"/>
                  <a:gd name="T61" fmla="*/ 32 h 52"/>
                  <a:gd name="T62" fmla="*/ 46 w 87"/>
                  <a:gd name="T63" fmla="*/ 52 h 52"/>
                  <a:gd name="T64" fmla="*/ 45 w 87"/>
                  <a:gd name="T65" fmla="*/ 52 h 52"/>
                  <a:gd name="T66" fmla="*/ 45 w 87"/>
                  <a:gd name="T67" fmla="*/ 52 h 52"/>
                  <a:gd name="T68" fmla="*/ 43 w 87"/>
                  <a:gd name="T69" fmla="*/ 16 h 52"/>
                  <a:gd name="T70" fmla="*/ 28 w 87"/>
                  <a:gd name="T71" fmla="*/ 36 h 52"/>
                  <a:gd name="T72" fmla="*/ 28 w 87"/>
                  <a:gd name="T73" fmla="*/ 36 h 52"/>
                  <a:gd name="T74" fmla="*/ 28 w 87"/>
                  <a:gd name="T75" fmla="*/ 36 h 52"/>
                  <a:gd name="T76" fmla="*/ 21 w 87"/>
                  <a:gd name="T77" fmla="*/ 28 h 52"/>
                  <a:gd name="T78" fmla="*/ 0 w 87"/>
                  <a:gd name="T79" fmla="*/ 47 h 52"/>
                  <a:gd name="T80" fmla="*/ 0 w 87"/>
                  <a:gd name="T81" fmla="*/ 47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7" h="52">
                    <a:moveTo>
                      <a:pt x="0" y="47"/>
                    </a:moveTo>
                    <a:lnTo>
                      <a:pt x="0" y="47"/>
                    </a:lnTo>
                    <a:lnTo>
                      <a:pt x="0" y="47"/>
                    </a:lnTo>
                    <a:lnTo>
                      <a:pt x="21" y="27"/>
                    </a:lnTo>
                    <a:lnTo>
                      <a:pt x="21" y="27"/>
                    </a:lnTo>
                    <a:lnTo>
                      <a:pt x="22" y="27"/>
                    </a:lnTo>
                    <a:lnTo>
                      <a:pt x="28" y="3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6" y="50"/>
                    </a:lnTo>
                    <a:lnTo>
                      <a:pt x="56" y="31"/>
                    </a:lnTo>
                    <a:lnTo>
                      <a:pt x="57" y="30"/>
                    </a:lnTo>
                    <a:lnTo>
                      <a:pt x="57" y="31"/>
                    </a:lnTo>
                    <a:lnTo>
                      <a:pt x="60" y="39"/>
                    </a:lnTo>
                    <a:lnTo>
                      <a:pt x="70" y="17"/>
                    </a:lnTo>
                    <a:lnTo>
                      <a:pt x="70" y="17"/>
                    </a:lnTo>
                    <a:lnTo>
                      <a:pt x="70" y="17"/>
                    </a:lnTo>
                    <a:lnTo>
                      <a:pt x="73" y="22"/>
                    </a:lnTo>
                    <a:lnTo>
                      <a:pt x="86" y="0"/>
                    </a:lnTo>
                    <a:lnTo>
                      <a:pt x="87" y="0"/>
                    </a:lnTo>
                    <a:lnTo>
                      <a:pt x="87" y="1"/>
                    </a:lnTo>
                    <a:lnTo>
                      <a:pt x="73" y="23"/>
                    </a:lnTo>
                    <a:lnTo>
                      <a:pt x="73" y="23"/>
                    </a:lnTo>
                    <a:lnTo>
                      <a:pt x="72" y="23"/>
                    </a:lnTo>
                    <a:lnTo>
                      <a:pt x="70" y="19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57" y="32"/>
                    </a:lnTo>
                    <a:lnTo>
                      <a:pt x="46" y="52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43" y="1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1" y="28"/>
                    </a:lnTo>
                    <a:lnTo>
                      <a:pt x="0" y="47"/>
                    </a:lnTo>
                    <a:lnTo>
                      <a:pt x="0" y="47"/>
                    </a:ln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Freeform 234">
                <a:extLst>
                  <a:ext uri="{FF2B5EF4-FFF2-40B4-BE49-F238E27FC236}">
                    <a16:creationId xmlns:a16="http://schemas.microsoft.com/office/drawing/2014/main" id="{4D1DCA91-FFF0-4EFE-986A-F086172B8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2" y="2334"/>
                <a:ext cx="5" cy="7"/>
              </a:xfrm>
              <a:custGeom>
                <a:avLst/>
                <a:gdLst>
                  <a:gd name="T0" fmla="*/ 6 w 9"/>
                  <a:gd name="T1" fmla="*/ 12 h 12"/>
                  <a:gd name="T2" fmla="*/ 5 w 9"/>
                  <a:gd name="T3" fmla="*/ 11 h 12"/>
                  <a:gd name="T4" fmla="*/ 7 w 9"/>
                  <a:gd name="T5" fmla="*/ 3 h 12"/>
                  <a:gd name="T6" fmla="*/ 1 w 9"/>
                  <a:gd name="T7" fmla="*/ 8 h 12"/>
                  <a:gd name="T8" fmla="*/ 0 w 9"/>
                  <a:gd name="T9" fmla="*/ 8 h 12"/>
                  <a:gd name="T10" fmla="*/ 0 w 9"/>
                  <a:gd name="T11" fmla="*/ 7 h 12"/>
                  <a:gd name="T12" fmla="*/ 8 w 9"/>
                  <a:gd name="T13" fmla="*/ 0 h 12"/>
                  <a:gd name="T14" fmla="*/ 9 w 9"/>
                  <a:gd name="T15" fmla="*/ 0 h 12"/>
                  <a:gd name="T16" fmla="*/ 9 w 9"/>
                  <a:gd name="T17" fmla="*/ 1 h 12"/>
                  <a:gd name="T18" fmla="*/ 7 w 9"/>
                  <a:gd name="T19" fmla="*/ 11 h 12"/>
                  <a:gd name="T20" fmla="*/ 6 w 9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12">
                    <a:moveTo>
                      <a:pt x="6" y="12"/>
                    </a:moveTo>
                    <a:cubicBezTo>
                      <a:pt x="5" y="11"/>
                      <a:pt x="5" y="11"/>
                      <a:pt x="5" y="1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11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Freeform 235">
                <a:extLst>
                  <a:ext uri="{FF2B5EF4-FFF2-40B4-BE49-F238E27FC236}">
                    <a16:creationId xmlns:a16="http://schemas.microsoft.com/office/drawing/2014/main" id="{6732AD72-9403-4264-A93A-E3AE94C5E0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8" y="2307"/>
                <a:ext cx="85" cy="288"/>
              </a:xfrm>
              <a:custGeom>
                <a:avLst/>
                <a:gdLst>
                  <a:gd name="T0" fmla="*/ 8 w 85"/>
                  <a:gd name="T1" fmla="*/ 288 h 288"/>
                  <a:gd name="T2" fmla="*/ 0 w 85"/>
                  <a:gd name="T3" fmla="*/ 286 h 288"/>
                  <a:gd name="T4" fmla="*/ 77 w 85"/>
                  <a:gd name="T5" fmla="*/ 0 h 288"/>
                  <a:gd name="T6" fmla="*/ 85 w 85"/>
                  <a:gd name="T7" fmla="*/ 2 h 288"/>
                  <a:gd name="T8" fmla="*/ 8 w 85"/>
                  <a:gd name="T9" fmla="*/ 288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288">
                    <a:moveTo>
                      <a:pt x="8" y="288"/>
                    </a:moveTo>
                    <a:lnTo>
                      <a:pt x="0" y="286"/>
                    </a:lnTo>
                    <a:lnTo>
                      <a:pt x="77" y="0"/>
                    </a:lnTo>
                    <a:lnTo>
                      <a:pt x="85" y="2"/>
                    </a:lnTo>
                    <a:lnTo>
                      <a:pt x="8" y="288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Freeform 236">
                <a:extLst>
                  <a:ext uri="{FF2B5EF4-FFF2-40B4-BE49-F238E27FC236}">
                    <a16:creationId xmlns:a16="http://schemas.microsoft.com/office/drawing/2014/main" id="{BA9D7340-C884-488F-B991-4DAEE78E1D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4" y="2159"/>
                <a:ext cx="13" cy="30"/>
              </a:xfrm>
              <a:custGeom>
                <a:avLst/>
                <a:gdLst>
                  <a:gd name="T0" fmla="*/ 1 w 24"/>
                  <a:gd name="T1" fmla="*/ 40 h 55"/>
                  <a:gd name="T2" fmla="*/ 8 w 24"/>
                  <a:gd name="T3" fmla="*/ 11 h 55"/>
                  <a:gd name="T4" fmla="*/ 23 w 24"/>
                  <a:gd name="T5" fmla="*/ 2 h 55"/>
                  <a:gd name="T6" fmla="*/ 24 w 24"/>
                  <a:gd name="T7" fmla="*/ 2 h 55"/>
                  <a:gd name="T8" fmla="*/ 12 w 24"/>
                  <a:gd name="T9" fmla="*/ 55 h 55"/>
                  <a:gd name="T10" fmla="*/ 10 w 24"/>
                  <a:gd name="T11" fmla="*/ 54 h 55"/>
                  <a:gd name="T12" fmla="*/ 1 w 24"/>
                  <a:gd name="T13" fmla="*/ 4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55">
                    <a:moveTo>
                      <a:pt x="1" y="40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10" y="4"/>
                      <a:pt x="16" y="0"/>
                      <a:pt x="23" y="2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0" y="54"/>
                      <a:pt x="10" y="54"/>
                      <a:pt x="10" y="54"/>
                    </a:cubicBezTo>
                    <a:cubicBezTo>
                      <a:pt x="4" y="53"/>
                      <a:pt x="0" y="46"/>
                      <a:pt x="1" y="4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Freeform 237">
                <a:extLst>
                  <a:ext uri="{FF2B5EF4-FFF2-40B4-BE49-F238E27FC236}">
                    <a16:creationId xmlns:a16="http://schemas.microsoft.com/office/drawing/2014/main" id="{99F5156E-9E47-4592-807E-FD36680F7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7" y="2154"/>
                <a:ext cx="132" cy="66"/>
              </a:xfrm>
              <a:custGeom>
                <a:avLst/>
                <a:gdLst>
                  <a:gd name="T0" fmla="*/ 196 w 240"/>
                  <a:gd name="T1" fmla="*/ 120 h 121"/>
                  <a:gd name="T2" fmla="*/ 17 w 240"/>
                  <a:gd name="T3" fmla="*/ 79 h 121"/>
                  <a:gd name="T4" fmla="*/ 2 w 240"/>
                  <a:gd name="T5" fmla="*/ 61 h 121"/>
                  <a:gd name="T6" fmla="*/ 13 w 240"/>
                  <a:gd name="T7" fmla="*/ 12 h 121"/>
                  <a:gd name="T8" fmla="*/ 35 w 240"/>
                  <a:gd name="T9" fmla="*/ 2 h 121"/>
                  <a:gd name="T10" fmla="*/ 214 w 240"/>
                  <a:gd name="T11" fmla="*/ 43 h 121"/>
                  <a:gd name="T12" fmla="*/ 216 w 240"/>
                  <a:gd name="T13" fmla="*/ 44 h 121"/>
                  <a:gd name="T14" fmla="*/ 229 w 240"/>
                  <a:gd name="T15" fmla="*/ 74 h 121"/>
                  <a:gd name="T16" fmla="*/ 229 w 240"/>
                  <a:gd name="T17" fmla="*/ 73 h 121"/>
                  <a:gd name="T18" fmla="*/ 240 w 240"/>
                  <a:gd name="T19" fmla="*/ 76 h 121"/>
                  <a:gd name="T20" fmla="*/ 234 w 240"/>
                  <a:gd name="T21" fmla="*/ 102 h 121"/>
                  <a:gd name="T22" fmla="*/ 223 w 240"/>
                  <a:gd name="T23" fmla="*/ 100 h 121"/>
                  <a:gd name="T24" fmla="*/ 223 w 240"/>
                  <a:gd name="T25" fmla="*/ 100 h 121"/>
                  <a:gd name="T26" fmla="*/ 198 w 240"/>
                  <a:gd name="T27" fmla="*/ 121 h 121"/>
                  <a:gd name="T28" fmla="*/ 196 w 240"/>
                  <a:gd name="T29" fmla="*/ 12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0" h="121">
                    <a:moveTo>
                      <a:pt x="196" y="120"/>
                    </a:moveTo>
                    <a:cubicBezTo>
                      <a:pt x="17" y="79"/>
                      <a:pt x="17" y="79"/>
                      <a:pt x="17" y="79"/>
                    </a:cubicBezTo>
                    <a:cubicBezTo>
                      <a:pt x="7" y="77"/>
                      <a:pt x="0" y="69"/>
                      <a:pt x="2" y="61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5" y="4"/>
                      <a:pt x="25" y="0"/>
                      <a:pt x="35" y="2"/>
                    </a:cubicBezTo>
                    <a:cubicBezTo>
                      <a:pt x="214" y="43"/>
                      <a:pt x="214" y="43"/>
                      <a:pt x="214" y="43"/>
                    </a:cubicBezTo>
                    <a:cubicBezTo>
                      <a:pt x="215" y="43"/>
                      <a:pt x="215" y="43"/>
                      <a:pt x="216" y="44"/>
                    </a:cubicBezTo>
                    <a:cubicBezTo>
                      <a:pt x="225" y="49"/>
                      <a:pt x="229" y="74"/>
                      <a:pt x="229" y="74"/>
                    </a:cubicBezTo>
                    <a:cubicBezTo>
                      <a:pt x="229" y="73"/>
                      <a:pt x="229" y="73"/>
                      <a:pt x="229" y="73"/>
                    </a:cubicBezTo>
                    <a:cubicBezTo>
                      <a:pt x="240" y="76"/>
                      <a:pt x="240" y="76"/>
                      <a:pt x="240" y="76"/>
                    </a:cubicBezTo>
                    <a:cubicBezTo>
                      <a:pt x="234" y="102"/>
                      <a:pt x="234" y="102"/>
                      <a:pt x="234" y="102"/>
                    </a:cubicBezTo>
                    <a:cubicBezTo>
                      <a:pt x="223" y="100"/>
                      <a:pt x="223" y="100"/>
                      <a:pt x="223" y="100"/>
                    </a:cubicBezTo>
                    <a:cubicBezTo>
                      <a:pt x="223" y="100"/>
                      <a:pt x="223" y="100"/>
                      <a:pt x="223" y="100"/>
                    </a:cubicBezTo>
                    <a:cubicBezTo>
                      <a:pt x="223" y="100"/>
                      <a:pt x="208" y="120"/>
                      <a:pt x="198" y="121"/>
                    </a:cubicBezTo>
                    <a:cubicBezTo>
                      <a:pt x="197" y="121"/>
                      <a:pt x="197" y="121"/>
                      <a:pt x="196" y="12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Freeform 238">
                <a:extLst>
                  <a:ext uri="{FF2B5EF4-FFF2-40B4-BE49-F238E27FC236}">
                    <a16:creationId xmlns:a16="http://schemas.microsoft.com/office/drawing/2014/main" id="{D7EAC1EA-79E6-4716-AF50-A81473C58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6" y="2178"/>
                <a:ext cx="23" cy="42"/>
              </a:xfrm>
              <a:custGeom>
                <a:avLst/>
                <a:gdLst>
                  <a:gd name="T0" fmla="*/ 0 w 42"/>
                  <a:gd name="T1" fmla="*/ 77 h 77"/>
                  <a:gd name="T2" fmla="*/ 18 w 42"/>
                  <a:gd name="T3" fmla="*/ 0 h 77"/>
                  <a:gd name="T4" fmla="*/ 31 w 42"/>
                  <a:gd name="T5" fmla="*/ 30 h 77"/>
                  <a:gd name="T6" fmla="*/ 31 w 42"/>
                  <a:gd name="T7" fmla="*/ 29 h 77"/>
                  <a:gd name="T8" fmla="*/ 42 w 42"/>
                  <a:gd name="T9" fmla="*/ 32 h 77"/>
                  <a:gd name="T10" fmla="*/ 36 w 42"/>
                  <a:gd name="T11" fmla="*/ 58 h 77"/>
                  <a:gd name="T12" fmla="*/ 25 w 42"/>
                  <a:gd name="T13" fmla="*/ 56 h 77"/>
                  <a:gd name="T14" fmla="*/ 25 w 42"/>
                  <a:gd name="T15" fmla="*/ 56 h 77"/>
                  <a:gd name="T16" fmla="*/ 0 w 42"/>
                  <a:gd name="T17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77">
                    <a:moveTo>
                      <a:pt x="0" y="77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27" y="5"/>
                      <a:pt x="31" y="30"/>
                      <a:pt x="31" y="30"/>
                    </a:cubicBezTo>
                    <a:cubicBezTo>
                      <a:pt x="31" y="29"/>
                      <a:pt x="31" y="29"/>
                      <a:pt x="31" y="29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25" y="56"/>
                      <a:pt x="25" y="56"/>
                      <a:pt x="25" y="56"/>
                    </a:cubicBezTo>
                    <a:cubicBezTo>
                      <a:pt x="25" y="56"/>
                      <a:pt x="25" y="56"/>
                      <a:pt x="25" y="56"/>
                    </a:cubicBezTo>
                    <a:cubicBezTo>
                      <a:pt x="25" y="56"/>
                      <a:pt x="10" y="76"/>
                      <a:pt x="0" y="77"/>
                    </a:cubicBezTo>
                  </a:path>
                </a:pathLst>
              </a:custGeom>
              <a:solidFill>
                <a:srgbClr val="C9B6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0" name="Freeform 239">
                <a:extLst>
                  <a:ext uri="{FF2B5EF4-FFF2-40B4-BE49-F238E27FC236}">
                    <a16:creationId xmlns:a16="http://schemas.microsoft.com/office/drawing/2014/main" id="{5BD6F254-7E97-4564-AEA1-6414D5897D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5" y="2197"/>
                <a:ext cx="14" cy="12"/>
              </a:xfrm>
              <a:custGeom>
                <a:avLst/>
                <a:gdLst>
                  <a:gd name="T0" fmla="*/ 0 w 24"/>
                  <a:gd name="T1" fmla="*/ 20 h 22"/>
                  <a:gd name="T2" fmla="*/ 5 w 24"/>
                  <a:gd name="T3" fmla="*/ 0 h 22"/>
                  <a:gd name="T4" fmla="*/ 23 w 24"/>
                  <a:gd name="T5" fmla="*/ 7 h 22"/>
                  <a:gd name="T6" fmla="*/ 24 w 24"/>
                  <a:gd name="T7" fmla="*/ 7 h 22"/>
                  <a:gd name="T8" fmla="*/ 24 w 24"/>
                  <a:gd name="T9" fmla="*/ 8 h 22"/>
                  <a:gd name="T10" fmla="*/ 21 w 24"/>
                  <a:gd name="T11" fmla="*/ 21 h 22"/>
                  <a:gd name="T12" fmla="*/ 20 w 24"/>
                  <a:gd name="T13" fmla="*/ 22 h 22"/>
                  <a:gd name="T14" fmla="*/ 19 w 24"/>
                  <a:gd name="T15" fmla="*/ 22 h 22"/>
                  <a:gd name="T16" fmla="*/ 0 w 24"/>
                  <a:gd name="T17" fmla="*/ 2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2">
                    <a:moveTo>
                      <a:pt x="0" y="2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7"/>
                      <a:pt x="24" y="8"/>
                      <a:pt x="24" y="8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1" y="21"/>
                      <a:pt x="21" y="22"/>
                      <a:pt x="20" y="22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0" y="20"/>
                      <a:pt x="0" y="20"/>
                      <a:pt x="0" y="2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1" name="Freeform 240">
                <a:extLst>
                  <a:ext uri="{FF2B5EF4-FFF2-40B4-BE49-F238E27FC236}">
                    <a16:creationId xmlns:a16="http://schemas.microsoft.com/office/drawing/2014/main" id="{DED403AA-BD71-4D1A-9A26-3218B38871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6" y="2201"/>
                <a:ext cx="3" cy="8"/>
              </a:xfrm>
              <a:custGeom>
                <a:avLst/>
                <a:gdLst>
                  <a:gd name="T0" fmla="*/ 0 w 5"/>
                  <a:gd name="T1" fmla="*/ 15 h 15"/>
                  <a:gd name="T2" fmla="*/ 4 w 5"/>
                  <a:gd name="T3" fmla="*/ 0 h 15"/>
                  <a:gd name="T4" fmla="*/ 5 w 5"/>
                  <a:gd name="T5" fmla="*/ 0 h 15"/>
                  <a:gd name="T6" fmla="*/ 5 w 5"/>
                  <a:gd name="T7" fmla="*/ 1 h 15"/>
                  <a:gd name="T8" fmla="*/ 2 w 5"/>
                  <a:gd name="T9" fmla="*/ 14 h 15"/>
                  <a:gd name="T10" fmla="*/ 1 w 5"/>
                  <a:gd name="T11" fmla="*/ 15 h 15"/>
                  <a:gd name="T12" fmla="*/ 0 w 5"/>
                  <a:gd name="T13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15">
                    <a:moveTo>
                      <a:pt x="0" y="15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2" y="14"/>
                      <a:pt x="2" y="15"/>
                      <a:pt x="1" y="15"/>
                    </a:cubicBez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30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2" name="Freeform 241">
                <a:extLst>
                  <a:ext uri="{FF2B5EF4-FFF2-40B4-BE49-F238E27FC236}">
                    <a16:creationId xmlns:a16="http://schemas.microsoft.com/office/drawing/2014/main" id="{6178053C-5132-4CEA-BFC7-65AB89BED1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54" y="2180"/>
                <a:ext cx="112" cy="40"/>
              </a:xfrm>
              <a:custGeom>
                <a:avLst/>
                <a:gdLst>
                  <a:gd name="T0" fmla="*/ 204 w 204"/>
                  <a:gd name="T1" fmla="*/ 74 h 74"/>
                  <a:gd name="T2" fmla="*/ 204 w 204"/>
                  <a:gd name="T3" fmla="*/ 74 h 74"/>
                  <a:gd name="T4" fmla="*/ 204 w 204"/>
                  <a:gd name="T5" fmla="*/ 74 h 74"/>
                  <a:gd name="T6" fmla="*/ 204 w 204"/>
                  <a:gd name="T7" fmla="*/ 74 h 74"/>
                  <a:gd name="T8" fmla="*/ 204 w 204"/>
                  <a:gd name="T9" fmla="*/ 74 h 74"/>
                  <a:gd name="T10" fmla="*/ 204 w 204"/>
                  <a:gd name="T11" fmla="*/ 74 h 74"/>
                  <a:gd name="T12" fmla="*/ 204 w 204"/>
                  <a:gd name="T13" fmla="*/ 74 h 74"/>
                  <a:gd name="T14" fmla="*/ 23 w 204"/>
                  <a:gd name="T15" fmla="*/ 32 h 74"/>
                  <a:gd name="T16" fmla="*/ 23 w 204"/>
                  <a:gd name="T17" fmla="*/ 32 h 74"/>
                  <a:gd name="T18" fmla="*/ 23 w 204"/>
                  <a:gd name="T19" fmla="*/ 32 h 74"/>
                  <a:gd name="T20" fmla="*/ 23 w 204"/>
                  <a:gd name="T21" fmla="*/ 32 h 74"/>
                  <a:gd name="T22" fmla="*/ 23 w 204"/>
                  <a:gd name="T23" fmla="*/ 32 h 74"/>
                  <a:gd name="T24" fmla="*/ 23 w 204"/>
                  <a:gd name="T25" fmla="*/ 32 h 74"/>
                  <a:gd name="T26" fmla="*/ 23 w 204"/>
                  <a:gd name="T27" fmla="*/ 32 h 74"/>
                  <a:gd name="T28" fmla="*/ 23 w 204"/>
                  <a:gd name="T29" fmla="*/ 32 h 74"/>
                  <a:gd name="T30" fmla="*/ 23 w 204"/>
                  <a:gd name="T31" fmla="*/ 32 h 74"/>
                  <a:gd name="T32" fmla="*/ 23 w 204"/>
                  <a:gd name="T33" fmla="*/ 32 h 74"/>
                  <a:gd name="T34" fmla="*/ 23 w 204"/>
                  <a:gd name="T35" fmla="*/ 32 h 74"/>
                  <a:gd name="T36" fmla="*/ 23 w 204"/>
                  <a:gd name="T37" fmla="*/ 32 h 74"/>
                  <a:gd name="T38" fmla="*/ 18 w 204"/>
                  <a:gd name="T39" fmla="*/ 30 h 74"/>
                  <a:gd name="T40" fmla="*/ 23 w 204"/>
                  <a:gd name="T41" fmla="*/ 32 h 74"/>
                  <a:gd name="T42" fmla="*/ 18 w 204"/>
                  <a:gd name="T43" fmla="*/ 30 h 74"/>
                  <a:gd name="T44" fmla="*/ 18 w 204"/>
                  <a:gd name="T45" fmla="*/ 30 h 74"/>
                  <a:gd name="T46" fmla="*/ 18 w 204"/>
                  <a:gd name="T47" fmla="*/ 30 h 74"/>
                  <a:gd name="T48" fmla="*/ 18 w 204"/>
                  <a:gd name="T49" fmla="*/ 30 h 74"/>
                  <a:gd name="T50" fmla="*/ 18 w 204"/>
                  <a:gd name="T51" fmla="*/ 30 h 74"/>
                  <a:gd name="T52" fmla="*/ 18 w 204"/>
                  <a:gd name="T53" fmla="*/ 30 h 74"/>
                  <a:gd name="T54" fmla="*/ 18 w 204"/>
                  <a:gd name="T55" fmla="*/ 30 h 74"/>
                  <a:gd name="T56" fmla="*/ 1 w 204"/>
                  <a:gd name="T57" fmla="*/ 0 h 74"/>
                  <a:gd name="T58" fmla="*/ 0 w 204"/>
                  <a:gd name="T59" fmla="*/ 3 h 74"/>
                  <a:gd name="T60" fmla="*/ 2 w 204"/>
                  <a:gd name="T61" fmla="*/ 11 h 74"/>
                  <a:gd name="T62" fmla="*/ 0 w 204"/>
                  <a:gd name="T63" fmla="*/ 2 h 74"/>
                  <a:gd name="T64" fmla="*/ 1 w 204"/>
                  <a:gd name="T6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4" h="74">
                    <a:moveTo>
                      <a:pt x="204" y="74"/>
                    </a:move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moveTo>
                      <a:pt x="204" y="74"/>
                    </a:move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18" y="30"/>
                    </a:moveTo>
                    <a:cubicBezTo>
                      <a:pt x="19" y="31"/>
                      <a:pt x="21" y="32"/>
                      <a:pt x="23" y="32"/>
                    </a:cubicBezTo>
                    <a:cubicBezTo>
                      <a:pt x="21" y="32"/>
                      <a:pt x="19" y="31"/>
                      <a:pt x="18" y="30"/>
                    </a:cubicBezTo>
                    <a:moveTo>
                      <a:pt x="18" y="30"/>
                    </a:moveTo>
                    <a:cubicBezTo>
                      <a:pt x="18" y="30"/>
                      <a:pt x="18" y="30"/>
                      <a:pt x="18" y="30"/>
                    </a:cubicBezTo>
                    <a:cubicBezTo>
                      <a:pt x="18" y="30"/>
                      <a:pt x="18" y="30"/>
                      <a:pt x="18" y="30"/>
                    </a:cubicBezTo>
                    <a:moveTo>
                      <a:pt x="18" y="30"/>
                    </a:moveTo>
                    <a:cubicBezTo>
                      <a:pt x="18" y="30"/>
                      <a:pt x="18" y="30"/>
                      <a:pt x="18" y="30"/>
                    </a:cubicBezTo>
                    <a:cubicBezTo>
                      <a:pt x="18" y="30"/>
                      <a:pt x="18" y="30"/>
                      <a:pt x="18" y="30"/>
                    </a:cubicBezTo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6"/>
                      <a:pt x="0" y="9"/>
                      <a:pt x="2" y="11"/>
                    </a:cubicBezTo>
                    <a:cubicBezTo>
                      <a:pt x="0" y="8"/>
                      <a:pt x="0" y="5"/>
                      <a:pt x="0" y="2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3" name="Freeform 242">
                <a:extLst>
                  <a:ext uri="{FF2B5EF4-FFF2-40B4-BE49-F238E27FC236}">
                    <a16:creationId xmlns:a16="http://schemas.microsoft.com/office/drawing/2014/main" id="{8449E19B-FD82-4876-ACCA-CAA9E3B42F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4" y="2178"/>
                <a:ext cx="5" cy="10"/>
              </a:xfrm>
              <a:custGeom>
                <a:avLst/>
                <a:gdLst>
                  <a:gd name="T0" fmla="*/ 2 w 9"/>
                  <a:gd name="T1" fmla="*/ 0 h 18"/>
                  <a:gd name="T2" fmla="*/ 1 w 9"/>
                  <a:gd name="T3" fmla="*/ 3 h 18"/>
                  <a:gd name="T4" fmla="*/ 0 w 9"/>
                  <a:gd name="T5" fmla="*/ 5 h 18"/>
                  <a:gd name="T6" fmla="*/ 2 w 9"/>
                  <a:gd name="T7" fmla="*/ 14 h 18"/>
                  <a:gd name="T8" fmla="*/ 8 w 9"/>
                  <a:gd name="T9" fmla="*/ 18 h 18"/>
                  <a:gd name="T10" fmla="*/ 8 w 9"/>
                  <a:gd name="T11" fmla="*/ 17 h 18"/>
                  <a:gd name="T12" fmla="*/ 9 w 9"/>
                  <a:gd name="T13" fmla="*/ 12 h 18"/>
                  <a:gd name="T14" fmla="*/ 2 w 9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8">
                    <a:moveTo>
                      <a:pt x="2" y="0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8"/>
                      <a:pt x="0" y="11"/>
                      <a:pt x="2" y="14"/>
                    </a:cubicBezTo>
                    <a:cubicBezTo>
                      <a:pt x="3" y="16"/>
                      <a:pt x="5" y="17"/>
                      <a:pt x="8" y="18"/>
                    </a:cubicBezTo>
                    <a:cubicBezTo>
                      <a:pt x="8" y="18"/>
                      <a:pt x="8" y="17"/>
                      <a:pt x="8" y="17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4" y="9"/>
                      <a:pt x="1" y="4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4" name="Freeform 243">
                <a:extLst>
                  <a:ext uri="{FF2B5EF4-FFF2-40B4-BE49-F238E27FC236}">
                    <a16:creationId xmlns:a16="http://schemas.microsoft.com/office/drawing/2014/main" id="{264C59A7-6688-4C1A-810A-A22053853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8" y="2185"/>
                <a:ext cx="109" cy="35"/>
              </a:xfrm>
              <a:custGeom>
                <a:avLst/>
                <a:gdLst>
                  <a:gd name="T0" fmla="*/ 2 w 199"/>
                  <a:gd name="T1" fmla="*/ 0 h 65"/>
                  <a:gd name="T2" fmla="*/ 1 w 199"/>
                  <a:gd name="T3" fmla="*/ 5 h 65"/>
                  <a:gd name="T4" fmla="*/ 1 w 199"/>
                  <a:gd name="T5" fmla="*/ 6 h 65"/>
                  <a:gd name="T6" fmla="*/ 1 w 199"/>
                  <a:gd name="T7" fmla="*/ 6 h 65"/>
                  <a:gd name="T8" fmla="*/ 11 w 199"/>
                  <a:gd name="T9" fmla="*/ 21 h 65"/>
                  <a:gd name="T10" fmla="*/ 11 w 199"/>
                  <a:gd name="T11" fmla="*/ 21 h 65"/>
                  <a:gd name="T12" fmla="*/ 11 w 199"/>
                  <a:gd name="T13" fmla="*/ 21 h 65"/>
                  <a:gd name="T14" fmla="*/ 11 w 199"/>
                  <a:gd name="T15" fmla="*/ 21 h 65"/>
                  <a:gd name="T16" fmla="*/ 11 w 199"/>
                  <a:gd name="T17" fmla="*/ 21 h 65"/>
                  <a:gd name="T18" fmla="*/ 16 w 199"/>
                  <a:gd name="T19" fmla="*/ 23 h 65"/>
                  <a:gd name="T20" fmla="*/ 16 w 199"/>
                  <a:gd name="T21" fmla="*/ 23 h 65"/>
                  <a:gd name="T22" fmla="*/ 16 w 199"/>
                  <a:gd name="T23" fmla="*/ 23 h 65"/>
                  <a:gd name="T24" fmla="*/ 16 w 199"/>
                  <a:gd name="T25" fmla="*/ 23 h 65"/>
                  <a:gd name="T26" fmla="*/ 16 w 199"/>
                  <a:gd name="T27" fmla="*/ 23 h 65"/>
                  <a:gd name="T28" fmla="*/ 16 w 199"/>
                  <a:gd name="T29" fmla="*/ 23 h 65"/>
                  <a:gd name="T30" fmla="*/ 16 w 199"/>
                  <a:gd name="T31" fmla="*/ 23 h 65"/>
                  <a:gd name="T32" fmla="*/ 16 w 199"/>
                  <a:gd name="T33" fmla="*/ 23 h 65"/>
                  <a:gd name="T34" fmla="*/ 16 w 199"/>
                  <a:gd name="T35" fmla="*/ 23 h 65"/>
                  <a:gd name="T36" fmla="*/ 16 w 199"/>
                  <a:gd name="T37" fmla="*/ 23 h 65"/>
                  <a:gd name="T38" fmla="*/ 195 w 199"/>
                  <a:gd name="T39" fmla="*/ 64 h 65"/>
                  <a:gd name="T40" fmla="*/ 197 w 199"/>
                  <a:gd name="T41" fmla="*/ 65 h 65"/>
                  <a:gd name="T42" fmla="*/ 197 w 199"/>
                  <a:gd name="T43" fmla="*/ 65 h 65"/>
                  <a:gd name="T44" fmla="*/ 197 w 199"/>
                  <a:gd name="T45" fmla="*/ 65 h 65"/>
                  <a:gd name="T46" fmla="*/ 197 w 199"/>
                  <a:gd name="T47" fmla="*/ 65 h 65"/>
                  <a:gd name="T48" fmla="*/ 197 w 199"/>
                  <a:gd name="T49" fmla="*/ 65 h 65"/>
                  <a:gd name="T50" fmla="*/ 197 w 199"/>
                  <a:gd name="T51" fmla="*/ 65 h 65"/>
                  <a:gd name="T52" fmla="*/ 199 w 199"/>
                  <a:gd name="T53" fmla="*/ 58 h 65"/>
                  <a:gd name="T54" fmla="*/ 198 w 199"/>
                  <a:gd name="T55" fmla="*/ 58 h 65"/>
                  <a:gd name="T56" fmla="*/ 197 w 199"/>
                  <a:gd name="T57" fmla="*/ 58 h 65"/>
                  <a:gd name="T58" fmla="*/ 18 w 199"/>
                  <a:gd name="T59" fmla="*/ 17 h 65"/>
                  <a:gd name="T60" fmla="*/ 2 w 199"/>
                  <a:gd name="T61" fmla="*/ 0 h 65"/>
                  <a:gd name="T62" fmla="*/ 2 w 199"/>
                  <a:gd name="T6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9" h="65">
                    <a:moveTo>
                      <a:pt x="2" y="0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12"/>
                      <a:pt x="4" y="18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2" y="22"/>
                      <a:pt x="14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95" y="64"/>
                      <a:pt x="195" y="64"/>
                      <a:pt x="195" y="64"/>
                    </a:cubicBezTo>
                    <a:cubicBezTo>
                      <a:pt x="196" y="65"/>
                      <a:pt x="196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9" y="58"/>
                      <a:pt x="199" y="58"/>
                      <a:pt x="199" y="58"/>
                    </a:cubicBezTo>
                    <a:cubicBezTo>
                      <a:pt x="198" y="58"/>
                      <a:pt x="198" y="58"/>
                      <a:pt x="198" y="58"/>
                    </a:cubicBezTo>
                    <a:cubicBezTo>
                      <a:pt x="198" y="58"/>
                      <a:pt x="197" y="58"/>
                      <a:pt x="197" y="58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8" y="15"/>
                      <a:pt x="2" y="7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5" name="Freeform 244">
                <a:extLst>
                  <a:ext uri="{FF2B5EF4-FFF2-40B4-BE49-F238E27FC236}">
                    <a16:creationId xmlns:a16="http://schemas.microsoft.com/office/drawing/2014/main" id="{DDC6264D-08B0-406A-82C6-5B73EEE51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6" y="2205"/>
                <a:ext cx="20" cy="15"/>
              </a:xfrm>
              <a:custGeom>
                <a:avLst/>
                <a:gdLst>
                  <a:gd name="T0" fmla="*/ 27 w 37"/>
                  <a:gd name="T1" fmla="*/ 0 h 28"/>
                  <a:gd name="T2" fmla="*/ 2 w 37"/>
                  <a:gd name="T3" fmla="*/ 21 h 28"/>
                  <a:gd name="T4" fmla="*/ 2 w 37"/>
                  <a:gd name="T5" fmla="*/ 21 h 28"/>
                  <a:gd name="T6" fmla="*/ 0 w 37"/>
                  <a:gd name="T7" fmla="*/ 28 h 28"/>
                  <a:gd name="T8" fmla="*/ 25 w 37"/>
                  <a:gd name="T9" fmla="*/ 7 h 28"/>
                  <a:gd name="T10" fmla="*/ 25 w 37"/>
                  <a:gd name="T11" fmla="*/ 7 h 28"/>
                  <a:gd name="T12" fmla="*/ 25 w 37"/>
                  <a:gd name="T13" fmla="*/ 7 h 28"/>
                  <a:gd name="T14" fmla="*/ 25 w 37"/>
                  <a:gd name="T15" fmla="*/ 7 h 28"/>
                  <a:gd name="T16" fmla="*/ 36 w 37"/>
                  <a:gd name="T17" fmla="*/ 9 h 28"/>
                  <a:gd name="T18" fmla="*/ 37 w 37"/>
                  <a:gd name="T19" fmla="*/ 3 h 28"/>
                  <a:gd name="T20" fmla="*/ 27 w 37"/>
                  <a:gd name="T21" fmla="*/ 0 h 28"/>
                  <a:gd name="T22" fmla="*/ 27 w 37"/>
                  <a:gd name="T2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28">
                    <a:moveTo>
                      <a:pt x="27" y="0"/>
                    </a:moveTo>
                    <a:cubicBezTo>
                      <a:pt x="27" y="0"/>
                      <a:pt x="12" y="21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10" y="2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0"/>
                      <a:pt x="27" y="0"/>
                      <a:pt x="27" y="0"/>
                    </a:cubicBezTo>
                  </a:path>
                </a:pathLst>
              </a:custGeom>
              <a:solidFill>
                <a:srgbClr val="9F9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6" name="Freeform 245">
                <a:extLst>
                  <a:ext uri="{FF2B5EF4-FFF2-40B4-BE49-F238E27FC236}">
                    <a16:creationId xmlns:a16="http://schemas.microsoft.com/office/drawing/2014/main" id="{A0E5697D-D1C9-4DFE-BB7E-7BD917635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3" y="2177"/>
                <a:ext cx="67" cy="19"/>
              </a:xfrm>
              <a:custGeom>
                <a:avLst/>
                <a:gdLst>
                  <a:gd name="T0" fmla="*/ 0 w 124"/>
                  <a:gd name="T1" fmla="*/ 3 h 35"/>
                  <a:gd name="T2" fmla="*/ 0 w 124"/>
                  <a:gd name="T3" fmla="*/ 3 h 35"/>
                  <a:gd name="T4" fmla="*/ 5 w 124"/>
                  <a:gd name="T5" fmla="*/ 0 h 35"/>
                  <a:gd name="T6" fmla="*/ 121 w 124"/>
                  <a:gd name="T7" fmla="*/ 27 h 35"/>
                  <a:gd name="T8" fmla="*/ 124 w 124"/>
                  <a:gd name="T9" fmla="*/ 32 h 35"/>
                  <a:gd name="T10" fmla="*/ 119 w 124"/>
                  <a:gd name="T11" fmla="*/ 34 h 35"/>
                  <a:gd name="T12" fmla="*/ 3 w 124"/>
                  <a:gd name="T13" fmla="*/ 8 h 35"/>
                  <a:gd name="T14" fmla="*/ 0 w 124"/>
                  <a:gd name="T15" fmla="*/ 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4" h="35">
                    <a:moveTo>
                      <a:pt x="0" y="3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121" y="27"/>
                      <a:pt x="121" y="27"/>
                      <a:pt x="121" y="27"/>
                    </a:cubicBezTo>
                    <a:cubicBezTo>
                      <a:pt x="123" y="28"/>
                      <a:pt x="124" y="30"/>
                      <a:pt x="124" y="32"/>
                    </a:cubicBezTo>
                    <a:cubicBezTo>
                      <a:pt x="123" y="34"/>
                      <a:pt x="121" y="35"/>
                      <a:pt x="119" y="34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lose/>
                  </a:path>
                </a:pathLst>
              </a:custGeom>
              <a:solidFill>
                <a:srgbClr val="C9B6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7" name="Freeform 246">
                <a:extLst>
                  <a:ext uri="{FF2B5EF4-FFF2-40B4-BE49-F238E27FC236}">
                    <a16:creationId xmlns:a16="http://schemas.microsoft.com/office/drawing/2014/main" id="{FE8B05E2-E65A-4E4F-9AFA-216D5FC52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3" y="1025"/>
                <a:ext cx="30" cy="7"/>
              </a:xfrm>
              <a:custGeom>
                <a:avLst/>
                <a:gdLst>
                  <a:gd name="T0" fmla="*/ 42 w 54"/>
                  <a:gd name="T1" fmla="*/ 0 h 14"/>
                  <a:gd name="T2" fmla="*/ 12 w 54"/>
                  <a:gd name="T3" fmla="*/ 0 h 14"/>
                  <a:gd name="T4" fmla="*/ 0 w 54"/>
                  <a:gd name="T5" fmla="*/ 12 h 14"/>
                  <a:gd name="T6" fmla="*/ 0 w 54"/>
                  <a:gd name="T7" fmla="*/ 14 h 14"/>
                  <a:gd name="T8" fmla="*/ 54 w 54"/>
                  <a:gd name="T9" fmla="*/ 14 h 14"/>
                  <a:gd name="T10" fmla="*/ 54 w 54"/>
                  <a:gd name="T11" fmla="*/ 12 h 14"/>
                  <a:gd name="T12" fmla="*/ 42 w 54"/>
                  <a:gd name="T1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14">
                    <a:moveTo>
                      <a:pt x="42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6"/>
                      <a:pt x="0" y="1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54" y="14"/>
                      <a:pt x="54" y="14"/>
                      <a:pt x="54" y="14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54" y="6"/>
                      <a:pt x="49" y="0"/>
                      <a:pt x="42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8" name="Freeform 247">
                <a:extLst>
                  <a:ext uri="{FF2B5EF4-FFF2-40B4-BE49-F238E27FC236}">
                    <a16:creationId xmlns:a16="http://schemas.microsoft.com/office/drawing/2014/main" id="{40C5B921-85EC-4D97-B1CB-6B01CA33D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1030"/>
                <a:ext cx="44" cy="159"/>
              </a:xfrm>
              <a:custGeom>
                <a:avLst/>
                <a:gdLst>
                  <a:gd name="T0" fmla="*/ 63 w 80"/>
                  <a:gd name="T1" fmla="*/ 0 h 291"/>
                  <a:gd name="T2" fmla="*/ 17 w 80"/>
                  <a:gd name="T3" fmla="*/ 0 h 291"/>
                  <a:gd name="T4" fmla="*/ 0 w 80"/>
                  <a:gd name="T5" fmla="*/ 17 h 291"/>
                  <a:gd name="T6" fmla="*/ 0 w 80"/>
                  <a:gd name="T7" fmla="*/ 275 h 291"/>
                  <a:gd name="T8" fmla="*/ 17 w 80"/>
                  <a:gd name="T9" fmla="*/ 291 h 291"/>
                  <a:gd name="T10" fmla="*/ 63 w 80"/>
                  <a:gd name="T11" fmla="*/ 291 h 291"/>
                  <a:gd name="T12" fmla="*/ 80 w 80"/>
                  <a:gd name="T13" fmla="*/ 275 h 291"/>
                  <a:gd name="T14" fmla="*/ 80 w 80"/>
                  <a:gd name="T15" fmla="*/ 17 h 291"/>
                  <a:gd name="T16" fmla="*/ 63 w 80"/>
                  <a:gd name="T17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291">
                    <a:moveTo>
                      <a:pt x="63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275"/>
                      <a:pt x="0" y="275"/>
                      <a:pt x="0" y="275"/>
                    </a:cubicBezTo>
                    <a:cubicBezTo>
                      <a:pt x="0" y="284"/>
                      <a:pt x="8" y="291"/>
                      <a:pt x="17" y="291"/>
                    </a:cubicBezTo>
                    <a:cubicBezTo>
                      <a:pt x="63" y="291"/>
                      <a:pt x="63" y="291"/>
                      <a:pt x="63" y="291"/>
                    </a:cubicBezTo>
                    <a:cubicBezTo>
                      <a:pt x="72" y="291"/>
                      <a:pt x="80" y="284"/>
                      <a:pt x="80" y="275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80" y="8"/>
                      <a:pt x="72" y="0"/>
                      <a:pt x="63" y="0"/>
                    </a:cubicBezTo>
                  </a:path>
                </a:pathLst>
              </a:custGeom>
              <a:solidFill>
                <a:srgbClr val="6550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9" name="Freeform 248">
                <a:extLst>
                  <a:ext uri="{FF2B5EF4-FFF2-40B4-BE49-F238E27FC236}">
                    <a16:creationId xmlns:a16="http://schemas.microsoft.com/office/drawing/2014/main" id="{655172B2-48DE-4394-A3EB-70C3F8E6B5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1141"/>
                <a:ext cx="44" cy="48"/>
              </a:xfrm>
              <a:custGeom>
                <a:avLst/>
                <a:gdLst>
                  <a:gd name="T0" fmla="*/ 80 w 80"/>
                  <a:gd name="T1" fmla="*/ 0 h 88"/>
                  <a:gd name="T2" fmla="*/ 80 w 80"/>
                  <a:gd name="T3" fmla="*/ 69 h 88"/>
                  <a:gd name="T4" fmla="*/ 65 w 80"/>
                  <a:gd name="T5" fmla="*/ 88 h 88"/>
                  <a:gd name="T6" fmla="*/ 15 w 80"/>
                  <a:gd name="T7" fmla="*/ 88 h 88"/>
                  <a:gd name="T8" fmla="*/ 0 w 80"/>
                  <a:gd name="T9" fmla="*/ 69 h 88"/>
                  <a:gd name="T10" fmla="*/ 0 w 80"/>
                  <a:gd name="T11" fmla="*/ 0 h 88"/>
                  <a:gd name="T12" fmla="*/ 80 w 80"/>
                  <a:gd name="T13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" h="88">
                    <a:moveTo>
                      <a:pt x="80" y="0"/>
                    </a:moveTo>
                    <a:cubicBezTo>
                      <a:pt x="80" y="69"/>
                      <a:pt x="80" y="69"/>
                      <a:pt x="80" y="69"/>
                    </a:cubicBezTo>
                    <a:cubicBezTo>
                      <a:pt x="80" y="80"/>
                      <a:pt x="73" y="88"/>
                      <a:pt x="65" y="88"/>
                    </a:cubicBezTo>
                    <a:cubicBezTo>
                      <a:pt x="15" y="88"/>
                      <a:pt x="15" y="88"/>
                      <a:pt x="15" y="88"/>
                    </a:cubicBezTo>
                    <a:cubicBezTo>
                      <a:pt x="7" y="88"/>
                      <a:pt x="0" y="80"/>
                      <a:pt x="0" y="6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0" y="0"/>
                      <a:pt x="80" y="0"/>
                      <a:pt x="80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0" name="Rectangle 249">
                <a:extLst>
                  <a:ext uri="{FF2B5EF4-FFF2-40B4-BE49-F238E27FC236}">
                    <a16:creationId xmlns:a16="http://schemas.microsoft.com/office/drawing/2014/main" id="{3091854D-1B18-4313-A1D8-42500ABA98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74"/>
                <a:ext cx="44" cy="4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1" name="Rectangle 250">
                <a:extLst>
                  <a:ext uri="{FF2B5EF4-FFF2-40B4-BE49-F238E27FC236}">
                    <a16:creationId xmlns:a16="http://schemas.microsoft.com/office/drawing/2014/main" id="{8DAD6FC0-0AA0-48A1-9D35-B1068558E2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74"/>
                <a:ext cx="44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2" name="Rectangle 251">
                <a:extLst>
                  <a:ext uri="{FF2B5EF4-FFF2-40B4-BE49-F238E27FC236}">
                    <a16:creationId xmlns:a16="http://schemas.microsoft.com/office/drawing/2014/main" id="{634E3984-85B7-43CE-9614-1B4FE2FC1D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9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3" name="Rectangle 252">
                <a:extLst>
                  <a:ext uri="{FF2B5EF4-FFF2-40B4-BE49-F238E27FC236}">
                    <a16:creationId xmlns:a16="http://schemas.microsoft.com/office/drawing/2014/main" id="{95DA32BD-DD37-4FB2-923E-367A8F69D9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9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4" name="Rectangle 253">
                <a:extLst>
                  <a:ext uri="{FF2B5EF4-FFF2-40B4-BE49-F238E27FC236}">
                    <a16:creationId xmlns:a16="http://schemas.microsoft.com/office/drawing/2014/main" id="{D168FD2D-C5E7-4C2D-98F7-88D25F7AB4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3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5" name="Rectangle 254">
                <a:extLst>
                  <a:ext uri="{FF2B5EF4-FFF2-40B4-BE49-F238E27FC236}">
                    <a16:creationId xmlns:a16="http://schemas.microsoft.com/office/drawing/2014/main" id="{F4E935A2-D583-43B9-9369-71B06A247D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3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6" name="Rectangle 255">
                <a:extLst>
                  <a:ext uri="{FF2B5EF4-FFF2-40B4-BE49-F238E27FC236}">
                    <a16:creationId xmlns:a16="http://schemas.microsoft.com/office/drawing/2014/main" id="{2F3219AB-F644-465D-A817-096816C80F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7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7" name="Rectangle 256">
                <a:extLst>
                  <a:ext uri="{FF2B5EF4-FFF2-40B4-BE49-F238E27FC236}">
                    <a16:creationId xmlns:a16="http://schemas.microsoft.com/office/drawing/2014/main" id="{B6C7A092-5083-49F0-B2DA-E660375B36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7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8" name="Rectangle 257">
                <a:extLst>
                  <a:ext uri="{FF2B5EF4-FFF2-40B4-BE49-F238E27FC236}">
                    <a16:creationId xmlns:a16="http://schemas.microsoft.com/office/drawing/2014/main" id="{C00B78D8-FE7E-43B5-8A11-09451E29D9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1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9" name="Rectangle 258">
                <a:extLst>
                  <a:ext uri="{FF2B5EF4-FFF2-40B4-BE49-F238E27FC236}">
                    <a16:creationId xmlns:a16="http://schemas.microsoft.com/office/drawing/2014/main" id="{E905F2BF-0198-4693-AC8D-E085EDA042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1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0" name="Rectangle 259">
                <a:extLst>
                  <a:ext uri="{FF2B5EF4-FFF2-40B4-BE49-F238E27FC236}">
                    <a16:creationId xmlns:a16="http://schemas.microsoft.com/office/drawing/2014/main" id="{42559889-AE7B-4CAE-B2D9-16ECDF2D3C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45"/>
                <a:ext cx="44" cy="4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1" name="Rectangle 260">
                <a:extLst>
                  <a:ext uri="{FF2B5EF4-FFF2-40B4-BE49-F238E27FC236}">
                    <a16:creationId xmlns:a16="http://schemas.microsoft.com/office/drawing/2014/main" id="{F716DB4A-6603-44C4-B6A5-5B961D5725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45"/>
                <a:ext cx="44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2" name="Freeform 261">
                <a:extLst>
                  <a:ext uri="{FF2B5EF4-FFF2-40B4-BE49-F238E27FC236}">
                    <a16:creationId xmlns:a16="http://schemas.microsoft.com/office/drawing/2014/main" id="{89B3A667-F707-4D14-8899-78F04E834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8" y="1123"/>
                <a:ext cx="23" cy="18"/>
              </a:xfrm>
              <a:custGeom>
                <a:avLst/>
                <a:gdLst>
                  <a:gd name="T0" fmla="*/ 29 w 41"/>
                  <a:gd name="T1" fmla="*/ 0 h 33"/>
                  <a:gd name="T2" fmla="*/ 11 w 41"/>
                  <a:gd name="T3" fmla="*/ 0 h 33"/>
                  <a:gd name="T4" fmla="*/ 0 w 41"/>
                  <a:gd name="T5" fmla="*/ 7 h 33"/>
                  <a:gd name="T6" fmla="*/ 8 w 41"/>
                  <a:gd name="T7" fmla="*/ 4 h 33"/>
                  <a:gd name="T8" fmla="*/ 26 w 41"/>
                  <a:gd name="T9" fmla="*/ 4 h 33"/>
                  <a:gd name="T10" fmla="*/ 38 w 41"/>
                  <a:gd name="T11" fmla="*/ 16 h 33"/>
                  <a:gd name="T12" fmla="*/ 38 w 41"/>
                  <a:gd name="T13" fmla="*/ 33 h 33"/>
                  <a:gd name="T14" fmla="*/ 41 w 41"/>
                  <a:gd name="T15" fmla="*/ 33 h 33"/>
                  <a:gd name="T16" fmla="*/ 41 w 41"/>
                  <a:gd name="T17" fmla="*/ 13 h 33"/>
                  <a:gd name="T18" fmla="*/ 29 w 41"/>
                  <a:gd name="T1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33">
                    <a:moveTo>
                      <a:pt x="29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6" y="0"/>
                      <a:pt x="2" y="3"/>
                      <a:pt x="0" y="7"/>
                    </a:cubicBezTo>
                    <a:cubicBezTo>
                      <a:pt x="2" y="5"/>
                      <a:pt x="5" y="4"/>
                      <a:pt x="8" y="4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32" y="4"/>
                      <a:pt x="38" y="9"/>
                      <a:pt x="38" y="16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41" y="6"/>
                      <a:pt x="35" y="0"/>
                      <a:pt x="29" y="0"/>
                    </a:cubicBezTo>
                  </a:path>
                </a:pathLst>
              </a:custGeom>
              <a:solidFill>
                <a:srgbClr val="503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3" name="Freeform 262">
                <a:extLst>
                  <a:ext uri="{FF2B5EF4-FFF2-40B4-BE49-F238E27FC236}">
                    <a16:creationId xmlns:a16="http://schemas.microsoft.com/office/drawing/2014/main" id="{FCA69BE7-CE15-473A-9C12-3BEAA70EB9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9" y="1141"/>
                <a:ext cx="2" cy="48"/>
              </a:xfrm>
              <a:custGeom>
                <a:avLst/>
                <a:gdLst>
                  <a:gd name="T0" fmla="*/ 3 w 3"/>
                  <a:gd name="T1" fmla="*/ 67 h 87"/>
                  <a:gd name="T2" fmla="*/ 0 w 3"/>
                  <a:gd name="T3" fmla="*/ 67 h 87"/>
                  <a:gd name="T4" fmla="*/ 0 w 3"/>
                  <a:gd name="T5" fmla="*/ 87 h 87"/>
                  <a:gd name="T6" fmla="*/ 3 w 3"/>
                  <a:gd name="T7" fmla="*/ 86 h 87"/>
                  <a:gd name="T8" fmla="*/ 3 w 3"/>
                  <a:gd name="T9" fmla="*/ 67 h 87"/>
                  <a:gd name="T10" fmla="*/ 3 w 3"/>
                  <a:gd name="T11" fmla="*/ 56 h 87"/>
                  <a:gd name="T12" fmla="*/ 0 w 3"/>
                  <a:gd name="T13" fmla="*/ 56 h 87"/>
                  <a:gd name="T14" fmla="*/ 0 w 3"/>
                  <a:gd name="T15" fmla="*/ 61 h 87"/>
                  <a:gd name="T16" fmla="*/ 3 w 3"/>
                  <a:gd name="T17" fmla="*/ 61 h 87"/>
                  <a:gd name="T18" fmla="*/ 3 w 3"/>
                  <a:gd name="T19" fmla="*/ 56 h 87"/>
                  <a:gd name="T20" fmla="*/ 3 w 3"/>
                  <a:gd name="T21" fmla="*/ 46 h 87"/>
                  <a:gd name="T22" fmla="*/ 0 w 3"/>
                  <a:gd name="T23" fmla="*/ 46 h 87"/>
                  <a:gd name="T24" fmla="*/ 0 w 3"/>
                  <a:gd name="T25" fmla="*/ 51 h 87"/>
                  <a:gd name="T26" fmla="*/ 3 w 3"/>
                  <a:gd name="T27" fmla="*/ 51 h 87"/>
                  <a:gd name="T28" fmla="*/ 3 w 3"/>
                  <a:gd name="T29" fmla="*/ 46 h 87"/>
                  <a:gd name="T30" fmla="*/ 3 w 3"/>
                  <a:gd name="T31" fmla="*/ 35 h 87"/>
                  <a:gd name="T32" fmla="*/ 0 w 3"/>
                  <a:gd name="T33" fmla="*/ 35 h 87"/>
                  <a:gd name="T34" fmla="*/ 0 w 3"/>
                  <a:gd name="T35" fmla="*/ 40 h 87"/>
                  <a:gd name="T36" fmla="*/ 3 w 3"/>
                  <a:gd name="T37" fmla="*/ 40 h 87"/>
                  <a:gd name="T38" fmla="*/ 3 w 3"/>
                  <a:gd name="T39" fmla="*/ 35 h 87"/>
                  <a:gd name="T40" fmla="*/ 3 w 3"/>
                  <a:gd name="T41" fmla="*/ 24 h 87"/>
                  <a:gd name="T42" fmla="*/ 0 w 3"/>
                  <a:gd name="T43" fmla="*/ 24 h 87"/>
                  <a:gd name="T44" fmla="*/ 0 w 3"/>
                  <a:gd name="T45" fmla="*/ 29 h 87"/>
                  <a:gd name="T46" fmla="*/ 3 w 3"/>
                  <a:gd name="T47" fmla="*/ 29 h 87"/>
                  <a:gd name="T48" fmla="*/ 3 w 3"/>
                  <a:gd name="T49" fmla="*/ 24 h 87"/>
                  <a:gd name="T50" fmla="*/ 3 w 3"/>
                  <a:gd name="T51" fmla="*/ 14 h 87"/>
                  <a:gd name="T52" fmla="*/ 0 w 3"/>
                  <a:gd name="T53" fmla="*/ 14 h 87"/>
                  <a:gd name="T54" fmla="*/ 0 w 3"/>
                  <a:gd name="T55" fmla="*/ 19 h 87"/>
                  <a:gd name="T56" fmla="*/ 3 w 3"/>
                  <a:gd name="T57" fmla="*/ 19 h 87"/>
                  <a:gd name="T58" fmla="*/ 3 w 3"/>
                  <a:gd name="T59" fmla="*/ 14 h 87"/>
                  <a:gd name="T60" fmla="*/ 3 w 3"/>
                  <a:gd name="T61" fmla="*/ 0 h 87"/>
                  <a:gd name="T62" fmla="*/ 0 w 3"/>
                  <a:gd name="T63" fmla="*/ 0 h 87"/>
                  <a:gd name="T64" fmla="*/ 0 w 3"/>
                  <a:gd name="T65" fmla="*/ 8 h 87"/>
                  <a:gd name="T66" fmla="*/ 3 w 3"/>
                  <a:gd name="T67" fmla="*/ 8 h 87"/>
                  <a:gd name="T68" fmla="*/ 3 w 3"/>
                  <a:gd name="T6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" h="87">
                    <a:moveTo>
                      <a:pt x="3" y="67"/>
                    </a:moveTo>
                    <a:cubicBezTo>
                      <a:pt x="0" y="67"/>
                      <a:pt x="0" y="67"/>
                      <a:pt x="0" y="67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1" y="87"/>
                      <a:pt x="2" y="86"/>
                      <a:pt x="3" y="86"/>
                    </a:cubicBezTo>
                    <a:cubicBezTo>
                      <a:pt x="3" y="67"/>
                      <a:pt x="3" y="67"/>
                      <a:pt x="3" y="67"/>
                    </a:cubicBezTo>
                    <a:moveTo>
                      <a:pt x="3" y="56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3" y="56"/>
                      <a:pt x="3" y="56"/>
                      <a:pt x="3" y="56"/>
                    </a:cubicBezTo>
                    <a:moveTo>
                      <a:pt x="3" y="46"/>
                    </a:moveTo>
                    <a:cubicBezTo>
                      <a:pt x="0" y="46"/>
                      <a:pt x="0" y="46"/>
                      <a:pt x="0" y="46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3" y="46"/>
                      <a:pt x="3" y="46"/>
                      <a:pt x="3" y="46"/>
                    </a:cubicBezTo>
                    <a:moveTo>
                      <a:pt x="3" y="35"/>
                    </a:moveTo>
                    <a:cubicBezTo>
                      <a:pt x="0" y="35"/>
                      <a:pt x="0" y="35"/>
                      <a:pt x="0" y="35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35"/>
                      <a:pt x="3" y="35"/>
                      <a:pt x="3" y="35"/>
                    </a:cubicBezTo>
                    <a:moveTo>
                      <a:pt x="3" y="24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24"/>
                      <a:pt x="3" y="24"/>
                      <a:pt x="3" y="24"/>
                    </a:cubicBezTo>
                    <a:moveTo>
                      <a:pt x="3" y="14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4"/>
                      <a:pt x="3" y="14"/>
                      <a:pt x="3" y="14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4" name="Rectangle 263">
                <a:extLst>
                  <a:ext uri="{FF2B5EF4-FFF2-40B4-BE49-F238E27FC236}">
                    <a16:creationId xmlns:a16="http://schemas.microsoft.com/office/drawing/2014/main" id="{B42DA2AE-55A1-41DC-958B-EAC0B85B07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74"/>
                <a:ext cx="2" cy="4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5" name="Rectangle 264">
                <a:extLst>
                  <a:ext uri="{FF2B5EF4-FFF2-40B4-BE49-F238E27FC236}">
                    <a16:creationId xmlns:a16="http://schemas.microsoft.com/office/drawing/2014/main" id="{B787B2DA-7C09-4B87-AC9E-E40B533173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74"/>
                <a:ext cx="2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6" name="Rectangle 265">
                <a:extLst>
                  <a:ext uri="{FF2B5EF4-FFF2-40B4-BE49-F238E27FC236}">
                    <a16:creationId xmlns:a16="http://schemas.microsoft.com/office/drawing/2014/main" id="{2D80265E-C8C5-47DE-BD66-729FEBE53E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9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7" name="Rectangle 266">
                <a:extLst>
                  <a:ext uri="{FF2B5EF4-FFF2-40B4-BE49-F238E27FC236}">
                    <a16:creationId xmlns:a16="http://schemas.microsoft.com/office/drawing/2014/main" id="{A863F956-6273-4925-9F5C-3F70B0571F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9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8" name="Rectangle 267">
                <a:extLst>
                  <a:ext uri="{FF2B5EF4-FFF2-40B4-BE49-F238E27FC236}">
                    <a16:creationId xmlns:a16="http://schemas.microsoft.com/office/drawing/2014/main" id="{759AEB5A-524C-4B0E-B4E0-AA8CB0F190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3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9" name="Rectangle 268">
                <a:extLst>
                  <a:ext uri="{FF2B5EF4-FFF2-40B4-BE49-F238E27FC236}">
                    <a16:creationId xmlns:a16="http://schemas.microsoft.com/office/drawing/2014/main" id="{6F6E782A-0381-43A6-867E-A7AAED6723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3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0" name="Rectangle 269">
                <a:extLst>
                  <a:ext uri="{FF2B5EF4-FFF2-40B4-BE49-F238E27FC236}">
                    <a16:creationId xmlns:a16="http://schemas.microsoft.com/office/drawing/2014/main" id="{CA3056B0-6482-4AD9-91A5-04C12019C9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7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1" name="Rectangle 270">
                <a:extLst>
                  <a:ext uri="{FF2B5EF4-FFF2-40B4-BE49-F238E27FC236}">
                    <a16:creationId xmlns:a16="http://schemas.microsoft.com/office/drawing/2014/main" id="{3DA2B673-739A-4FF9-A41E-A245EDB8A0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7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2" name="Rectangle 271">
                <a:extLst>
                  <a:ext uri="{FF2B5EF4-FFF2-40B4-BE49-F238E27FC236}">
                    <a16:creationId xmlns:a16="http://schemas.microsoft.com/office/drawing/2014/main" id="{22AEC0A4-FBA6-4428-AFE9-C18D3EBA04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1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3" name="Rectangle 272">
                <a:extLst>
                  <a:ext uri="{FF2B5EF4-FFF2-40B4-BE49-F238E27FC236}">
                    <a16:creationId xmlns:a16="http://schemas.microsoft.com/office/drawing/2014/main" id="{E72B4B22-E1B3-4D55-AAC3-A3464D176F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1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4" name="Rectangle 273">
                <a:extLst>
                  <a:ext uri="{FF2B5EF4-FFF2-40B4-BE49-F238E27FC236}">
                    <a16:creationId xmlns:a16="http://schemas.microsoft.com/office/drawing/2014/main" id="{29F5F830-D260-4DD1-8BF5-6403171634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45"/>
                <a:ext cx="2" cy="4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5" name="Rectangle 274">
                <a:extLst>
                  <a:ext uri="{FF2B5EF4-FFF2-40B4-BE49-F238E27FC236}">
                    <a16:creationId xmlns:a16="http://schemas.microsoft.com/office/drawing/2014/main" id="{CCED615F-7B5B-4F65-AD62-2E2A9CEDB9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45"/>
                <a:ext cx="2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6" name="Freeform 275">
                <a:extLst>
                  <a:ext uri="{FF2B5EF4-FFF2-40B4-BE49-F238E27FC236}">
                    <a16:creationId xmlns:a16="http://schemas.microsoft.com/office/drawing/2014/main" id="{82C17471-658F-4D79-86A8-6B7C1E3058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6" y="1125"/>
                <a:ext cx="23" cy="66"/>
              </a:xfrm>
              <a:custGeom>
                <a:avLst/>
                <a:gdLst>
                  <a:gd name="T0" fmla="*/ 30 w 42"/>
                  <a:gd name="T1" fmla="*/ 0 h 121"/>
                  <a:gd name="T2" fmla="*/ 12 w 42"/>
                  <a:gd name="T3" fmla="*/ 0 h 121"/>
                  <a:gd name="T4" fmla="*/ 0 w 42"/>
                  <a:gd name="T5" fmla="*/ 12 h 121"/>
                  <a:gd name="T6" fmla="*/ 0 w 42"/>
                  <a:gd name="T7" fmla="*/ 121 h 121"/>
                  <a:gd name="T8" fmla="*/ 42 w 42"/>
                  <a:gd name="T9" fmla="*/ 121 h 121"/>
                  <a:gd name="T10" fmla="*/ 42 w 42"/>
                  <a:gd name="T11" fmla="*/ 12 h 121"/>
                  <a:gd name="T12" fmla="*/ 30 w 42"/>
                  <a:gd name="T1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121">
                    <a:moveTo>
                      <a:pt x="30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5"/>
                      <a:pt x="0" y="12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42" y="121"/>
                      <a:pt x="42" y="121"/>
                      <a:pt x="42" y="121"/>
                    </a:cubicBezTo>
                    <a:cubicBezTo>
                      <a:pt x="42" y="12"/>
                      <a:pt x="42" y="12"/>
                      <a:pt x="42" y="12"/>
                    </a:cubicBezTo>
                    <a:cubicBezTo>
                      <a:pt x="42" y="5"/>
                      <a:pt x="36" y="0"/>
                      <a:pt x="30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7" name="Freeform 276">
                <a:extLst>
                  <a:ext uri="{FF2B5EF4-FFF2-40B4-BE49-F238E27FC236}">
                    <a16:creationId xmlns:a16="http://schemas.microsoft.com/office/drawing/2014/main" id="{2E44F01F-A831-45EE-83F9-BA19891841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2" y="1025"/>
                <a:ext cx="15" cy="8"/>
              </a:xfrm>
              <a:custGeom>
                <a:avLst/>
                <a:gdLst>
                  <a:gd name="T0" fmla="*/ 19 w 27"/>
                  <a:gd name="T1" fmla="*/ 11 h 16"/>
                  <a:gd name="T2" fmla="*/ 19 w 27"/>
                  <a:gd name="T3" fmla="*/ 11 h 16"/>
                  <a:gd name="T4" fmla="*/ 27 w 27"/>
                  <a:gd name="T5" fmla="*/ 16 h 16"/>
                  <a:gd name="T6" fmla="*/ 19 w 27"/>
                  <a:gd name="T7" fmla="*/ 11 h 16"/>
                  <a:gd name="T8" fmla="*/ 8 w 27"/>
                  <a:gd name="T9" fmla="*/ 0 h 16"/>
                  <a:gd name="T10" fmla="*/ 0 w 27"/>
                  <a:gd name="T11" fmla="*/ 0 h 16"/>
                  <a:gd name="T12" fmla="*/ 0 w 27"/>
                  <a:gd name="T13" fmla="*/ 0 h 16"/>
                  <a:gd name="T14" fmla="*/ 7 w 27"/>
                  <a:gd name="T15" fmla="*/ 0 h 16"/>
                  <a:gd name="T16" fmla="*/ 16 w 27"/>
                  <a:gd name="T17" fmla="*/ 4 h 16"/>
                  <a:gd name="T18" fmla="*/ 8 w 27"/>
                  <a:gd name="T1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16">
                    <a:moveTo>
                      <a:pt x="19" y="11"/>
                    </a:moveTo>
                    <a:cubicBezTo>
                      <a:pt x="19" y="11"/>
                      <a:pt x="19" y="11"/>
                      <a:pt x="19" y="11"/>
                    </a:cubicBezTo>
                    <a:cubicBezTo>
                      <a:pt x="22" y="12"/>
                      <a:pt x="25" y="13"/>
                      <a:pt x="27" y="16"/>
                    </a:cubicBezTo>
                    <a:cubicBezTo>
                      <a:pt x="25" y="13"/>
                      <a:pt x="22" y="11"/>
                      <a:pt x="19" y="11"/>
                    </a:cubicBezTo>
                    <a:moveTo>
                      <a:pt x="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0" y="0"/>
                      <a:pt x="13" y="2"/>
                      <a:pt x="16" y="4"/>
                    </a:cubicBezTo>
                    <a:cubicBezTo>
                      <a:pt x="14" y="2"/>
                      <a:pt x="11" y="0"/>
                      <a:pt x="8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8" name="Freeform 277">
                <a:extLst>
                  <a:ext uri="{FF2B5EF4-FFF2-40B4-BE49-F238E27FC236}">
                    <a16:creationId xmlns:a16="http://schemas.microsoft.com/office/drawing/2014/main" id="{69CFBF8E-5DC4-4762-9DBA-577BD6D609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" y="1025"/>
                <a:ext cx="11" cy="6"/>
              </a:xfrm>
              <a:custGeom>
                <a:avLst/>
                <a:gdLst>
                  <a:gd name="T0" fmla="*/ 7 w 19"/>
                  <a:gd name="T1" fmla="*/ 0 h 11"/>
                  <a:gd name="T2" fmla="*/ 0 w 19"/>
                  <a:gd name="T3" fmla="*/ 0 h 11"/>
                  <a:gd name="T4" fmla="*/ 10 w 19"/>
                  <a:gd name="T5" fmla="*/ 10 h 11"/>
                  <a:gd name="T6" fmla="*/ 15 w 19"/>
                  <a:gd name="T7" fmla="*/ 10 h 11"/>
                  <a:gd name="T8" fmla="*/ 19 w 19"/>
                  <a:gd name="T9" fmla="*/ 11 h 11"/>
                  <a:gd name="T10" fmla="*/ 19 w 19"/>
                  <a:gd name="T11" fmla="*/ 11 h 11"/>
                  <a:gd name="T12" fmla="*/ 19 w 19"/>
                  <a:gd name="T13" fmla="*/ 11 h 11"/>
                  <a:gd name="T14" fmla="*/ 16 w 19"/>
                  <a:gd name="T15" fmla="*/ 4 h 11"/>
                  <a:gd name="T16" fmla="*/ 7 w 19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1">
                    <a:moveTo>
                      <a:pt x="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0"/>
                      <a:pt x="9" y="5"/>
                      <a:pt x="10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6" y="10"/>
                      <a:pt x="18" y="11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8" y="8"/>
                      <a:pt x="17" y="6"/>
                      <a:pt x="16" y="4"/>
                    </a:cubicBezTo>
                    <a:cubicBezTo>
                      <a:pt x="13" y="2"/>
                      <a:pt x="10" y="0"/>
                      <a:pt x="7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9" name="Freeform 278">
                <a:extLst>
                  <a:ext uri="{FF2B5EF4-FFF2-40B4-BE49-F238E27FC236}">
                    <a16:creationId xmlns:a16="http://schemas.microsoft.com/office/drawing/2014/main" id="{1EE55227-8407-4DBC-9D2E-99CE025A8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8" y="1030"/>
                <a:ext cx="12" cy="111"/>
              </a:xfrm>
              <a:custGeom>
                <a:avLst/>
                <a:gdLst>
                  <a:gd name="T0" fmla="*/ 5 w 22"/>
                  <a:gd name="T1" fmla="*/ 0 h 203"/>
                  <a:gd name="T2" fmla="*/ 0 w 22"/>
                  <a:gd name="T3" fmla="*/ 0 h 203"/>
                  <a:gd name="T4" fmla="*/ 0 w 22"/>
                  <a:gd name="T5" fmla="*/ 1 h 203"/>
                  <a:gd name="T6" fmla="*/ 13 w 22"/>
                  <a:gd name="T7" fmla="*/ 20 h 203"/>
                  <a:gd name="T8" fmla="*/ 13 w 22"/>
                  <a:gd name="T9" fmla="*/ 203 h 203"/>
                  <a:gd name="T10" fmla="*/ 22 w 22"/>
                  <a:gd name="T11" fmla="*/ 203 h 203"/>
                  <a:gd name="T12" fmla="*/ 22 w 22"/>
                  <a:gd name="T13" fmla="*/ 20 h 203"/>
                  <a:gd name="T14" fmla="*/ 17 w 22"/>
                  <a:gd name="T15" fmla="*/ 6 h 203"/>
                  <a:gd name="T16" fmla="*/ 9 w 22"/>
                  <a:gd name="T17" fmla="*/ 1 h 203"/>
                  <a:gd name="T18" fmla="*/ 5 w 22"/>
                  <a:gd name="T19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03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7" y="2"/>
                      <a:pt x="13" y="10"/>
                      <a:pt x="13" y="20"/>
                    </a:cubicBezTo>
                    <a:cubicBezTo>
                      <a:pt x="13" y="203"/>
                      <a:pt x="13" y="203"/>
                      <a:pt x="13" y="203"/>
                    </a:cubicBezTo>
                    <a:cubicBezTo>
                      <a:pt x="22" y="203"/>
                      <a:pt x="22" y="203"/>
                      <a:pt x="22" y="203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2" y="14"/>
                      <a:pt x="20" y="9"/>
                      <a:pt x="17" y="6"/>
                    </a:cubicBezTo>
                    <a:cubicBezTo>
                      <a:pt x="15" y="3"/>
                      <a:pt x="12" y="2"/>
                      <a:pt x="9" y="1"/>
                    </a:cubicBezTo>
                    <a:cubicBezTo>
                      <a:pt x="8" y="1"/>
                      <a:pt x="6" y="0"/>
                      <a:pt x="5" y="0"/>
                    </a:cubicBezTo>
                  </a:path>
                </a:pathLst>
              </a:custGeom>
              <a:solidFill>
                <a:srgbClr val="503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0" name="Freeform 279">
                <a:extLst>
                  <a:ext uri="{FF2B5EF4-FFF2-40B4-BE49-F238E27FC236}">
                    <a16:creationId xmlns:a16="http://schemas.microsoft.com/office/drawing/2014/main" id="{714F2CF0-A580-4F7B-B7E0-C32E076A34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1" y="1141"/>
                <a:ext cx="9" cy="48"/>
              </a:xfrm>
              <a:custGeom>
                <a:avLst/>
                <a:gdLst>
                  <a:gd name="T0" fmla="*/ 16 w 16"/>
                  <a:gd name="T1" fmla="*/ 67 h 88"/>
                  <a:gd name="T2" fmla="*/ 7 w 16"/>
                  <a:gd name="T3" fmla="*/ 67 h 88"/>
                  <a:gd name="T4" fmla="*/ 7 w 16"/>
                  <a:gd name="T5" fmla="*/ 69 h 88"/>
                  <a:gd name="T6" fmla="*/ 0 w 16"/>
                  <a:gd name="T7" fmla="*/ 86 h 88"/>
                  <a:gd name="T8" fmla="*/ 0 w 16"/>
                  <a:gd name="T9" fmla="*/ 88 h 88"/>
                  <a:gd name="T10" fmla="*/ 1 w 16"/>
                  <a:gd name="T11" fmla="*/ 88 h 88"/>
                  <a:gd name="T12" fmla="*/ 16 w 16"/>
                  <a:gd name="T13" fmla="*/ 69 h 88"/>
                  <a:gd name="T14" fmla="*/ 16 w 16"/>
                  <a:gd name="T15" fmla="*/ 67 h 88"/>
                  <a:gd name="T16" fmla="*/ 16 w 16"/>
                  <a:gd name="T17" fmla="*/ 56 h 88"/>
                  <a:gd name="T18" fmla="*/ 7 w 16"/>
                  <a:gd name="T19" fmla="*/ 56 h 88"/>
                  <a:gd name="T20" fmla="*/ 7 w 16"/>
                  <a:gd name="T21" fmla="*/ 61 h 88"/>
                  <a:gd name="T22" fmla="*/ 16 w 16"/>
                  <a:gd name="T23" fmla="*/ 61 h 88"/>
                  <a:gd name="T24" fmla="*/ 16 w 16"/>
                  <a:gd name="T25" fmla="*/ 56 h 88"/>
                  <a:gd name="T26" fmla="*/ 16 w 16"/>
                  <a:gd name="T27" fmla="*/ 46 h 88"/>
                  <a:gd name="T28" fmla="*/ 7 w 16"/>
                  <a:gd name="T29" fmla="*/ 46 h 88"/>
                  <a:gd name="T30" fmla="*/ 7 w 16"/>
                  <a:gd name="T31" fmla="*/ 51 h 88"/>
                  <a:gd name="T32" fmla="*/ 16 w 16"/>
                  <a:gd name="T33" fmla="*/ 51 h 88"/>
                  <a:gd name="T34" fmla="*/ 16 w 16"/>
                  <a:gd name="T35" fmla="*/ 46 h 88"/>
                  <a:gd name="T36" fmla="*/ 16 w 16"/>
                  <a:gd name="T37" fmla="*/ 35 h 88"/>
                  <a:gd name="T38" fmla="*/ 7 w 16"/>
                  <a:gd name="T39" fmla="*/ 35 h 88"/>
                  <a:gd name="T40" fmla="*/ 7 w 16"/>
                  <a:gd name="T41" fmla="*/ 40 h 88"/>
                  <a:gd name="T42" fmla="*/ 16 w 16"/>
                  <a:gd name="T43" fmla="*/ 40 h 88"/>
                  <a:gd name="T44" fmla="*/ 16 w 16"/>
                  <a:gd name="T45" fmla="*/ 35 h 88"/>
                  <a:gd name="T46" fmla="*/ 16 w 16"/>
                  <a:gd name="T47" fmla="*/ 24 h 88"/>
                  <a:gd name="T48" fmla="*/ 7 w 16"/>
                  <a:gd name="T49" fmla="*/ 24 h 88"/>
                  <a:gd name="T50" fmla="*/ 7 w 16"/>
                  <a:gd name="T51" fmla="*/ 29 h 88"/>
                  <a:gd name="T52" fmla="*/ 16 w 16"/>
                  <a:gd name="T53" fmla="*/ 29 h 88"/>
                  <a:gd name="T54" fmla="*/ 16 w 16"/>
                  <a:gd name="T55" fmla="*/ 24 h 88"/>
                  <a:gd name="T56" fmla="*/ 16 w 16"/>
                  <a:gd name="T57" fmla="*/ 14 h 88"/>
                  <a:gd name="T58" fmla="*/ 7 w 16"/>
                  <a:gd name="T59" fmla="*/ 14 h 88"/>
                  <a:gd name="T60" fmla="*/ 7 w 16"/>
                  <a:gd name="T61" fmla="*/ 19 h 88"/>
                  <a:gd name="T62" fmla="*/ 16 w 16"/>
                  <a:gd name="T63" fmla="*/ 19 h 88"/>
                  <a:gd name="T64" fmla="*/ 16 w 16"/>
                  <a:gd name="T65" fmla="*/ 14 h 88"/>
                  <a:gd name="T66" fmla="*/ 16 w 16"/>
                  <a:gd name="T67" fmla="*/ 0 h 88"/>
                  <a:gd name="T68" fmla="*/ 16 w 16"/>
                  <a:gd name="T69" fmla="*/ 0 h 88"/>
                  <a:gd name="T70" fmla="*/ 7 w 16"/>
                  <a:gd name="T71" fmla="*/ 0 h 88"/>
                  <a:gd name="T72" fmla="*/ 7 w 16"/>
                  <a:gd name="T73" fmla="*/ 8 h 88"/>
                  <a:gd name="T74" fmla="*/ 16 w 16"/>
                  <a:gd name="T75" fmla="*/ 8 h 88"/>
                  <a:gd name="T76" fmla="*/ 16 w 16"/>
                  <a:gd name="T77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6" h="88">
                    <a:moveTo>
                      <a:pt x="16" y="67"/>
                    </a:moveTo>
                    <a:cubicBezTo>
                      <a:pt x="7" y="67"/>
                      <a:pt x="7" y="67"/>
                      <a:pt x="7" y="67"/>
                    </a:cubicBezTo>
                    <a:cubicBezTo>
                      <a:pt x="7" y="69"/>
                      <a:pt x="7" y="69"/>
                      <a:pt x="7" y="69"/>
                    </a:cubicBezTo>
                    <a:cubicBezTo>
                      <a:pt x="7" y="76"/>
                      <a:pt x="4" y="82"/>
                      <a:pt x="0" y="86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1" y="88"/>
                      <a:pt x="1" y="88"/>
                      <a:pt x="1" y="88"/>
                    </a:cubicBezTo>
                    <a:cubicBezTo>
                      <a:pt x="9" y="88"/>
                      <a:pt x="16" y="80"/>
                      <a:pt x="16" y="69"/>
                    </a:cubicBezTo>
                    <a:cubicBezTo>
                      <a:pt x="16" y="67"/>
                      <a:pt x="16" y="67"/>
                      <a:pt x="16" y="67"/>
                    </a:cubicBezTo>
                    <a:moveTo>
                      <a:pt x="16" y="56"/>
                    </a:moveTo>
                    <a:cubicBezTo>
                      <a:pt x="7" y="56"/>
                      <a:pt x="7" y="56"/>
                      <a:pt x="7" y="56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16" y="61"/>
                      <a:pt x="16" y="61"/>
                      <a:pt x="16" y="61"/>
                    </a:cubicBezTo>
                    <a:cubicBezTo>
                      <a:pt x="16" y="56"/>
                      <a:pt x="16" y="56"/>
                      <a:pt x="16" y="56"/>
                    </a:cubicBezTo>
                    <a:moveTo>
                      <a:pt x="16" y="4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7" y="51"/>
                      <a:pt x="7" y="51"/>
                      <a:pt x="7" y="51"/>
                    </a:cubicBezTo>
                    <a:cubicBezTo>
                      <a:pt x="16" y="51"/>
                      <a:pt x="16" y="51"/>
                      <a:pt x="16" y="51"/>
                    </a:cubicBezTo>
                    <a:cubicBezTo>
                      <a:pt x="16" y="46"/>
                      <a:pt x="16" y="46"/>
                      <a:pt x="16" y="46"/>
                    </a:cubicBezTo>
                    <a:moveTo>
                      <a:pt x="16" y="35"/>
                    </a:moveTo>
                    <a:cubicBezTo>
                      <a:pt x="7" y="35"/>
                      <a:pt x="7" y="35"/>
                      <a:pt x="7" y="35"/>
                    </a:cubicBezTo>
                    <a:cubicBezTo>
                      <a:pt x="7" y="40"/>
                      <a:pt x="7" y="40"/>
                      <a:pt x="7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35"/>
                      <a:pt x="16" y="35"/>
                      <a:pt x="16" y="35"/>
                    </a:cubicBezTo>
                    <a:moveTo>
                      <a:pt x="16" y="24"/>
                    </a:moveTo>
                    <a:cubicBezTo>
                      <a:pt x="7" y="24"/>
                      <a:pt x="7" y="24"/>
                      <a:pt x="7" y="24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16" y="29"/>
                      <a:pt x="16" y="29"/>
                      <a:pt x="16" y="29"/>
                    </a:cubicBezTo>
                    <a:cubicBezTo>
                      <a:pt x="16" y="24"/>
                      <a:pt x="16" y="24"/>
                      <a:pt x="16" y="24"/>
                    </a:cubicBezTo>
                    <a:moveTo>
                      <a:pt x="16" y="14"/>
                    </a:moveTo>
                    <a:cubicBezTo>
                      <a:pt x="7" y="14"/>
                      <a:pt x="7" y="14"/>
                      <a:pt x="7" y="14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6" y="14"/>
                      <a:pt x="16" y="14"/>
                      <a:pt x="16" y="14"/>
                    </a:cubicBezTo>
                    <a:moveTo>
                      <a:pt x="16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1" name="Freeform 280">
                <a:extLst>
                  <a:ext uri="{FF2B5EF4-FFF2-40B4-BE49-F238E27FC236}">
                    <a16:creationId xmlns:a16="http://schemas.microsoft.com/office/drawing/2014/main" id="{2270E81A-102E-4936-91D0-812548463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74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2" name="Freeform 281">
                <a:extLst>
                  <a:ext uri="{FF2B5EF4-FFF2-40B4-BE49-F238E27FC236}">
                    <a16:creationId xmlns:a16="http://schemas.microsoft.com/office/drawing/2014/main" id="{09F69975-325F-42CF-B807-6624B0AE9F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74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3" name="Freeform 282">
                <a:extLst>
                  <a:ext uri="{FF2B5EF4-FFF2-40B4-BE49-F238E27FC236}">
                    <a16:creationId xmlns:a16="http://schemas.microsoft.com/office/drawing/2014/main" id="{951B4EB7-E605-4E02-BA09-2F95858BA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9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4" name="Freeform 283">
                <a:extLst>
                  <a:ext uri="{FF2B5EF4-FFF2-40B4-BE49-F238E27FC236}">
                    <a16:creationId xmlns:a16="http://schemas.microsoft.com/office/drawing/2014/main" id="{EF6D7A92-7B17-483F-B642-C4C7A47B3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9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5" name="Freeform 284">
                <a:extLst>
                  <a:ext uri="{FF2B5EF4-FFF2-40B4-BE49-F238E27FC236}">
                    <a16:creationId xmlns:a16="http://schemas.microsoft.com/office/drawing/2014/main" id="{5D07A1D8-3975-43F5-A598-66C824FB90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3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6" name="Freeform 285">
                <a:extLst>
                  <a:ext uri="{FF2B5EF4-FFF2-40B4-BE49-F238E27FC236}">
                    <a16:creationId xmlns:a16="http://schemas.microsoft.com/office/drawing/2014/main" id="{CD701FCA-D437-40C4-9D03-97B7CE0E7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3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7" name="Freeform 286">
                <a:extLst>
                  <a:ext uri="{FF2B5EF4-FFF2-40B4-BE49-F238E27FC236}">
                    <a16:creationId xmlns:a16="http://schemas.microsoft.com/office/drawing/2014/main" id="{545F19E8-1BB1-447E-9442-D0B41BDC52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7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8" name="Freeform 287">
                <a:extLst>
                  <a:ext uri="{FF2B5EF4-FFF2-40B4-BE49-F238E27FC236}">
                    <a16:creationId xmlns:a16="http://schemas.microsoft.com/office/drawing/2014/main" id="{695DDBBF-D411-4075-A805-B01D419E5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7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9" name="Freeform 288">
                <a:extLst>
                  <a:ext uri="{FF2B5EF4-FFF2-40B4-BE49-F238E27FC236}">
                    <a16:creationId xmlns:a16="http://schemas.microsoft.com/office/drawing/2014/main" id="{BC93D625-0429-4893-B576-AB87808907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1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0" name="Freeform 289">
                <a:extLst>
                  <a:ext uri="{FF2B5EF4-FFF2-40B4-BE49-F238E27FC236}">
                    <a16:creationId xmlns:a16="http://schemas.microsoft.com/office/drawing/2014/main" id="{B8CD1789-9C34-4B88-BBF4-A567CFCC6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1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1" name="Freeform 290">
                <a:extLst>
                  <a:ext uri="{FF2B5EF4-FFF2-40B4-BE49-F238E27FC236}">
                    <a16:creationId xmlns:a16="http://schemas.microsoft.com/office/drawing/2014/main" id="{531DA057-D7F8-4ACA-9BEF-744E5D69AA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45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2" name="Freeform 291">
                <a:extLst>
                  <a:ext uri="{FF2B5EF4-FFF2-40B4-BE49-F238E27FC236}">
                    <a16:creationId xmlns:a16="http://schemas.microsoft.com/office/drawing/2014/main" id="{52BEA705-55B3-46D9-B40E-16B1BE0DE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45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292">
                <a:extLst>
                  <a:ext uri="{FF2B5EF4-FFF2-40B4-BE49-F238E27FC236}">
                    <a16:creationId xmlns:a16="http://schemas.microsoft.com/office/drawing/2014/main" id="{1EAD208A-8B4A-41A9-BC14-22C2B722E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9" y="1188"/>
                <a:ext cx="2" cy="1"/>
              </a:xfrm>
              <a:custGeom>
                <a:avLst/>
                <a:gdLst>
                  <a:gd name="T0" fmla="*/ 3 w 3"/>
                  <a:gd name="T1" fmla="*/ 0 h 2"/>
                  <a:gd name="T2" fmla="*/ 0 w 3"/>
                  <a:gd name="T3" fmla="*/ 1 h 2"/>
                  <a:gd name="T4" fmla="*/ 0 w 3"/>
                  <a:gd name="T5" fmla="*/ 2 h 2"/>
                  <a:gd name="T6" fmla="*/ 3 w 3"/>
                  <a:gd name="T7" fmla="*/ 2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cubicBezTo>
                      <a:pt x="2" y="0"/>
                      <a:pt x="1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2826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4" name="Freeform 293">
                <a:extLst>
                  <a:ext uri="{FF2B5EF4-FFF2-40B4-BE49-F238E27FC236}">
                    <a16:creationId xmlns:a16="http://schemas.microsoft.com/office/drawing/2014/main" id="{5B2A0D1D-51F1-4C0F-9A4C-52E6962CB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7" y="1189"/>
                <a:ext cx="2" cy="0"/>
              </a:xfrm>
              <a:custGeom>
                <a:avLst/>
                <a:gdLst>
                  <a:gd name="T0" fmla="*/ 5 w 5"/>
                  <a:gd name="T1" fmla="*/ 0 h 1"/>
                  <a:gd name="T2" fmla="*/ 0 w 5"/>
                  <a:gd name="T3" fmla="*/ 1 h 1"/>
                  <a:gd name="T4" fmla="*/ 5 w 5"/>
                  <a:gd name="T5" fmla="*/ 1 h 1"/>
                  <a:gd name="T6" fmla="*/ 5 w 5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cubicBezTo>
                      <a:pt x="3" y="1"/>
                      <a:pt x="2" y="1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5" name="Freeform 294">
                <a:extLst>
                  <a:ext uri="{FF2B5EF4-FFF2-40B4-BE49-F238E27FC236}">
                    <a16:creationId xmlns:a16="http://schemas.microsoft.com/office/drawing/2014/main" id="{0E474AF7-E52C-4349-9F8A-83BDC08518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1052"/>
                <a:ext cx="4" cy="69"/>
              </a:xfrm>
              <a:custGeom>
                <a:avLst/>
                <a:gdLst>
                  <a:gd name="T0" fmla="*/ 4 w 8"/>
                  <a:gd name="T1" fmla="*/ 0 h 127"/>
                  <a:gd name="T2" fmla="*/ 4 w 8"/>
                  <a:gd name="T3" fmla="*/ 0 h 127"/>
                  <a:gd name="T4" fmla="*/ 0 w 8"/>
                  <a:gd name="T5" fmla="*/ 4 h 127"/>
                  <a:gd name="T6" fmla="*/ 0 w 8"/>
                  <a:gd name="T7" fmla="*/ 123 h 127"/>
                  <a:gd name="T8" fmla="*/ 4 w 8"/>
                  <a:gd name="T9" fmla="*/ 127 h 127"/>
                  <a:gd name="T10" fmla="*/ 8 w 8"/>
                  <a:gd name="T11" fmla="*/ 123 h 127"/>
                  <a:gd name="T12" fmla="*/ 8 w 8"/>
                  <a:gd name="T13" fmla="*/ 4 h 127"/>
                  <a:gd name="T14" fmla="*/ 4 w 8"/>
                  <a:gd name="T15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27">
                    <a:moveTo>
                      <a:pt x="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23"/>
                      <a:pt x="0" y="123"/>
                      <a:pt x="0" y="123"/>
                    </a:cubicBezTo>
                    <a:cubicBezTo>
                      <a:pt x="0" y="125"/>
                      <a:pt x="2" y="127"/>
                      <a:pt x="4" y="127"/>
                    </a:cubicBezTo>
                    <a:cubicBezTo>
                      <a:pt x="6" y="127"/>
                      <a:pt x="8" y="125"/>
                      <a:pt x="8" y="12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solidFill>
                <a:srgbClr val="2C40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6" name="Freeform 295">
                <a:extLst>
                  <a:ext uri="{FF2B5EF4-FFF2-40B4-BE49-F238E27FC236}">
                    <a16:creationId xmlns:a16="http://schemas.microsoft.com/office/drawing/2014/main" id="{28EF8B93-35D6-4089-942A-986DA9C0FB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2" y="2184"/>
                <a:ext cx="57" cy="53"/>
              </a:xfrm>
              <a:custGeom>
                <a:avLst/>
                <a:gdLst>
                  <a:gd name="T0" fmla="*/ 0 w 103"/>
                  <a:gd name="T1" fmla="*/ 78 h 96"/>
                  <a:gd name="T2" fmla="*/ 68 w 103"/>
                  <a:gd name="T3" fmla="*/ 93 h 96"/>
                  <a:gd name="T4" fmla="*/ 90 w 103"/>
                  <a:gd name="T5" fmla="*/ 83 h 96"/>
                  <a:gd name="T6" fmla="*/ 101 w 103"/>
                  <a:gd name="T7" fmla="*/ 35 h 96"/>
                  <a:gd name="T8" fmla="*/ 85 w 103"/>
                  <a:gd name="T9" fmla="*/ 16 h 96"/>
                  <a:gd name="T10" fmla="*/ 18 w 103"/>
                  <a:gd name="T11" fmla="*/ 0 h 96"/>
                  <a:gd name="T12" fmla="*/ 0 w 103"/>
                  <a:gd name="T13" fmla="*/ 7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96">
                    <a:moveTo>
                      <a:pt x="0" y="78"/>
                    </a:moveTo>
                    <a:cubicBezTo>
                      <a:pt x="68" y="93"/>
                      <a:pt x="68" y="93"/>
                      <a:pt x="68" y="93"/>
                    </a:cubicBezTo>
                    <a:cubicBezTo>
                      <a:pt x="78" y="96"/>
                      <a:pt x="88" y="91"/>
                      <a:pt x="90" y="8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3" y="27"/>
                      <a:pt x="96" y="18"/>
                      <a:pt x="85" y="16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78"/>
                      <a:pt x="0" y="78"/>
                      <a:pt x="0" y="78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7" name="Freeform 296">
                <a:extLst>
                  <a:ext uri="{FF2B5EF4-FFF2-40B4-BE49-F238E27FC236}">
                    <a16:creationId xmlns:a16="http://schemas.microsoft.com/office/drawing/2014/main" id="{886F9BDC-91E4-4B2C-9794-425A0303F5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192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8" name="Freeform 297">
                <a:extLst>
                  <a:ext uri="{FF2B5EF4-FFF2-40B4-BE49-F238E27FC236}">
                    <a16:creationId xmlns:a16="http://schemas.microsoft.com/office/drawing/2014/main" id="{84AB0C22-5AE4-4D9E-9B55-0BB9821442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192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9" name="Freeform 298">
                <a:extLst>
                  <a:ext uri="{FF2B5EF4-FFF2-40B4-BE49-F238E27FC236}">
                    <a16:creationId xmlns:a16="http://schemas.microsoft.com/office/drawing/2014/main" id="{ED5D00F5-4E26-4B35-A14B-7F5A5B9345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191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0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0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0" name="Freeform 299">
                <a:extLst>
                  <a:ext uri="{FF2B5EF4-FFF2-40B4-BE49-F238E27FC236}">
                    <a16:creationId xmlns:a16="http://schemas.microsoft.com/office/drawing/2014/main" id="{7096A632-5CF5-4EC3-A707-026562DC84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191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0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0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" name="Freeform 300">
                <a:extLst>
                  <a:ext uri="{FF2B5EF4-FFF2-40B4-BE49-F238E27FC236}">
                    <a16:creationId xmlns:a16="http://schemas.microsoft.com/office/drawing/2014/main" id="{5985318C-571B-4BB7-9851-8A3BDCADE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189"/>
                <a:ext cx="12" cy="43"/>
              </a:xfrm>
              <a:custGeom>
                <a:avLst/>
                <a:gdLst>
                  <a:gd name="T0" fmla="*/ 0 w 12"/>
                  <a:gd name="T1" fmla="*/ 43 h 43"/>
                  <a:gd name="T2" fmla="*/ 10 w 12"/>
                  <a:gd name="T3" fmla="*/ 0 h 43"/>
                  <a:gd name="T4" fmla="*/ 12 w 12"/>
                  <a:gd name="T5" fmla="*/ 1 h 43"/>
                  <a:gd name="T6" fmla="*/ 3 w 12"/>
                  <a:gd name="T7" fmla="*/ 43 h 43"/>
                  <a:gd name="T8" fmla="*/ 0 w 12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2" name="Freeform 301">
                <a:extLst>
                  <a:ext uri="{FF2B5EF4-FFF2-40B4-BE49-F238E27FC236}">
                    <a16:creationId xmlns:a16="http://schemas.microsoft.com/office/drawing/2014/main" id="{4C03E55F-8F0E-4589-AB32-970271AD48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189"/>
                <a:ext cx="12" cy="43"/>
              </a:xfrm>
              <a:custGeom>
                <a:avLst/>
                <a:gdLst>
                  <a:gd name="T0" fmla="*/ 0 w 12"/>
                  <a:gd name="T1" fmla="*/ 43 h 43"/>
                  <a:gd name="T2" fmla="*/ 10 w 12"/>
                  <a:gd name="T3" fmla="*/ 0 h 43"/>
                  <a:gd name="T4" fmla="*/ 12 w 12"/>
                  <a:gd name="T5" fmla="*/ 1 h 43"/>
                  <a:gd name="T6" fmla="*/ 3 w 12"/>
                  <a:gd name="T7" fmla="*/ 43 h 43"/>
                  <a:gd name="T8" fmla="*/ 0 w 12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3" y="43"/>
                    </a:lnTo>
                    <a:lnTo>
                      <a:pt x="0" y="4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3" name="Freeform 302">
                <a:extLst>
                  <a:ext uri="{FF2B5EF4-FFF2-40B4-BE49-F238E27FC236}">
                    <a16:creationId xmlns:a16="http://schemas.microsoft.com/office/drawing/2014/main" id="{40E01002-F6F9-409B-82B6-2E3AD920C3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188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4" name="Freeform 303">
                <a:extLst>
                  <a:ext uri="{FF2B5EF4-FFF2-40B4-BE49-F238E27FC236}">
                    <a16:creationId xmlns:a16="http://schemas.microsoft.com/office/drawing/2014/main" id="{514269D5-5AE2-43F1-8CD5-D19B0031A6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188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Freeform 304">
                <a:extLst>
                  <a:ext uri="{FF2B5EF4-FFF2-40B4-BE49-F238E27FC236}">
                    <a16:creationId xmlns:a16="http://schemas.microsoft.com/office/drawing/2014/main" id="{D88CB003-30F5-44C9-91F2-8F929AC05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187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4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4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6" name="Freeform 305">
                <a:extLst>
                  <a:ext uri="{FF2B5EF4-FFF2-40B4-BE49-F238E27FC236}">
                    <a16:creationId xmlns:a16="http://schemas.microsoft.com/office/drawing/2014/main" id="{18128655-92FE-4A39-B224-A22A65942B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187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4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4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7" name="Freeform 306">
                <a:extLst>
                  <a:ext uri="{FF2B5EF4-FFF2-40B4-BE49-F238E27FC236}">
                    <a16:creationId xmlns:a16="http://schemas.microsoft.com/office/drawing/2014/main" id="{DF894BD8-8009-4004-8AD7-98B880818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185"/>
                <a:ext cx="12" cy="44"/>
              </a:xfrm>
              <a:custGeom>
                <a:avLst/>
                <a:gdLst>
                  <a:gd name="T0" fmla="*/ 0 w 12"/>
                  <a:gd name="T1" fmla="*/ 43 h 44"/>
                  <a:gd name="T2" fmla="*/ 10 w 12"/>
                  <a:gd name="T3" fmla="*/ 0 h 44"/>
                  <a:gd name="T4" fmla="*/ 12 w 12"/>
                  <a:gd name="T5" fmla="*/ 1 h 44"/>
                  <a:gd name="T6" fmla="*/ 2 w 12"/>
                  <a:gd name="T7" fmla="*/ 44 h 44"/>
                  <a:gd name="T8" fmla="*/ 0 w 12"/>
                  <a:gd name="T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4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2" y="44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Freeform 307">
                <a:extLst>
                  <a:ext uri="{FF2B5EF4-FFF2-40B4-BE49-F238E27FC236}">
                    <a16:creationId xmlns:a16="http://schemas.microsoft.com/office/drawing/2014/main" id="{0E3E2912-A20B-4CB7-BF00-981DE897C7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185"/>
                <a:ext cx="12" cy="44"/>
              </a:xfrm>
              <a:custGeom>
                <a:avLst/>
                <a:gdLst>
                  <a:gd name="T0" fmla="*/ 0 w 12"/>
                  <a:gd name="T1" fmla="*/ 43 h 44"/>
                  <a:gd name="T2" fmla="*/ 10 w 12"/>
                  <a:gd name="T3" fmla="*/ 0 h 44"/>
                  <a:gd name="T4" fmla="*/ 12 w 12"/>
                  <a:gd name="T5" fmla="*/ 1 h 44"/>
                  <a:gd name="T6" fmla="*/ 2 w 12"/>
                  <a:gd name="T7" fmla="*/ 44 h 44"/>
                  <a:gd name="T8" fmla="*/ 0 w 12"/>
                  <a:gd name="T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4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2" y="44"/>
                    </a:lnTo>
                    <a:lnTo>
                      <a:pt x="0" y="4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9" name="Freeform 308">
                <a:extLst>
                  <a:ext uri="{FF2B5EF4-FFF2-40B4-BE49-F238E27FC236}">
                    <a16:creationId xmlns:a16="http://schemas.microsoft.com/office/drawing/2014/main" id="{EBD39137-F98F-4BF3-8DEA-DBF39B935F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194"/>
                <a:ext cx="17" cy="24"/>
              </a:xfrm>
              <a:custGeom>
                <a:avLst/>
                <a:gdLst>
                  <a:gd name="T0" fmla="*/ 14 w 31"/>
                  <a:gd name="T1" fmla="*/ 0 h 45"/>
                  <a:gd name="T2" fmla="*/ 5 w 31"/>
                  <a:gd name="T3" fmla="*/ 9 h 45"/>
                  <a:gd name="T4" fmla="*/ 2 w 31"/>
                  <a:gd name="T5" fmla="*/ 26 h 45"/>
                  <a:gd name="T6" fmla="*/ 11 w 31"/>
                  <a:gd name="T7" fmla="*/ 41 h 45"/>
                  <a:gd name="T8" fmla="*/ 31 w 31"/>
                  <a:gd name="T9" fmla="*/ 45 h 45"/>
                  <a:gd name="T10" fmla="*/ 31 w 31"/>
                  <a:gd name="T11" fmla="*/ 43 h 45"/>
                  <a:gd name="T12" fmla="*/ 15 w 31"/>
                  <a:gd name="T13" fmla="*/ 39 h 45"/>
                  <a:gd name="T14" fmla="*/ 6 w 31"/>
                  <a:gd name="T15" fmla="*/ 24 h 45"/>
                  <a:gd name="T16" fmla="*/ 10 w 31"/>
                  <a:gd name="T17" fmla="*/ 7 h 45"/>
                  <a:gd name="T18" fmla="*/ 14 w 31"/>
                  <a:gd name="T1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14" y="0"/>
                    </a:moveTo>
                    <a:cubicBezTo>
                      <a:pt x="10" y="1"/>
                      <a:pt x="7" y="4"/>
                      <a:pt x="5" y="9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0" y="33"/>
                      <a:pt x="4" y="39"/>
                      <a:pt x="11" y="41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8" y="37"/>
                      <a:pt x="4" y="31"/>
                      <a:pt x="6" y="24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4"/>
                      <a:pt x="12" y="1"/>
                      <a:pt x="14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0" name="Freeform 309">
                <a:extLst>
                  <a:ext uri="{FF2B5EF4-FFF2-40B4-BE49-F238E27FC236}">
                    <a16:creationId xmlns:a16="http://schemas.microsoft.com/office/drawing/2014/main" id="{6D0CC0B9-E9A3-402A-99CC-8B0F579216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5" y="2217"/>
                <a:ext cx="27" cy="8"/>
              </a:xfrm>
              <a:custGeom>
                <a:avLst/>
                <a:gdLst>
                  <a:gd name="T0" fmla="*/ 24 w 27"/>
                  <a:gd name="T1" fmla="*/ 6 h 8"/>
                  <a:gd name="T2" fmla="*/ 24 w 27"/>
                  <a:gd name="T3" fmla="*/ 7 h 8"/>
                  <a:gd name="T4" fmla="*/ 26 w 27"/>
                  <a:gd name="T5" fmla="*/ 8 h 8"/>
                  <a:gd name="T6" fmla="*/ 27 w 27"/>
                  <a:gd name="T7" fmla="*/ 6 h 8"/>
                  <a:gd name="T8" fmla="*/ 24 w 27"/>
                  <a:gd name="T9" fmla="*/ 6 h 8"/>
                  <a:gd name="T10" fmla="*/ 18 w 27"/>
                  <a:gd name="T11" fmla="*/ 4 h 8"/>
                  <a:gd name="T12" fmla="*/ 18 w 27"/>
                  <a:gd name="T13" fmla="*/ 6 h 8"/>
                  <a:gd name="T14" fmla="*/ 21 w 27"/>
                  <a:gd name="T15" fmla="*/ 6 h 8"/>
                  <a:gd name="T16" fmla="*/ 21 w 27"/>
                  <a:gd name="T17" fmla="*/ 5 h 8"/>
                  <a:gd name="T18" fmla="*/ 18 w 27"/>
                  <a:gd name="T19" fmla="*/ 4 h 8"/>
                  <a:gd name="T20" fmla="*/ 13 w 27"/>
                  <a:gd name="T21" fmla="*/ 3 h 8"/>
                  <a:gd name="T22" fmla="*/ 12 w 27"/>
                  <a:gd name="T23" fmla="*/ 4 h 8"/>
                  <a:gd name="T24" fmla="*/ 15 w 27"/>
                  <a:gd name="T25" fmla="*/ 5 h 8"/>
                  <a:gd name="T26" fmla="*/ 15 w 27"/>
                  <a:gd name="T27" fmla="*/ 3 h 8"/>
                  <a:gd name="T28" fmla="*/ 13 w 27"/>
                  <a:gd name="T29" fmla="*/ 3 h 8"/>
                  <a:gd name="T30" fmla="*/ 7 w 27"/>
                  <a:gd name="T31" fmla="*/ 2 h 8"/>
                  <a:gd name="T32" fmla="*/ 7 w 27"/>
                  <a:gd name="T33" fmla="*/ 3 h 8"/>
                  <a:gd name="T34" fmla="*/ 9 w 27"/>
                  <a:gd name="T35" fmla="*/ 4 h 8"/>
                  <a:gd name="T36" fmla="*/ 10 w 27"/>
                  <a:gd name="T37" fmla="*/ 2 h 8"/>
                  <a:gd name="T38" fmla="*/ 7 w 27"/>
                  <a:gd name="T39" fmla="*/ 2 h 8"/>
                  <a:gd name="T40" fmla="*/ 0 w 27"/>
                  <a:gd name="T41" fmla="*/ 0 h 8"/>
                  <a:gd name="T42" fmla="*/ 0 w 27"/>
                  <a:gd name="T43" fmla="*/ 1 h 8"/>
                  <a:gd name="T44" fmla="*/ 4 w 27"/>
                  <a:gd name="T45" fmla="*/ 2 h 8"/>
                  <a:gd name="T46" fmla="*/ 4 w 27"/>
                  <a:gd name="T47" fmla="*/ 1 h 8"/>
                  <a:gd name="T48" fmla="*/ 0 w 27"/>
                  <a:gd name="T4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" h="8">
                    <a:moveTo>
                      <a:pt x="24" y="6"/>
                    </a:moveTo>
                    <a:lnTo>
                      <a:pt x="24" y="7"/>
                    </a:lnTo>
                    <a:lnTo>
                      <a:pt x="26" y="8"/>
                    </a:lnTo>
                    <a:lnTo>
                      <a:pt x="27" y="6"/>
                    </a:lnTo>
                    <a:lnTo>
                      <a:pt x="24" y="6"/>
                    </a:lnTo>
                    <a:close/>
                    <a:moveTo>
                      <a:pt x="18" y="4"/>
                    </a:moveTo>
                    <a:lnTo>
                      <a:pt x="18" y="6"/>
                    </a:lnTo>
                    <a:lnTo>
                      <a:pt x="21" y="6"/>
                    </a:lnTo>
                    <a:lnTo>
                      <a:pt x="21" y="5"/>
                    </a:lnTo>
                    <a:lnTo>
                      <a:pt x="18" y="4"/>
                    </a:lnTo>
                    <a:close/>
                    <a:moveTo>
                      <a:pt x="13" y="3"/>
                    </a:moveTo>
                    <a:lnTo>
                      <a:pt x="12" y="4"/>
                    </a:lnTo>
                    <a:lnTo>
                      <a:pt x="15" y="5"/>
                    </a:lnTo>
                    <a:lnTo>
                      <a:pt x="15" y="3"/>
                    </a:lnTo>
                    <a:lnTo>
                      <a:pt x="13" y="3"/>
                    </a:lnTo>
                    <a:close/>
                    <a:moveTo>
                      <a:pt x="7" y="2"/>
                    </a:moveTo>
                    <a:lnTo>
                      <a:pt x="7" y="3"/>
                    </a:lnTo>
                    <a:lnTo>
                      <a:pt x="9" y="4"/>
                    </a:lnTo>
                    <a:lnTo>
                      <a:pt x="10" y="2"/>
                    </a:lnTo>
                    <a:lnTo>
                      <a:pt x="7" y="2"/>
                    </a:lnTo>
                    <a:close/>
                    <a:moveTo>
                      <a:pt x="0" y="0"/>
                    </a:moveTo>
                    <a:lnTo>
                      <a:pt x="0" y="1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1" name="Freeform 310">
                <a:extLst>
                  <a:ext uri="{FF2B5EF4-FFF2-40B4-BE49-F238E27FC236}">
                    <a16:creationId xmlns:a16="http://schemas.microsoft.com/office/drawing/2014/main" id="{5E59173D-37ED-4261-A904-5F33C8416A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5" y="2217"/>
                <a:ext cx="27" cy="8"/>
              </a:xfrm>
              <a:custGeom>
                <a:avLst/>
                <a:gdLst>
                  <a:gd name="T0" fmla="*/ 24 w 27"/>
                  <a:gd name="T1" fmla="*/ 6 h 8"/>
                  <a:gd name="T2" fmla="*/ 24 w 27"/>
                  <a:gd name="T3" fmla="*/ 7 h 8"/>
                  <a:gd name="T4" fmla="*/ 26 w 27"/>
                  <a:gd name="T5" fmla="*/ 8 h 8"/>
                  <a:gd name="T6" fmla="*/ 27 w 27"/>
                  <a:gd name="T7" fmla="*/ 6 h 8"/>
                  <a:gd name="T8" fmla="*/ 24 w 27"/>
                  <a:gd name="T9" fmla="*/ 6 h 8"/>
                  <a:gd name="T10" fmla="*/ 18 w 27"/>
                  <a:gd name="T11" fmla="*/ 4 h 8"/>
                  <a:gd name="T12" fmla="*/ 18 w 27"/>
                  <a:gd name="T13" fmla="*/ 6 h 8"/>
                  <a:gd name="T14" fmla="*/ 21 w 27"/>
                  <a:gd name="T15" fmla="*/ 6 h 8"/>
                  <a:gd name="T16" fmla="*/ 21 w 27"/>
                  <a:gd name="T17" fmla="*/ 5 h 8"/>
                  <a:gd name="T18" fmla="*/ 18 w 27"/>
                  <a:gd name="T19" fmla="*/ 4 h 8"/>
                  <a:gd name="T20" fmla="*/ 13 w 27"/>
                  <a:gd name="T21" fmla="*/ 3 h 8"/>
                  <a:gd name="T22" fmla="*/ 12 w 27"/>
                  <a:gd name="T23" fmla="*/ 4 h 8"/>
                  <a:gd name="T24" fmla="*/ 15 w 27"/>
                  <a:gd name="T25" fmla="*/ 5 h 8"/>
                  <a:gd name="T26" fmla="*/ 15 w 27"/>
                  <a:gd name="T27" fmla="*/ 3 h 8"/>
                  <a:gd name="T28" fmla="*/ 13 w 27"/>
                  <a:gd name="T29" fmla="*/ 3 h 8"/>
                  <a:gd name="T30" fmla="*/ 7 w 27"/>
                  <a:gd name="T31" fmla="*/ 2 h 8"/>
                  <a:gd name="T32" fmla="*/ 7 w 27"/>
                  <a:gd name="T33" fmla="*/ 3 h 8"/>
                  <a:gd name="T34" fmla="*/ 9 w 27"/>
                  <a:gd name="T35" fmla="*/ 4 h 8"/>
                  <a:gd name="T36" fmla="*/ 10 w 27"/>
                  <a:gd name="T37" fmla="*/ 2 h 8"/>
                  <a:gd name="T38" fmla="*/ 7 w 27"/>
                  <a:gd name="T39" fmla="*/ 2 h 8"/>
                  <a:gd name="T40" fmla="*/ 0 w 27"/>
                  <a:gd name="T41" fmla="*/ 0 h 8"/>
                  <a:gd name="T42" fmla="*/ 0 w 27"/>
                  <a:gd name="T43" fmla="*/ 1 h 8"/>
                  <a:gd name="T44" fmla="*/ 4 w 27"/>
                  <a:gd name="T45" fmla="*/ 2 h 8"/>
                  <a:gd name="T46" fmla="*/ 4 w 27"/>
                  <a:gd name="T47" fmla="*/ 1 h 8"/>
                  <a:gd name="T48" fmla="*/ 0 w 27"/>
                  <a:gd name="T4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" h="8">
                    <a:moveTo>
                      <a:pt x="24" y="6"/>
                    </a:moveTo>
                    <a:lnTo>
                      <a:pt x="24" y="7"/>
                    </a:lnTo>
                    <a:lnTo>
                      <a:pt x="26" y="8"/>
                    </a:lnTo>
                    <a:lnTo>
                      <a:pt x="27" y="6"/>
                    </a:lnTo>
                    <a:lnTo>
                      <a:pt x="24" y="6"/>
                    </a:lnTo>
                    <a:moveTo>
                      <a:pt x="18" y="4"/>
                    </a:moveTo>
                    <a:lnTo>
                      <a:pt x="18" y="6"/>
                    </a:lnTo>
                    <a:lnTo>
                      <a:pt x="21" y="6"/>
                    </a:lnTo>
                    <a:lnTo>
                      <a:pt x="21" y="5"/>
                    </a:lnTo>
                    <a:lnTo>
                      <a:pt x="18" y="4"/>
                    </a:lnTo>
                    <a:moveTo>
                      <a:pt x="13" y="3"/>
                    </a:moveTo>
                    <a:lnTo>
                      <a:pt x="12" y="4"/>
                    </a:lnTo>
                    <a:lnTo>
                      <a:pt x="15" y="5"/>
                    </a:lnTo>
                    <a:lnTo>
                      <a:pt x="15" y="3"/>
                    </a:lnTo>
                    <a:lnTo>
                      <a:pt x="13" y="3"/>
                    </a:lnTo>
                    <a:moveTo>
                      <a:pt x="7" y="2"/>
                    </a:moveTo>
                    <a:lnTo>
                      <a:pt x="7" y="3"/>
                    </a:lnTo>
                    <a:lnTo>
                      <a:pt x="9" y="4"/>
                    </a:lnTo>
                    <a:lnTo>
                      <a:pt x="10" y="2"/>
                    </a:lnTo>
                    <a:lnTo>
                      <a:pt x="7" y="2"/>
                    </a:lnTo>
                    <a:moveTo>
                      <a:pt x="0" y="0"/>
                    </a:moveTo>
                    <a:lnTo>
                      <a:pt x="0" y="1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2" name="Rectangle 311">
                <a:extLst>
                  <a:ext uri="{FF2B5EF4-FFF2-40B4-BE49-F238E27FC236}">
                    <a16:creationId xmlns:a16="http://schemas.microsoft.com/office/drawing/2014/main" id="{9AD7DE13-AAFE-4369-97FD-05FE5D5484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3" name="Rectangle 312">
                <a:extLst>
                  <a:ext uri="{FF2B5EF4-FFF2-40B4-BE49-F238E27FC236}">
                    <a16:creationId xmlns:a16="http://schemas.microsoft.com/office/drawing/2014/main" id="{E16D78B7-27DA-4CF0-AB57-CE645A0478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4" name="Freeform 313">
                <a:extLst>
                  <a:ext uri="{FF2B5EF4-FFF2-40B4-BE49-F238E27FC236}">
                    <a16:creationId xmlns:a16="http://schemas.microsoft.com/office/drawing/2014/main" id="{0E19076A-7656-4EE8-B50C-E5DC6D5129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4" y="2224"/>
                <a:ext cx="18" cy="5"/>
              </a:xfrm>
              <a:custGeom>
                <a:avLst/>
                <a:gdLst>
                  <a:gd name="T0" fmla="*/ 11 w 32"/>
                  <a:gd name="T1" fmla="*/ 3 h 10"/>
                  <a:gd name="T2" fmla="*/ 11 w 32"/>
                  <a:gd name="T3" fmla="*/ 5 h 10"/>
                  <a:gd name="T4" fmla="*/ 29 w 32"/>
                  <a:gd name="T5" fmla="*/ 10 h 10"/>
                  <a:gd name="T6" fmla="*/ 32 w 32"/>
                  <a:gd name="T7" fmla="*/ 7 h 10"/>
                  <a:gd name="T8" fmla="*/ 11 w 32"/>
                  <a:gd name="T9" fmla="*/ 3 h 10"/>
                  <a:gd name="T10" fmla="*/ 1 w 32"/>
                  <a:gd name="T11" fmla="*/ 0 h 10"/>
                  <a:gd name="T12" fmla="*/ 0 w 32"/>
                  <a:gd name="T13" fmla="*/ 3 h 10"/>
                  <a:gd name="T14" fmla="*/ 5 w 32"/>
                  <a:gd name="T15" fmla="*/ 4 h 10"/>
                  <a:gd name="T16" fmla="*/ 6 w 32"/>
                  <a:gd name="T17" fmla="*/ 1 h 10"/>
                  <a:gd name="T18" fmla="*/ 1 w 32"/>
                  <a:gd name="T1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10">
                    <a:moveTo>
                      <a:pt x="11" y="3"/>
                    </a:moveTo>
                    <a:cubicBezTo>
                      <a:pt x="11" y="5"/>
                      <a:pt x="11" y="5"/>
                      <a:pt x="11" y="5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9"/>
                      <a:pt x="31" y="8"/>
                      <a:pt x="32" y="7"/>
                    </a:cubicBezTo>
                    <a:cubicBezTo>
                      <a:pt x="11" y="3"/>
                      <a:pt x="11" y="3"/>
                      <a:pt x="11" y="3"/>
                    </a:cubicBezTo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5" name="Freeform 314">
                <a:extLst>
                  <a:ext uri="{FF2B5EF4-FFF2-40B4-BE49-F238E27FC236}">
                    <a16:creationId xmlns:a16="http://schemas.microsoft.com/office/drawing/2014/main" id="{0F5D374D-8AC1-4BE4-A086-993889EA1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2224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6" name="Freeform 315">
                <a:extLst>
                  <a:ext uri="{FF2B5EF4-FFF2-40B4-BE49-F238E27FC236}">
                    <a16:creationId xmlns:a16="http://schemas.microsoft.com/office/drawing/2014/main" id="{81F23A47-CC08-48D4-9BA2-AD20C80D5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2224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7" name="Freeform 316">
                <a:extLst>
                  <a:ext uri="{FF2B5EF4-FFF2-40B4-BE49-F238E27FC236}">
                    <a16:creationId xmlns:a16="http://schemas.microsoft.com/office/drawing/2014/main" id="{D46FC136-779D-41A1-9D55-5FDB87B0D5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1" y="2223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8" name="Freeform 317">
                <a:extLst>
                  <a:ext uri="{FF2B5EF4-FFF2-40B4-BE49-F238E27FC236}">
                    <a16:creationId xmlns:a16="http://schemas.microsoft.com/office/drawing/2014/main" id="{B5AA8F1A-8521-4D58-BC9C-E09B9EDDF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1" y="2223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9" name="Freeform 318">
                <a:extLst>
                  <a:ext uri="{FF2B5EF4-FFF2-40B4-BE49-F238E27FC236}">
                    <a16:creationId xmlns:a16="http://schemas.microsoft.com/office/drawing/2014/main" id="{76BE28C4-C918-4584-8495-E44E006D75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222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0" name="Freeform 319">
                <a:extLst>
                  <a:ext uri="{FF2B5EF4-FFF2-40B4-BE49-F238E27FC236}">
                    <a16:creationId xmlns:a16="http://schemas.microsoft.com/office/drawing/2014/main" id="{6548F4B1-5804-4316-9AE1-6E0A09DD6C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222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1" name="Freeform 320">
                <a:extLst>
                  <a:ext uri="{FF2B5EF4-FFF2-40B4-BE49-F238E27FC236}">
                    <a16:creationId xmlns:a16="http://schemas.microsoft.com/office/drawing/2014/main" id="{6697C27F-E433-44EC-9B30-1E9A525F7E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220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2 h 3"/>
                  <a:gd name="T4" fmla="*/ 3 w 3"/>
                  <a:gd name="T5" fmla="*/ 3 h 3"/>
                  <a:gd name="T6" fmla="*/ 3 w 3"/>
                  <a:gd name="T7" fmla="*/ 1 h 3"/>
                  <a:gd name="T8" fmla="*/ 0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2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2" name="Freeform 321">
                <a:extLst>
                  <a:ext uri="{FF2B5EF4-FFF2-40B4-BE49-F238E27FC236}">
                    <a16:creationId xmlns:a16="http://schemas.microsoft.com/office/drawing/2014/main" id="{F57788D8-1228-4FC8-9AB3-9CAB96A401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220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2 h 3"/>
                  <a:gd name="T4" fmla="*/ 3 w 3"/>
                  <a:gd name="T5" fmla="*/ 3 h 3"/>
                  <a:gd name="T6" fmla="*/ 3 w 3"/>
                  <a:gd name="T7" fmla="*/ 1 h 3"/>
                  <a:gd name="T8" fmla="*/ 0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2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3" name="Freeform 322">
                <a:extLst>
                  <a:ext uri="{FF2B5EF4-FFF2-40B4-BE49-F238E27FC236}">
                    <a16:creationId xmlns:a16="http://schemas.microsoft.com/office/drawing/2014/main" id="{D9B31C0A-69E9-43C9-ACA5-51FA9C524A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" y="2219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4" name="Freeform 323">
                <a:extLst>
                  <a:ext uri="{FF2B5EF4-FFF2-40B4-BE49-F238E27FC236}">
                    <a16:creationId xmlns:a16="http://schemas.microsoft.com/office/drawing/2014/main" id="{3691F7EC-B6B3-459C-AB5B-594B9A6C9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" y="2219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5" name="Freeform 324">
                <a:extLst>
                  <a:ext uri="{FF2B5EF4-FFF2-40B4-BE49-F238E27FC236}">
                    <a16:creationId xmlns:a16="http://schemas.microsoft.com/office/drawing/2014/main" id="{EFEBAD90-2B2E-489A-AA49-07C0D7568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9" y="2218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6" name="Freeform 325">
                <a:extLst>
                  <a:ext uri="{FF2B5EF4-FFF2-40B4-BE49-F238E27FC236}">
                    <a16:creationId xmlns:a16="http://schemas.microsoft.com/office/drawing/2014/main" id="{06A543B3-7B01-41BE-B670-A93CF0D15C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9" y="2218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7" name="Freeform 326">
                <a:extLst>
                  <a:ext uri="{FF2B5EF4-FFF2-40B4-BE49-F238E27FC236}">
                    <a16:creationId xmlns:a16="http://schemas.microsoft.com/office/drawing/2014/main" id="{DC857BAD-B7EF-4914-A165-A6D9BF742B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0" y="2191"/>
                <a:ext cx="69" cy="37"/>
              </a:xfrm>
              <a:custGeom>
                <a:avLst/>
                <a:gdLst>
                  <a:gd name="T0" fmla="*/ 2 w 127"/>
                  <a:gd name="T1" fmla="*/ 28 h 67"/>
                  <a:gd name="T2" fmla="*/ 6 w 127"/>
                  <a:gd name="T3" fmla="*/ 11 h 67"/>
                  <a:gd name="T4" fmla="*/ 20 w 127"/>
                  <a:gd name="T5" fmla="*/ 2 h 67"/>
                  <a:gd name="T6" fmla="*/ 127 w 127"/>
                  <a:gd name="T7" fmla="*/ 26 h 67"/>
                  <a:gd name="T8" fmla="*/ 117 w 127"/>
                  <a:gd name="T9" fmla="*/ 67 h 67"/>
                  <a:gd name="T10" fmla="*/ 11 w 127"/>
                  <a:gd name="T11" fmla="*/ 43 h 67"/>
                  <a:gd name="T12" fmla="*/ 2 w 127"/>
                  <a:gd name="T13" fmla="*/ 2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67">
                    <a:moveTo>
                      <a:pt x="2" y="28"/>
                    </a:moveTo>
                    <a:cubicBezTo>
                      <a:pt x="6" y="11"/>
                      <a:pt x="6" y="11"/>
                      <a:pt x="6" y="11"/>
                    </a:cubicBezTo>
                    <a:cubicBezTo>
                      <a:pt x="7" y="4"/>
                      <a:pt x="14" y="0"/>
                      <a:pt x="20" y="2"/>
                    </a:cubicBezTo>
                    <a:cubicBezTo>
                      <a:pt x="127" y="26"/>
                      <a:pt x="127" y="26"/>
                      <a:pt x="127" y="26"/>
                    </a:cubicBezTo>
                    <a:cubicBezTo>
                      <a:pt x="117" y="67"/>
                      <a:pt x="117" y="67"/>
                      <a:pt x="117" y="67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4" y="41"/>
                      <a:pt x="0" y="35"/>
                      <a:pt x="2" y="28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8" name="Freeform 327">
                <a:extLst>
                  <a:ext uri="{FF2B5EF4-FFF2-40B4-BE49-F238E27FC236}">
                    <a16:creationId xmlns:a16="http://schemas.microsoft.com/office/drawing/2014/main" id="{46CC2F71-F3D1-4BA3-8BB9-D25AA38881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1" y="2229"/>
                <a:ext cx="1" cy="3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0 w 2"/>
                  <a:gd name="T5" fmla="*/ 5 h 5"/>
                  <a:gd name="T6" fmla="*/ 0 w 2"/>
                  <a:gd name="T7" fmla="*/ 5 h 5"/>
                  <a:gd name="T8" fmla="*/ 0 w 2"/>
                  <a:gd name="T9" fmla="*/ 5 h 5"/>
                  <a:gd name="T10" fmla="*/ 0 w 2"/>
                  <a:gd name="T11" fmla="*/ 5 h 5"/>
                  <a:gd name="T12" fmla="*/ 0 w 2"/>
                  <a:gd name="T13" fmla="*/ 5 h 5"/>
                  <a:gd name="T14" fmla="*/ 0 w 2"/>
                  <a:gd name="T15" fmla="*/ 5 h 5"/>
                  <a:gd name="T16" fmla="*/ 0 w 2"/>
                  <a:gd name="T17" fmla="*/ 5 h 5"/>
                  <a:gd name="T18" fmla="*/ 0 w 2"/>
                  <a:gd name="T19" fmla="*/ 5 h 5"/>
                  <a:gd name="T20" fmla="*/ 0 w 2"/>
                  <a:gd name="T21" fmla="*/ 5 h 5"/>
                  <a:gd name="T22" fmla="*/ 0 w 2"/>
                  <a:gd name="T23" fmla="*/ 5 h 5"/>
                  <a:gd name="T24" fmla="*/ 1 w 2"/>
                  <a:gd name="T25" fmla="*/ 4 h 5"/>
                  <a:gd name="T26" fmla="*/ 0 w 2"/>
                  <a:gd name="T27" fmla="*/ 4 h 5"/>
                  <a:gd name="T28" fmla="*/ 1 w 2"/>
                  <a:gd name="T29" fmla="*/ 4 h 5"/>
                  <a:gd name="T30" fmla="*/ 1 w 2"/>
                  <a:gd name="T31" fmla="*/ 4 h 5"/>
                  <a:gd name="T32" fmla="*/ 1 w 2"/>
                  <a:gd name="T33" fmla="*/ 4 h 5"/>
                  <a:gd name="T34" fmla="*/ 1 w 2"/>
                  <a:gd name="T35" fmla="*/ 4 h 5"/>
                  <a:gd name="T36" fmla="*/ 1 w 2"/>
                  <a:gd name="T37" fmla="*/ 4 h 5"/>
                  <a:gd name="T38" fmla="*/ 1 w 2"/>
                  <a:gd name="T39" fmla="*/ 4 h 5"/>
                  <a:gd name="T40" fmla="*/ 1 w 2"/>
                  <a:gd name="T41" fmla="*/ 4 h 5"/>
                  <a:gd name="T42" fmla="*/ 1 w 2"/>
                  <a:gd name="T43" fmla="*/ 4 h 5"/>
                  <a:gd name="T44" fmla="*/ 1 w 2"/>
                  <a:gd name="T45" fmla="*/ 4 h 5"/>
                  <a:gd name="T46" fmla="*/ 1 w 2"/>
                  <a:gd name="T47" fmla="*/ 4 h 5"/>
                  <a:gd name="T48" fmla="*/ 1 w 2"/>
                  <a:gd name="T49" fmla="*/ 4 h 5"/>
                  <a:gd name="T50" fmla="*/ 1 w 2"/>
                  <a:gd name="T51" fmla="*/ 4 h 5"/>
                  <a:gd name="T52" fmla="*/ 1 w 2"/>
                  <a:gd name="T53" fmla="*/ 4 h 5"/>
                  <a:gd name="T54" fmla="*/ 1 w 2"/>
                  <a:gd name="T55" fmla="*/ 4 h 5"/>
                  <a:gd name="T56" fmla="*/ 1 w 2"/>
                  <a:gd name="T57" fmla="*/ 4 h 5"/>
                  <a:gd name="T58" fmla="*/ 1 w 2"/>
                  <a:gd name="T59" fmla="*/ 4 h 5"/>
                  <a:gd name="T60" fmla="*/ 1 w 2"/>
                  <a:gd name="T61" fmla="*/ 3 h 5"/>
                  <a:gd name="T62" fmla="*/ 1 w 2"/>
                  <a:gd name="T63" fmla="*/ 4 h 5"/>
                  <a:gd name="T64" fmla="*/ 1 w 2"/>
                  <a:gd name="T65" fmla="*/ 3 h 5"/>
                  <a:gd name="T66" fmla="*/ 1 w 2"/>
                  <a:gd name="T67" fmla="*/ 3 h 5"/>
                  <a:gd name="T68" fmla="*/ 1 w 2"/>
                  <a:gd name="T69" fmla="*/ 3 h 5"/>
                  <a:gd name="T70" fmla="*/ 1 w 2"/>
                  <a:gd name="T71" fmla="*/ 3 h 5"/>
                  <a:gd name="T72" fmla="*/ 1 w 2"/>
                  <a:gd name="T73" fmla="*/ 3 h 5"/>
                  <a:gd name="T74" fmla="*/ 1 w 2"/>
                  <a:gd name="T75" fmla="*/ 3 h 5"/>
                  <a:gd name="T76" fmla="*/ 1 w 2"/>
                  <a:gd name="T77" fmla="*/ 3 h 5"/>
                  <a:gd name="T78" fmla="*/ 1 w 2"/>
                  <a:gd name="T79" fmla="*/ 2 h 5"/>
                  <a:gd name="T80" fmla="*/ 1 w 2"/>
                  <a:gd name="T81" fmla="*/ 3 h 5"/>
                  <a:gd name="T82" fmla="*/ 1 w 2"/>
                  <a:gd name="T83" fmla="*/ 2 h 5"/>
                  <a:gd name="T84" fmla="*/ 1 w 2"/>
                  <a:gd name="T85" fmla="*/ 2 h 5"/>
                  <a:gd name="T86" fmla="*/ 1 w 2"/>
                  <a:gd name="T87" fmla="*/ 2 h 5"/>
                  <a:gd name="T88" fmla="*/ 1 w 2"/>
                  <a:gd name="T89" fmla="*/ 2 h 5"/>
                  <a:gd name="T90" fmla="*/ 2 w 2"/>
                  <a:gd name="T91" fmla="*/ 2 h 5"/>
                  <a:gd name="T92" fmla="*/ 2 w 2"/>
                  <a:gd name="T93" fmla="*/ 2 h 5"/>
                  <a:gd name="T94" fmla="*/ 2 w 2"/>
                  <a:gd name="T95" fmla="*/ 2 h 5"/>
                  <a:gd name="T96" fmla="*/ 2 w 2"/>
                  <a:gd name="T97" fmla="*/ 1 h 5"/>
                  <a:gd name="T98" fmla="*/ 2 w 2"/>
                  <a:gd name="T99" fmla="*/ 1 h 5"/>
                  <a:gd name="T100" fmla="*/ 2 w 2"/>
                  <a:gd name="T101" fmla="*/ 1 h 5"/>
                  <a:gd name="T102" fmla="*/ 2 w 2"/>
                  <a:gd name="T103" fmla="*/ 1 h 5"/>
                  <a:gd name="T104" fmla="*/ 2 w 2"/>
                  <a:gd name="T105" fmla="*/ 1 h 5"/>
                  <a:gd name="T106" fmla="*/ 2 w 2"/>
                  <a:gd name="T107" fmla="*/ 1 h 5"/>
                  <a:gd name="T108" fmla="*/ 2 w 2"/>
                  <a:gd name="T109" fmla="*/ 0 h 5"/>
                  <a:gd name="T110" fmla="*/ 2 w 2"/>
                  <a:gd name="T111" fmla="*/ 1 h 5"/>
                  <a:gd name="T112" fmla="*/ 2 w 2"/>
                  <a:gd name="T113" fmla="*/ 0 h 5"/>
                  <a:gd name="T114" fmla="*/ 2 w 2"/>
                  <a:gd name="T1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1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3"/>
                    </a:moveTo>
                    <a:cubicBezTo>
                      <a:pt x="1" y="3"/>
                      <a:pt x="1" y="4"/>
                      <a:pt x="1" y="4"/>
                    </a:cubicBezTo>
                    <a:cubicBezTo>
                      <a:pt x="1" y="4"/>
                      <a:pt x="1" y="3"/>
                      <a:pt x="1" y="3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2"/>
                      <a:pt x="1" y="2"/>
                    </a:cubicBezTo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moveTo>
                      <a:pt x="2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moveTo>
                      <a:pt x="2" y="0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9" name="Freeform 328">
                <a:extLst>
                  <a:ext uri="{FF2B5EF4-FFF2-40B4-BE49-F238E27FC236}">
                    <a16:creationId xmlns:a16="http://schemas.microsoft.com/office/drawing/2014/main" id="{FDE0045B-5F4A-41EC-8206-2957640CB2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2" y="2222"/>
                <a:ext cx="50" cy="14"/>
              </a:xfrm>
              <a:custGeom>
                <a:avLst/>
                <a:gdLst>
                  <a:gd name="T0" fmla="*/ 55 w 90"/>
                  <a:gd name="T1" fmla="*/ 21 h 25"/>
                  <a:gd name="T2" fmla="*/ 62 w 90"/>
                  <a:gd name="T3" fmla="*/ 14 h 25"/>
                  <a:gd name="T4" fmla="*/ 87 w 90"/>
                  <a:gd name="T5" fmla="*/ 13 h 25"/>
                  <a:gd name="T6" fmla="*/ 70 w 90"/>
                  <a:gd name="T7" fmla="*/ 16 h 25"/>
                  <a:gd name="T8" fmla="*/ 65 w 90"/>
                  <a:gd name="T9" fmla="*/ 24 h 25"/>
                  <a:gd name="T10" fmla="*/ 73 w 90"/>
                  <a:gd name="T11" fmla="*/ 25 h 25"/>
                  <a:gd name="T12" fmla="*/ 88 w 90"/>
                  <a:gd name="T13" fmla="*/ 18 h 25"/>
                  <a:gd name="T14" fmla="*/ 88 w 90"/>
                  <a:gd name="T15" fmla="*/ 18 h 25"/>
                  <a:gd name="T16" fmla="*/ 88 w 90"/>
                  <a:gd name="T17" fmla="*/ 18 h 25"/>
                  <a:gd name="T18" fmla="*/ 88 w 90"/>
                  <a:gd name="T19" fmla="*/ 18 h 25"/>
                  <a:gd name="T20" fmla="*/ 89 w 90"/>
                  <a:gd name="T21" fmla="*/ 17 h 25"/>
                  <a:gd name="T22" fmla="*/ 89 w 90"/>
                  <a:gd name="T23" fmla="*/ 17 h 25"/>
                  <a:gd name="T24" fmla="*/ 89 w 90"/>
                  <a:gd name="T25" fmla="*/ 17 h 25"/>
                  <a:gd name="T26" fmla="*/ 89 w 90"/>
                  <a:gd name="T27" fmla="*/ 17 h 25"/>
                  <a:gd name="T28" fmla="*/ 89 w 90"/>
                  <a:gd name="T29" fmla="*/ 17 h 25"/>
                  <a:gd name="T30" fmla="*/ 89 w 90"/>
                  <a:gd name="T31" fmla="*/ 17 h 25"/>
                  <a:gd name="T32" fmla="*/ 89 w 90"/>
                  <a:gd name="T33" fmla="*/ 16 h 25"/>
                  <a:gd name="T34" fmla="*/ 89 w 90"/>
                  <a:gd name="T35" fmla="*/ 16 h 25"/>
                  <a:gd name="T36" fmla="*/ 89 w 90"/>
                  <a:gd name="T37" fmla="*/ 16 h 25"/>
                  <a:gd name="T38" fmla="*/ 89 w 90"/>
                  <a:gd name="T39" fmla="*/ 15 h 25"/>
                  <a:gd name="T40" fmla="*/ 89 w 90"/>
                  <a:gd name="T41" fmla="*/ 15 h 25"/>
                  <a:gd name="T42" fmla="*/ 90 w 90"/>
                  <a:gd name="T43" fmla="*/ 15 h 25"/>
                  <a:gd name="T44" fmla="*/ 90 w 90"/>
                  <a:gd name="T45" fmla="*/ 14 h 25"/>
                  <a:gd name="T46" fmla="*/ 90 w 90"/>
                  <a:gd name="T47" fmla="*/ 14 h 25"/>
                  <a:gd name="T48" fmla="*/ 90 w 90"/>
                  <a:gd name="T49" fmla="*/ 13 h 25"/>
                  <a:gd name="T50" fmla="*/ 46 w 90"/>
                  <a:gd name="T51" fmla="*/ 11 h 25"/>
                  <a:gd name="T52" fmla="*/ 49 w 90"/>
                  <a:gd name="T53" fmla="*/ 20 h 25"/>
                  <a:gd name="T54" fmla="*/ 46 w 90"/>
                  <a:gd name="T55" fmla="*/ 11 h 25"/>
                  <a:gd name="T56" fmla="*/ 34 w 90"/>
                  <a:gd name="T57" fmla="*/ 17 h 25"/>
                  <a:gd name="T58" fmla="*/ 39 w 90"/>
                  <a:gd name="T59" fmla="*/ 18 h 25"/>
                  <a:gd name="T60" fmla="*/ 36 w 90"/>
                  <a:gd name="T61" fmla="*/ 8 h 25"/>
                  <a:gd name="T62" fmla="*/ 24 w 90"/>
                  <a:gd name="T63" fmla="*/ 14 h 25"/>
                  <a:gd name="T64" fmla="*/ 31 w 90"/>
                  <a:gd name="T65" fmla="*/ 7 h 25"/>
                  <a:gd name="T66" fmla="*/ 15 w 90"/>
                  <a:gd name="T67" fmla="*/ 3 h 25"/>
                  <a:gd name="T68" fmla="*/ 18 w 90"/>
                  <a:gd name="T69" fmla="*/ 13 h 25"/>
                  <a:gd name="T70" fmla="*/ 15 w 90"/>
                  <a:gd name="T71" fmla="*/ 3 h 25"/>
                  <a:gd name="T72" fmla="*/ 0 w 90"/>
                  <a:gd name="T73" fmla="*/ 9 h 25"/>
                  <a:gd name="T74" fmla="*/ 8 w 90"/>
                  <a:gd name="T75" fmla="*/ 11 h 25"/>
                  <a:gd name="T76" fmla="*/ 2 w 90"/>
                  <a:gd name="T7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0" h="25">
                    <a:moveTo>
                      <a:pt x="57" y="13"/>
                    </a:moveTo>
                    <a:cubicBezTo>
                      <a:pt x="55" y="21"/>
                      <a:pt x="55" y="21"/>
                      <a:pt x="55" y="21"/>
                    </a:cubicBezTo>
                    <a:cubicBezTo>
                      <a:pt x="60" y="22"/>
                      <a:pt x="60" y="22"/>
                      <a:pt x="60" y="22"/>
                    </a:cubicBezTo>
                    <a:cubicBezTo>
                      <a:pt x="62" y="14"/>
                      <a:pt x="62" y="14"/>
                      <a:pt x="62" y="14"/>
                    </a:cubicBezTo>
                    <a:cubicBezTo>
                      <a:pt x="57" y="13"/>
                      <a:pt x="57" y="13"/>
                      <a:pt x="57" y="13"/>
                    </a:cubicBezTo>
                    <a:moveTo>
                      <a:pt x="87" y="13"/>
                    </a:moveTo>
                    <a:cubicBezTo>
                      <a:pt x="84" y="15"/>
                      <a:pt x="80" y="17"/>
                      <a:pt x="75" y="17"/>
                    </a:cubicBezTo>
                    <a:cubicBezTo>
                      <a:pt x="73" y="17"/>
                      <a:pt x="72" y="16"/>
                      <a:pt x="70" y="16"/>
                    </a:cubicBezTo>
                    <a:cubicBezTo>
                      <a:pt x="67" y="15"/>
                      <a:pt x="67" y="15"/>
                      <a:pt x="67" y="15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70" y="25"/>
                      <a:pt x="71" y="25"/>
                      <a:pt x="73" y="25"/>
                    </a:cubicBezTo>
                    <a:cubicBezTo>
                      <a:pt x="80" y="25"/>
                      <a:pt x="85" y="22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7"/>
                      <a:pt x="88" y="17"/>
                      <a:pt x="88" y="17"/>
                    </a:cubicBezTo>
                    <a:cubicBezTo>
                      <a:pt x="88" y="17"/>
                      <a:pt x="88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90" y="15"/>
                    </a:cubicBezTo>
                    <a:cubicBezTo>
                      <a:pt x="90" y="15"/>
                      <a:pt x="90" y="15"/>
                      <a:pt x="90" y="15"/>
                    </a:cubicBezTo>
                    <a:cubicBezTo>
                      <a:pt x="90" y="15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3"/>
                      <a:pt x="90" y="13"/>
                      <a:pt x="90" y="13"/>
                    </a:cubicBezTo>
                    <a:cubicBezTo>
                      <a:pt x="87" y="13"/>
                      <a:pt x="87" y="13"/>
                      <a:pt x="87" y="13"/>
                    </a:cubicBezTo>
                    <a:moveTo>
                      <a:pt x="46" y="11"/>
                    </a:moveTo>
                    <a:cubicBezTo>
                      <a:pt x="45" y="19"/>
                      <a:pt x="45" y="19"/>
                      <a:pt x="45" y="19"/>
                    </a:cubicBezTo>
                    <a:cubicBezTo>
                      <a:pt x="49" y="20"/>
                      <a:pt x="49" y="20"/>
                      <a:pt x="49" y="20"/>
                    </a:cubicBezTo>
                    <a:cubicBezTo>
                      <a:pt x="51" y="12"/>
                      <a:pt x="51" y="12"/>
                      <a:pt x="51" y="12"/>
                    </a:cubicBezTo>
                    <a:cubicBezTo>
                      <a:pt x="46" y="11"/>
                      <a:pt x="46" y="11"/>
                      <a:pt x="46" y="11"/>
                    </a:cubicBezTo>
                    <a:moveTo>
                      <a:pt x="36" y="8"/>
                    </a:moveTo>
                    <a:cubicBezTo>
                      <a:pt x="34" y="17"/>
                      <a:pt x="34" y="17"/>
                      <a:pt x="34" y="17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36" y="8"/>
                      <a:pt x="36" y="8"/>
                      <a:pt x="36" y="8"/>
                    </a:cubicBezTo>
                    <a:moveTo>
                      <a:pt x="26" y="6"/>
                    </a:moveTo>
                    <a:cubicBezTo>
                      <a:pt x="24" y="14"/>
                      <a:pt x="24" y="14"/>
                      <a:pt x="24" y="14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6" y="6"/>
                      <a:pt x="26" y="6"/>
                      <a:pt x="26" y="6"/>
                    </a:cubicBezTo>
                    <a:moveTo>
                      <a:pt x="15" y="3"/>
                    </a:moveTo>
                    <a:cubicBezTo>
                      <a:pt x="13" y="12"/>
                      <a:pt x="13" y="12"/>
                      <a:pt x="13" y="12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15" y="3"/>
                      <a:pt x="15" y="3"/>
                      <a:pt x="15" y="3"/>
                    </a:cubicBezTo>
                    <a:moveTo>
                      <a:pt x="2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0" name="Freeform 329">
                <a:extLst>
                  <a:ext uri="{FF2B5EF4-FFF2-40B4-BE49-F238E27FC236}">
                    <a16:creationId xmlns:a16="http://schemas.microsoft.com/office/drawing/2014/main" id="{21C40211-3DF2-4900-B294-5FC56038D0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230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3 w 4"/>
                  <a:gd name="T5" fmla="*/ 5 h 5"/>
                  <a:gd name="T6" fmla="*/ 4 w 4"/>
                  <a:gd name="T7" fmla="*/ 0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1" name="Freeform 330">
                <a:extLst>
                  <a:ext uri="{FF2B5EF4-FFF2-40B4-BE49-F238E27FC236}">
                    <a16:creationId xmlns:a16="http://schemas.microsoft.com/office/drawing/2014/main" id="{84EF45CB-FA20-423D-90C9-6D206FB469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230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3 w 4"/>
                  <a:gd name="T5" fmla="*/ 5 h 5"/>
                  <a:gd name="T6" fmla="*/ 4 w 4"/>
                  <a:gd name="T7" fmla="*/ 0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2" name="Freeform 331">
                <a:extLst>
                  <a:ext uri="{FF2B5EF4-FFF2-40B4-BE49-F238E27FC236}">
                    <a16:creationId xmlns:a16="http://schemas.microsoft.com/office/drawing/2014/main" id="{03FC9952-746E-49A8-B733-CF602BB6E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229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3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3" name="Freeform 332">
                <a:extLst>
                  <a:ext uri="{FF2B5EF4-FFF2-40B4-BE49-F238E27FC236}">
                    <a16:creationId xmlns:a16="http://schemas.microsoft.com/office/drawing/2014/main" id="{3D573F7C-4178-4BF1-8E36-14411A4291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229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3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5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4" name="Freeform 333">
                <a:extLst>
                  <a:ext uri="{FF2B5EF4-FFF2-40B4-BE49-F238E27FC236}">
                    <a16:creationId xmlns:a16="http://schemas.microsoft.com/office/drawing/2014/main" id="{F5765AE4-2359-4CFF-A084-003A85E242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227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5 h 5"/>
                  <a:gd name="T4" fmla="*/ 3 w 4"/>
                  <a:gd name="T5" fmla="*/ 5 h 5"/>
                  <a:gd name="T6" fmla="*/ 4 w 4"/>
                  <a:gd name="T7" fmla="*/ 1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5"/>
                    </a:lnTo>
                    <a:lnTo>
                      <a:pt x="3" y="5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5" name="Freeform 334">
                <a:extLst>
                  <a:ext uri="{FF2B5EF4-FFF2-40B4-BE49-F238E27FC236}">
                    <a16:creationId xmlns:a16="http://schemas.microsoft.com/office/drawing/2014/main" id="{99A1B14B-E957-4900-AA63-4B65096A4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227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5 h 5"/>
                  <a:gd name="T4" fmla="*/ 3 w 4"/>
                  <a:gd name="T5" fmla="*/ 5 h 5"/>
                  <a:gd name="T6" fmla="*/ 4 w 4"/>
                  <a:gd name="T7" fmla="*/ 1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5"/>
                    </a:lnTo>
                    <a:lnTo>
                      <a:pt x="3" y="5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6" name="Freeform 335">
                <a:extLst>
                  <a:ext uri="{FF2B5EF4-FFF2-40B4-BE49-F238E27FC236}">
                    <a16:creationId xmlns:a16="http://schemas.microsoft.com/office/drawing/2014/main" id="{0FF797DB-6F86-476D-8B85-9EB86E6F0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226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1 w 4"/>
                  <a:gd name="T5" fmla="*/ 5 h 5"/>
                  <a:gd name="T6" fmla="*/ 3 w 4"/>
                  <a:gd name="T7" fmla="*/ 5 h 5"/>
                  <a:gd name="T8" fmla="*/ 4 w 4"/>
                  <a:gd name="T9" fmla="*/ 0 h 5"/>
                  <a:gd name="T10" fmla="*/ 1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7" name="Freeform 336">
                <a:extLst>
                  <a:ext uri="{FF2B5EF4-FFF2-40B4-BE49-F238E27FC236}">
                    <a16:creationId xmlns:a16="http://schemas.microsoft.com/office/drawing/2014/main" id="{26FB6D40-410D-4E60-AB29-3E9A9A367E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226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1 w 4"/>
                  <a:gd name="T5" fmla="*/ 5 h 5"/>
                  <a:gd name="T6" fmla="*/ 3 w 4"/>
                  <a:gd name="T7" fmla="*/ 5 h 5"/>
                  <a:gd name="T8" fmla="*/ 4 w 4"/>
                  <a:gd name="T9" fmla="*/ 0 h 5"/>
                  <a:gd name="T10" fmla="*/ 1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8" name="Freeform 337">
                <a:extLst>
                  <a:ext uri="{FF2B5EF4-FFF2-40B4-BE49-F238E27FC236}">
                    <a16:creationId xmlns:a16="http://schemas.microsoft.com/office/drawing/2014/main" id="{FACBE5FC-1D07-48C0-9EDC-2DBE50E98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225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4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4" y="5"/>
                    </a:lnTo>
                    <a:lnTo>
                      <a:pt x="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9" name="Freeform 338">
                <a:extLst>
                  <a:ext uri="{FF2B5EF4-FFF2-40B4-BE49-F238E27FC236}">
                    <a16:creationId xmlns:a16="http://schemas.microsoft.com/office/drawing/2014/main" id="{CF4A6D40-44DF-4F96-B013-6513621F0B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225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4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4" y="5"/>
                    </a:lnTo>
                    <a:lnTo>
                      <a:pt x="5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0" name="Freeform 339">
                <a:extLst>
                  <a:ext uri="{FF2B5EF4-FFF2-40B4-BE49-F238E27FC236}">
                    <a16:creationId xmlns:a16="http://schemas.microsoft.com/office/drawing/2014/main" id="{757DF09E-3DD4-4BEF-813D-995F0C97DE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223"/>
                <a:ext cx="4" cy="6"/>
              </a:xfrm>
              <a:custGeom>
                <a:avLst/>
                <a:gdLst>
                  <a:gd name="T0" fmla="*/ 1 w 4"/>
                  <a:gd name="T1" fmla="*/ 0 h 6"/>
                  <a:gd name="T2" fmla="*/ 0 w 4"/>
                  <a:gd name="T3" fmla="*/ 5 h 6"/>
                  <a:gd name="T4" fmla="*/ 0 w 4"/>
                  <a:gd name="T5" fmla="*/ 5 h 6"/>
                  <a:gd name="T6" fmla="*/ 2 w 4"/>
                  <a:gd name="T7" fmla="*/ 6 h 6"/>
                  <a:gd name="T8" fmla="*/ 4 w 4"/>
                  <a:gd name="T9" fmla="*/ 1 h 6"/>
                  <a:gd name="T10" fmla="*/ 1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2" y="6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1" name="Freeform 340">
                <a:extLst>
                  <a:ext uri="{FF2B5EF4-FFF2-40B4-BE49-F238E27FC236}">
                    <a16:creationId xmlns:a16="http://schemas.microsoft.com/office/drawing/2014/main" id="{871A3B9E-3D28-4AEE-A16C-0B3B09715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223"/>
                <a:ext cx="4" cy="6"/>
              </a:xfrm>
              <a:custGeom>
                <a:avLst/>
                <a:gdLst>
                  <a:gd name="T0" fmla="*/ 1 w 4"/>
                  <a:gd name="T1" fmla="*/ 0 h 6"/>
                  <a:gd name="T2" fmla="*/ 0 w 4"/>
                  <a:gd name="T3" fmla="*/ 5 h 6"/>
                  <a:gd name="T4" fmla="*/ 0 w 4"/>
                  <a:gd name="T5" fmla="*/ 5 h 6"/>
                  <a:gd name="T6" fmla="*/ 2 w 4"/>
                  <a:gd name="T7" fmla="*/ 6 h 6"/>
                  <a:gd name="T8" fmla="*/ 4 w 4"/>
                  <a:gd name="T9" fmla="*/ 1 h 6"/>
                  <a:gd name="T10" fmla="*/ 1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2" y="6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2" name="Rectangle 341">
                <a:extLst>
                  <a:ext uri="{FF2B5EF4-FFF2-40B4-BE49-F238E27FC236}">
                    <a16:creationId xmlns:a16="http://schemas.microsoft.com/office/drawing/2014/main" id="{60536545-BC3E-4D2A-9F3A-1BEEF422CF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solidFill>
                <a:srgbClr val="7862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3" name="Rectangle 342">
                <a:extLst>
                  <a:ext uri="{FF2B5EF4-FFF2-40B4-BE49-F238E27FC236}">
                    <a16:creationId xmlns:a16="http://schemas.microsoft.com/office/drawing/2014/main" id="{EB03FCEA-5C19-4BDE-B21B-1511E3A3E3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4" name="Freeform 343">
                <a:extLst>
                  <a:ext uri="{FF2B5EF4-FFF2-40B4-BE49-F238E27FC236}">
                    <a16:creationId xmlns:a16="http://schemas.microsoft.com/office/drawing/2014/main" id="{17ED124B-52DC-4AC7-8ECE-D64F1DA15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228"/>
                <a:ext cx="2" cy="1"/>
              </a:xfrm>
              <a:custGeom>
                <a:avLst/>
                <a:gdLst>
                  <a:gd name="T0" fmla="*/ 3 w 4"/>
                  <a:gd name="T1" fmla="*/ 0 h 3"/>
                  <a:gd name="T2" fmla="*/ 0 w 4"/>
                  <a:gd name="T3" fmla="*/ 3 h 3"/>
                  <a:gd name="T4" fmla="*/ 3 w 4"/>
                  <a:gd name="T5" fmla="*/ 3 h 3"/>
                  <a:gd name="T6" fmla="*/ 4 w 4"/>
                  <a:gd name="T7" fmla="*/ 0 h 3"/>
                  <a:gd name="T8" fmla="*/ 3 w 4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3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2826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5" name="Freeform 344">
                <a:extLst>
                  <a:ext uri="{FF2B5EF4-FFF2-40B4-BE49-F238E27FC236}">
                    <a16:creationId xmlns:a16="http://schemas.microsoft.com/office/drawing/2014/main" id="{1B1A09E1-7067-4370-9829-7EDFBAD324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" y="2225"/>
                <a:ext cx="1" cy="3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4 h 4"/>
                  <a:gd name="T4" fmla="*/ 1 w 2"/>
                  <a:gd name="T5" fmla="*/ 4 h 4"/>
                  <a:gd name="T6" fmla="*/ 1 w 2"/>
                  <a:gd name="T7" fmla="*/ 4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cubicBezTo>
                      <a:pt x="1" y="1"/>
                      <a:pt x="1" y="3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6" name="Freeform 345">
                <a:extLst>
                  <a:ext uri="{FF2B5EF4-FFF2-40B4-BE49-F238E27FC236}">
                    <a16:creationId xmlns:a16="http://schemas.microsoft.com/office/drawing/2014/main" id="{05E34CA3-275D-4C3F-9CCA-E4345264F8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8" y="863"/>
                <a:ext cx="397" cy="316"/>
              </a:xfrm>
              <a:custGeom>
                <a:avLst/>
                <a:gdLst>
                  <a:gd name="T0" fmla="*/ 205 w 397"/>
                  <a:gd name="T1" fmla="*/ 285 h 316"/>
                  <a:gd name="T2" fmla="*/ 164 w 397"/>
                  <a:gd name="T3" fmla="*/ 285 h 316"/>
                  <a:gd name="T4" fmla="*/ 0 w 397"/>
                  <a:gd name="T5" fmla="*/ 310 h 316"/>
                  <a:gd name="T6" fmla="*/ 1 w 397"/>
                  <a:gd name="T7" fmla="*/ 316 h 316"/>
                  <a:gd name="T8" fmla="*/ 205 w 397"/>
                  <a:gd name="T9" fmla="*/ 285 h 316"/>
                  <a:gd name="T10" fmla="*/ 379 w 397"/>
                  <a:gd name="T11" fmla="*/ 142 h 316"/>
                  <a:gd name="T12" fmla="*/ 379 w 397"/>
                  <a:gd name="T13" fmla="*/ 181 h 316"/>
                  <a:gd name="T14" fmla="*/ 390 w 397"/>
                  <a:gd name="T15" fmla="*/ 251 h 316"/>
                  <a:gd name="T16" fmla="*/ 379 w 397"/>
                  <a:gd name="T17" fmla="*/ 253 h 316"/>
                  <a:gd name="T18" fmla="*/ 379 w 397"/>
                  <a:gd name="T19" fmla="*/ 259 h 316"/>
                  <a:gd name="T20" fmla="*/ 397 w 397"/>
                  <a:gd name="T21" fmla="*/ 256 h 316"/>
                  <a:gd name="T22" fmla="*/ 379 w 397"/>
                  <a:gd name="T23" fmla="*/ 142 h 316"/>
                  <a:gd name="T24" fmla="*/ 358 w 397"/>
                  <a:gd name="T25" fmla="*/ 0 h 316"/>
                  <a:gd name="T26" fmla="*/ 352 w 397"/>
                  <a:gd name="T27" fmla="*/ 0 h 316"/>
                  <a:gd name="T28" fmla="*/ 356 w 397"/>
                  <a:gd name="T29" fmla="*/ 25 h 316"/>
                  <a:gd name="T30" fmla="*/ 362 w 397"/>
                  <a:gd name="T31" fmla="*/ 25 h 316"/>
                  <a:gd name="T32" fmla="*/ 358 w 397"/>
                  <a:gd name="T33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7" h="316">
                    <a:moveTo>
                      <a:pt x="205" y="285"/>
                    </a:moveTo>
                    <a:lnTo>
                      <a:pt x="164" y="285"/>
                    </a:lnTo>
                    <a:lnTo>
                      <a:pt x="0" y="310"/>
                    </a:lnTo>
                    <a:lnTo>
                      <a:pt x="1" y="316"/>
                    </a:lnTo>
                    <a:lnTo>
                      <a:pt x="205" y="285"/>
                    </a:lnTo>
                    <a:close/>
                    <a:moveTo>
                      <a:pt x="379" y="142"/>
                    </a:moveTo>
                    <a:lnTo>
                      <a:pt x="379" y="181"/>
                    </a:lnTo>
                    <a:lnTo>
                      <a:pt x="390" y="251"/>
                    </a:lnTo>
                    <a:lnTo>
                      <a:pt x="379" y="253"/>
                    </a:lnTo>
                    <a:lnTo>
                      <a:pt x="379" y="259"/>
                    </a:lnTo>
                    <a:lnTo>
                      <a:pt x="397" y="256"/>
                    </a:lnTo>
                    <a:lnTo>
                      <a:pt x="379" y="142"/>
                    </a:lnTo>
                    <a:close/>
                    <a:moveTo>
                      <a:pt x="358" y="0"/>
                    </a:moveTo>
                    <a:lnTo>
                      <a:pt x="352" y="0"/>
                    </a:lnTo>
                    <a:lnTo>
                      <a:pt x="356" y="25"/>
                    </a:lnTo>
                    <a:lnTo>
                      <a:pt x="362" y="25"/>
                    </a:lnTo>
                    <a:lnTo>
                      <a:pt x="358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7" name="Freeform 346">
                <a:extLst>
                  <a:ext uri="{FF2B5EF4-FFF2-40B4-BE49-F238E27FC236}">
                    <a16:creationId xmlns:a16="http://schemas.microsoft.com/office/drawing/2014/main" id="{211DC401-82E8-464C-8C3E-10BD8D2690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8" y="863"/>
                <a:ext cx="397" cy="316"/>
              </a:xfrm>
              <a:custGeom>
                <a:avLst/>
                <a:gdLst>
                  <a:gd name="T0" fmla="*/ 205 w 397"/>
                  <a:gd name="T1" fmla="*/ 285 h 316"/>
                  <a:gd name="T2" fmla="*/ 164 w 397"/>
                  <a:gd name="T3" fmla="*/ 285 h 316"/>
                  <a:gd name="T4" fmla="*/ 0 w 397"/>
                  <a:gd name="T5" fmla="*/ 310 h 316"/>
                  <a:gd name="T6" fmla="*/ 1 w 397"/>
                  <a:gd name="T7" fmla="*/ 316 h 316"/>
                  <a:gd name="T8" fmla="*/ 205 w 397"/>
                  <a:gd name="T9" fmla="*/ 285 h 316"/>
                  <a:gd name="T10" fmla="*/ 379 w 397"/>
                  <a:gd name="T11" fmla="*/ 142 h 316"/>
                  <a:gd name="T12" fmla="*/ 379 w 397"/>
                  <a:gd name="T13" fmla="*/ 181 h 316"/>
                  <a:gd name="T14" fmla="*/ 390 w 397"/>
                  <a:gd name="T15" fmla="*/ 251 h 316"/>
                  <a:gd name="T16" fmla="*/ 379 w 397"/>
                  <a:gd name="T17" fmla="*/ 253 h 316"/>
                  <a:gd name="T18" fmla="*/ 379 w 397"/>
                  <a:gd name="T19" fmla="*/ 259 h 316"/>
                  <a:gd name="T20" fmla="*/ 397 w 397"/>
                  <a:gd name="T21" fmla="*/ 256 h 316"/>
                  <a:gd name="T22" fmla="*/ 379 w 397"/>
                  <a:gd name="T23" fmla="*/ 142 h 316"/>
                  <a:gd name="T24" fmla="*/ 358 w 397"/>
                  <a:gd name="T25" fmla="*/ 0 h 316"/>
                  <a:gd name="T26" fmla="*/ 352 w 397"/>
                  <a:gd name="T27" fmla="*/ 0 h 316"/>
                  <a:gd name="T28" fmla="*/ 356 w 397"/>
                  <a:gd name="T29" fmla="*/ 25 h 316"/>
                  <a:gd name="T30" fmla="*/ 362 w 397"/>
                  <a:gd name="T31" fmla="*/ 25 h 316"/>
                  <a:gd name="T32" fmla="*/ 358 w 397"/>
                  <a:gd name="T33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7" h="316">
                    <a:moveTo>
                      <a:pt x="205" y="285"/>
                    </a:moveTo>
                    <a:lnTo>
                      <a:pt x="164" y="285"/>
                    </a:lnTo>
                    <a:lnTo>
                      <a:pt x="0" y="310"/>
                    </a:lnTo>
                    <a:lnTo>
                      <a:pt x="1" y="316"/>
                    </a:lnTo>
                    <a:lnTo>
                      <a:pt x="205" y="285"/>
                    </a:lnTo>
                    <a:moveTo>
                      <a:pt x="379" y="142"/>
                    </a:moveTo>
                    <a:lnTo>
                      <a:pt x="379" y="181"/>
                    </a:lnTo>
                    <a:lnTo>
                      <a:pt x="390" y="251"/>
                    </a:lnTo>
                    <a:lnTo>
                      <a:pt x="379" y="253"/>
                    </a:lnTo>
                    <a:lnTo>
                      <a:pt x="379" y="259"/>
                    </a:lnTo>
                    <a:lnTo>
                      <a:pt x="397" y="256"/>
                    </a:lnTo>
                    <a:lnTo>
                      <a:pt x="379" y="142"/>
                    </a:lnTo>
                    <a:moveTo>
                      <a:pt x="358" y="0"/>
                    </a:moveTo>
                    <a:lnTo>
                      <a:pt x="352" y="0"/>
                    </a:lnTo>
                    <a:lnTo>
                      <a:pt x="356" y="25"/>
                    </a:lnTo>
                    <a:lnTo>
                      <a:pt x="362" y="25"/>
                    </a:lnTo>
                    <a:lnTo>
                      <a:pt x="3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8" name="Freeform 347">
                <a:extLst>
                  <a:ext uri="{FF2B5EF4-FFF2-40B4-BE49-F238E27FC236}">
                    <a16:creationId xmlns:a16="http://schemas.microsoft.com/office/drawing/2014/main" id="{B43D8D5F-F283-4466-90DA-E186C0D946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3" y="857"/>
                <a:ext cx="435" cy="317"/>
              </a:xfrm>
              <a:custGeom>
                <a:avLst/>
                <a:gdLst>
                  <a:gd name="T0" fmla="*/ 435 w 435"/>
                  <a:gd name="T1" fmla="*/ 257 h 317"/>
                  <a:gd name="T2" fmla="*/ 39 w 435"/>
                  <a:gd name="T3" fmla="*/ 317 h 317"/>
                  <a:gd name="T4" fmla="*/ 0 w 435"/>
                  <a:gd name="T5" fmla="*/ 60 h 317"/>
                  <a:gd name="T6" fmla="*/ 396 w 435"/>
                  <a:gd name="T7" fmla="*/ 0 h 317"/>
                  <a:gd name="T8" fmla="*/ 435 w 435"/>
                  <a:gd name="T9" fmla="*/ 25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5" h="317">
                    <a:moveTo>
                      <a:pt x="435" y="257"/>
                    </a:moveTo>
                    <a:lnTo>
                      <a:pt x="39" y="317"/>
                    </a:lnTo>
                    <a:lnTo>
                      <a:pt x="0" y="60"/>
                    </a:lnTo>
                    <a:lnTo>
                      <a:pt x="396" y="0"/>
                    </a:lnTo>
                    <a:lnTo>
                      <a:pt x="435" y="257"/>
                    </a:lnTo>
                    <a:close/>
                  </a:path>
                </a:pathLst>
              </a:custGeom>
              <a:solidFill>
                <a:srgbClr val="E2DD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9" name="Freeform 348">
                <a:extLst>
                  <a:ext uri="{FF2B5EF4-FFF2-40B4-BE49-F238E27FC236}">
                    <a16:creationId xmlns:a16="http://schemas.microsoft.com/office/drawing/2014/main" id="{ADE9F6AA-1DF4-4685-9D61-5DA0738AB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3" y="857"/>
                <a:ext cx="435" cy="317"/>
              </a:xfrm>
              <a:custGeom>
                <a:avLst/>
                <a:gdLst>
                  <a:gd name="T0" fmla="*/ 435 w 435"/>
                  <a:gd name="T1" fmla="*/ 257 h 317"/>
                  <a:gd name="T2" fmla="*/ 39 w 435"/>
                  <a:gd name="T3" fmla="*/ 317 h 317"/>
                  <a:gd name="T4" fmla="*/ 0 w 435"/>
                  <a:gd name="T5" fmla="*/ 60 h 317"/>
                  <a:gd name="T6" fmla="*/ 396 w 435"/>
                  <a:gd name="T7" fmla="*/ 0 h 317"/>
                  <a:gd name="T8" fmla="*/ 435 w 435"/>
                  <a:gd name="T9" fmla="*/ 25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5" h="317">
                    <a:moveTo>
                      <a:pt x="435" y="257"/>
                    </a:moveTo>
                    <a:lnTo>
                      <a:pt x="39" y="317"/>
                    </a:lnTo>
                    <a:lnTo>
                      <a:pt x="0" y="60"/>
                    </a:lnTo>
                    <a:lnTo>
                      <a:pt x="396" y="0"/>
                    </a:lnTo>
                    <a:lnTo>
                      <a:pt x="435" y="25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0" name="Freeform 349">
                <a:extLst>
                  <a:ext uri="{FF2B5EF4-FFF2-40B4-BE49-F238E27FC236}">
                    <a16:creationId xmlns:a16="http://schemas.microsoft.com/office/drawing/2014/main" id="{EEDA03AD-1B6C-450A-82F1-3E3B1857AE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400 w 400"/>
                  <a:gd name="T1" fmla="*/ 234 h 260"/>
                  <a:gd name="T2" fmla="*/ 226 w 400"/>
                  <a:gd name="T3" fmla="*/ 260 h 260"/>
                  <a:gd name="T4" fmla="*/ 400 w 400"/>
                  <a:gd name="T5" fmla="*/ 260 h 260"/>
                  <a:gd name="T6" fmla="*/ 400 w 400"/>
                  <a:gd name="T7" fmla="*/ 234 h 260"/>
                  <a:gd name="T8" fmla="*/ 0 w 400"/>
                  <a:gd name="T9" fmla="*/ 186 h 260"/>
                  <a:gd name="T10" fmla="*/ 0 w 400"/>
                  <a:gd name="T11" fmla="*/ 260 h 260"/>
                  <a:gd name="T12" fmla="*/ 12 w 400"/>
                  <a:gd name="T13" fmla="*/ 260 h 260"/>
                  <a:gd name="T14" fmla="*/ 0 w 400"/>
                  <a:gd name="T15" fmla="*/ 186 h 260"/>
                  <a:gd name="T16" fmla="*/ 165 w 400"/>
                  <a:gd name="T17" fmla="*/ 0 h 260"/>
                  <a:gd name="T18" fmla="*/ 0 w 400"/>
                  <a:gd name="T19" fmla="*/ 0 h 260"/>
                  <a:gd name="T20" fmla="*/ 0 w 400"/>
                  <a:gd name="T21" fmla="*/ 25 h 260"/>
                  <a:gd name="T22" fmla="*/ 165 w 400"/>
                  <a:gd name="T23" fmla="*/ 0 h 260"/>
                  <a:gd name="T24" fmla="*/ 400 w 400"/>
                  <a:gd name="T25" fmla="*/ 0 h 260"/>
                  <a:gd name="T26" fmla="*/ 383 w 400"/>
                  <a:gd name="T27" fmla="*/ 0 h 260"/>
                  <a:gd name="T28" fmla="*/ 400 w 400"/>
                  <a:gd name="T29" fmla="*/ 117 h 260"/>
                  <a:gd name="T30" fmla="*/ 400 w 400"/>
                  <a:gd name="T3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0" h="260">
                    <a:moveTo>
                      <a:pt x="400" y="234"/>
                    </a:moveTo>
                    <a:lnTo>
                      <a:pt x="226" y="260"/>
                    </a:lnTo>
                    <a:lnTo>
                      <a:pt x="400" y="260"/>
                    </a:lnTo>
                    <a:lnTo>
                      <a:pt x="400" y="234"/>
                    </a:lnTo>
                    <a:close/>
                    <a:moveTo>
                      <a:pt x="0" y="186"/>
                    </a:moveTo>
                    <a:lnTo>
                      <a:pt x="0" y="260"/>
                    </a:lnTo>
                    <a:lnTo>
                      <a:pt x="12" y="260"/>
                    </a:lnTo>
                    <a:lnTo>
                      <a:pt x="0" y="186"/>
                    </a:lnTo>
                    <a:close/>
                    <a:moveTo>
                      <a:pt x="165" y="0"/>
                    </a:moveTo>
                    <a:lnTo>
                      <a:pt x="0" y="0"/>
                    </a:lnTo>
                    <a:lnTo>
                      <a:pt x="0" y="25"/>
                    </a:lnTo>
                    <a:lnTo>
                      <a:pt x="165" y="0"/>
                    </a:lnTo>
                    <a:close/>
                    <a:moveTo>
                      <a:pt x="400" y="0"/>
                    </a:moveTo>
                    <a:lnTo>
                      <a:pt x="383" y="0"/>
                    </a:lnTo>
                    <a:lnTo>
                      <a:pt x="400" y="117"/>
                    </a:lnTo>
                    <a:lnTo>
                      <a:pt x="400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1" name="Freeform 350">
                <a:extLst>
                  <a:ext uri="{FF2B5EF4-FFF2-40B4-BE49-F238E27FC236}">
                    <a16:creationId xmlns:a16="http://schemas.microsoft.com/office/drawing/2014/main" id="{94EA1242-9382-4D61-B59C-E324C0CEF9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400 w 400"/>
                  <a:gd name="T1" fmla="*/ 234 h 260"/>
                  <a:gd name="T2" fmla="*/ 226 w 400"/>
                  <a:gd name="T3" fmla="*/ 260 h 260"/>
                  <a:gd name="T4" fmla="*/ 400 w 400"/>
                  <a:gd name="T5" fmla="*/ 260 h 260"/>
                  <a:gd name="T6" fmla="*/ 400 w 400"/>
                  <a:gd name="T7" fmla="*/ 234 h 260"/>
                  <a:gd name="T8" fmla="*/ 0 w 400"/>
                  <a:gd name="T9" fmla="*/ 186 h 260"/>
                  <a:gd name="T10" fmla="*/ 0 w 400"/>
                  <a:gd name="T11" fmla="*/ 260 h 260"/>
                  <a:gd name="T12" fmla="*/ 12 w 400"/>
                  <a:gd name="T13" fmla="*/ 260 h 260"/>
                  <a:gd name="T14" fmla="*/ 0 w 400"/>
                  <a:gd name="T15" fmla="*/ 186 h 260"/>
                  <a:gd name="T16" fmla="*/ 165 w 400"/>
                  <a:gd name="T17" fmla="*/ 0 h 260"/>
                  <a:gd name="T18" fmla="*/ 0 w 400"/>
                  <a:gd name="T19" fmla="*/ 0 h 260"/>
                  <a:gd name="T20" fmla="*/ 0 w 400"/>
                  <a:gd name="T21" fmla="*/ 25 h 260"/>
                  <a:gd name="T22" fmla="*/ 165 w 400"/>
                  <a:gd name="T23" fmla="*/ 0 h 260"/>
                  <a:gd name="T24" fmla="*/ 400 w 400"/>
                  <a:gd name="T25" fmla="*/ 0 h 260"/>
                  <a:gd name="T26" fmla="*/ 383 w 400"/>
                  <a:gd name="T27" fmla="*/ 0 h 260"/>
                  <a:gd name="T28" fmla="*/ 400 w 400"/>
                  <a:gd name="T29" fmla="*/ 117 h 260"/>
                  <a:gd name="T30" fmla="*/ 400 w 400"/>
                  <a:gd name="T3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0" h="260">
                    <a:moveTo>
                      <a:pt x="400" y="234"/>
                    </a:moveTo>
                    <a:lnTo>
                      <a:pt x="226" y="260"/>
                    </a:lnTo>
                    <a:lnTo>
                      <a:pt x="400" y="260"/>
                    </a:lnTo>
                    <a:lnTo>
                      <a:pt x="400" y="234"/>
                    </a:lnTo>
                    <a:moveTo>
                      <a:pt x="0" y="186"/>
                    </a:moveTo>
                    <a:lnTo>
                      <a:pt x="0" y="260"/>
                    </a:lnTo>
                    <a:lnTo>
                      <a:pt x="12" y="260"/>
                    </a:lnTo>
                    <a:lnTo>
                      <a:pt x="0" y="186"/>
                    </a:lnTo>
                    <a:moveTo>
                      <a:pt x="165" y="0"/>
                    </a:moveTo>
                    <a:lnTo>
                      <a:pt x="0" y="0"/>
                    </a:lnTo>
                    <a:lnTo>
                      <a:pt x="0" y="25"/>
                    </a:lnTo>
                    <a:lnTo>
                      <a:pt x="165" y="0"/>
                    </a:lnTo>
                    <a:moveTo>
                      <a:pt x="400" y="0"/>
                    </a:moveTo>
                    <a:lnTo>
                      <a:pt x="383" y="0"/>
                    </a:lnTo>
                    <a:lnTo>
                      <a:pt x="400" y="117"/>
                    </a:lnTo>
                    <a:lnTo>
                      <a:pt x="40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2" name="Freeform 351">
                <a:extLst>
                  <a:ext uri="{FF2B5EF4-FFF2-40B4-BE49-F238E27FC236}">
                    <a16:creationId xmlns:a16="http://schemas.microsoft.com/office/drawing/2014/main" id="{50A2B9DA-02EA-4494-ADD1-5E28ED918D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62" y="888"/>
                <a:ext cx="215" cy="260"/>
              </a:xfrm>
              <a:custGeom>
                <a:avLst/>
                <a:gdLst>
                  <a:gd name="T0" fmla="*/ 215 w 215"/>
                  <a:gd name="T1" fmla="*/ 228 h 260"/>
                  <a:gd name="T2" fmla="*/ 0 w 215"/>
                  <a:gd name="T3" fmla="*/ 260 h 260"/>
                  <a:gd name="T4" fmla="*/ 41 w 215"/>
                  <a:gd name="T5" fmla="*/ 260 h 260"/>
                  <a:gd name="T6" fmla="*/ 215 w 215"/>
                  <a:gd name="T7" fmla="*/ 234 h 260"/>
                  <a:gd name="T8" fmla="*/ 215 w 215"/>
                  <a:gd name="T9" fmla="*/ 228 h 260"/>
                  <a:gd name="T10" fmla="*/ 198 w 215"/>
                  <a:gd name="T11" fmla="*/ 0 h 260"/>
                  <a:gd name="T12" fmla="*/ 192 w 215"/>
                  <a:gd name="T13" fmla="*/ 0 h 260"/>
                  <a:gd name="T14" fmla="*/ 215 w 215"/>
                  <a:gd name="T15" fmla="*/ 156 h 260"/>
                  <a:gd name="T16" fmla="*/ 215 w 215"/>
                  <a:gd name="T17" fmla="*/ 117 h 260"/>
                  <a:gd name="T18" fmla="*/ 198 w 215"/>
                  <a:gd name="T1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5" h="260">
                    <a:moveTo>
                      <a:pt x="215" y="228"/>
                    </a:moveTo>
                    <a:lnTo>
                      <a:pt x="0" y="260"/>
                    </a:lnTo>
                    <a:lnTo>
                      <a:pt x="41" y="260"/>
                    </a:lnTo>
                    <a:lnTo>
                      <a:pt x="215" y="234"/>
                    </a:lnTo>
                    <a:lnTo>
                      <a:pt x="215" y="228"/>
                    </a:lnTo>
                    <a:close/>
                    <a:moveTo>
                      <a:pt x="198" y="0"/>
                    </a:moveTo>
                    <a:lnTo>
                      <a:pt x="192" y="0"/>
                    </a:lnTo>
                    <a:lnTo>
                      <a:pt x="215" y="156"/>
                    </a:lnTo>
                    <a:lnTo>
                      <a:pt x="215" y="117"/>
                    </a:lnTo>
                    <a:lnTo>
                      <a:pt x="198" y="0"/>
                    </a:lnTo>
                    <a:close/>
                  </a:path>
                </a:pathLst>
              </a:custGeom>
              <a:solidFill>
                <a:srgbClr val="7862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3" name="Freeform 352">
                <a:extLst>
                  <a:ext uri="{FF2B5EF4-FFF2-40B4-BE49-F238E27FC236}">
                    <a16:creationId xmlns:a16="http://schemas.microsoft.com/office/drawing/2014/main" id="{FE8C425A-8CEB-4F94-988E-EC904B03D0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62" y="888"/>
                <a:ext cx="215" cy="260"/>
              </a:xfrm>
              <a:custGeom>
                <a:avLst/>
                <a:gdLst>
                  <a:gd name="T0" fmla="*/ 215 w 215"/>
                  <a:gd name="T1" fmla="*/ 228 h 260"/>
                  <a:gd name="T2" fmla="*/ 0 w 215"/>
                  <a:gd name="T3" fmla="*/ 260 h 260"/>
                  <a:gd name="T4" fmla="*/ 41 w 215"/>
                  <a:gd name="T5" fmla="*/ 260 h 260"/>
                  <a:gd name="T6" fmla="*/ 215 w 215"/>
                  <a:gd name="T7" fmla="*/ 234 h 260"/>
                  <a:gd name="T8" fmla="*/ 215 w 215"/>
                  <a:gd name="T9" fmla="*/ 228 h 260"/>
                  <a:gd name="T10" fmla="*/ 198 w 215"/>
                  <a:gd name="T11" fmla="*/ 0 h 260"/>
                  <a:gd name="T12" fmla="*/ 192 w 215"/>
                  <a:gd name="T13" fmla="*/ 0 h 260"/>
                  <a:gd name="T14" fmla="*/ 215 w 215"/>
                  <a:gd name="T15" fmla="*/ 156 h 260"/>
                  <a:gd name="T16" fmla="*/ 215 w 215"/>
                  <a:gd name="T17" fmla="*/ 117 h 260"/>
                  <a:gd name="T18" fmla="*/ 198 w 215"/>
                  <a:gd name="T1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5" h="260">
                    <a:moveTo>
                      <a:pt x="215" y="228"/>
                    </a:moveTo>
                    <a:lnTo>
                      <a:pt x="0" y="260"/>
                    </a:lnTo>
                    <a:lnTo>
                      <a:pt x="41" y="260"/>
                    </a:lnTo>
                    <a:lnTo>
                      <a:pt x="215" y="234"/>
                    </a:lnTo>
                    <a:lnTo>
                      <a:pt x="215" y="228"/>
                    </a:lnTo>
                    <a:moveTo>
                      <a:pt x="198" y="0"/>
                    </a:moveTo>
                    <a:lnTo>
                      <a:pt x="192" y="0"/>
                    </a:lnTo>
                    <a:lnTo>
                      <a:pt x="215" y="156"/>
                    </a:lnTo>
                    <a:lnTo>
                      <a:pt x="215" y="117"/>
                    </a:lnTo>
                    <a:lnTo>
                      <a:pt x="19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4" name="Freeform 353">
                <a:extLst>
                  <a:ext uri="{FF2B5EF4-FFF2-40B4-BE49-F238E27FC236}">
                    <a16:creationId xmlns:a16="http://schemas.microsoft.com/office/drawing/2014/main" id="{CE36DA48-5493-42CA-A086-D0F41E39A2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377 w 400"/>
                  <a:gd name="T1" fmla="*/ 0 h 260"/>
                  <a:gd name="T2" fmla="*/ 165 w 400"/>
                  <a:gd name="T3" fmla="*/ 0 h 260"/>
                  <a:gd name="T4" fmla="*/ 0 w 400"/>
                  <a:gd name="T5" fmla="*/ 25 h 260"/>
                  <a:gd name="T6" fmla="*/ 0 w 400"/>
                  <a:gd name="T7" fmla="*/ 186 h 260"/>
                  <a:gd name="T8" fmla="*/ 12 w 400"/>
                  <a:gd name="T9" fmla="*/ 260 h 260"/>
                  <a:gd name="T10" fmla="*/ 185 w 400"/>
                  <a:gd name="T11" fmla="*/ 260 h 260"/>
                  <a:gd name="T12" fmla="*/ 400 w 400"/>
                  <a:gd name="T13" fmla="*/ 228 h 260"/>
                  <a:gd name="T14" fmla="*/ 400 w 400"/>
                  <a:gd name="T15" fmla="*/ 156 h 260"/>
                  <a:gd name="T16" fmla="*/ 377 w 400"/>
                  <a:gd name="T17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0" h="260">
                    <a:moveTo>
                      <a:pt x="377" y="0"/>
                    </a:moveTo>
                    <a:lnTo>
                      <a:pt x="165" y="0"/>
                    </a:lnTo>
                    <a:lnTo>
                      <a:pt x="0" y="25"/>
                    </a:lnTo>
                    <a:lnTo>
                      <a:pt x="0" y="186"/>
                    </a:lnTo>
                    <a:lnTo>
                      <a:pt x="12" y="260"/>
                    </a:lnTo>
                    <a:lnTo>
                      <a:pt x="185" y="260"/>
                    </a:lnTo>
                    <a:lnTo>
                      <a:pt x="400" y="228"/>
                    </a:lnTo>
                    <a:lnTo>
                      <a:pt x="400" y="156"/>
                    </a:lnTo>
                    <a:lnTo>
                      <a:pt x="377" y="0"/>
                    </a:lnTo>
                    <a:close/>
                  </a:path>
                </a:pathLst>
              </a:custGeom>
              <a:solidFill>
                <a:srgbClr val="B3AF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5" name="Freeform 354">
                <a:extLst>
                  <a:ext uri="{FF2B5EF4-FFF2-40B4-BE49-F238E27FC236}">
                    <a16:creationId xmlns:a16="http://schemas.microsoft.com/office/drawing/2014/main" id="{65256C17-12CD-499C-9879-5224FE64A9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377 w 400"/>
                  <a:gd name="T1" fmla="*/ 0 h 260"/>
                  <a:gd name="T2" fmla="*/ 165 w 400"/>
                  <a:gd name="T3" fmla="*/ 0 h 260"/>
                  <a:gd name="T4" fmla="*/ 0 w 400"/>
                  <a:gd name="T5" fmla="*/ 25 h 260"/>
                  <a:gd name="T6" fmla="*/ 0 w 400"/>
                  <a:gd name="T7" fmla="*/ 186 h 260"/>
                  <a:gd name="T8" fmla="*/ 12 w 400"/>
                  <a:gd name="T9" fmla="*/ 260 h 260"/>
                  <a:gd name="T10" fmla="*/ 185 w 400"/>
                  <a:gd name="T11" fmla="*/ 260 h 260"/>
                  <a:gd name="T12" fmla="*/ 400 w 400"/>
                  <a:gd name="T13" fmla="*/ 228 h 260"/>
                  <a:gd name="T14" fmla="*/ 400 w 400"/>
                  <a:gd name="T15" fmla="*/ 156 h 260"/>
                  <a:gd name="T16" fmla="*/ 377 w 400"/>
                  <a:gd name="T17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0" h="260">
                    <a:moveTo>
                      <a:pt x="377" y="0"/>
                    </a:moveTo>
                    <a:lnTo>
                      <a:pt x="165" y="0"/>
                    </a:lnTo>
                    <a:lnTo>
                      <a:pt x="0" y="25"/>
                    </a:lnTo>
                    <a:lnTo>
                      <a:pt x="0" y="186"/>
                    </a:lnTo>
                    <a:lnTo>
                      <a:pt x="12" y="260"/>
                    </a:lnTo>
                    <a:lnTo>
                      <a:pt x="185" y="260"/>
                    </a:lnTo>
                    <a:lnTo>
                      <a:pt x="400" y="228"/>
                    </a:lnTo>
                    <a:lnTo>
                      <a:pt x="400" y="156"/>
                    </a:lnTo>
                    <a:lnTo>
                      <a:pt x="37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6" name="Rectangle 355">
                <a:extLst>
                  <a:ext uri="{FF2B5EF4-FFF2-40B4-BE49-F238E27FC236}">
                    <a16:creationId xmlns:a16="http://schemas.microsoft.com/office/drawing/2014/main" id="{5D9088E9-EE67-4A3E-BF04-C976C2EF6B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2" y="882"/>
                <a:ext cx="400" cy="26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7" name="Freeform 356">
                <a:extLst>
                  <a:ext uri="{FF2B5EF4-FFF2-40B4-BE49-F238E27FC236}">
                    <a16:creationId xmlns:a16="http://schemas.microsoft.com/office/drawing/2014/main" id="{00D702F8-A621-4BA8-BEC2-7F5C99C23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4" y="1270"/>
                <a:ext cx="166" cy="100"/>
              </a:xfrm>
              <a:custGeom>
                <a:avLst/>
                <a:gdLst>
                  <a:gd name="T0" fmla="*/ 304 w 304"/>
                  <a:gd name="T1" fmla="*/ 172 h 183"/>
                  <a:gd name="T2" fmla="*/ 98 w 304"/>
                  <a:gd name="T3" fmla="*/ 4 h 183"/>
                  <a:gd name="T4" fmla="*/ 8 w 304"/>
                  <a:gd name="T5" fmla="*/ 0 h 183"/>
                  <a:gd name="T6" fmla="*/ 0 w 304"/>
                  <a:gd name="T7" fmla="*/ 7 h 183"/>
                  <a:gd name="T8" fmla="*/ 0 w 304"/>
                  <a:gd name="T9" fmla="*/ 9 h 183"/>
                  <a:gd name="T10" fmla="*/ 44 w 304"/>
                  <a:gd name="T11" fmla="*/ 17 h 183"/>
                  <a:gd name="T12" fmla="*/ 95 w 304"/>
                  <a:gd name="T13" fmla="*/ 14 h 183"/>
                  <a:gd name="T14" fmla="*/ 302 w 304"/>
                  <a:gd name="T15" fmla="*/ 183 h 183"/>
                  <a:gd name="T16" fmla="*/ 304 w 304"/>
                  <a:gd name="T17" fmla="*/ 172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4" h="183">
                    <a:moveTo>
                      <a:pt x="304" y="172"/>
                    </a:moveTo>
                    <a:cubicBezTo>
                      <a:pt x="304" y="172"/>
                      <a:pt x="123" y="13"/>
                      <a:pt x="98" y="4"/>
                    </a:cubicBezTo>
                    <a:cubicBezTo>
                      <a:pt x="76" y="2"/>
                      <a:pt x="25" y="0"/>
                      <a:pt x="8" y="0"/>
                    </a:cubicBezTo>
                    <a:cubicBezTo>
                      <a:pt x="4" y="0"/>
                      <a:pt x="0" y="3"/>
                      <a:pt x="0" y="7"/>
                    </a:cubicBezTo>
                    <a:cubicBezTo>
                      <a:pt x="0" y="8"/>
                      <a:pt x="0" y="8"/>
                      <a:pt x="0" y="9"/>
                    </a:cubicBezTo>
                    <a:cubicBezTo>
                      <a:pt x="6" y="18"/>
                      <a:pt x="33" y="17"/>
                      <a:pt x="44" y="17"/>
                    </a:cubicBezTo>
                    <a:cubicBezTo>
                      <a:pt x="56" y="16"/>
                      <a:pt x="83" y="11"/>
                      <a:pt x="95" y="14"/>
                    </a:cubicBezTo>
                    <a:cubicBezTo>
                      <a:pt x="147" y="43"/>
                      <a:pt x="302" y="183"/>
                      <a:pt x="302" y="183"/>
                    </a:cubicBezTo>
                    <a:cubicBezTo>
                      <a:pt x="304" y="172"/>
                      <a:pt x="304" y="172"/>
                      <a:pt x="304" y="172"/>
                    </a:cubicBezTo>
                  </a:path>
                </a:pathLst>
              </a:custGeom>
              <a:solidFill>
                <a:srgbClr val="19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8" name="Freeform 357">
                <a:extLst>
                  <a:ext uri="{FF2B5EF4-FFF2-40B4-BE49-F238E27FC236}">
                    <a16:creationId xmlns:a16="http://schemas.microsoft.com/office/drawing/2014/main" id="{3F852924-712C-458F-8648-8A2C247DBA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4" y="1234"/>
                <a:ext cx="101" cy="166"/>
              </a:xfrm>
              <a:custGeom>
                <a:avLst/>
                <a:gdLst>
                  <a:gd name="T0" fmla="*/ 11 w 184"/>
                  <a:gd name="T1" fmla="*/ 0 h 304"/>
                  <a:gd name="T2" fmla="*/ 179 w 184"/>
                  <a:gd name="T3" fmla="*/ 205 h 304"/>
                  <a:gd name="T4" fmla="*/ 184 w 184"/>
                  <a:gd name="T5" fmla="*/ 295 h 304"/>
                  <a:gd name="T6" fmla="*/ 176 w 184"/>
                  <a:gd name="T7" fmla="*/ 304 h 304"/>
                  <a:gd name="T8" fmla="*/ 175 w 184"/>
                  <a:gd name="T9" fmla="*/ 304 h 304"/>
                  <a:gd name="T10" fmla="*/ 167 w 184"/>
                  <a:gd name="T11" fmla="*/ 259 h 304"/>
                  <a:gd name="T12" fmla="*/ 169 w 184"/>
                  <a:gd name="T13" fmla="*/ 209 h 304"/>
                  <a:gd name="T14" fmla="*/ 0 w 184"/>
                  <a:gd name="T15" fmla="*/ 2 h 304"/>
                  <a:gd name="T16" fmla="*/ 11 w 184"/>
                  <a:gd name="T17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4" h="304">
                    <a:moveTo>
                      <a:pt x="11" y="0"/>
                    </a:moveTo>
                    <a:cubicBezTo>
                      <a:pt x="11" y="0"/>
                      <a:pt x="170" y="180"/>
                      <a:pt x="179" y="205"/>
                    </a:cubicBezTo>
                    <a:cubicBezTo>
                      <a:pt x="181" y="228"/>
                      <a:pt x="183" y="278"/>
                      <a:pt x="184" y="295"/>
                    </a:cubicBezTo>
                    <a:cubicBezTo>
                      <a:pt x="184" y="300"/>
                      <a:pt x="181" y="304"/>
                      <a:pt x="176" y="304"/>
                    </a:cubicBezTo>
                    <a:cubicBezTo>
                      <a:pt x="176" y="304"/>
                      <a:pt x="175" y="304"/>
                      <a:pt x="175" y="304"/>
                    </a:cubicBezTo>
                    <a:cubicBezTo>
                      <a:pt x="165" y="298"/>
                      <a:pt x="166" y="271"/>
                      <a:pt x="167" y="259"/>
                    </a:cubicBezTo>
                    <a:cubicBezTo>
                      <a:pt x="168" y="247"/>
                      <a:pt x="172" y="220"/>
                      <a:pt x="169" y="209"/>
                    </a:cubicBezTo>
                    <a:cubicBezTo>
                      <a:pt x="140" y="156"/>
                      <a:pt x="0" y="2"/>
                      <a:pt x="0" y="2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19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9" name="Freeform 358">
                <a:extLst>
                  <a:ext uri="{FF2B5EF4-FFF2-40B4-BE49-F238E27FC236}">
                    <a16:creationId xmlns:a16="http://schemas.microsoft.com/office/drawing/2014/main" id="{5E5CC89C-BE8D-4F18-9042-5B9C3B1F75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0" y="1305"/>
                <a:ext cx="86" cy="91"/>
              </a:xfrm>
              <a:custGeom>
                <a:avLst/>
                <a:gdLst>
                  <a:gd name="T0" fmla="*/ 148 w 156"/>
                  <a:gd name="T1" fmla="*/ 104 h 167"/>
                  <a:gd name="T2" fmla="*/ 48 w 156"/>
                  <a:gd name="T3" fmla="*/ 3 h 167"/>
                  <a:gd name="T4" fmla="*/ 36 w 156"/>
                  <a:gd name="T5" fmla="*/ 3 h 167"/>
                  <a:gd name="T6" fmla="*/ 30 w 156"/>
                  <a:gd name="T7" fmla="*/ 10 h 167"/>
                  <a:gd name="T8" fmla="*/ 0 w 156"/>
                  <a:gd name="T9" fmla="*/ 76 h 167"/>
                  <a:gd name="T10" fmla="*/ 16 w 156"/>
                  <a:gd name="T11" fmla="*/ 121 h 167"/>
                  <a:gd name="T12" fmla="*/ 53 w 156"/>
                  <a:gd name="T13" fmla="*/ 154 h 167"/>
                  <a:gd name="T14" fmla="*/ 129 w 156"/>
                  <a:gd name="T15" fmla="*/ 138 h 167"/>
                  <a:gd name="T16" fmla="*/ 148 w 156"/>
                  <a:gd name="T17" fmla="*/ 104 h 167"/>
                  <a:gd name="T18" fmla="*/ 124 w 156"/>
                  <a:gd name="T19" fmla="*/ 130 h 167"/>
                  <a:gd name="T20" fmla="*/ 57 w 156"/>
                  <a:gd name="T21" fmla="*/ 146 h 167"/>
                  <a:gd name="T22" fmla="*/ 34 w 156"/>
                  <a:gd name="T23" fmla="*/ 129 h 167"/>
                  <a:gd name="T24" fmla="*/ 23 w 156"/>
                  <a:gd name="T25" fmla="*/ 116 h 167"/>
                  <a:gd name="T26" fmla="*/ 8 w 156"/>
                  <a:gd name="T27" fmla="*/ 76 h 167"/>
                  <a:gd name="T28" fmla="*/ 36 w 156"/>
                  <a:gd name="T29" fmla="*/ 16 h 167"/>
                  <a:gd name="T30" fmla="*/ 41 w 156"/>
                  <a:gd name="T31" fmla="*/ 10 h 167"/>
                  <a:gd name="T32" fmla="*/ 43 w 156"/>
                  <a:gd name="T33" fmla="*/ 11 h 167"/>
                  <a:gd name="T34" fmla="*/ 94 w 156"/>
                  <a:gd name="T35" fmla="*/ 53 h 167"/>
                  <a:gd name="T36" fmla="*/ 141 w 156"/>
                  <a:gd name="T37" fmla="*/ 108 h 167"/>
                  <a:gd name="T38" fmla="*/ 124 w 156"/>
                  <a:gd name="T39" fmla="*/ 13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6" h="167">
                    <a:moveTo>
                      <a:pt x="148" y="104"/>
                    </a:moveTo>
                    <a:cubicBezTo>
                      <a:pt x="129" y="74"/>
                      <a:pt x="78" y="22"/>
                      <a:pt x="48" y="3"/>
                    </a:cubicBezTo>
                    <a:cubicBezTo>
                      <a:pt x="45" y="2"/>
                      <a:pt x="39" y="0"/>
                      <a:pt x="36" y="3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12" y="27"/>
                      <a:pt x="0" y="51"/>
                      <a:pt x="0" y="76"/>
                    </a:cubicBezTo>
                    <a:cubicBezTo>
                      <a:pt x="0" y="91"/>
                      <a:pt x="6" y="107"/>
                      <a:pt x="16" y="121"/>
                    </a:cubicBezTo>
                    <a:cubicBezTo>
                      <a:pt x="26" y="135"/>
                      <a:pt x="39" y="147"/>
                      <a:pt x="53" y="154"/>
                    </a:cubicBezTo>
                    <a:cubicBezTo>
                      <a:pt x="79" y="167"/>
                      <a:pt x="113" y="149"/>
                      <a:pt x="129" y="138"/>
                    </a:cubicBezTo>
                    <a:cubicBezTo>
                      <a:pt x="136" y="132"/>
                      <a:pt x="156" y="115"/>
                      <a:pt x="148" y="104"/>
                    </a:cubicBezTo>
                    <a:moveTo>
                      <a:pt x="124" y="130"/>
                    </a:moveTo>
                    <a:cubicBezTo>
                      <a:pt x="112" y="139"/>
                      <a:pt x="80" y="158"/>
                      <a:pt x="57" y="146"/>
                    </a:cubicBezTo>
                    <a:cubicBezTo>
                      <a:pt x="49" y="142"/>
                      <a:pt x="41" y="136"/>
                      <a:pt x="34" y="129"/>
                    </a:cubicBezTo>
                    <a:cubicBezTo>
                      <a:pt x="30" y="125"/>
                      <a:pt x="26" y="120"/>
                      <a:pt x="23" y="116"/>
                    </a:cubicBezTo>
                    <a:cubicBezTo>
                      <a:pt x="13" y="102"/>
                      <a:pt x="8" y="88"/>
                      <a:pt x="8" y="76"/>
                    </a:cubicBezTo>
                    <a:cubicBezTo>
                      <a:pt x="8" y="55"/>
                      <a:pt x="18" y="33"/>
                      <a:pt x="36" y="16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2" y="10"/>
                      <a:pt x="43" y="11"/>
                      <a:pt x="43" y="11"/>
                    </a:cubicBezTo>
                    <a:cubicBezTo>
                      <a:pt x="56" y="19"/>
                      <a:pt x="75" y="34"/>
                      <a:pt x="94" y="53"/>
                    </a:cubicBezTo>
                    <a:cubicBezTo>
                      <a:pt x="113" y="73"/>
                      <a:pt x="131" y="94"/>
                      <a:pt x="141" y="108"/>
                    </a:cubicBezTo>
                    <a:cubicBezTo>
                      <a:pt x="143" y="112"/>
                      <a:pt x="133" y="124"/>
                      <a:pt x="124" y="13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0" name="Freeform 359">
                <a:extLst>
                  <a:ext uri="{FF2B5EF4-FFF2-40B4-BE49-F238E27FC236}">
                    <a16:creationId xmlns:a16="http://schemas.microsoft.com/office/drawing/2014/main" id="{62940D13-D518-489A-B1ED-431F94A1F9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0" y="1310"/>
                <a:ext cx="56" cy="76"/>
              </a:xfrm>
              <a:custGeom>
                <a:avLst/>
                <a:gdLst>
                  <a:gd name="T0" fmla="*/ 10 w 102"/>
                  <a:gd name="T1" fmla="*/ 24 h 139"/>
                  <a:gd name="T2" fmla="*/ 39 w 102"/>
                  <a:gd name="T3" fmla="*/ 66 h 139"/>
                  <a:gd name="T4" fmla="*/ 43 w 102"/>
                  <a:gd name="T5" fmla="*/ 139 h 139"/>
                  <a:gd name="T6" fmla="*/ 86 w 102"/>
                  <a:gd name="T7" fmla="*/ 121 h 139"/>
                  <a:gd name="T8" fmla="*/ 86 w 102"/>
                  <a:gd name="T9" fmla="*/ 121 h 139"/>
                  <a:gd name="T10" fmla="*/ 87 w 102"/>
                  <a:gd name="T11" fmla="*/ 121 h 139"/>
                  <a:gd name="T12" fmla="*/ 87 w 102"/>
                  <a:gd name="T13" fmla="*/ 121 h 139"/>
                  <a:gd name="T14" fmla="*/ 87 w 102"/>
                  <a:gd name="T15" fmla="*/ 120 h 139"/>
                  <a:gd name="T16" fmla="*/ 87 w 102"/>
                  <a:gd name="T17" fmla="*/ 120 h 139"/>
                  <a:gd name="T18" fmla="*/ 102 w 102"/>
                  <a:gd name="T19" fmla="*/ 105 h 139"/>
                  <a:gd name="T20" fmla="*/ 10 w 102"/>
                  <a:gd name="T21" fmla="*/ 24 h 139"/>
                  <a:gd name="T22" fmla="*/ 4 w 102"/>
                  <a:gd name="T23" fmla="*/ 0 h 139"/>
                  <a:gd name="T24" fmla="*/ 0 w 102"/>
                  <a:gd name="T25" fmla="*/ 5 h 139"/>
                  <a:gd name="T26" fmla="*/ 95 w 102"/>
                  <a:gd name="T27" fmla="*/ 86 h 139"/>
                  <a:gd name="T28" fmla="*/ 57 w 102"/>
                  <a:gd name="T29" fmla="*/ 43 h 139"/>
                  <a:gd name="T30" fmla="*/ 6 w 102"/>
                  <a:gd name="T31" fmla="*/ 1 h 139"/>
                  <a:gd name="T32" fmla="*/ 4 w 102"/>
                  <a:gd name="T33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2" h="139">
                    <a:moveTo>
                      <a:pt x="10" y="24"/>
                    </a:moveTo>
                    <a:cubicBezTo>
                      <a:pt x="26" y="44"/>
                      <a:pt x="37" y="60"/>
                      <a:pt x="39" y="66"/>
                    </a:cubicBezTo>
                    <a:cubicBezTo>
                      <a:pt x="41" y="83"/>
                      <a:pt x="42" y="117"/>
                      <a:pt x="43" y="139"/>
                    </a:cubicBezTo>
                    <a:cubicBezTo>
                      <a:pt x="60" y="137"/>
                      <a:pt x="77" y="127"/>
                      <a:pt x="86" y="121"/>
                    </a:cubicBezTo>
                    <a:cubicBezTo>
                      <a:pt x="86" y="121"/>
                      <a:pt x="86" y="121"/>
                      <a:pt x="86" y="121"/>
                    </a:cubicBezTo>
                    <a:cubicBezTo>
                      <a:pt x="86" y="121"/>
                      <a:pt x="86" y="121"/>
                      <a:pt x="87" y="121"/>
                    </a:cubicBezTo>
                    <a:cubicBezTo>
                      <a:pt x="87" y="121"/>
                      <a:pt x="87" y="121"/>
                      <a:pt x="87" y="121"/>
                    </a:cubicBezTo>
                    <a:cubicBezTo>
                      <a:pt x="87" y="121"/>
                      <a:pt x="87" y="120"/>
                      <a:pt x="87" y="120"/>
                    </a:cubicBezTo>
                    <a:cubicBezTo>
                      <a:pt x="87" y="120"/>
                      <a:pt x="87" y="120"/>
                      <a:pt x="87" y="120"/>
                    </a:cubicBezTo>
                    <a:cubicBezTo>
                      <a:pt x="93" y="116"/>
                      <a:pt x="99" y="110"/>
                      <a:pt x="102" y="105"/>
                    </a:cubicBezTo>
                    <a:cubicBezTo>
                      <a:pt x="89" y="93"/>
                      <a:pt x="51" y="59"/>
                      <a:pt x="10" y="24"/>
                    </a:cubicBezTo>
                    <a:moveTo>
                      <a:pt x="4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37" y="36"/>
                      <a:pt x="75" y="69"/>
                      <a:pt x="95" y="86"/>
                    </a:cubicBezTo>
                    <a:cubicBezTo>
                      <a:pt x="85" y="73"/>
                      <a:pt x="71" y="58"/>
                      <a:pt x="57" y="43"/>
                    </a:cubicBezTo>
                    <a:cubicBezTo>
                      <a:pt x="38" y="24"/>
                      <a:pt x="19" y="9"/>
                      <a:pt x="6" y="1"/>
                    </a:cubicBezTo>
                    <a:cubicBezTo>
                      <a:pt x="6" y="1"/>
                      <a:pt x="5" y="0"/>
                      <a:pt x="4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1" name="Freeform 360">
                <a:extLst>
                  <a:ext uri="{FF2B5EF4-FFF2-40B4-BE49-F238E27FC236}">
                    <a16:creationId xmlns:a16="http://schemas.microsoft.com/office/drawing/2014/main" id="{B5214982-566F-44C0-88CA-121AF66844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9" y="1313"/>
                <a:ext cx="58" cy="55"/>
              </a:xfrm>
              <a:custGeom>
                <a:avLst/>
                <a:gdLst>
                  <a:gd name="T0" fmla="*/ 3 w 107"/>
                  <a:gd name="T1" fmla="*/ 0 h 100"/>
                  <a:gd name="T2" fmla="*/ 2 w 107"/>
                  <a:gd name="T3" fmla="*/ 1 h 100"/>
                  <a:gd name="T4" fmla="*/ 0 w 107"/>
                  <a:gd name="T5" fmla="*/ 3 h 100"/>
                  <a:gd name="T6" fmla="*/ 13 w 107"/>
                  <a:gd name="T7" fmla="*/ 19 h 100"/>
                  <a:gd name="T8" fmla="*/ 105 w 107"/>
                  <a:gd name="T9" fmla="*/ 100 h 100"/>
                  <a:gd name="T10" fmla="*/ 107 w 107"/>
                  <a:gd name="T11" fmla="*/ 95 h 100"/>
                  <a:gd name="T12" fmla="*/ 107 w 107"/>
                  <a:gd name="T13" fmla="*/ 93 h 100"/>
                  <a:gd name="T14" fmla="*/ 98 w 107"/>
                  <a:gd name="T15" fmla="*/ 81 h 100"/>
                  <a:gd name="T16" fmla="*/ 3 w 107"/>
                  <a:gd name="T17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7" h="100">
                    <a:moveTo>
                      <a:pt x="3" y="0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1" y="2"/>
                      <a:pt x="0" y="2"/>
                      <a:pt x="0" y="3"/>
                    </a:cubicBezTo>
                    <a:cubicBezTo>
                      <a:pt x="4" y="9"/>
                      <a:pt x="9" y="14"/>
                      <a:pt x="13" y="19"/>
                    </a:cubicBezTo>
                    <a:cubicBezTo>
                      <a:pt x="54" y="54"/>
                      <a:pt x="92" y="88"/>
                      <a:pt x="105" y="100"/>
                    </a:cubicBezTo>
                    <a:cubicBezTo>
                      <a:pt x="106" y="98"/>
                      <a:pt x="107" y="96"/>
                      <a:pt x="107" y="95"/>
                    </a:cubicBezTo>
                    <a:cubicBezTo>
                      <a:pt x="107" y="94"/>
                      <a:pt x="107" y="94"/>
                      <a:pt x="107" y="93"/>
                    </a:cubicBezTo>
                    <a:cubicBezTo>
                      <a:pt x="104" y="90"/>
                      <a:pt x="101" y="86"/>
                      <a:pt x="98" y="81"/>
                    </a:cubicBezTo>
                    <a:cubicBezTo>
                      <a:pt x="78" y="64"/>
                      <a:pt x="40" y="31"/>
                      <a:pt x="3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2" name="Freeform 361">
                <a:extLst>
                  <a:ext uri="{FF2B5EF4-FFF2-40B4-BE49-F238E27FC236}">
                    <a16:creationId xmlns:a16="http://schemas.microsoft.com/office/drawing/2014/main" id="{55FDCFF2-EA98-4569-8E96-FBEA99DE9F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1318"/>
                <a:ext cx="33" cy="68"/>
              </a:xfrm>
              <a:custGeom>
                <a:avLst/>
                <a:gdLst>
                  <a:gd name="T0" fmla="*/ 20 w 61"/>
                  <a:gd name="T1" fmla="*/ 0 h 123"/>
                  <a:gd name="T2" fmla="*/ 0 w 61"/>
                  <a:gd name="T3" fmla="*/ 51 h 123"/>
                  <a:gd name="T4" fmla="*/ 0 w 61"/>
                  <a:gd name="T5" fmla="*/ 51 h 123"/>
                  <a:gd name="T6" fmla="*/ 15 w 61"/>
                  <a:gd name="T7" fmla="*/ 91 h 123"/>
                  <a:gd name="T8" fmla="*/ 26 w 61"/>
                  <a:gd name="T9" fmla="*/ 104 h 123"/>
                  <a:gd name="T10" fmla="*/ 49 w 61"/>
                  <a:gd name="T11" fmla="*/ 121 h 123"/>
                  <a:gd name="T12" fmla="*/ 56 w 61"/>
                  <a:gd name="T13" fmla="*/ 123 h 123"/>
                  <a:gd name="T14" fmla="*/ 56 w 61"/>
                  <a:gd name="T15" fmla="*/ 105 h 123"/>
                  <a:gd name="T16" fmla="*/ 58 w 61"/>
                  <a:gd name="T17" fmla="*/ 55 h 123"/>
                  <a:gd name="T18" fmla="*/ 20 w 61"/>
                  <a:gd name="T19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123">
                    <a:moveTo>
                      <a:pt x="20" y="0"/>
                    </a:moveTo>
                    <a:cubicBezTo>
                      <a:pt x="7" y="16"/>
                      <a:pt x="0" y="34"/>
                      <a:pt x="0" y="51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63"/>
                      <a:pt x="5" y="78"/>
                      <a:pt x="15" y="91"/>
                    </a:cubicBezTo>
                    <a:cubicBezTo>
                      <a:pt x="18" y="95"/>
                      <a:pt x="22" y="100"/>
                      <a:pt x="26" y="104"/>
                    </a:cubicBezTo>
                    <a:cubicBezTo>
                      <a:pt x="33" y="111"/>
                      <a:pt x="41" y="117"/>
                      <a:pt x="49" y="121"/>
                    </a:cubicBezTo>
                    <a:cubicBezTo>
                      <a:pt x="51" y="122"/>
                      <a:pt x="53" y="123"/>
                      <a:pt x="56" y="123"/>
                    </a:cubicBezTo>
                    <a:cubicBezTo>
                      <a:pt x="55" y="117"/>
                      <a:pt x="56" y="110"/>
                      <a:pt x="56" y="105"/>
                    </a:cubicBezTo>
                    <a:cubicBezTo>
                      <a:pt x="57" y="93"/>
                      <a:pt x="61" y="66"/>
                      <a:pt x="58" y="55"/>
                    </a:cubicBezTo>
                    <a:cubicBezTo>
                      <a:pt x="51" y="42"/>
                      <a:pt x="37" y="22"/>
                      <a:pt x="20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3" name="Freeform 362">
                <a:extLst>
                  <a:ext uri="{FF2B5EF4-FFF2-40B4-BE49-F238E27FC236}">
                    <a16:creationId xmlns:a16="http://schemas.microsoft.com/office/drawing/2014/main" id="{51BBE0B3-C676-4902-BAD3-0FB9B903F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1315"/>
                <a:ext cx="28" cy="72"/>
              </a:xfrm>
              <a:custGeom>
                <a:avLst/>
                <a:gdLst>
                  <a:gd name="T0" fmla="*/ 6 w 52"/>
                  <a:gd name="T1" fmla="*/ 0 h 132"/>
                  <a:gd name="T2" fmla="*/ 0 w 52"/>
                  <a:gd name="T3" fmla="*/ 7 h 132"/>
                  <a:gd name="T4" fmla="*/ 38 w 52"/>
                  <a:gd name="T5" fmla="*/ 62 h 132"/>
                  <a:gd name="T6" fmla="*/ 36 w 52"/>
                  <a:gd name="T7" fmla="*/ 112 h 132"/>
                  <a:gd name="T8" fmla="*/ 36 w 52"/>
                  <a:gd name="T9" fmla="*/ 130 h 132"/>
                  <a:gd name="T10" fmla="*/ 46 w 52"/>
                  <a:gd name="T11" fmla="*/ 132 h 132"/>
                  <a:gd name="T12" fmla="*/ 46 w 52"/>
                  <a:gd name="T13" fmla="*/ 132 h 132"/>
                  <a:gd name="T14" fmla="*/ 46 w 52"/>
                  <a:gd name="T15" fmla="*/ 132 h 132"/>
                  <a:gd name="T16" fmla="*/ 52 w 52"/>
                  <a:gd name="T17" fmla="*/ 131 h 132"/>
                  <a:gd name="T18" fmla="*/ 48 w 52"/>
                  <a:gd name="T19" fmla="*/ 58 h 132"/>
                  <a:gd name="T20" fmla="*/ 19 w 52"/>
                  <a:gd name="T21" fmla="*/ 16 h 132"/>
                  <a:gd name="T22" fmla="*/ 6 w 52"/>
                  <a:gd name="T23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2" h="132">
                    <a:moveTo>
                      <a:pt x="6" y="0"/>
                    </a:moveTo>
                    <a:cubicBezTo>
                      <a:pt x="4" y="2"/>
                      <a:pt x="2" y="5"/>
                      <a:pt x="0" y="7"/>
                    </a:cubicBezTo>
                    <a:cubicBezTo>
                      <a:pt x="17" y="29"/>
                      <a:pt x="31" y="49"/>
                      <a:pt x="38" y="62"/>
                    </a:cubicBezTo>
                    <a:cubicBezTo>
                      <a:pt x="41" y="73"/>
                      <a:pt x="37" y="100"/>
                      <a:pt x="36" y="112"/>
                    </a:cubicBezTo>
                    <a:cubicBezTo>
                      <a:pt x="36" y="117"/>
                      <a:pt x="35" y="124"/>
                      <a:pt x="36" y="130"/>
                    </a:cubicBezTo>
                    <a:cubicBezTo>
                      <a:pt x="39" y="131"/>
                      <a:pt x="42" y="132"/>
                      <a:pt x="46" y="132"/>
                    </a:cubicBezTo>
                    <a:cubicBezTo>
                      <a:pt x="46" y="132"/>
                      <a:pt x="46" y="132"/>
                      <a:pt x="46" y="132"/>
                    </a:cubicBezTo>
                    <a:cubicBezTo>
                      <a:pt x="46" y="132"/>
                      <a:pt x="46" y="132"/>
                      <a:pt x="46" y="132"/>
                    </a:cubicBezTo>
                    <a:cubicBezTo>
                      <a:pt x="48" y="132"/>
                      <a:pt x="50" y="132"/>
                      <a:pt x="52" y="131"/>
                    </a:cubicBezTo>
                    <a:cubicBezTo>
                      <a:pt x="51" y="109"/>
                      <a:pt x="50" y="75"/>
                      <a:pt x="48" y="58"/>
                    </a:cubicBezTo>
                    <a:cubicBezTo>
                      <a:pt x="46" y="52"/>
                      <a:pt x="35" y="36"/>
                      <a:pt x="19" y="16"/>
                    </a:cubicBezTo>
                    <a:cubicBezTo>
                      <a:pt x="15" y="11"/>
                      <a:pt x="10" y="6"/>
                      <a:pt x="6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4" name="Freeform 363">
                <a:extLst>
                  <a:ext uri="{FF2B5EF4-FFF2-40B4-BE49-F238E27FC236}">
                    <a16:creationId xmlns:a16="http://schemas.microsoft.com/office/drawing/2014/main" id="{0438741C-B16F-46F4-8F6C-3CE534E309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" y="1310"/>
                <a:ext cx="72" cy="77"/>
              </a:xfrm>
              <a:custGeom>
                <a:avLst/>
                <a:gdLst>
                  <a:gd name="T0" fmla="*/ 66 w 133"/>
                  <a:gd name="T1" fmla="*/ 140 h 140"/>
                  <a:gd name="T2" fmla="*/ 66 w 133"/>
                  <a:gd name="T3" fmla="*/ 140 h 140"/>
                  <a:gd name="T4" fmla="*/ 66 w 133"/>
                  <a:gd name="T5" fmla="*/ 140 h 140"/>
                  <a:gd name="T6" fmla="*/ 66 w 133"/>
                  <a:gd name="T7" fmla="*/ 140 h 140"/>
                  <a:gd name="T8" fmla="*/ 115 w 133"/>
                  <a:gd name="T9" fmla="*/ 121 h 140"/>
                  <a:gd name="T10" fmla="*/ 72 w 133"/>
                  <a:gd name="T11" fmla="*/ 139 h 140"/>
                  <a:gd name="T12" fmla="*/ 66 w 133"/>
                  <a:gd name="T13" fmla="*/ 140 h 140"/>
                  <a:gd name="T14" fmla="*/ 115 w 133"/>
                  <a:gd name="T15" fmla="*/ 121 h 140"/>
                  <a:gd name="T16" fmla="*/ 116 w 133"/>
                  <a:gd name="T17" fmla="*/ 121 h 140"/>
                  <a:gd name="T18" fmla="*/ 115 w 133"/>
                  <a:gd name="T19" fmla="*/ 121 h 140"/>
                  <a:gd name="T20" fmla="*/ 116 w 133"/>
                  <a:gd name="T21" fmla="*/ 121 h 140"/>
                  <a:gd name="T22" fmla="*/ 116 w 133"/>
                  <a:gd name="T23" fmla="*/ 120 h 140"/>
                  <a:gd name="T24" fmla="*/ 116 w 133"/>
                  <a:gd name="T25" fmla="*/ 121 h 140"/>
                  <a:gd name="T26" fmla="*/ 116 w 133"/>
                  <a:gd name="T27" fmla="*/ 120 h 140"/>
                  <a:gd name="T28" fmla="*/ 33 w 133"/>
                  <a:gd name="T29" fmla="*/ 0 h 140"/>
                  <a:gd name="T30" fmla="*/ 28 w 133"/>
                  <a:gd name="T31" fmla="*/ 6 h 140"/>
                  <a:gd name="T32" fmla="*/ 0 w 133"/>
                  <a:gd name="T33" fmla="*/ 66 h 140"/>
                  <a:gd name="T34" fmla="*/ 0 w 133"/>
                  <a:gd name="T35" fmla="*/ 66 h 140"/>
                  <a:gd name="T36" fmla="*/ 0 w 133"/>
                  <a:gd name="T37" fmla="*/ 66 h 140"/>
                  <a:gd name="T38" fmla="*/ 20 w 133"/>
                  <a:gd name="T39" fmla="*/ 15 h 140"/>
                  <a:gd name="T40" fmla="*/ 26 w 133"/>
                  <a:gd name="T41" fmla="*/ 8 h 140"/>
                  <a:gd name="T42" fmla="*/ 28 w 133"/>
                  <a:gd name="T43" fmla="*/ 6 h 140"/>
                  <a:gd name="T44" fmla="*/ 29 w 133"/>
                  <a:gd name="T45" fmla="*/ 5 h 140"/>
                  <a:gd name="T46" fmla="*/ 33 w 133"/>
                  <a:gd name="T47" fmla="*/ 0 h 140"/>
                  <a:gd name="T48" fmla="*/ 35 w 133"/>
                  <a:gd name="T49" fmla="*/ 1 h 140"/>
                  <a:gd name="T50" fmla="*/ 86 w 133"/>
                  <a:gd name="T51" fmla="*/ 43 h 140"/>
                  <a:gd name="T52" fmla="*/ 124 w 133"/>
                  <a:gd name="T53" fmla="*/ 86 h 140"/>
                  <a:gd name="T54" fmla="*/ 133 w 133"/>
                  <a:gd name="T55" fmla="*/ 98 h 140"/>
                  <a:gd name="T56" fmla="*/ 133 w 133"/>
                  <a:gd name="T57" fmla="*/ 100 h 140"/>
                  <a:gd name="T58" fmla="*/ 133 w 133"/>
                  <a:gd name="T59" fmla="*/ 98 h 140"/>
                  <a:gd name="T60" fmla="*/ 86 w 133"/>
                  <a:gd name="T61" fmla="*/ 43 h 140"/>
                  <a:gd name="T62" fmla="*/ 35 w 133"/>
                  <a:gd name="T63" fmla="*/ 1 h 140"/>
                  <a:gd name="T64" fmla="*/ 33 w 133"/>
                  <a:gd name="T65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3" h="140">
                    <a:moveTo>
                      <a:pt x="66" y="140"/>
                    </a:moveTo>
                    <a:cubicBezTo>
                      <a:pt x="66" y="140"/>
                      <a:pt x="66" y="140"/>
                      <a:pt x="66" y="140"/>
                    </a:cubicBezTo>
                    <a:cubicBezTo>
                      <a:pt x="66" y="140"/>
                      <a:pt x="66" y="140"/>
                      <a:pt x="66" y="140"/>
                    </a:cubicBezTo>
                    <a:cubicBezTo>
                      <a:pt x="66" y="140"/>
                      <a:pt x="66" y="140"/>
                      <a:pt x="66" y="140"/>
                    </a:cubicBezTo>
                    <a:moveTo>
                      <a:pt x="115" y="121"/>
                    </a:moveTo>
                    <a:cubicBezTo>
                      <a:pt x="106" y="127"/>
                      <a:pt x="89" y="137"/>
                      <a:pt x="72" y="139"/>
                    </a:cubicBezTo>
                    <a:cubicBezTo>
                      <a:pt x="70" y="140"/>
                      <a:pt x="68" y="140"/>
                      <a:pt x="66" y="140"/>
                    </a:cubicBezTo>
                    <a:cubicBezTo>
                      <a:pt x="85" y="140"/>
                      <a:pt x="105" y="128"/>
                      <a:pt x="115" y="121"/>
                    </a:cubicBezTo>
                    <a:moveTo>
                      <a:pt x="116" y="121"/>
                    </a:moveTo>
                    <a:cubicBezTo>
                      <a:pt x="115" y="121"/>
                      <a:pt x="115" y="121"/>
                      <a:pt x="115" y="121"/>
                    </a:cubicBezTo>
                    <a:cubicBezTo>
                      <a:pt x="115" y="121"/>
                      <a:pt x="115" y="121"/>
                      <a:pt x="116" y="121"/>
                    </a:cubicBezTo>
                    <a:moveTo>
                      <a:pt x="116" y="120"/>
                    </a:moveTo>
                    <a:cubicBezTo>
                      <a:pt x="116" y="120"/>
                      <a:pt x="116" y="121"/>
                      <a:pt x="116" y="121"/>
                    </a:cubicBezTo>
                    <a:cubicBezTo>
                      <a:pt x="116" y="121"/>
                      <a:pt x="116" y="120"/>
                      <a:pt x="116" y="120"/>
                    </a:cubicBezTo>
                    <a:moveTo>
                      <a:pt x="33" y="0"/>
                    </a:moveTo>
                    <a:cubicBezTo>
                      <a:pt x="28" y="6"/>
                      <a:pt x="28" y="6"/>
                      <a:pt x="28" y="6"/>
                    </a:cubicBezTo>
                    <a:cubicBezTo>
                      <a:pt x="10" y="23"/>
                      <a:pt x="0" y="45"/>
                      <a:pt x="0" y="66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49"/>
                      <a:pt x="7" y="31"/>
                      <a:pt x="20" y="15"/>
                    </a:cubicBezTo>
                    <a:cubicBezTo>
                      <a:pt x="22" y="13"/>
                      <a:pt x="24" y="10"/>
                      <a:pt x="26" y="8"/>
                    </a:cubicBezTo>
                    <a:cubicBezTo>
                      <a:pt x="26" y="7"/>
                      <a:pt x="27" y="7"/>
                      <a:pt x="28" y="6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4" y="0"/>
                      <a:pt x="35" y="1"/>
                      <a:pt x="35" y="1"/>
                    </a:cubicBezTo>
                    <a:cubicBezTo>
                      <a:pt x="48" y="9"/>
                      <a:pt x="67" y="24"/>
                      <a:pt x="86" y="43"/>
                    </a:cubicBezTo>
                    <a:cubicBezTo>
                      <a:pt x="100" y="58"/>
                      <a:pt x="114" y="73"/>
                      <a:pt x="124" y="86"/>
                    </a:cubicBezTo>
                    <a:cubicBezTo>
                      <a:pt x="127" y="91"/>
                      <a:pt x="130" y="95"/>
                      <a:pt x="133" y="98"/>
                    </a:cubicBezTo>
                    <a:cubicBezTo>
                      <a:pt x="133" y="99"/>
                      <a:pt x="133" y="99"/>
                      <a:pt x="133" y="100"/>
                    </a:cubicBezTo>
                    <a:cubicBezTo>
                      <a:pt x="133" y="99"/>
                      <a:pt x="133" y="99"/>
                      <a:pt x="133" y="98"/>
                    </a:cubicBezTo>
                    <a:cubicBezTo>
                      <a:pt x="123" y="84"/>
                      <a:pt x="105" y="63"/>
                      <a:pt x="86" y="43"/>
                    </a:cubicBezTo>
                    <a:cubicBezTo>
                      <a:pt x="67" y="24"/>
                      <a:pt x="48" y="9"/>
                      <a:pt x="35" y="1"/>
                    </a:cubicBezTo>
                    <a:cubicBezTo>
                      <a:pt x="35" y="1"/>
                      <a:pt x="34" y="0"/>
                      <a:pt x="33" y="0"/>
                    </a:cubicBezTo>
                  </a:path>
                </a:pathLst>
              </a:custGeom>
              <a:solidFill>
                <a:srgbClr val="48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5" name="Freeform 364">
                <a:extLst>
                  <a:ext uri="{FF2B5EF4-FFF2-40B4-BE49-F238E27FC236}">
                    <a16:creationId xmlns:a16="http://schemas.microsoft.com/office/drawing/2014/main" id="{495BA7B8-2B4A-4EB9-AF60-41D9BAC3B2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8" y="1229"/>
                <a:ext cx="91" cy="85"/>
              </a:xfrm>
              <a:custGeom>
                <a:avLst/>
                <a:gdLst>
                  <a:gd name="T0" fmla="*/ 163 w 167"/>
                  <a:gd name="T1" fmla="*/ 108 h 156"/>
                  <a:gd name="T2" fmla="*/ 63 w 167"/>
                  <a:gd name="T3" fmla="*/ 8 h 156"/>
                  <a:gd name="T4" fmla="*/ 29 w 167"/>
                  <a:gd name="T5" fmla="*/ 27 h 156"/>
                  <a:gd name="T6" fmla="*/ 13 w 167"/>
                  <a:gd name="T7" fmla="*/ 103 h 156"/>
                  <a:gd name="T8" fmla="*/ 46 w 167"/>
                  <a:gd name="T9" fmla="*/ 140 h 156"/>
                  <a:gd name="T10" fmla="*/ 91 w 167"/>
                  <a:gd name="T11" fmla="*/ 156 h 156"/>
                  <a:gd name="T12" fmla="*/ 157 w 167"/>
                  <a:gd name="T13" fmla="*/ 126 h 156"/>
                  <a:gd name="T14" fmla="*/ 163 w 167"/>
                  <a:gd name="T15" fmla="*/ 120 h 156"/>
                  <a:gd name="T16" fmla="*/ 163 w 167"/>
                  <a:gd name="T17" fmla="*/ 108 h 156"/>
                  <a:gd name="T18" fmla="*/ 151 w 167"/>
                  <a:gd name="T19" fmla="*/ 120 h 156"/>
                  <a:gd name="T20" fmla="*/ 91 w 167"/>
                  <a:gd name="T21" fmla="*/ 147 h 156"/>
                  <a:gd name="T22" fmla="*/ 51 w 167"/>
                  <a:gd name="T23" fmla="*/ 133 h 156"/>
                  <a:gd name="T24" fmla="*/ 38 w 167"/>
                  <a:gd name="T25" fmla="*/ 122 h 156"/>
                  <a:gd name="T26" fmla="*/ 21 w 167"/>
                  <a:gd name="T27" fmla="*/ 99 h 156"/>
                  <a:gd name="T28" fmla="*/ 36 w 167"/>
                  <a:gd name="T29" fmla="*/ 32 h 156"/>
                  <a:gd name="T30" fmla="*/ 58 w 167"/>
                  <a:gd name="T31" fmla="*/ 15 h 156"/>
                  <a:gd name="T32" fmla="*/ 114 w 167"/>
                  <a:gd name="T33" fmla="*/ 62 h 156"/>
                  <a:gd name="T34" fmla="*/ 156 w 167"/>
                  <a:gd name="T35" fmla="*/ 113 h 156"/>
                  <a:gd name="T36" fmla="*/ 157 w 167"/>
                  <a:gd name="T37" fmla="*/ 114 h 156"/>
                  <a:gd name="T38" fmla="*/ 151 w 167"/>
                  <a:gd name="T39" fmla="*/ 12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7" h="156">
                    <a:moveTo>
                      <a:pt x="163" y="108"/>
                    </a:moveTo>
                    <a:cubicBezTo>
                      <a:pt x="145" y="78"/>
                      <a:pt x="93" y="27"/>
                      <a:pt x="63" y="8"/>
                    </a:cubicBezTo>
                    <a:cubicBezTo>
                      <a:pt x="51" y="0"/>
                      <a:pt x="34" y="19"/>
                      <a:pt x="29" y="27"/>
                    </a:cubicBezTo>
                    <a:cubicBezTo>
                      <a:pt x="18" y="43"/>
                      <a:pt x="0" y="76"/>
                      <a:pt x="13" y="103"/>
                    </a:cubicBezTo>
                    <a:cubicBezTo>
                      <a:pt x="20" y="117"/>
                      <a:pt x="32" y="130"/>
                      <a:pt x="46" y="140"/>
                    </a:cubicBezTo>
                    <a:cubicBezTo>
                      <a:pt x="60" y="150"/>
                      <a:pt x="76" y="156"/>
                      <a:pt x="91" y="156"/>
                    </a:cubicBezTo>
                    <a:cubicBezTo>
                      <a:pt x="116" y="156"/>
                      <a:pt x="139" y="144"/>
                      <a:pt x="157" y="126"/>
                    </a:cubicBezTo>
                    <a:cubicBezTo>
                      <a:pt x="163" y="120"/>
                      <a:pt x="163" y="120"/>
                      <a:pt x="163" y="120"/>
                    </a:cubicBezTo>
                    <a:cubicBezTo>
                      <a:pt x="167" y="117"/>
                      <a:pt x="165" y="111"/>
                      <a:pt x="163" y="108"/>
                    </a:cubicBezTo>
                    <a:moveTo>
                      <a:pt x="151" y="120"/>
                    </a:moveTo>
                    <a:cubicBezTo>
                      <a:pt x="133" y="137"/>
                      <a:pt x="112" y="147"/>
                      <a:pt x="91" y="147"/>
                    </a:cubicBezTo>
                    <a:cubicBezTo>
                      <a:pt x="79" y="148"/>
                      <a:pt x="64" y="142"/>
                      <a:pt x="51" y="133"/>
                    </a:cubicBezTo>
                    <a:cubicBezTo>
                      <a:pt x="46" y="130"/>
                      <a:pt x="42" y="126"/>
                      <a:pt x="38" y="122"/>
                    </a:cubicBezTo>
                    <a:cubicBezTo>
                      <a:pt x="31" y="115"/>
                      <a:pt x="25" y="107"/>
                      <a:pt x="21" y="99"/>
                    </a:cubicBezTo>
                    <a:cubicBezTo>
                      <a:pt x="9" y="76"/>
                      <a:pt x="28" y="44"/>
                      <a:pt x="36" y="32"/>
                    </a:cubicBezTo>
                    <a:cubicBezTo>
                      <a:pt x="43" y="22"/>
                      <a:pt x="55" y="13"/>
                      <a:pt x="58" y="15"/>
                    </a:cubicBezTo>
                    <a:cubicBezTo>
                      <a:pt x="73" y="24"/>
                      <a:pt x="94" y="42"/>
                      <a:pt x="114" y="62"/>
                    </a:cubicBezTo>
                    <a:cubicBezTo>
                      <a:pt x="133" y="81"/>
                      <a:pt x="148" y="100"/>
                      <a:pt x="156" y="113"/>
                    </a:cubicBezTo>
                    <a:cubicBezTo>
                      <a:pt x="156" y="113"/>
                      <a:pt x="156" y="114"/>
                      <a:pt x="157" y="114"/>
                    </a:cubicBezTo>
                    <a:cubicBezTo>
                      <a:pt x="151" y="120"/>
                      <a:pt x="151" y="120"/>
                      <a:pt x="151" y="12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6" name="Freeform 365">
                <a:extLst>
                  <a:ext uri="{FF2B5EF4-FFF2-40B4-BE49-F238E27FC236}">
                    <a16:creationId xmlns:a16="http://schemas.microsoft.com/office/drawing/2014/main" id="{CACDA52B-611F-4AF0-99C4-8B0470C53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9" y="1294"/>
                <a:ext cx="21" cy="21"/>
              </a:xfrm>
              <a:custGeom>
                <a:avLst/>
                <a:gdLst>
                  <a:gd name="T0" fmla="*/ 39 w 39"/>
                  <a:gd name="T1" fmla="*/ 29 h 38"/>
                  <a:gd name="T2" fmla="*/ 8 w 39"/>
                  <a:gd name="T3" fmla="*/ 0 h 38"/>
                  <a:gd name="T4" fmla="*/ 0 w 39"/>
                  <a:gd name="T5" fmla="*/ 9 h 38"/>
                  <a:gd name="T6" fmla="*/ 31 w 39"/>
                  <a:gd name="T7" fmla="*/ 38 h 38"/>
                  <a:gd name="T8" fmla="*/ 39 w 39"/>
                  <a:gd name="T9" fmla="*/ 2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8">
                    <a:moveTo>
                      <a:pt x="39" y="29"/>
                    </a:moveTo>
                    <a:cubicBezTo>
                      <a:pt x="31" y="17"/>
                      <a:pt x="21" y="7"/>
                      <a:pt x="8" y="0"/>
                    </a:cubicBezTo>
                    <a:cubicBezTo>
                      <a:pt x="6" y="3"/>
                      <a:pt x="3" y="6"/>
                      <a:pt x="0" y="9"/>
                    </a:cubicBezTo>
                    <a:cubicBezTo>
                      <a:pt x="12" y="16"/>
                      <a:pt x="23" y="26"/>
                      <a:pt x="31" y="38"/>
                    </a:cubicBezTo>
                    <a:cubicBezTo>
                      <a:pt x="33" y="35"/>
                      <a:pt x="36" y="32"/>
                      <a:pt x="39" y="29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7" name="Freeform 366">
                <a:extLst>
                  <a:ext uri="{FF2B5EF4-FFF2-40B4-BE49-F238E27FC236}">
                    <a16:creationId xmlns:a16="http://schemas.microsoft.com/office/drawing/2014/main" id="{BD44EC43-DBC3-48DB-8578-B56C5C6CC9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18" y="1238"/>
                <a:ext cx="68" cy="71"/>
              </a:xfrm>
              <a:custGeom>
                <a:avLst/>
                <a:gdLst>
                  <a:gd name="T0" fmla="*/ 58 w 124"/>
                  <a:gd name="T1" fmla="*/ 71 h 130"/>
                  <a:gd name="T2" fmla="*/ 18 w 124"/>
                  <a:gd name="T3" fmla="*/ 75 h 130"/>
                  <a:gd name="T4" fmla="*/ 5 w 124"/>
                  <a:gd name="T5" fmla="*/ 75 h 130"/>
                  <a:gd name="T6" fmla="*/ 0 w 124"/>
                  <a:gd name="T7" fmla="*/ 75 h 130"/>
                  <a:gd name="T8" fmla="*/ 3 w 124"/>
                  <a:gd name="T9" fmla="*/ 82 h 130"/>
                  <a:gd name="T10" fmla="*/ 20 w 124"/>
                  <a:gd name="T11" fmla="*/ 105 h 130"/>
                  <a:gd name="T12" fmla="*/ 33 w 124"/>
                  <a:gd name="T13" fmla="*/ 116 h 130"/>
                  <a:gd name="T14" fmla="*/ 73 w 124"/>
                  <a:gd name="T15" fmla="*/ 130 h 130"/>
                  <a:gd name="T16" fmla="*/ 73 w 124"/>
                  <a:gd name="T17" fmla="*/ 130 h 130"/>
                  <a:gd name="T18" fmla="*/ 124 w 124"/>
                  <a:gd name="T19" fmla="*/ 111 h 130"/>
                  <a:gd name="T20" fmla="*/ 69 w 124"/>
                  <a:gd name="T21" fmla="*/ 72 h 130"/>
                  <a:gd name="T22" fmla="*/ 58 w 124"/>
                  <a:gd name="T23" fmla="*/ 71 h 130"/>
                  <a:gd name="T24" fmla="*/ 34 w 124"/>
                  <a:gd name="T25" fmla="*/ 0 h 130"/>
                  <a:gd name="T26" fmla="*/ 18 w 124"/>
                  <a:gd name="T27" fmla="*/ 15 h 130"/>
                  <a:gd name="T28" fmla="*/ 0 w 124"/>
                  <a:gd name="T29" fmla="*/ 58 h 130"/>
                  <a:gd name="T30" fmla="*/ 72 w 124"/>
                  <a:gd name="T31" fmla="*/ 62 h 130"/>
                  <a:gd name="T32" fmla="*/ 114 w 124"/>
                  <a:gd name="T33" fmla="*/ 92 h 130"/>
                  <a:gd name="T34" fmla="*/ 34 w 124"/>
                  <a:gd name="T35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4" h="130">
                    <a:moveTo>
                      <a:pt x="58" y="71"/>
                    </a:moveTo>
                    <a:cubicBezTo>
                      <a:pt x="45" y="71"/>
                      <a:pt x="27" y="74"/>
                      <a:pt x="18" y="75"/>
                    </a:cubicBezTo>
                    <a:cubicBezTo>
                      <a:pt x="15" y="75"/>
                      <a:pt x="10" y="75"/>
                      <a:pt x="5" y="75"/>
                    </a:cubicBezTo>
                    <a:cubicBezTo>
                      <a:pt x="4" y="75"/>
                      <a:pt x="2" y="75"/>
                      <a:pt x="0" y="75"/>
                    </a:cubicBezTo>
                    <a:cubicBezTo>
                      <a:pt x="1" y="77"/>
                      <a:pt x="2" y="80"/>
                      <a:pt x="3" y="82"/>
                    </a:cubicBezTo>
                    <a:cubicBezTo>
                      <a:pt x="7" y="90"/>
                      <a:pt x="13" y="98"/>
                      <a:pt x="20" y="105"/>
                    </a:cubicBezTo>
                    <a:cubicBezTo>
                      <a:pt x="24" y="109"/>
                      <a:pt x="28" y="113"/>
                      <a:pt x="33" y="116"/>
                    </a:cubicBezTo>
                    <a:cubicBezTo>
                      <a:pt x="46" y="125"/>
                      <a:pt x="60" y="130"/>
                      <a:pt x="73" y="130"/>
                    </a:cubicBezTo>
                    <a:cubicBezTo>
                      <a:pt x="73" y="130"/>
                      <a:pt x="73" y="130"/>
                      <a:pt x="73" y="130"/>
                    </a:cubicBezTo>
                    <a:cubicBezTo>
                      <a:pt x="90" y="130"/>
                      <a:pt x="108" y="124"/>
                      <a:pt x="124" y="111"/>
                    </a:cubicBezTo>
                    <a:cubicBezTo>
                      <a:pt x="102" y="94"/>
                      <a:pt x="82" y="79"/>
                      <a:pt x="69" y="72"/>
                    </a:cubicBezTo>
                    <a:cubicBezTo>
                      <a:pt x="66" y="72"/>
                      <a:pt x="62" y="71"/>
                      <a:pt x="58" y="71"/>
                    </a:cubicBezTo>
                    <a:moveTo>
                      <a:pt x="34" y="0"/>
                    </a:moveTo>
                    <a:cubicBezTo>
                      <a:pt x="29" y="3"/>
                      <a:pt x="23" y="9"/>
                      <a:pt x="18" y="15"/>
                    </a:cubicBezTo>
                    <a:cubicBezTo>
                      <a:pt x="13" y="23"/>
                      <a:pt x="2" y="41"/>
                      <a:pt x="0" y="58"/>
                    </a:cubicBezTo>
                    <a:cubicBezTo>
                      <a:pt x="22" y="59"/>
                      <a:pt x="55" y="61"/>
                      <a:pt x="72" y="62"/>
                    </a:cubicBezTo>
                    <a:cubicBezTo>
                      <a:pt x="79" y="64"/>
                      <a:pt x="94" y="76"/>
                      <a:pt x="114" y="92"/>
                    </a:cubicBezTo>
                    <a:cubicBezTo>
                      <a:pt x="80" y="51"/>
                      <a:pt x="46" y="13"/>
                      <a:pt x="34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8" name="Freeform 367">
                <a:extLst>
                  <a:ext uri="{FF2B5EF4-FFF2-40B4-BE49-F238E27FC236}">
                    <a16:creationId xmlns:a16="http://schemas.microsoft.com/office/drawing/2014/main" id="{620DCD07-A940-42F3-BCA2-B54A631486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270"/>
                <a:ext cx="71" cy="29"/>
              </a:xfrm>
              <a:custGeom>
                <a:avLst/>
                <a:gdLst>
                  <a:gd name="T0" fmla="*/ 1 w 129"/>
                  <a:gd name="T1" fmla="*/ 0 h 53"/>
                  <a:gd name="T2" fmla="*/ 0 w 129"/>
                  <a:gd name="T3" fmla="*/ 7 h 53"/>
                  <a:gd name="T4" fmla="*/ 1 w 129"/>
                  <a:gd name="T5" fmla="*/ 17 h 53"/>
                  <a:gd name="T6" fmla="*/ 6 w 129"/>
                  <a:gd name="T7" fmla="*/ 17 h 53"/>
                  <a:gd name="T8" fmla="*/ 19 w 129"/>
                  <a:gd name="T9" fmla="*/ 17 h 53"/>
                  <a:gd name="T10" fmla="*/ 59 w 129"/>
                  <a:gd name="T11" fmla="*/ 13 h 53"/>
                  <a:gd name="T12" fmla="*/ 70 w 129"/>
                  <a:gd name="T13" fmla="*/ 14 h 53"/>
                  <a:gd name="T14" fmla="*/ 125 w 129"/>
                  <a:gd name="T15" fmla="*/ 53 h 53"/>
                  <a:gd name="T16" fmla="*/ 129 w 129"/>
                  <a:gd name="T17" fmla="*/ 50 h 53"/>
                  <a:gd name="T18" fmla="*/ 115 w 129"/>
                  <a:gd name="T19" fmla="*/ 34 h 53"/>
                  <a:gd name="T20" fmla="*/ 73 w 129"/>
                  <a:gd name="T21" fmla="*/ 4 h 53"/>
                  <a:gd name="T22" fmla="*/ 1 w 129"/>
                  <a:gd name="T23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9" h="53">
                    <a:moveTo>
                      <a:pt x="1" y="0"/>
                    </a:moveTo>
                    <a:cubicBezTo>
                      <a:pt x="0" y="3"/>
                      <a:pt x="0" y="5"/>
                      <a:pt x="0" y="7"/>
                    </a:cubicBezTo>
                    <a:cubicBezTo>
                      <a:pt x="0" y="11"/>
                      <a:pt x="1" y="14"/>
                      <a:pt x="1" y="17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11" y="17"/>
                      <a:pt x="16" y="17"/>
                      <a:pt x="19" y="17"/>
                    </a:cubicBezTo>
                    <a:cubicBezTo>
                      <a:pt x="28" y="16"/>
                      <a:pt x="46" y="13"/>
                      <a:pt x="59" y="13"/>
                    </a:cubicBezTo>
                    <a:cubicBezTo>
                      <a:pt x="63" y="13"/>
                      <a:pt x="67" y="14"/>
                      <a:pt x="70" y="14"/>
                    </a:cubicBezTo>
                    <a:cubicBezTo>
                      <a:pt x="83" y="21"/>
                      <a:pt x="103" y="36"/>
                      <a:pt x="125" y="53"/>
                    </a:cubicBezTo>
                    <a:cubicBezTo>
                      <a:pt x="126" y="52"/>
                      <a:pt x="127" y="51"/>
                      <a:pt x="129" y="50"/>
                    </a:cubicBezTo>
                    <a:cubicBezTo>
                      <a:pt x="124" y="44"/>
                      <a:pt x="120" y="39"/>
                      <a:pt x="115" y="34"/>
                    </a:cubicBezTo>
                    <a:cubicBezTo>
                      <a:pt x="95" y="18"/>
                      <a:pt x="80" y="6"/>
                      <a:pt x="73" y="4"/>
                    </a:cubicBezTo>
                    <a:cubicBezTo>
                      <a:pt x="56" y="3"/>
                      <a:pt x="23" y="1"/>
                      <a:pt x="1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9" name="Freeform 368">
                <a:extLst>
                  <a:ext uri="{FF2B5EF4-FFF2-40B4-BE49-F238E27FC236}">
                    <a16:creationId xmlns:a16="http://schemas.microsoft.com/office/drawing/2014/main" id="{7BE2DF5E-8710-4894-8955-1D8FCC9B1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7" y="1242"/>
                <a:ext cx="47" cy="52"/>
              </a:xfrm>
              <a:custGeom>
                <a:avLst/>
                <a:gdLst>
                  <a:gd name="T0" fmla="*/ 0 w 86"/>
                  <a:gd name="T1" fmla="*/ 0 h 95"/>
                  <a:gd name="T2" fmla="*/ 81 w 86"/>
                  <a:gd name="T3" fmla="*/ 95 h 95"/>
                  <a:gd name="T4" fmla="*/ 86 w 86"/>
                  <a:gd name="T5" fmla="*/ 90 h 95"/>
                  <a:gd name="T6" fmla="*/ 85 w 86"/>
                  <a:gd name="T7" fmla="*/ 89 h 95"/>
                  <a:gd name="T8" fmla="*/ 43 w 86"/>
                  <a:gd name="T9" fmla="*/ 38 h 95"/>
                  <a:gd name="T10" fmla="*/ 0 w 86"/>
                  <a:gd name="T11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6" h="95">
                    <a:moveTo>
                      <a:pt x="0" y="0"/>
                    </a:moveTo>
                    <a:cubicBezTo>
                      <a:pt x="17" y="20"/>
                      <a:pt x="50" y="58"/>
                      <a:pt x="81" y="95"/>
                    </a:cubicBezTo>
                    <a:cubicBezTo>
                      <a:pt x="86" y="90"/>
                      <a:pt x="86" y="90"/>
                      <a:pt x="86" y="90"/>
                    </a:cubicBezTo>
                    <a:cubicBezTo>
                      <a:pt x="85" y="90"/>
                      <a:pt x="85" y="89"/>
                      <a:pt x="85" y="89"/>
                    </a:cubicBezTo>
                    <a:cubicBezTo>
                      <a:pt x="77" y="76"/>
                      <a:pt x="62" y="57"/>
                      <a:pt x="43" y="38"/>
                    </a:cubicBezTo>
                    <a:cubicBezTo>
                      <a:pt x="28" y="23"/>
                      <a:pt x="12" y="10"/>
                      <a:pt x="0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0" name="Freeform 369">
                <a:extLst>
                  <a:ext uri="{FF2B5EF4-FFF2-40B4-BE49-F238E27FC236}">
                    <a16:creationId xmlns:a16="http://schemas.microsoft.com/office/drawing/2014/main" id="{37102B75-C423-4133-9187-B00C03598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7" y="1237"/>
                <a:ext cx="54" cy="60"/>
              </a:xfrm>
              <a:custGeom>
                <a:avLst/>
                <a:gdLst>
                  <a:gd name="T0" fmla="*/ 5 w 100"/>
                  <a:gd name="T1" fmla="*/ 0 h 110"/>
                  <a:gd name="T2" fmla="*/ 0 w 100"/>
                  <a:gd name="T3" fmla="*/ 2 h 110"/>
                  <a:gd name="T4" fmla="*/ 80 w 100"/>
                  <a:gd name="T5" fmla="*/ 94 h 110"/>
                  <a:gd name="T6" fmla="*/ 94 w 100"/>
                  <a:gd name="T7" fmla="*/ 110 h 110"/>
                  <a:gd name="T8" fmla="*/ 99 w 100"/>
                  <a:gd name="T9" fmla="*/ 105 h 110"/>
                  <a:gd name="T10" fmla="*/ 100 w 100"/>
                  <a:gd name="T11" fmla="*/ 104 h 110"/>
                  <a:gd name="T12" fmla="*/ 19 w 100"/>
                  <a:gd name="T13" fmla="*/ 9 h 110"/>
                  <a:gd name="T14" fmla="*/ 6 w 100"/>
                  <a:gd name="T15" fmla="*/ 0 h 110"/>
                  <a:gd name="T16" fmla="*/ 5 w 100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110">
                    <a:moveTo>
                      <a:pt x="5" y="0"/>
                    </a:moveTo>
                    <a:cubicBezTo>
                      <a:pt x="4" y="0"/>
                      <a:pt x="2" y="0"/>
                      <a:pt x="0" y="2"/>
                    </a:cubicBezTo>
                    <a:cubicBezTo>
                      <a:pt x="12" y="15"/>
                      <a:pt x="46" y="53"/>
                      <a:pt x="80" y="94"/>
                    </a:cubicBezTo>
                    <a:cubicBezTo>
                      <a:pt x="85" y="99"/>
                      <a:pt x="89" y="104"/>
                      <a:pt x="94" y="110"/>
                    </a:cubicBezTo>
                    <a:cubicBezTo>
                      <a:pt x="95" y="108"/>
                      <a:pt x="97" y="107"/>
                      <a:pt x="99" y="105"/>
                    </a:cubicBezTo>
                    <a:cubicBezTo>
                      <a:pt x="100" y="104"/>
                      <a:pt x="100" y="104"/>
                      <a:pt x="100" y="104"/>
                    </a:cubicBezTo>
                    <a:cubicBezTo>
                      <a:pt x="69" y="67"/>
                      <a:pt x="36" y="29"/>
                      <a:pt x="19" y="9"/>
                    </a:cubicBezTo>
                    <a:cubicBezTo>
                      <a:pt x="14" y="5"/>
                      <a:pt x="10" y="3"/>
                      <a:pt x="6" y="0"/>
                    </a:cubicBezTo>
                    <a:cubicBezTo>
                      <a:pt x="6" y="0"/>
                      <a:pt x="6" y="0"/>
                      <a:pt x="5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1" name="Freeform 370">
                <a:extLst>
                  <a:ext uri="{FF2B5EF4-FFF2-40B4-BE49-F238E27FC236}">
                    <a16:creationId xmlns:a16="http://schemas.microsoft.com/office/drawing/2014/main" id="{82ADC757-9319-48E7-8A35-BC7A3D1D1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237"/>
                <a:ext cx="77" cy="54"/>
              </a:xfrm>
              <a:custGeom>
                <a:avLst/>
                <a:gdLst>
                  <a:gd name="T0" fmla="*/ 40 w 140"/>
                  <a:gd name="T1" fmla="*/ 0 h 99"/>
                  <a:gd name="T2" fmla="*/ 19 w 140"/>
                  <a:gd name="T3" fmla="*/ 17 h 99"/>
                  <a:gd name="T4" fmla="*/ 0 w 140"/>
                  <a:gd name="T5" fmla="*/ 67 h 99"/>
                  <a:gd name="T6" fmla="*/ 1 w 140"/>
                  <a:gd name="T7" fmla="*/ 60 h 99"/>
                  <a:gd name="T8" fmla="*/ 19 w 140"/>
                  <a:gd name="T9" fmla="*/ 17 h 99"/>
                  <a:gd name="T10" fmla="*/ 35 w 140"/>
                  <a:gd name="T11" fmla="*/ 2 h 99"/>
                  <a:gd name="T12" fmla="*/ 40 w 140"/>
                  <a:gd name="T13" fmla="*/ 0 h 99"/>
                  <a:gd name="T14" fmla="*/ 41 w 140"/>
                  <a:gd name="T15" fmla="*/ 0 h 99"/>
                  <a:gd name="T16" fmla="*/ 54 w 140"/>
                  <a:gd name="T17" fmla="*/ 9 h 99"/>
                  <a:gd name="T18" fmla="*/ 97 w 140"/>
                  <a:gd name="T19" fmla="*/ 47 h 99"/>
                  <a:gd name="T20" fmla="*/ 139 w 140"/>
                  <a:gd name="T21" fmla="*/ 98 h 99"/>
                  <a:gd name="T22" fmla="*/ 140 w 140"/>
                  <a:gd name="T23" fmla="*/ 99 h 99"/>
                  <a:gd name="T24" fmla="*/ 140 w 140"/>
                  <a:gd name="T25" fmla="*/ 99 h 99"/>
                  <a:gd name="T26" fmla="*/ 139 w 140"/>
                  <a:gd name="T27" fmla="*/ 98 h 99"/>
                  <a:gd name="T28" fmla="*/ 97 w 140"/>
                  <a:gd name="T29" fmla="*/ 47 h 99"/>
                  <a:gd name="T30" fmla="*/ 41 w 140"/>
                  <a:gd name="T31" fmla="*/ 0 h 99"/>
                  <a:gd name="T32" fmla="*/ 40 w 140"/>
                  <a:gd name="T3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0" h="99">
                    <a:moveTo>
                      <a:pt x="40" y="0"/>
                    </a:moveTo>
                    <a:cubicBezTo>
                      <a:pt x="35" y="0"/>
                      <a:pt x="25" y="8"/>
                      <a:pt x="19" y="17"/>
                    </a:cubicBezTo>
                    <a:cubicBezTo>
                      <a:pt x="13" y="26"/>
                      <a:pt x="0" y="48"/>
                      <a:pt x="0" y="67"/>
                    </a:cubicBezTo>
                    <a:cubicBezTo>
                      <a:pt x="0" y="65"/>
                      <a:pt x="0" y="63"/>
                      <a:pt x="1" y="60"/>
                    </a:cubicBezTo>
                    <a:cubicBezTo>
                      <a:pt x="3" y="43"/>
                      <a:pt x="14" y="25"/>
                      <a:pt x="19" y="17"/>
                    </a:cubicBezTo>
                    <a:cubicBezTo>
                      <a:pt x="24" y="11"/>
                      <a:pt x="30" y="5"/>
                      <a:pt x="35" y="2"/>
                    </a:cubicBezTo>
                    <a:cubicBezTo>
                      <a:pt x="37" y="0"/>
                      <a:pt x="39" y="0"/>
                      <a:pt x="40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5" y="3"/>
                      <a:pt x="49" y="5"/>
                      <a:pt x="54" y="9"/>
                    </a:cubicBezTo>
                    <a:cubicBezTo>
                      <a:pt x="66" y="19"/>
                      <a:pt x="82" y="32"/>
                      <a:pt x="97" y="47"/>
                    </a:cubicBezTo>
                    <a:cubicBezTo>
                      <a:pt x="116" y="66"/>
                      <a:pt x="131" y="85"/>
                      <a:pt x="139" y="98"/>
                    </a:cubicBezTo>
                    <a:cubicBezTo>
                      <a:pt x="139" y="98"/>
                      <a:pt x="139" y="99"/>
                      <a:pt x="140" y="99"/>
                    </a:cubicBezTo>
                    <a:cubicBezTo>
                      <a:pt x="140" y="99"/>
                      <a:pt x="140" y="99"/>
                      <a:pt x="140" y="99"/>
                    </a:cubicBezTo>
                    <a:cubicBezTo>
                      <a:pt x="139" y="99"/>
                      <a:pt x="139" y="98"/>
                      <a:pt x="139" y="98"/>
                    </a:cubicBezTo>
                    <a:cubicBezTo>
                      <a:pt x="131" y="85"/>
                      <a:pt x="116" y="66"/>
                      <a:pt x="97" y="47"/>
                    </a:cubicBezTo>
                    <a:cubicBezTo>
                      <a:pt x="77" y="27"/>
                      <a:pt x="56" y="9"/>
                      <a:pt x="41" y="0"/>
                    </a:cubicBezTo>
                    <a:cubicBezTo>
                      <a:pt x="41" y="0"/>
                      <a:pt x="41" y="0"/>
                      <a:pt x="40" y="0"/>
                    </a:cubicBezTo>
                  </a:path>
                </a:pathLst>
              </a:custGeom>
              <a:solidFill>
                <a:srgbClr val="48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2" name="Freeform 371">
                <a:extLst>
                  <a:ext uri="{FF2B5EF4-FFF2-40B4-BE49-F238E27FC236}">
                    <a16:creationId xmlns:a16="http://schemas.microsoft.com/office/drawing/2014/main" id="{B7909B09-4D75-4109-8EBE-ED2424720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0" y="1904"/>
                <a:ext cx="125" cy="31"/>
              </a:xfrm>
              <a:custGeom>
                <a:avLst/>
                <a:gdLst>
                  <a:gd name="T0" fmla="*/ 2 w 125"/>
                  <a:gd name="T1" fmla="*/ 0 h 31"/>
                  <a:gd name="T2" fmla="*/ 0 w 125"/>
                  <a:gd name="T3" fmla="*/ 10 h 31"/>
                  <a:gd name="T4" fmla="*/ 124 w 125"/>
                  <a:gd name="T5" fmla="*/ 31 h 31"/>
                  <a:gd name="T6" fmla="*/ 125 w 125"/>
                  <a:gd name="T7" fmla="*/ 22 h 31"/>
                  <a:gd name="T8" fmla="*/ 2 w 125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31">
                    <a:moveTo>
                      <a:pt x="2" y="0"/>
                    </a:moveTo>
                    <a:lnTo>
                      <a:pt x="0" y="10"/>
                    </a:lnTo>
                    <a:lnTo>
                      <a:pt x="124" y="31"/>
                    </a:lnTo>
                    <a:lnTo>
                      <a:pt x="125" y="2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3" name="Freeform 372">
                <a:extLst>
                  <a:ext uri="{FF2B5EF4-FFF2-40B4-BE49-F238E27FC236}">
                    <a16:creationId xmlns:a16="http://schemas.microsoft.com/office/drawing/2014/main" id="{D3AB4F54-6CC0-4126-829F-75E5416E5C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0" y="1904"/>
                <a:ext cx="125" cy="31"/>
              </a:xfrm>
              <a:custGeom>
                <a:avLst/>
                <a:gdLst>
                  <a:gd name="T0" fmla="*/ 2 w 125"/>
                  <a:gd name="T1" fmla="*/ 0 h 31"/>
                  <a:gd name="T2" fmla="*/ 0 w 125"/>
                  <a:gd name="T3" fmla="*/ 10 h 31"/>
                  <a:gd name="T4" fmla="*/ 124 w 125"/>
                  <a:gd name="T5" fmla="*/ 31 h 31"/>
                  <a:gd name="T6" fmla="*/ 125 w 125"/>
                  <a:gd name="T7" fmla="*/ 22 h 31"/>
                  <a:gd name="T8" fmla="*/ 2 w 125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31">
                    <a:moveTo>
                      <a:pt x="2" y="0"/>
                    </a:moveTo>
                    <a:lnTo>
                      <a:pt x="0" y="10"/>
                    </a:lnTo>
                    <a:lnTo>
                      <a:pt x="124" y="31"/>
                    </a:lnTo>
                    <a:lnTo>
                      <a:pt x="125" y="2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4" name="Freeform 373">
                <a:extLst>
                  <a:ext uri="{FF2B5EF4-FFF2-40B4-BE49-F238E27FC236}">
                    <a16:creationId xmlns:a16="http://schemas.microsoft.com/office/drawing/2014/main" id="{206A8866-9713-40EC-9FF2-84F59C938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8"/>
                <a:ext cx="124" cy="24"/>
              </a:xfrm>
              <a:custGeom>
                <a:avLst/>
                <a:gdLst>
                  <a:gd name="T0" fmla="*/ 0 w 124"/>
                  <a:gd name="T1" fmla="*/ 0 h 24"/>
                  <a:gd name="T2" fmla="*/ 0 w 124"/>
                  <a:gd name="T3" fmla="*/ 3 h 24"/>
                  <a:gd name="T4" fmla="*/ 123 w 124"/>
                  <a:gd name="T5" fmla="*/ 24 h 24"/>
                  <a:gd name="T6" fmla="*/ 124 w 124"/>
                  <a:gd name="T7" fmla="*/ 21 h 24"/>
                  <a:gd name="T8" fmla="*/ 0 w 1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4">
                    <a:moveTo>
                      <a:pt x="0" y="0"/>
                    </a:moveTo>
                    <a:lnTo>
                      <a:pt x="0" y="3"/>
                    </a:lnTo>
                    <a:lnTo>
                      <a:pt x="123" y="24"/>
                    </a:lnTo>
                    <a:lnTo>
                      <a:pt x="124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FD9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5" name="Freeform 374">
                <a:extLst>
                  <a:ext uri="{FF2B5EF4-FFF2-40B4-BE49-F238E27FC236}">
                    <a16:creationId xmlns:a16="http://schemas.microsoft.com/office/drawing/2014/main" id="{50F5B320-CEAB-4C99-AA4E-AA132BF9C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8"/>
                <a:ext cx="124" cy="24"/>
              </a:xfrm>
              <a:custGeom>
                <a:avLst/>
                <a:gdLst>
                  <a:gd name="T0" fmla="*/ 0 w 124"/>
                  <a:gd name="T1" fmla="*/ 0 h 24"/>
                  <a:gd name="T2" fmla="*/ 0 w 124"/>
                  <a:gd name="T3" fmla="*/ 3 h 24"/>
                  <a:gd name="T4" fmla="*/ 123 w 124"/>
                  <a:gd name="T5" fmla="*/ 24 h 24"/>
                  <a:gd name="T6" fmla="*/ 124 w 124"/>
                  <a:gd name="T7" fmla="*/ 21 h 24"/>
                  <a:gd name="T8" fmla="*/ 0 w 1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4">
                    <a:moveTo>
                      <a:pt x="0" y="0"/>
                    </a:moveTo>
                    <a:lnTo>
                      <a:pt x="0" y="3"/>
                    </a:lnTo>
                    <a:lnTo>
                      <a:pt x="123" y="24"/>
                    </a:lnTo>
                    <a:lnTo>
                      <a:pt x="124" y="2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6" name="Freeform 375">
                <a:extLst>
                  <a:ext uri="{FF2B5EF4-FFF2-40B4-BE49-F238E27FC236}">
                    <a16:creationId xmlns:a16="http://schemas.microsoft.com/office/drawing/2014/main" id="{0AFC7B68-01EE-4557-9C7D-F23C34DE6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4"/>
                <a:ext cx="124" cy="25"/>
              </a:xfrm>
              <a:custGeom>
                <a:avLst/>
                <a:gdLst>
                  <a:gd name="T0" fmla="*/ 1 w 124"/>
                  <a:gd name="T1" fmla="*/ 0 h 25"/>
                  <a:gd name="T2" fmla="*/ 0 w 124"/>
                  <a:gd name="T3" fmla="*/ 4 h 25"/>
                  <a:gd name="T4" fmla="*/ 124 w 124"/>
                  <a:gd name="T5" fmla="*/ 25 h 25"/>
                  <a:gd name="T6" fmla="*/ 124 w 124"/>
                  <a:gd name="T7" fmla="*/ 22 h 25"/>
                  <a:gd name="T8" fmla="*/ 1 w 12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5">
                    <a:moveTo>
                      <a:pt x="1" y="0"/>
                    </a:moveTo>
                    <a:lnTo>
                      <a:pt x="0" y="4"/>
                    </a:lnTo>
                    <a:lnTo>
                      <a:pt x="124" y="25"/>
                    </a:lnTo>
                    <a:lnTo>
                      <a:pt x="124" y="2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7" name="Freeform 376">
                <a:extLst>
                  <a:ext uri="{FF2B5EF4-FFF2-40B4-BE49-F238E27FC236}">
                    <a16:creationId xmlns:a16="http://schemas.microsoft.com/office/drawing/2014/main" id="{1299662E-305A-40E1-B984-1F2D961F72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4"/>
                <a:ext cx="124" cy="25"/>
              </a:xfrm>
              <a:custGeom>
                <a:avLst/>
                <a:gdLst>
                  <a:gd name="T0" fmla="*/ 1 w 124"/>
                  <a:gd name="T1" fmla="*/ 0 h 25"/>
                  <a:gd name="T2" fmla="*/ 0 w 124"/>
                  <a:gd name="T3" fmla="*/ 4 h 25"/>
                  <a:gd name="T4" fmla="*/ 124 w 124"/>
                  <a:gd name="T5" fmla="*/ 25 h 25"/>
                  <a:gd name="T6" fmla="*/ 124 w 124"/>
                  <a:gd name="T7" fmla="*/ 22 h 25"/>
                  <a:gd name="T8" fmla="*/ 1 w 12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5">
                    <a:moveTo>
                      <a:pt x="1" y="0"/>
                    </a:moveTo>
                    <a:lnTo>
                      <a:pt x="0" y="4"/>
                    </a:lnTo>
                    <a:lnTo>
                      <a:pt x="124" y="25"/>
                    </a:lnTo>
                    <a:lnTo>
                      <a:pt x="124" y="22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8" name="Freeform 377">
                <a:extLst>
                  <a:ext uri="{FF2B5EF4-FFF2-40B4-BE49-F238E27FC236}">
                    <a16:creationId xmlns:a16="http://schemas.microsoft.com/office/drawing/2014/main" id="{7C639E82-6AE7-440B-8C37-EA257EA9EE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3" y="1926"/>
                <a:ext cx="17" cy="9"/>
              </a:xfrm>
              <a:custGeom>
                <a:avLst/>
                <a:gdLst>
                  <a:gd name="T0" fmla="*/ 4 w 30"/>
                  <a:gd name="T1" fmla="*/ 0 h 18"/>
                  <a:gd name="T2" fmla="*/ 1 w 30"/>
                  <a:gd name="T3" fmla="*/ 9 h 18"/>
                  <a:gd name="T4" fmla="*/ 1 w 30"/>
                  <a:gd name="T5" fmla="*/ 18 h 18"/>
                  <a:gd name="T6" fmla="*/ 29 w 30"/>
                  <a:gd name="T7" fmla="*/ 14 h 18"/>
                  <a:gd name="T8" fmla="*/ 30 w 30"/>
                  <a:gd name="T9" fmla="*/ 14 h 18"/>
                  <a:gd name="T10" fmla="*/ 30 w 30"/>
                  <a:gd name="T11" fmla="*/ 13 h 18"/>
                  <a:gd name="T12" fmla="*/ 4 w 30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8">
                    <a:moveTo>
                      <a:pt x="4" y="0"/>
                    </a:moveTo>
                    <a:cubicBezTo>
                      <a:pt x="4" y="0"/>
                      <a:pt x="2" y="4"/>
                      <a:pt x="1" y="9"/>
                    </a:cubicBezTo>
                    <a:cubicBezTo>
                      <a:pt x="0" y="13"/>
                      <a:pt x="1" y="18"/>
                      <a:pt x="1" y="18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9" name="Freeform 378">
                <a:extLst>
                  <a:ext uri="{FF2B5EF4-FFF2-40B4-BE49-F238E27FC236}">
                    <a16:creationId xmlns:a16="http://schemas.microsoft.com/office/drawing/2014/main" id="{807C67F4-8BC0-44E5-956F-2CBD6556A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1902"/>
                <a:ext cx="17" cy="12"/>
              </a:xfrm>
              <a:custGeom>
                <a:avLst/>
                <a:gdLst>
                  <a:gd name="T0" fmla="*/ 31 w 31"/>
                  <a:gd name="T1" fmla="*/ 4 h 22"/>
                  <a:gd name="T2" fmla="*/ 8 w 31"/>
                  <a:gd name="T3" fmla="*/ 0 h 22"/>
                  <a:gd name="T4" fmla="*/ 2 w 31"/>
                  <a:gd name="T5" fmla="*/ 5 h 22"/>
                  <a:gd name="T6" fmla="*/ 0 w 31"/>
                  <a:gd name="T7" fmla="*/ 12 h 22"/>
                  <a:gd name="T8" fmla="*/ 5 w 31"/>
                  <a:gd name="T9" fmla="*/ 18 h 22"/>
                  <a:gd name="T10" fmla="*/ 28 w 31"/>
                  <a:gd name="T11" fmla="*/ 22 h 22"/>
                  <a:gd name="T12" fmla="*/ 31 w 31"/>
                  <a:gd name="T13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22">
                    <a:moveTo>
                      <a:pt x="31" y="4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5" y="0"/>
                      <a:pt x="2" y="2"/>
                      <a:pt x="2" y="5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5"/>
                      <a:pt x="2" y="18"/>
                      <a:pt x="5" y="18"/>
                    </a:cubicBezTo>
                    <a:cubicBezTo>
                      <a:pt x="28" y="22"/>
                      <a:pt x="28" y="22"/>
                      <a:pt x="28" y="22"/>
                    </a:cubicBezTo>
                    <a:cubicBezTo>
                      <a:pt x="31" y="4"/>
                      <a:pt x="31" y="4"/>
                      <a:pt x="31" y="4"/>
                    </a:cubicBezTo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0" name="Freeform 379">
                <a:extLst>
                  <a:ext uri="{FF2B5EF4-FFF2-40B4-BE49-F238E27FC236}">
                    <a16:creationId xmlns:a16="http://schemas.microsoft.com/office/drawing/2014/main" id="{B2516412-1948-4C95-A96F-92CFAEFCC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1903"/>
                <a:ext cx="9" cy="12"/>
              </a:xfrm>
              <a:custGeom>
                <a:avLst/>
                <a:gdLst>
                  <a:gd name="T0" fmla="*/ 9 w 9"/>
                  <a:gd name="T1" fmla="*/ 1 h 12"/>
                  <a:gd name="T2" fmla="*/ 2 w 9"/>
                  <a:gd name="T3" fmla="*/ 0 h 12"/>
                  <a:gd name="T4" fmla="*/ 0 w 9"/>
                  <a:gd name="T5" fmla="*/ 11 h 12"/>
                  <a:gd name="T6" fmla="*/ 7 w 9"/>
                  <a:gd name="T7" fmla="*/ 12 h 12"/>
                  <a:gd name="T8" fmla="*/ 9 w 9"/>
                  <a:gd name="T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2">
                    <a:moveTo>
                      <a:pt x="9" y="1"/>
                    </a:moveTo>
                    <a:lnTo>
                      <a:pt x="2" y="0"/>
                    </a:lnTo>
                    <a:lnTo>
                      <a:pt x="0" y="11"/>
                    </a:lnTo>
                    <a:lnTo>
                      <a:pt x="7" y="12"/>
                    </a:lnTo>
                    <a:lnTo>
                      <a:pt x="9" y="1"/>
                    </a:lnTo>
                    <a:close/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1" name="Freeform 380">
                <a:extLst>
                  <a:ext uri="{FF2B5EF4-FFF2-40B4-BE49-F238E27FC236}">
                    <a16:creationId xmlns:a16="http://schemas.microsoft.com/office/drawing/2014/main" id="{0105CCF7-99D8-4057-9645-B2FF25547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1903"/>
                <a:ext cx="9" cy="12"/>
              </a:xfrm>
              <a:custGeom>
                <a:avLst/>
                <a:gdLst>
                  <a:gd name="T0" fmla="*/ 9 w 9"/>
                  <a:gd name="T1" fmla="*/ 1 h 12"/>
                  <a:gd name="T2" fmla="*/ 2 w 9"/>
                  <a:gd name="T3" fmla="*/ 0 h 12"/>
                  <a:gd name="T4" fmla="*/ 0 w 9"/>
                  <a:gd name="T5" fmla="*/ 11 h 12"/>
                  <a:gd name="T6" fmla="*/ 7 w 9"/>
                  <a:gd name="T7" fmla="*/ 12 h 12"/>
                  <a:gd name="T8" fmla="*/ 9 w 9"/>
                  <a:gd name="T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2">
                    <a:moveTo>
                      <a:pt x="9" y="1"/>
                    </a:moveTo>
                    <a:lnTo>
                      <a:pt x="2" y="0"/>
                    </a:lnTo>
                    <a:lnTo>
                      <a:pt x="0" y="11"/>
                    </a:lnTo>
                    <a:lnTo>
                      <a:pt x="7" y="12"/>
                    </a:lnTo>
                    <a:lnTo>
                      <a:pt x="9" y="1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2" name="Freeform 381">
                <a:extLst>
                  <a:ext uri="{FF2B5EF4-FFF2-40B4-BE49-F238E27FC236}">
                    <a16:creationId xmlns:a16="http://schemas.microsoft.com/office/drawing/2014/main" id="{1E54C398-CFA7-465C-9B64-86DBB11A31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1930"/>
                <a:ext cx="7" cy="4"/>
              </a:xfrm>
              <a:custGeom>
                <a:avLst/>
                <a:gdLst>
                  <a:gd name="T0" fmla="*/ 2 w 12"/>
                  <a:gd name="T1" fmla="*/ 0 h 7"/>
                  <a:gd name="T2" fmla="*/ 12 w 12"/>
                  <a:gd name="T3" fmla="*/ 4 h 7"/>
                  <a:gd name="T4" fmla="*/ 11 w 12"/>
                  <a:gd name="T5" fmla="*/ 5 h 7"/>
                  <a:gd name="T6" fmla="*/ 1 w 12"/>
                  <a:gd name="T7" fmla="*/ 7 h 7"/>
                  <a:gd name="T8" fmla="*/ 0 w 12"/>
                  <a:gd name="T9" fmla="*/ 3 h 7"/>
                  <a:gd name="T10" fmla="*/ 2 w 12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7">
                    <a:moveTo>
                      <a:pt x="2" y="0"/>
                    </a:moveTo>
                    <a:cubicBezTo>
                      <a:pt x="12" y="4"/>
                      <a:pt x="12" y="4"/>
                      <a:pt x="12" y="4"/>
                    </a:cubicBezTo>
                    <a:cubicBezTo>
                      <a:pt x="12" y="5"/>
                      <a:pt x="12" y="5"/>
                      <a:pt x="11" y="5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2" y="0"/>
                      <a:pt x="2" y="0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3" name="Freeform 382">
                <a:extLst>
                  <a:ext uri="{FF2B5EF4-FFF2-40B4-BE49-F238E27FC236}">
                    <a16:creationId xmlns:a16="http://schemas.microsoft.com/office/drawing/2014/main" id="{896FB7CE-3B6B-42C6-9F7A-4563CB072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4" y="1926"/>
                <a:ext cx="10" cy="6"/>
              </a:xfrm>
              <a:custGeom>
                <a:avLst/>
                <a:gdLst>
                  <a:gd name="T0" fmla="*/ 3 w 19"/>
                  <a:gd name="T1" fmla="*/ 0 h 12"/>
                  <a:gd name="T2" fmla="*/ 3 w 19"/>
                  <a:gd name="T3" fmla="*/ 0 h 12"/>
                  <a:gd name="T4" fmla="*/ 0 w 19"/>
                  <a:gd name="T5" fmla="*/ 6 h 12"/>
                  <a:gd name="T6" fmla="*/ 0 w 19"/>
                  <a:gd name="T7" fmla="*/ 6 h 12"/>
                  <a:gd name="T8" fmla="*/ 0 w 19"/>
                  <a:gd name="T9" fmla="*/ 9 h 12"/>
                  <a:gd name="T10" fmla="*/ 17 w 19"/>
                  <a:gd name="T11" fmla="*/ 12 h 12"/>
                  <a:gd name="T12" fmla="*/ 17 w 19"/>
                  <a:gd name="T13" fmla="*/ 12 h 12"/>
                  <a:gd name="T14" fmla="*/ 19 w 19"/>
                  <a:gd name="T15" fmla="*/ 9 h 12"/>
                  <a:gd name="T16" fmla="*/ 3 w 19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2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1" y="3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8" y="10"/>
                      <a:pt x="19" y="9"/>
                      <a:pt x="19" y="9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4" name="Freeform 383">
                <a:extLst>
                  <a:ext uri="{FF2B5EF4-FFF2-40B4-BE49-F238E27FC236}">
                    <a16:creationId xmlns:a16="http://schemas.microsoft.com/office/drawing/2014/main" id="{05AC44AD-B32D-455B-A728-BC1AFAEC1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1930"/>
                <a:ext cx="7" cy="3"/>
              </a:xfrm>
              <a:custGeom>
                <a:avLst/>
                <a:gdLst>
                  <a:gd name="T0" fmla="*/ 2 w 12"/>
                  <a:gd name="T1" fmla="*/ 0 h 5"/>
                  <a:gd name="T2" fmla="*/ 2 w 12"/>
                  <a:gd name="T3" fmla="*/ 0 h 5"/>
                  <a:gd name="T4" fmla="*/ 0 w 12"/>
                  <a:gd name="T5" fmla="*/ 3 h 5"/>
                  <a:gd name="T6" fmla="*/ 0 w 12"/>
                  <a:gd name="T7" fmla="*/ 3 h 5"/>
                  <a:gd name="T8" fmla="*/ 12 w 12"/>
                  <a:gd name="T9" fmla="*/ 5 h 5"/>
                  <a:gd name="T10" fmla="*/ 12 w 12"/>
                  <a:gd name="T11" fmla="*/ 4 h 5"/>
                  <a:gd name="T12" fmla="*/ 12 w 12"/>
                  <a:gd name="T13" fmla="*/ 4 h 5"/>
                  <a:gd name="T14" fmla="*/ 2 w 12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5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1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5" name="Freeform 384">
                <a:extLst>
                  <a:ext uri="{FF2B5EF4-FFF2-40B4-BE49-F238E27FC236}">
                    <a16:creationId xmlns:a16="http://schemas.microsoft.com/office/drawing/2014/main" id="{6A4423B9-8FAC-403A-A409-FA8EDC1328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6" y="1902"/>
                <a:ext cx="16" cy="3"/>
              </a:xfrm>
              <a:custGeom>
                <a:avLst/>
                <a:gdLst>
                  <a:gd name="T0" fmla="*/ 30 w 30"/>
                  <a:gd name="T1" fmla="*/ 4 h 5"/>
                  <a:gd name="T2" fmla="*/ 29 w 30"/>
                  <a:gd name="T3" fmla="*/ 4 h 5"/>
                  <a:gd name="T4" fmla="*/ 29 w 30"/>
                  <a:gd name="T5" fmla="*/ 4 h 5"/>
                  <a:gd name="T6" fmla="*/ 30 w 30"/>
                  <a:gd name="T7" fmla="*/ 4 h 5"/>
                  <a:gd name="T8" fmla="*/ 5 w 30"/>
                  <a:gd name="T9" fmla="*/ 0 h 5"/>
                  <a:gd name="T10" fmla="*/ 0 w 30"/>
                  <a:gd name="T11" fmla="*/ 5 h 5"/>
                  <a:gd name="T12" fmla="*/ 0 w 30"/>
                  <a:gd name="T13" fmla="*/ 5 h 5"/>
                  <a:gd name="T14" fmla="*/ 5 w 30"/>
                  <a:gd name="T15" fmla="*/ 0 h 5"/>
                  <a:gd name="T16" fmla="*/ 6 w 30"/>
                  <a:gd name="T17" fmla="*/ 0 h 5"/>
                  <a:gd name="T18" fmla="*/ 17 w 30"/>
                  <a:gd name="T19" fmla="*/ 2 h 5"/>
                  <a:gd name="T20" fmla="*/ 17 w 30"/>
                  <a:gd name="T21" fmla="*/ 2 h 5"/>
                  <a:gd name="T22" fmla="*/ 6 w 30"/>
                  <a:gd name="T23" fmla="*/ 0 h 5"/>
                  <a:gd name="T24" fmla="*/ 5 w 30"/>
                  <a:gd name="T2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5">
                    <a:moveTo>
                      <a:pt x="30" y="4"/>
                    </a:moveTo>
                    <a:cubicBezTo>
                      <a:pt x="29" y="4"/>
                      <a:pt x="29" y="4"/>
                      <a:pt x="29" y="4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30" y="4"/>
                      <a:pt x="30" y="4"/>
                      <a:pt x="30" y="4"/>
                    </a:cubicBezTo>
                    <a:moveTo>
                      <a:pt x="5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6" y="0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6" name="Rectangle 385">
                <a:extLst>
                  <a:ext uri="{FF2B5EF4-FFF2-40B4-BE49-F238E27FC236}">
                    <a16:creationId xmlns:a16="http://schemas.microsoft.com/office/drawing/2014/main" id="{68D40DAB-CDA5-423B-96C9-AF66D0C451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1" y="1908"/>
                <a:ext cx="1" cy="1"/>
              </a:xfrm>
              <a:prstGeom prst="rect">
                <a:avLst/>
              </a:prstGeom>
              <a:solidFill>
                <a:srgbClr val="BDAC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7" name="Rectangle 386">
                <a:extLst>
                  <a:ext uri="{FF2B5EF4-FFF2-40B4-BE49-F238E27FC236}">
                    <a16:creationId xmlns:a16="http://schemas.microsoft.com/office/drawing/2014/main" id="{B459FC52-0A21-4E08-A17C-FA6A7353CA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1" y="190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8" name="Freeform 387">
                <a:extLst>
                  <a:ext uri="{FF2B5EF4-FFF2-40B4-BE49-F238E27FC236}">
                    <a16:creationId xmlns:a16="http://schemas.microsoft.com/office/drawing/2014/main" id="{10CE0AD1-52AE-4A55-9742-9BEBF5101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1" y="1904"/>
                <a:ext cx="1" cy="4"/>
              </a:xfrm>
              <a:custGeom>
                <a:avLst/>
                <a:gdLst>
                  <a:gd name="T0" fmla="*/ 1 w 1"/>
                  <a:gd name="T1" fmla="*/ 2 h 4"/>
                  <a:gd name="T2" fmla="*/ 0 w 1"/>
                  <a:gd name="T3" fmla="*/ 4 h 4"/>
                  <a:gd name="T4" fmla="*/ 0 w 1"/>
                  <a:gd name="T5" fmla="*/ 4 h 4"/>
                  <a:gd name="T6" fmla="*/ 1 w 1"/>
                  <a:gd name="T7" fmla="*/ 2 h 4"/>
                  <a:gd name="T8" fmla="*/ 1 w 1"/>
                  <a:gd name="T9" fmla="*/ 0 h 4"/>
                  <a:gd name="T10" fmla="*/ 1 w 1"/>
                  <a:gd name="T11" fmla="*/ 0 h 4"/>
                  <a:gd name="T12" fmla="*/ 1 w 1"/>
                  <a:gd name="T13" fmla="*/ 0 h 4"/>
                  <a:gd name="T14" fmla="*/ 1 w 1"/>
                  <a:gd name="T15" fmla="*/ 0 h 4"/>
                  <a:gd name="T16" fmla="*/ 1 w 1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4">
                    <a:moveTo>
                      <a:pt x="1" y="2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2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9" name="Freeform 388">
                <a:extLst>
                  <a:ext uri="{FF2B5EF4-FFF2-40B4-BE49-F238E27FC236}">
                    <a16:creationId xmlns:a16="http://schemas.microsoft.com/office/drawing/2014/main" id="{30BA4BB7-0EB6-4BE2-BBC8-7826FE917C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1" y="1904"/>
                <a:ext cx="1" cy="4"/>
              </a:xfrm>
              <a:custGeom>
                <a:avLst/>
                <a:gdLst>
                  <a:gd name="T0" fmla="*/ 1 w 1"/>
                  <a:gd name="T1" fmla="*/ 2 h 4"/>
                  <a:gd name="T2" fmla="*/ 0 w 1"/>
                  <a:gd name="T3" fmla="*/ 4 h 4"/>
                  <a:gd name="T4" fmla="*/ 0 w 1"/>
                  <a:gd name="T5" fmla="*/ 4 h 4"/>
                  <a:gd name="T6" fmla="*/ 1 w 1"/>
                  <a:gd name="T7" fmla="*/ 2 h 4"/>
                  <a:gd name="T8" fmla="*/ 1 w 1"/>
                  <a:gd name="T9" fmla="*/ 0 h 4"/>
                  <a:gd name="T10" fmla="*/ 1 w 1"/>
                  <a:gd name="T11" fmla="*/ 0 h 4"/>
                  <a:gd name="T12" fmla="*/ 1 w 1"/>
                  <a:gd name="T13" fmla="*/ 0 h 4"/>
                  <a:gd name="T14" fmla="*/ 1 w 1"/>
                  <a:gd name="T15" fmla="*/ 0 h 4"/>
                  <a:gd name="T16" fmla="*/ 1 w 1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4">
                    <a:moveTo>
                      <a:pt x="1" y="2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2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0" name="Freeform 389">
                <a:extLst>
                  <a:ext uri="{FF2B5EF4-FFF2-40B4-BE49-F238E27FC236}">
                    <a16:creationId xmlns:a16="http://schemas.microsoft.com/office/drawing/2014/main" id="{B47C0A6A-2F2B-4F94-9AC2-25F8CBEA58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5" y="1902"/>
                <a:ext cx="17" cy="7"/>
              </a:xfrm>
              <a:custGeom>
                <a:avLst/>
                <a:gdLst>
                  <a:gd name="T0" fmla="*/ 30 w 30"/>
                  <a:gd name="T1" fmla="*/ 4 h 13"/>
                  <a:gd name="T2" fmla="*/ 29 w 30"/>
                  <a:gd name="T3" fmla="*/ 13 h 13"/>
                  <a:gd name="T4" fmla="*/ 29 w 30"/>
                  <a:gd name="T5" fmla="*/ 13 h 13"/>
                  <a:gd name="T6" fmla="*/ 29 w 30"/>
                  <a:gd name="T7" fmla="*/ 10 h 13"/>
                  <a:gd name="T8" fmla="*/ 30 w 30"/>
                  <a:gd name="T9" fmla="*/ 8 h 13"/>
                  <a:gd name="T10" fmla="*/ 30 w 30"/>
                  <a:gd name="T11" fmla="*/ 4 h 13"/>
                  <a:gd name="T12" fmla="*/ 30 w 30"/>
                  <a:gd name="T13" fmla="*/ 4 h 13"/>
                  <a:gd name="T14" fmla="*/ 6 w 30"/>
                  <a:gd name="T15" fmla="*/ 0 h 13"/>
                  <a:gd name="T16" fmla="*/ 1 w 30"/>
                  <a:gd name="T17" fmla="*/ 5 h 13"/>
                  <a:gd name="T18" fmla="*/ 1 w 30"/>
                  <a:gd name="T19" fmla="*/ 5 h 13"/>
                  <a:gd name="T20" fmla="*/ 0 w 30"/>
                  <a:gd name="T21" fmla="*/ 8 h 13"/>
                  <a:gd name="T22" fmla="*/ 16 w 30"/>
                  <a:gd name="T23" fmla="*/ 11 h 13"/>
                  <a:gd name="T24" fmla="*/ 18 w 30"/>
                  <a:gd name="T25" fmla="*/ 2 h 13"/>
                  <a:gd name="T26" fmla="*/ 7 w 30"/>
                  <a:gd name="T27" fmla="*/ 0 h 13"/>
                  <a:gd name="T28" fmla="*/ 6 w 30"/>
                  <a:gd name="T2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" h="13">
                    <a:moveTo>
                      <a:pt x="30" y="4"/>
                    </a:move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4"/>
                    </a:cubicBezTo>
                    <a:moveTo>
                      <a:pt x="6" y="0"/>
                    </a:moveTo>
                    <a:cubicBezTo>
                      <a:pt x="3" y="0"/>
                      <a:pt x="1" y="2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1" name="Freeform 390">
                <a:extLst>
                  <a:ext uri="{FF2B5EF4-FFF2-40B4-BE49-F238E27FC236}">
                    <a16:creationId xmlns:a16="http://schemas.microsoft.com/office/drawing/2014/main" id="{DE41B888-30F9-4A71-8504-76A54546F1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1903"/>
                <a:ext cx="8" cy="6"/>
              </a:xfrm>
              <a:custGeom>
                <a:avLst/>
                <a:gdLst>
                  <a:gd name="T0" fmla="*/ 1 w 8"/>
                  <a:gd name="T1" fmla="*/ 0 h 6"/>
                  <a:gd name="T2" fmla="*/ 1 w 8"/>
                  <a:gd name="T3" fmla="*/ 0 h 6"/>
                  <a:gd name="T4" fmla="*/ 1 w 8"/>
                  <a:gd name="T5" fmla="*/ 0 h 6"/>
                  <a:gd name="T6" fmla="*/ 1 w 8"/>
                  <a:gd name="T7" fmla="*/ 0 h 6"/>
                  <a:gd name="T8" fmla="*/ 1 w 8"/>
                  <a:gd name="T9" fmla="*/ 0 h 6"/>
                  <a:gd name="T10" fmla="*/ 0 w 8"/>
                  <a:gd name="T11" fmla="*/ 5 h 6"/>
                  <a:gd name="T12" fmla="*/ 7 w 8"/>
                  <a:gd name="T13" fmla="*/ 6 h 6"/>
                  <a:gd name="T14" fmla="*/ 8 w 8"/>
                  <a:gd name="T15" fmla="*/ 1 h 6"/>
                  <a:gd name="T16" fmla="*/ 8 w 8"/>
                  <a:gd name="T17" fmla="*/ 1 h 6"/>
                  <a:gd name="T18" fmla="*/ 8 w 8"/>
                  <a:gd name="T19" fmla="*/ 1 h 6"/>
                  <a:gd name="T20" fmla="*/ 1 w 8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6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5"/>
                    </a:lnTo>
                    <a:lnTo>
                      <a:pt x="7" y="6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2" name="Freeform 391">
                <a:extLst>
                  <a:ext uri="{FF2B5EF4-FFF2-40B4-BE49-F238E27FC236}">
                    <a16:creationId xmlns:a16="http://schemas.microsoft.com/office/drawing/2014/main" id="{EA39F0BE-D5E8-4D02-8D6F-78E82ECE61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1903"/>
                <a:ext cx="8" cy="6"/>
              </a:xfrm>
              <a:custGeom>
                <a:avLst/>
                <a:gdLst>
                  <a:gd name="T0" fmla="*/ 1 w 8"/>
                  <a:gd name="T1" fmla="*/ 0 h 6"/>
                  <a:gd name="T2" fmla="*/ 1 w 8"/>
                  <a:gd name="T3" fmla="*/ 0 h 6"/>
                  <a:gd name="T4" fmla="*/ 1 w 8"/>
                  <a:gd name="T5" fmla="*/ 0 h 6"/>
                  <a:gd name="T6" fmla="*/ 1 w 8"/>
                  <a:gd name="T7" fmla="*/ 0 h 6"/>
                  <a:gd name="T8" fmla="*/ 1 w 8"/>
                  <a:gd name="T9" fmla="*/ 0 h 6"/>
                  <a:gd name="T10" fmla="*/ 0 w 8"/>
                  <a:gd name="T11" fmla="*/ 5 h 6"/>
                  <a:gd name="T12" fmla="*/ 7 w 8"/>
                  <a:gd name="T13" fmla="*/ 6 h 6"/>
                  <a:gd name="T14" fmla="*/ 8 w 8"/>
                  <a:gd name="T15" fmla="*/ 1 h 6"/>
                  <a:gd name="T16" fmla="*/ 8 w 8"/>
                  <a:gd name="T17" fmla="*/ 1 h 6"/>
                  <a:gd name="T18" fmla="*/ 8 w 8"/>
                  <a:gd name="T19" fmla="*/ 1 h 6"/>
                  <a:gd name="T20" fmla="*/ 1 w 8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6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5"/>
                    </a:lnTo>
                    <a:lnTo>
                      <a:pt x="7" y="6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" name="Freeform 392">
                <a:extLst>
                  <a:ext uri="{FF2B5EF4-FFF2-40B4-BE49-F238E27FC236}">
                    <a16:creationId xmlns:a16="http://schemas.microsoft.com/office/drawing/2014/main" id="{052A66CC-FBEC-47B5-AFD2-79C6DCACFA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7" cy="17"/>
              </a:xfrm>
              <a:custGeom>
                <a:avLst/>
                <a:gdLst>
                  <a:gd name="T0" fmla="*/ 0 w 107"/>
                  <a:gd name="T1" fmla="*/ 6 h 17"/>
                  <a:gd name="T2" fmla="*/ 1 w 107"/>
                  <a:gd name="T3" fmla="*/ 17 h 17"/>
                  <a:gd name="T4" fmla="*/ 107 w 107"/>
                  <a:gd name="T5" fmla="*/ 10 h 17"/>
                  <a:gd name="T6" fmla="*/ 106 w 107"/>
                  <a:gd name="T7" fmla="*/ 0 h 17"/>
                  <a:gd name="T8" fmla="*/ 0 w 107"/>
                  <a:gd name="T9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7">
                    <a:moveTo>
                      <a:pt x="0" y="6"/>
                    </a:moveTo>
                    <a:lnTo>
                      <a:pt x="1" y="17"/>
                    </a:lnTo>
                    <a:lnTo>
                      <a:pt x="107" y="10"/>
                    </a:lnTo>
                    <a:lnTo>
                      <a:pt x="106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66BF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" name="Freeform 393">
                <a:extLst>
                  <a:ext uri="{FF2B5EF4-FFF2-40B4-BE49-F238E27FC236}">
                    <a16:creationId xmlns:a16="http://schemas.microsoft.com/office/drawing/2014/main" id="{C839BD60-5C9C-400B-9A3D-5D672383F4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7" cy="17"/>
              </a:xfrm>
              <a:custGeom>
                <a:avLst/>
                <a:gdLst>
                  <a:gd name="T0" fmla="*/ 0 w 107"/>
                  <a:gd name="T1" fmla="*/ 6 h 17"/>
                  <a:gd name="T2" fmla="*/ 1 w 107"/>
                  <a:gd name="T3" fmla="*/ 17 h 17"/>
                  <a:gd name="T4" fmla="*/ 107 w 107"/>
                  <a:gd name="T5" fmla="*/ 10 h 17"/>
                  <a:gd name="T6" fmla="*/ 106 w 107"/>
                  <a:gd name="T7" fmla="*/ 0 h 17"/>
                  <a:gd name="T8" fmla="*/ 0 w 107"/>
                  <a:gd name="T9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7">
                    <a:moveTo>
                      <a:pt x="0" y="6"/>
                    </a:moveTo>
                    <a:lnTo>
                      <a:pt x="1" y="17"/>
                    </a:lnTo>
                    <a:lnTo>
                      <a:pt x="107" y="10"/>
                    </a:lnTo>
                    <a:lnTo>
                      <a:pt x="106" y="0"/>
                    </a:lnTo>
                    <a:lnTo>
                      <a:pt x="0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" name="Freeform 394">
                <a:extLst>
                  <a:ext uri="{FF2B5EF4-FFF2-40B4-BE49-F238E27FC236}">
                    <a16:creationId xmlns:a16="http://schemas.microsoft.com/office/drawing/2014/main" id="{04B1AC27-BEA5-4D97-AAA2-9EE67C00E8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51"/>
                <a:ext cx="106" cy="10"/>
              </a:xfrm>
              <a:custGeom>
                <a:avLst/>
                <a:gdLst>
                  <a:gd name="T0" fmla="*/ 0 w 106"/>
                  <a:gd name="T1" fmla="*/ 7 h 10"/>
                  <a:gd name="T2" fmla="*/ 0 w 106"/>
                  <a:gd name="T3" fmla="*/ 10 h 10"/>
                  <a:gd name="T4" fmla="*/ 106 w 106"/>
                  <a:gd name="T5" fmla="*/ 4 h 10"/>
                  <a:gd name="T6" fmla="*/ 106 w 106"/>
                  <a:gd name="T7" fmla="*/ 0 h 10"/>
                  <a:gd name="T8" fmla="*/ 0 w 106"/>
                  <a:gd name="T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7"/>
                    </a:moveTo>
                    <a:lnTo>
                      <a:pt x="0" y="10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8FE5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6" name="Freeform 395">
                <a:extLst>
                  <a:ext uri="{FF2B5EF4-FFF2-40B4-BE49-F238E27FC236}">
                    <a16:creationId xmlns:a16="http://schemas.microsoft.com/office/drawing/2014/main" id="{F44D9D01-632E-46E1-9698-5783EB5B1A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51"/>
                <a:ext cx="106" cy="10"/>
              </a:xfrm>
              <a:custGeom>
                <a:avLst/>
                <a:gdLst>
                  <a:gd name="T0" fmla="*/ 0 w 106"/>
                  <a:gd name="T1" fmla="*/ 7 h 10"/>
                  <a:gd name="T2" fmla="*/ 0 w 106"/>
                  <a:gd name="T3" fmla="*/ 10 h 10"/>
                  <a:gd name="T4" fmla="*/ 106 w 106"/>
                  <a:gd name="T5" fmla="*/ 4 h 10"/>
                  <a:gd name="T6" fmla="*/ 106 w 106"/>
                  <a:gd name="T7" fmla="*/ 0 h 10"/>
                  <a:gd name="T8" fmla="*/ 0 w 106"/>
                  <a:gd name="T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7"/>
                    </a:moveTo>
                    <a:lnTo>
                      <a:pt x="0" y="10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0" y="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396">
                <a:extLst>
                  <a:ext uri="{FF2B5EF4-FFF2-40B4-BE49-F238E27FC236}">
                    <a16:creationId xmlns:a16="http://schemas.microsoft.com/office/drawing/2014/main" id="{5EB20974-249B-4424-BE1E-6892BB0EA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6" cy="10"/>
              </a:xfrm>
              <a:custGeom>
                <a:avLst/>
                <a:gdLst>
                  <a:gd name="T0" fmla="*/ 0 w 106"/>
                  <a:gd name="T1" fmla="*/ 6 h 10"/>
                  <a:gd name="T2" fmla="*/ 0 w 106"/>
                  <a:gd name="T3" fmla="*/ 10 h 10"/>
                  <a:gd name="T4" fmla="*/ 106 w 106"/>
                  <a:gd name="T5" fmla="*/ 3 h 10"/>
                  <a:gd name="T6" fmla="*/ 106 w 106"/>
                  <a:gd name="T7" fmla="*/ 0 h 10"/>
                  <a:gd name="T8" fmla="*/ 0 w 106"/>
                  <a:gd name="T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6"/>
                    </a:moveTo>
                    <a:lnTo>
                      <a:pt x="0" y="10"/>
                    </a:lnTo>
                    <a:lnTo>
                      <a:pt x="106" y="3"/>
                    </a:lnTo>
                    <a:lnTo>
                      <a:pt x="106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78C9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397">
                <a:extLst>
                  <a:ext uri="{FF2B5EF4-FFF2-40B4-BE49-F238E27FC236}">
                    <a16:creationId xmlns:a16="http://schemas.microsoft.com/office/drawing/2014/main" id="{5DDA87C2-7823-429E-BDF5-99D072D6F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6" cy="10"/>
              </a:xfrm>
              <a:custGeom>
                <a:avLst/>
                <a:gdLst>
                  <a:gd name="T0" fmla="*/ 0 w 106"/>
                  <a:gd name="T1" fmla="*/ 6 h 10"/>
                  <a:gd name="T2" fmla="*/ 0 w 106"/>
                  <a:gd name="T3" fmla="*/ 10 h 10"/>
                  <a:gd name="T4" fmla="*/ 106 w 106"/>
                  <a:gd name="T5" fmla="*/ 3 h 10"/>
                  <a:gd name="T6" fmla="*/ 106 w 106"/>
                  <a:gd name="T7" fmla="*/ 0 h 10"/>
                  <a:gd name="T8" fmla="*/ 0 w 106"/>
                  <a:gd name="T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6"/>
                    </a:moveTo>
                    <a:lnTo>
                      <a:pt x="0" y="10"/>
                    </a:lnTo>
                    <a:lnTo>
                      <a:pt x="106" y="3"/>
                    </a:lnTo>
                    <a:lnTo>
                      <a:pt x="106" y="0"/>
                    </a:lnTo>
                    <a:lnTo>
                      <a:pt x="0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398">
                <a:extLst>
                  <a:ext uri="{FF2B5EF4-FFF2-40B4-BE49-F238E27FC236}">
                    <a16:creationId xmlns:a16="http://schemas.microsoft.com/office/drawing/2014/main" id="{28BBA9A9-0A1E-4465-ACBB-3A76F0BBE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5" y="1948"/>
                <a:ext cx="18" cy="10"/>
              </a:xfrm>
              <a:custGeom>
                <a:avLst/>
                <a:gdLst>
                  <a:gd name="T0" fmla="*/ 1 w 33"/>
                  <a:gd name="T1" fmla="*/ 0 h 19"/>
                  <a:gd name="T2" fmla="*/ 0 w 33"/>
                  <a:gd name="T3" fmla="*/ 10 h 19"/>
                  <a:gd name="T4" fmla="*/ 3 w 33"/>
                  <a:gd name="T5" fmla="*/ 19 h 19"/>
                  <a:gd name="T6" fmla="*/ 32 w 33"/>
                  <a:gd name="T7" fmla="*/ 8 h 19"/>
                  <a:gd name="T8" fmla="*/ 33 w 33"/>
                  <a:gd name="T9" fmla="*/ 8 h 19"/>
                  <a:gd name="T10" fmla="*/ 32 w 33"/>
                  <a:gd name="T11" fmla="*/ 7 h 19"/>
                  <a:gd name="T12" fmla="*/ 1 w 33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19">
                    <a:moveTo>
                      <a:pt x="1" y="0"/>
                    </a:moveTo>
                    <a:cubicBezTo>
                      <a:pt x="1" y="0"/>
                      <a:pt x="0" y="4"/>
                      <a:pt x="0" y="10"/>
                    </a:cubicBezTo>
                    <a:cubicBezTo>
                      <a:pt x="1" y="15"/>
                      <a:pt x="3" y="19"/>
                      <a:pt x="3" y="19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0" name="Freeform 399">
                <a:extLst>
                  <a:ext uri="{FF2B5EF4-FFF2-40B4-BE49-F238E27FC236}">
                    <a16:creationId xmlns:a16="http://schemas.microsoft.com/office/drawing/2014/main" id="{1EE99242-5520-4CF5-BAE3-8664A2F4C9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4"/>
                <a:ext cx="18" cy="12"/>
              </a:xfrm>
              <a:custGeom>
                <a:avLst/>
                <a:gdLst>
                  <a:gd name="T0" fmla="*/ 31 w 33"/>
                  <a:gd name="T1" fmla="*/ 0 h 22"/>
                  <a:gd name="T2" fmla="*/ 5 w 33"/>
                  <a:gd name="T3" fmla="*/ 2 h 22"/>
                  <a:gd name="T4" fmla="*/ 0 w 33"/>
                  <a:gd name="T5" fmla="*/ 8 h 22"/>
                  <a:gd name="T6" fmla="*/ 0 w 33"/>
                  <a:gd name="T7" fmla="*/ 16 h 22"/>
                  <a:gd name="T8" fmla="*/ 6 w 33"/>
                  <a:gd name="T9" fmla="*/ 21 h 22"/>
                  <a:gd name="T10" fmla="*/ 33 w 33"/>
                  <a:gd name="T11" fmla="*/ 20 h 22"/>
                  <a:gd name="T12" fmla="*/ 31 w 33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22">
                    <a:moveTo>
                      <a:pt x="31" y="0"/>
                    </a:moveTo>
                    <a:cubicBezTo>
                      <a:pt x="5" y="2"/>
                      <a:pt x="5" y="2"/>
                      <a:pt x="5" y="2"/>
                    </a:cubicBezTo>
                    <a:cubicBezTo>
                      <a:pt x="2" y="2"/>
                      <a:pt x="0" y="5"/>
                      <a:pt x="0" y="8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9"/>
                      <a:pt x="3" y="22"/>
                      <a:pt x="6" y="21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1" name="Freeform 400">
                <a:extLst>
                  <a:ext uri="{FF2B5EF4-FFF2-40B4-BE49-F238E27FC236}">
                    <a16:creationId xmlns:a16="http://schemas.microsoft.com/office/drawing/2014/main" id="{187C4E14-4B08-4E3F-B5BD-B26F5164DC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8" cy="12"/>
              </a:xfrm>
              <a:custGeom>
                <a:avLst/>
                <a:gdLst>
                  <a:gd name="T0" fmla="*/ 7 w 8"/>
                  <a:gd name="T1" fmla="*/ 0 h 12"/>
                  <a:gd name="T2" fmla="*/ 0 w 8"/>
                  <a:gd name="T3" fmla="*/ 1 h 12"/>
                  <a:gd name="T4" fmla="*/ 0 w 8"/>
                  <a:gd name="T5" fmla="*/ 12 h 12"/>
                  <a:gd name="T6" fmla="*/ 8 w 8"/>
                  <a:gd name="T7" fmla="*/ 12 h 12"/>
                  <a:gd name="T8" fmla="*/ 7 w 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7" y="0"/>
                    </a:moveTo>
                    <a:lnTo>
                      <a:pt x="0" y="1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2" name="Freeform 401">
                <a:extLst>
                  <a:ext uri="{FF2B5EF4-FFF2-40B4-BE49-F238E27FC236}">
                    <a16:creationId xmlns:a16="http://schemas.microsoft.com/office/drawing/2014/main" id="{CE005939-F5CB-48D9-BE55-FB84C10CA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8" cy="12"/>
              </a:xfrm>
              <a:custGeom>
                <a:avLst/>
                <a:gdLst>
                  <a:gd name="T0" fmla="*/ 7 w 8"/>
                  <a:gd name="T1" fmla="*/ 0 h 12"/>
                  <a:gd name="T2" fmla="*/ 0 w 8"/>
                  <a:gd name="T3" fmla="*/ 1 h 12"/>
                  <a:gd name="T4" fmla="*/ 0 w 8"/>
                  <a:gd name="T5" fmla="*/ 12 h 12"/>
                  <a:gd name="T6" fmla="*/ 8 w 8"/>
                  <a:gd name="T7" fmla="*/ 12 h 12"/>
                  <a:gd name="T8" fmla="*/ 7 w 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7" y="0"/>
                    </a:moveTo>
                    <a:lnTo>
                      <a:pt x="0" y="1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3" name="Freeform 402">
                <a:extLst>
                  <a:ext uri="{FF2B5EF4-FFF2-40B4-BE49-F238E27FC236}">
                    <a16:creationId xmlns:a16="http://schemas.microsoft.com/office/drawing/2014/main" id="{F20FE99A-1DAD-47C1-A931-3E0C34F63C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1950"/>
                <a:ext cx="7" cy="5"/>
              </a:xfrm>
              <a:custGeom>
                <a:avLst/>
                <a:gdLst>
                  <a:gd name="T0" fmla="*/ 1 w 13"/>
                  <a:gd name="T1" fmla="*/ 0 h 8"/>
                  <a:gd name="T2" fmla="*/ 12 w 13"/>
                  <a:gd name="T3" fmla="*/ 3 h 8"/>
                  <a:gd name="T4" fmla="*/ 12 w 13"/>
                  <a:gd name="T5" fmla="*/ 4 h 8"/>
                  <a:gd name="T6" fmla="*/ 1 w 13"/>
                  <a:gd name="T7" fmla="*/ 8 h 8"/>
                  <a:gd name="T8" fmla="*/ 0 w 13"/>
                  <a:gd name="T9" fmla="*/ 4 h 8"/>
                  <a:gd name="T10" fmla="*/ 1 w 13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8">
                    <a:moveTo>
                      <a:pt x="1" y="0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3" y="3"/>
                      <a:pt x="13" y="4"/>
                      <a:pt x="12" y="4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0" y="7"/>
                      <a:pt x="0" y="4"/>
                    </a:cubicBezTo>
                    <a:cubicBezTo>
                      <a:pt x="0" y="2"/>
                      <a:pt x="1" y="0"/>
                      <a:pt x="1" y="0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4" name="Freeform 403">
                <a:extLst>
                  <a:ext uri="{FF2B5EF4-FFF2-40B4-BE49-F238E27FC236}">
                    <a16:creationId xmlns:a16="http://schemas.microsoft.com/office/drawing/2014/main" id="{BBC9176D-253C-4D86-91D8-D737E2142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5" y="1948"/>
                <a:ext cx="12" cy="5"/>
              </a:xfrm>
              <a:custGeom>
                <a:avLst/>
                <a:gdLst>
                  <a:gd name="T0" fmla="*/ 1 w 21"/>
                  <a:gd name="T1" fmla="*/ 0 h 10"/>
                  <a:gd name="T2" fmla="*/ 1 w 21"/>
                  <a:gd name="T3" fmla="*/ 0 h 10"/>
                  <a:gd name="T4" fmla="*/ 0 w 21"/>
                  <a:gd name="T5" fmla="*/ 6 h 10"/>
                  <a:gd name="T6" fmla="*/ 0 w 21"/>
                  <a:gd name="T7" fmla="*/ 8 h 10"/>
                  <a:gd name="T8" fmla="*/ 0 w 21"/>
                  <a:gd name="T9" fmla="*/ 10 h 10"/>
                  <a:gd name="T10" fmla="*/ 20 w 21"/>
                  <a:gd name="T11" fmla="*/ 8 h 10"/>
                  <a:gd name="T12" fmla="*/ 20 w 21"/>
                  <a:gd name="T13" fmla="*/ 8 h 10"/>
                  <a:gd name="T14" fmla="*/ 21 w 21"/>
                  <a:gd name="T15" fmla="*/ 4 h 10"/>
                  <a:gd name="T16" fmla="*/ 1 w 21"/>
                  <a:gd name="T1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0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3"/>
                      <a:pt x="0" y="6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0" y="9"/>
                      <a:pt x="0" y="9"/>
                      <a:pt x="0" y="1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6"/>
                      <a:pt x="21" y="5"/>
                      <a:pt x="21" y="4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5" name="Freeform 404">
                <a:extLst>
                  <a:ext uri="{FF2B5EF4-FFF2-40B4-BE49-F238E27FC236}">
                    <a16:creationId xmlns:a16="http://schemas.microsoft.com/office/drawing/2014/main" id="{3DF9A79C-DC55-4DCC-BBE6-6FDBDFEB7F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1950"/>
                <a:ext cx="7" cy="2"/>
              </a:xfrm>
              <a:custGeom>
                <a:avLst/>
                <a:gdLst>
                  <a:gd name="T0" fmla="*/ 1 w 13"/>
                  <a:gd name="T1" fmla="*/ 0 h 4"/>
                  <a:gd name="T2" fmla="*/ 1 w 13"/>
                  <a:gd name="T3" fmla="*/ 0 h 4"/>
                  <a:gd name="T4" fmla="*/ 0 w 13"/>
                  <a:gd name="T5" fmla="*/ 4 h 4"/>
                  <a:gd name="T6" fmla="*/ 0 w 13"/>
                  <a:gd name="T7" fmla="*/ 4 h 4"/>
                  <a:gd name="T8" fmla="*/ 13 w 13"/>
                  <a:gd name="T9" fmla="*/ 4 h 4"/>
                  <a:gd name="T10" fmla="*/ 12 w 13"/>
                  <a:gd name="T11" fmla="*/ 3 h 4"/>
                  <a:gd name="T12" fmla="*/ 1 w 1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4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0" y="2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6" name="Rectangle 405">
                <a:extLst>
                  <a:ext uri="{FF2B5EF4-FFF2-40B4-BE49-F238E27FC236}">
                    <a16:creationId xmlns:a16="http://schemas.microsoft.com/office/drawing/2014/main" id="{6962ACA4-07CF-444F-956F-A4DAE82C3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03" y="1958"/>
                <a:ext cx="1" cy="3"/>
              </a:xfrm>
              <a:prstGeom prst="rect">
                <a:avLst/>
              </a:pr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" name="Group 607">
              <a:extLst>
                <a:ext uri="{FF2B5EF4-FFF2-40B4-BE49-F238E27FC236}">
                  <a16:creationId xmlns:a16="http://schemas.microsoft.com/office/drawing/2014/main" id="{764FAE67-B6EA-4418-A66F-411FBDDA76F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243888" y="3100388"/>
              <a:ext cx="2105025" cy="1087438"/>
              <a:chOff x="5193" y="1953"/>
              <a:chExt cx="1326" cy="685"/>
            </a:xfrm>
          </p:grpSpPr>
          <p:sp>
            <p:nvSpPr>
              <p:cNvPr id="167" name="Freeform 407">
                <a:extLst>
                  <a:ext uri="{FF2B5EF4-FFF2-40B4-BE49-F238E27FC236}">
                    <a16:creationId xmlns:a16="http://schemas.microsoft.com/office/drawing/2014/main" id="{2FB82784-21B0-41A2-98B7-841491C92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8"/>
                <a:ext cx="0" cy="3"/>
              </a:xfrm>
              <a:custGeom>
                <a:avLst/>
                <a:gdLst>
                  <a:gd name="T0" fmla="*/ 0 h 3"/>
                  <a:gd name="T1" fmla="*/ 3 h 3"/>
                  <a:gd name="T2" fmla="*/ 3 h 3"/>
                  <a:gd name="T3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408">
                <a:extLst>
                  <a:ext uri="{FF2B5EF4-FFF2-40B4-BE49-F238E27FC236}">
                    <a16:creationId xmlns:a16="http://schemas.microsoft.com/office/drawing/2014/main" id="{4F2C6425-3F72-4B3B-A922-09039E34A9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5"/>
                <a:ext cx="10" cy="6"/>
              </a:xfrm>
              <a:custGeom>
                <a:avLst/>
                <a:gdLst>
                  <a:gd name="T0" fmla="*/ 18 w 18"/>
                  <a:gd name="T1" fmla="*/ 0 h 11"/>
                  <a:gd name="T2" fmla="*/ 5 w 18"/>
                  <a:gd name="T3" fmla="*/ 1 h 11"/>
                  <a:gd name="T4" fmla="*/ 0 w 18"/>
                  <a:gd name="T5" fmla="*/ 6 h 11"/>
                  <a:gd name="T6" fmla="*/ 0 w 18"/>
                  <a:gd name="T7" fmla="*/ 7 h 11"/>
                  <a:gd name="T8" fmla="*/ 0 w 18"/>
                  <a:gd name="T9" fmla="*/ 7 h 11"/>
                  <a:gd name="T10" fmla="*/ 0 w 18"/>
                  <a:gd name="T11" fmla="*/ 11 h 11"/>
                  <a:gd name="T12" fmla="*/ 18 w 18"/>
                  <a:gd name="T13" fmla="*/ 10 h 11"/>
                  <a:gd name="T14" fmla="*/ 18 w 18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1">
                    <a:moveTo>
                      <a:pt x="18" y="0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2" y="1"/>
                      <a:pt x="0" y="3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409">
                <a:extLst>
                  <a:ext uri="{FF2B5EF4-FFF2-40B4-BE49-F238E27FC236}">
                    <a16:creationId xmlns:a16="http://schemas.microsoft.com/office/drawing/2014/main" id="{06414C1D-CF89-49FA-A974-B063A4BD2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7" cy="7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1 h 7"/>
                  <a:gd name="T4" fmla="*/ 0 w 7"/>
                  <a:gd name="T5" fmla="*/ 2 h 7"/>
                  <a:gd name="T6" fmla="*/ 0 w 7"/>
                  <a:gd name="T7" fmla="*/ 7 h 7"/>
                  <a:gd name="T8" fmla="*/ 7 w 7"/>
                  <a:gd name="T9" fmla="*/ 6 h 7"/>
                  <a:gd name="T10" fmla="*/ 7 w 7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7" y="6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410">
                <a:extLst>
                  <a:ext uri="{FF2B5EF4-FFF2-40B4-BE49-F238E27FC236}">
                    <a16:creationId xmlns:a16="http://schemas.microsoft.com/office/drawing/2014/main" id="{87D8F1AD-1B9A-4D51-91FF-7DEC390AC3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7" cy="7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1 h 7"/>
                  <a:gd name="T4" fmla="*/ 0 w 7"/>
                  <a:gd name="T5" fmla="*/ 2 h 7"/>
                  <a:gd name="T6" fmla="*/ 0 w 7"/>
                  <a:gd name="T7" fmla="*/ 7 h 7"/>
                  <a:gd name="T8" fmla="*/ 7 w 7"/>
                  <a:gd name="T9" fmla="*/ 6 h 7"/>
                  <a:gd name="T10" fmla="*/ 7 w 7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7" y="6"/>
                    </a:lnTo>
                    <a:lnTo>
                      <a:pt x="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Rectangle 411">
                <a:extLst>
                  <a:ext uri="{FF2B5EF4-FFF2-40B4-BE49-F238E27FC236}">
                    <a16:creationId xmlns:a16="http://schemas.microsoft.com/office/drawing/2014/main" id="{9F0AEB16-6BD2-492C-85F1-018DB75F40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1" y="2333"/>
                <a:ext cx="16" cy="160"/>
              </a:xfrm>
              <a:prstGeom prst="rect">
                <a:avLst/>
              </a:pr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Rectangle 412">
                <a:extLst>
                  <a:ext uri="{FF2B5EF4-FFF2-40B4-BE49-F238E27FC236}">
                    <a16:creationId xmlns:a16="http://schemas.microsoft.com/office/drawing/2014/main" id="{5D110498-6EEF-45C7-9826-A24360504D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1" y="2333"/>
                <a:ext cx="16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Rectangle 413">
                <a:extLst>
                  <a:ext uri="{FF2B5EF4-FFF2-40B4-BE49-F238E27FC236}">
                    <a16:creationId xmlns:a16="http://schemas.microsoft.com/office/drawing/2014/main" id="{8E2CBA07-3EF2-4BF4-8281-9BA3453C27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6" y="2333"/>
                <a:ext cx="6" cy="160"/>
              </a:xfrm>
              <a:prstGeom prst="rect">
                <a:avLst/>
              </a:prstGeom>
              <a:solidFill>
                <a:srgbClr val="CDDC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Rectangle 414">
                <a:extLst>
                  <a:ext uri="{FF2B5EF4-FFF2-40B4-BE49-F238E27FC236}">
                    <a16:creationId xmlns:a16="http://schemas.microsoft.com/office/drawing/2014/main" id="{80231E61-88F3-4C63-BF4C-EE9AEF9033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6" y="2333"/>
                <a:ext cx="6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Rectangle 415">
                <a:extLst>
                  <a:ext uri="{FF2B5EF4-FFF2-40B4-BE49-F238E27FC236}">
                    <a16:creationId xmlns:a16="http://schemas.microsoft.com/office/drawing/2014/main" id="{0C79B413-7483-48F8-9F17-43F3BE39B8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333"/>
                <a:ext cx="5" cy="160"/>
              </a:xfrm>
              <a:prstGeom prst="rect">
                <a:avLst/>
              </a:prstGeom>
              <a:solidFill>
                <a:srgbClr val="C0CA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Rectangle 416">
                <a:extLst>
                  <a:ext uri="{FF2B5EF4-FFF2-40B4-BE49-F238E27FC236}">
                    <a16:creationId xmlns:a16="http://schemas.microsoft.com/office/drawing/2014/main" id="{85B7D001-9571-4C1D-BBC1-C7B89A6BA6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333"/>
                <a:ext cx="5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417">
                <a:extLst>
                  <a:ext uri="{FF2B5EF4-FFF2-40B4-BE49-F238E27FC236}">
                    <a16:creationId xmlns:a16="http://schemas.microsoft.com/office/drawing/2014/main" id="{EBF15E9C-A22B-4DF9-99B7-E8F2FF3BAA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1" y="2308"/>
                <a:ext cx="16" cy="27"/>
              </a:xfrm>
              <a:custGeom>
                <a:avLst/>
                <a:gdLst>
                  <a:gd name="T0" fmla="*/ 30 w 30"/>
                  <a:gd name="T1" fmla="*/ 47 h 49"/>
                  <a:gd name="T2" fmla="*/ 15 w 30"/>
                  <a:gd name="T3" fmla="*/ 49 h 49"/>
                  <a:gd name="T4" fmla="*/ 0 w 30"/>
                  <a:gd name="T5" fmla="*/ 47 h 49"/>
                  <a:gd name="T6" fmla="*/ 15 w 30"/>
                  <a:gd name="T7" fmla="*/ 1 h 49"/>
                  <a:gd name="T8" fmla="*/ 15 w 30"/>
                  <a:gd name="T9" fmla="*/ 0 h 49"/>
                  <a:gd name="T10" fmla="*/ 16 w 30"/>
                  <a:gd name="T11" fmla="*/ 1 h 49"/>
                  <a:gd name="T12" fmla="*/ 30 w 30"/>
                  <a:gd name="T13" fmla="*/ 4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49">
                    <a:moveTo>
                      <a:pt x="30" y="47"/>
                    </a:moveTo>
                    <a:cubicBezTo>
                      <a:pt x="30" y="47"/>
                      <a:pt x="23" y="49"/>
                      <a:pt x="15" y="49"/>
                    </a:cubicBezTo>
                    <a:cubicBezTo>
                      <a:pt x="8" y="49"/>
                      <a:pt x="0" y="47"/>
                      <a:pt x="0" y="47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30" y="47"/>
                      <a:pt x="30" y="47"/>
                      <a:pt x="30" y="47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418">
                <a:extLst>
                  <a:ext uri="{FF2B5EF4-FFF2-40B4-BE49-F238E27FC236}">
                    <a16:creationId xmlns:a16="http://schemas.microsoft.com/office/drawing/2014/main" id="{F99FDF2B-1704-4AB2-8713-E55DAB23F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1" y="2493"/>
                <a:ext cx="16" cy="27"/>
              </a:xfrm>
              <a:custGeom>
                <a:avLst/>
                <a:gdLst>
                  <a:gd name="T0" fmla="*/ 30 w 30"/>
                  <a:gd name="T1" fmla="*/ 0 h 48"/>
                  <a:gd name="T2" fmla="*/ 30 w 30"/>
                  <a:gd name="T3" fmla="*/ 40 h 48"/>
                  <a:gd name="T4" fmla="*/ 21 w 30"/>
                  <a:gd name="T5" fmla="*/ 48 h 48"/>
                  <a:gd name="T6" fmla="*/ 9 w 30"/>
                  <a:gd name="T7" fmla="*/ 48 h 48"/>
                  <a:gd name="T8" fmla="*/ 0 w 30"/>
                  <a:gd name="T9" fmla="*/ 40 h 48"/>
                  <a:gd name="T10" fmla="*/ 0 w 30"/>
                  <a:gd name="T11" fmla="*/ 0 h 48"/>
                  <a:gd name="T12" fmla="*/ 30 w 30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48">
                    <a:moveTo>
                      <a:pt x="30" y="0"/>
                    </a:moveTo>
                    <a:cubicBezTo>
                      <a:pt x="30" y="40"/>
                      <a:pt x="30" y="40"/>
                      <a:pt x="30" y="40"/>
                    </a:cubicBezTo>
                    <a:cubicBezTo>
                      <a:pt x="30" y="44"/>
                      <a:pt x="26" y="48"/>
                      <a:pt x="21" y="48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4" y="48"/>
                      <a:pt x="0" y="44"/>
                      <a:pt x="0" y="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Rectangle 419">
                <a:extLst>
                  <a:ext uri="{FF2B5EF4-FFF2-40B4-BE49-F238E27FC236}">
                    <a16:creationId xmlns:a16="http://schemas.microsoft.com/office/drawing/2014/main" id="{AB32D940-7AB9-4119-B7AD-CE1E7069C1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3"/>
                <a:ext cx="18" cy="12"/>
              </a:xfrm>
              <a:prstGeom prst="rect">
                <a:avLst/>
              </a:pr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Rectangle 420">
                <a:extLst>
                  <a:ext uri="{FF2B5EF4-FFF2-40B4-BE49-F238E27FC236}">
                    <a16:creationId xmlns:a16="http://schemas.microsoft.com/office/drawing/2014/main" id="{915FFAA4-4731-4460-8283-CA7F6FEED5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3"/>
                <a:ext cx="18" cy="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Rectangle 421">
                <a:extLst>
                  <a:ext uri="{FF2B5EF4-FFF2-40B4-BE49-F238E27FC236}">
                    <a16:creationId xmlns:a16="http://schemas.microsoft.com/office/drawing/2014/main" id="{3CC23432-2C65-4058-B01C-81E1F175C1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8"/>
                <a:ext cx="18" cy="2"/>
              </a:xfrm>
              <a:prstGeom prst="rect">
                <a:avLst/>
              </a:prstGeom>
              <a:solidFill>
                <a:srgbClr val="38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Rectangle 422">
                <a:extLst>
                  <a:ext uri="{FF2B5EF4-FFF2-40B4-BE49-F238E27FC236}">
                    <a16:creationId xmlns:a16="http://schemas.microsoft.com/office/drawing/2014/main" id="{B219592C-59E5-46AB-A2E0-C53E1559F4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8"/>
                <a:ext cx="18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423">
                <a:extLst>
                  <a:ext uri="{FF2B5EF4-FFF2-40B4-BE49-F238E27FC236}">
                    <a16:creationId xmlns:a16="http://schemas.microsoft.com/office/drawing/2014/main" id="{D456BDCA-CED2-47A7-B09F-DF0A9333F2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6" y="2308"/>
                <a:ext cx="6" cy="11"/>
              </a:xfrm>
              <a:custGeom>
                <a:avLst/>
                <a:gdLst>
                  <a:gd name="T0" fmla="*/ 12 w 12"/>
                  <a:gd name="T1" fmla="*/ 18 h 20"/>
                  <a:gd name="T2" fmla="*/ 7 w 12"/>
                  <a:gd name="T3" fmla="*/ 1 h 20"/>
                  <a:gd name="T4" fmla="*/ 6 w 12"/>
                  <a:gd name="T5" fmla="*/ 1 h 20"/>
                  <a:gd name="T6" fmla="*/ 0 w 12"/>
                  <a:gd name="T7" fmla="*/ 18 h 20"/>
                  <a:gd name="T8" fmla="*/ 6 w 12"/>
                  <a:gd name="T9" fmla="*/ 20 h 20"/>
                  <a:gd name="T10" fmla="*/ 12 w 12"/>
                  <a:gd name="T11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20">
                    <a:moveTo>
                      <a:pt x="12" y="18"/>
                    </a:moveTo>
                    <a:cubicBezTo>
                      <a:pt x="7" y="1"/>
                      <a:pt x="7" y="1"/>
                      <a:pt x="7" y="1"/>
                    </a:cubicBezTo>
                    <a:cubicBezTo>
                      <a:pt x="7" y="0"/>
                      <a:pt x="6" y="0"/>
                      <a:pt x="6" y="1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2" y="20"/>
                      <a:pt x="6" y="20"/>
                    </a:cubicBezTo>
                    <a:cubicBezTo>
                      <a:pt x="10" y="20"/>
                      <a:pt x="12" y="18"/>
                      <a:pt x="12" y="18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424">
                <a:extLst>
                  <a:ext uri="{FF2B5EF4-FFF2-40B4-BE49-F238E27FC236}">
                    <a16:creationId xmlns:a16="http://schemas.microsoft.com/office/drawing/2014/main" id="{6B97EE5F-F13A-4ADC-9501-0DE1A1CB8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318"/>
                <a:ext cx="8" cy="17"/>
              </a:xfrm>
              <a:custGeom>
                <a:avLst/>
                <a:gdLst>
                  <a:gd name="T0" fmla="*/ 6 w 15"/>
                  <a:gd name="T1" fmla="*/ 0 h 31"/>
                  <a:gd name="T2" fmla="*/ 0 w 15"/>
                  <a:gd name="T3" fmla="*/ 2 h 31"/>
                  <a:gd name="T4" fmla="*/ 0 w 15"/>
                  <a:gd name="T5" fmla="*/ 2 h 31"/>
                  <a:gd name="T6" fmla="*/ 0 w 15"/>
                  <a:gd name="T7" fmla="*/ 31 h 31"/>
                  <a:gd name="T8" fmla="*/ 15 w 15"/>
                  <a:gd name="T9" fmla="*/ 29 h 31"/>
                  <a:gd name="T10" fmla="*/ 6 w 15"/>
                  <a:gd name="T1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1">
                    <a:moveTo>
                      <a:pt x="6" y="0"/>
                    </a:moveTo>
                    <a:cubicBezTo>
                      <a:pt x="6" y="0"/>
                      <a:pt x="4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8" y="31"/>
                      <a:pt x="15" y="29"/>
                      <a:pt x="15" y="29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425">
                <a:extLst>
                  <a:ext uri="{FF2B5EF4-FFF2-40B4-BE49-F238E27FC236}">
                    <a16:creationId xmlns:a16="http://schemas.microsoft.com/office/drawing/2014/main" id="{38DA11F0-0516-45BB-933F-FB12FCAFC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308"/>
                <a:ext cx="3" cy="11"/>
              </a:xfrm>
              <a:custGeom>
                <a:avLst/>
                <a:gdLst>
                  <a:gd name="T0" fmla="*/ 0 w 6"/>
                  <a:gd name="T1" fmla="*/ 0 h 20"/>
                  <a:gd name="T2" fmla="*/ 0 w 6"/>
                  <a:gd name="T3" fmla="*/ 20 h 20"/>
                  <a:gd name="T4" fmla="*/ 0 w 6"/>
                  <a:gd name="T5" fmla="*/ 20 h 20"/>
                  <a:gd name="T6" fmla="*/ 6 w 6"/>
                  <a:gd name="T7" fmla="*/ 18 h 20"/>
                  <a:gd name="T8" fmla="*/ 6 w 6"/>
                  <a:gd name="T9" fmla="*/ 18 h 20"/>
                  <a:gd name="T10" fmla="*/ 1 w 6"/>
                  <a:gd name="T11" fmla="*/ 1 h 20"/>
                  <a:gd name="T12" fmla="*/ 0 w 6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0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4" y="20"/>
                      <a:pt x="6" y="18"/>
                      <a:pt x="6" y="1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Rectangle 426">
                <a:extLst>
                  <a:ext uri="{FF2B5EF4-FFF2-40B4-BE49-F238E27FC236}">
                    <a16:creationId xmlns:a16="http://schemas.microsoft.com/office/drawing/2014/main" id="{1D2330FD-2ED4-42E1-8C03-B631E0A611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493"/>
                <a:ext cx="5" cy="1"/>
              </a:xfrm>
              <a:prstGeom prst="rect">
                <a:avLst/>
              </a:prstGeom>
              <a:solidFill>
                <a:srgbClr val="98A0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Rectangle 427">
                <a:extLst>
                  <a:ext uri="{FF2B5EF4-FFF2-40B4-BE49-F238E27FC236}">
                    <a16:creationId xmlns:a16="http://schemas.microsoft.com/office/drawing/2014/main" id="{5275919D-B33A-4F67-AC29-D8F3FB293C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493"/>
                <a:ext cx="5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428">
                <a:extLst>
                  <a:ext uri="{FF2B5EF4-FFF2-40B4-BE49-F238E27FC236}">
                    <a16:creationId xmlns:a16="http://schemas.microsoft.com/office/drawing/2014/main" id="{2CC03B84-B821-4FC4-9137-60DD32E4F0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505"/>
                <a:ext cx="8" cy="15"/>
              </a:xfrm>
              <a:custGeom>
                <a:avLst/>
                <a:gdLst>
                  <a:gd name="T0" fmla="*/ 15 w 15"/>
                  <a:gd name="T1" fmla="*/ 0 h 27"/>
                  <a:gd name="T2" fmla="*/ 0 w 15"/>
                  <a:gd name="T3" fmla="*/ 0 h 27"/>
                  <a:gd name="T4" fmla="*/ 0 w 15"/>
                  <a:gd name="T5" fmla="*/ 27 h 27"/>
                  <a:gd name="T6" fmla="*/ 6 w 15"/>
                  <a:gd name="T7" fmla="*/ 27 h 27"/>
                  <a:gd name="T8" fmla="*/ 15 w 15"/>
                  <a:gd name="T9" fmla="*/ 19 h 27"/>
                  <a:gd name="T10" fmla="*/ 15 w 15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27">
                    <a:moveTo>
                      <a:pt x="1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11" y="27"/>
                      <a:pt x="15" y="23"/>
                      <a:pt x="15" y="19"/>
                    </a:cubicBezTo>
                    <a:cubicBezTo>
                      <a:pt x="15" y="0"/>
                      <a:pt x="15" y="0"/>
                      <a:pt x="15" y="0"/>
                    </a:cubicBezTo>
                  </a:path>
                </a:pathLst>
              </a:custGeom>
              <a:solidFill>
                <a:srgbClr val="A8B2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429">
                <a:extLst>
                  <a:ext uri="{FF2B5EF4-FFF2-40B4-BE49-F238E27FC236}">
                    <a16:creationId xmlns:a16="http://schemas.microsoft.com/office/drawing/2014/main" id="{CE769E4A-16E2-4514-A8C7-8CF2C73B66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493"/>
                <a:ext cx="9" cy="12"/>
              </a:xfrm>
              <a:custGeom>
                <a:avLst/>
                <a:gdLst>
                  <a:gd name="T0" fmla="*/ 9 w 9"/>
                  <a:gd name="T1" fmla="*/ 0 h 12"/>
                  <a:gd name="T2" fmla="*/ 8 w 9"/>
                  <a:gd name="T3" fmla="*/ 0 h 12"/>
                  <a:gd name="T4" fmla="*/ 3 w 9"/>
                  <a:gd name="T5" fmla="*/ 0 h 12"/>
                  <a:gd name="T6" fmla="*/ 0 w 9"/>
                  <a:gd name="T7" fmla="*/ 0 h 12"/>
                  <a:gd name="T8" fmla="*/ 0 w 9"/>
                  <a:gd name="T9" fmla="*/ 5 h 12"/>
                  <a:gd name="T10" fmla="*/ 9 w 9"/>
                  <a:gd name="T11" fmla="*/ 5 h 12"/>
                  <a:gd name="T12" fmla="*/ 9 w 9"/>
                  <a:gd name="T13" fmla="*/ 7 h 12"/>
                  <a:gd name="T14" fmla="*/ 0 w 9"/>
                  <a:gd name="T15" fmla="*/ 7 h 12"/>
                  <a:gd name="T16" fmla="*/ 0 w 9"/>
                  <a:gd name="T17" fmla="*/ 12 h 12"/>
                  <a:gd name="T18" fmla="*/ 8 w 9"/>
                  <a:gd name="T19" fmla="*/ 12 h 12"/>
                  <a:gd name="T20" fmla="*/ 9 w 9"/>
                  <a:gd name="T21" fmla="*/ 12 h 12"/>
                  <a:gd name="T22" fmla="*/ 9 w 9"/>
                  <a:gd name="T2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2">
                    <a:moveTo>
                      <a:pt x="9" y="0"/>
                    </a:moveTo>
                    <a:lnTo>
                      <a:pt x="8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9" y="12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430">
                <a:extLst>
                  <a:ext uri="{FF2B5EF4-FFF2-40B4-BE49-F238E27FC236}">
                    <a16:creationId xmlns:a16="http://schemas.microsoft.com/office/drawing/2014/main" id="{776C5EAC-E3E3-42D5-A69A-F7F4CF1C8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493"/>
                <a:ext cx="9" cy="12"/>
              </a:xfrm>
              <a:custGeom>
                <a:avLst/>
                <a:gdLst>
                  <a:gd name="T0" fmla="*/ 9 w 9"/>
                  <a:gd name="T1" fmla="*/ 0 h 12"/>
                  <a:gd name="T2" fmla="*/ 8 w 9"/>
                  <a:gd name="T3" fmla="*/ 0 h 12"/>
                  <a:gd name="T4" fmla="*/ 3 w 9"/>
                  <a:gd name="T5" fmla="*/ 0 h 12"/>
                  <a:gd name="T6" fmla="*/ 0 w 9"/>
                  <a:gd name="T7" fmla="*/ 0 h 12"/>
                  <a:gd name="T8" fmla="*/ 0 w 9"/>
                  <a:gd name="T9" fmla="*/ 5 h 12"/>
                  <a:gd name="T10" fmla="*/ 9 w 9"/>
                  <a:gd name="T11" fmla="*/ 5 h 12"/>
                  <a:gd name="T12" fmla="*/ 9 w 9"/>
                  <a:gd name="T13" fmla="*/ 7 h 12"/>
                  <a:gd name="T14" fmla="*/ 0 w 9"/>
                  <a:gd name="T15" fmla="*/ 7 h 12"/>
                  <a:gd name="T16" fmla="*/ 0 w 9"/>
                  <a:gd name="T17" fmla="*/ 12 h 12"/>
                  <a:gd name="T18" fmla="*/ 8 w 9"/>
                  <a:gd name="T19" fmla="*/ 12 h 12"/>
                  <a:gd name="T20" fmla="*/ 9 w 9"/>
                  <a:gd name="T21" fmla="*/ 12 h 12"/>
                  <a:gd name="T22" fmla="*/ 9 w 9"/>
                  <a:gd name="T2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2">
                    <a:moveTo>
                      <a:pt x="9" y="0"/>
                    </a:moveTo>
                    <a:lnTo>
                      <a:pt x="8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9" y="12"/>
                    </a:lnTo>
                    <a:lnTo>
                      <a:pt x="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Rectangle 431">
                <a:extLst>
                  <a:ext uri="{FF2B5EF4-FFF2-40B4-BE49-F238E27FC236}">
                    <a16:creationId xmlns:a16="http://schemas.microsoft.com/office/drawing/2014/main" id="{EC6916E4-F3F3-4BED-AF79-F8BE3DAE4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9" y="2498"/>
                <a:ext cx="9" cy="2"/>
              </a:xfrm>
              <a:prstGeom prst="rect">
                <a:avLst/>
              </a:prstGeom>
              <a:solidFill>
                <a:srgbClr val="2C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Rectangle 432">
                <a:extLst>
                  <a:ext uri="{FF2B5EF4-FFF2-40B4-BE49-F238E27FC236}">
                    <a16:creationId xmlns:a16="http://schemas.microsoft.com/office/drawing/2014/main" id="{650A1F53-6689-40CE-977F-61ED93A8FA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9" y="2498"/>
                <a:ext cx="9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433">
                <a:extLst>
                  <a:ext uri="{FF2B5EF4-FFF2-40B4-BE49-F238E27FC236}">
                    <a16:creationId xmlns:a16="http://schemas.microsoft.com/office/drawing/2014/main" id="{88D422E1-3C21-464B-A7F6-70D63A512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368"/>
                <a:ext cx="19" cy="165"/>
              </a:xfrm>
              <a:custGeom>
                <a:avLst/>
                <a:gdLst>
                  <a:gd name="T0" fmla="*/ 5 w 36"/>
                  <a:gd name="T1" fmla="*/ 0 h 302"/>
                  <a:gd name="T2" fmla="*/ 31 w 36"/>
                  <a:gd name="T3" fmla="*/ 0 h 302"/>
                  <a:gd name="T4" fmla="*/ 36 w 36"/>
                  <a:gd name="T5" fmla="*/ 138 h 302"/>
                  <a:gd name="T6" fmla="*/ 36 w 36"/>
                  <a:gd name="T7" fmla="*/ 187 h 302"/>
                  <a:gd name="T8" fmla="*/ 36 w 36"/>
                  <a:gd name="T9" fmla="*/ 192 h 302"/>
                  <a:gd name="T10" fmla="*/ 36 w 36"/>
                  <a:gd name="T11" fmla="*/ 195 h 302"/>
                  <a:gd name="T12" fmla="*/ 31 w 36"/>
                  <a:gd name="T13" fmla="*/ 302 h 302"/>
                  <a:gd name="T14" fmla="*/ 31 w 36"/>
                  <a:gd name="T15" fmla="*/ 302 h 302"/>
                  <a:gd name="T16" fmla="*/ 6 w 36"/>
                  <a:gd name="T17" fmla="*/ 302 h 302"/>
                  <a:gd name="T18" fmla="*/ 1 w 36"/>
                  <a:gd name="T19" fmla="*/ 195 h 302"/>
                  <a:gd name="T20" fmla="*/ 1 w 36"/>
                  <a:gd name="T21" fmla="*/ 192 h 302"/>
                  <a:gd name="T22" fmla="*/ 0 w 36"/>
                  <a:gd name="T23" fmla="*/ 187 h 302"/>
                  <a:gd name="T24" fmla="*/ 0 w 36"/>
                  <a:gd name="T25" fmla="*/ 138 h 302"/>
                  <a:gd name="T26" fmla="*/ 5 w 36"/>
                  <a:gd name="T27" fmla="*/ 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302">
                    <a:moveTo>
                      <a:pt x="5" y="0"/>
                    </a:moveTo>
                    <a:cubicBezTo>
                      <a:pt x="31" y="0"/>
                      <a:pt x="31" y="0"/>
                      <a:pt x="31" y="0"/>
                    </a:cubicBezTo>
                    <a:cubicBezTo>
                      <a:pt x="33" y="50"/>
                      <a:pt x="36" y="88"/>
                      <a:pt x="36" y="138"/>
                    </a:cubicBezTo>
                    <a:cubicBezTo>
                      <a:pt x="36" y="149"/>
                      <a:pt x="36" y="174"/>
                      <a:pt x="36" y="187"/>
                    </a:cubicBezTo>
                    <a:cubicBezTo>
                      <a:pt x="36" y="188"/>
                      <a:pt x="36" y="190"/>
                      <a:pt x="36" y="192"/>
                    </a:cubicBezTo>
                    <a:cubicBezTo>
                      <a:pt x="36" y="193"/>
                      <a:pt x="36" y="194"/>
                      <a:pt x="36" y="195"/>
                    </a:cubicBezTo>
                    <a:cubicBezTo>
                      <a:pt x="34" y="239"/>
                      <a:pt x="32" y="265"/>
                      <a:pt x="31" y="302"/>
                    </a:cubicBezTo>
                    <a:cubicBezTo>
                      <a:pt x="31" y="302"/>
                      <a:pt x="31" y="302"/>
                      <a:pt x="31" y="302"/>
                    </a:cubicBezTo>
                    <a:cubicBezTo>
                      <a:pt x="6" y="302"/>
                      <a:pt x="6" y="302"/>
                      <a:pt x="6" y="302"/>
                    </a:cubicBezTo>
                    <a:cubicBezTo>
                      <a:pt x="4" y="265"/>
                      <a:pt x="2" y="239"/>
                      <a:pt x="1" y="195"/>
                    </a:cubicBezTo>
                    <a:cubicBezTo>
                      <a:pt x="1" y="194"/>
                      <a:pt x="1" y="193"/>
                      <a:pt x="1" y="192"/>
                    </a:cubicBezTo>
                    <a:cubicBezTo>
                      <a:pt x="0" y="190"/>
                      <a:pt x="0" y="188"/>
                      <a:pt x="0" y="187"/>
                    </a:cubicBezTo>
                    <a:cubicBezTo>
                      <a:pt x="0" y="174"/>
                      <a:pt x="0" y="149"/>
                      <a:pt x="0" y="138"/>
                    </a:cubicBezTo>
                    <a:cubicBezTo>
                      <a:pt x="0" y="88"/>
                      <a:pt x="3" y="50"/>
                      <a:pt x="5" y="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434">
                <a:extLst>
                  <a:ext uri="{FF2B5EF4-FFF2-40B4-BE49-F238E27FC236}">
                    <a16:creationId xmlns:a16="http://schemas.microsoft.com/office/drawing/2014/main" id="{E6F09E0B-81C2-44FC-8D67-2E5C7FB92E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5" y="2358"/>
                <a:ext cx="15" cy="10"/>
              </a:xfrm>
              <a:custGeom>
                <a:avLst/>
                <a:gdLst>
                  <a:gd name="T0" fmla="*/ 12 w 26"/>
                  <a:gd name="T1" fmla="*/ 0 h 19"/>
                  <a:gd name="T2" fmla="*/ 14 w 26"/>
                  <a:gd name="T3" fmla="*/ 0 h 19"/>
                  <a:gd name="T4" fmla="*/ 26 w 26"/>
                  <a:gd name="T5" fmla="*/ 13 h 19"/>
                  <a:gd name="T6" fmla="*/ 26 w 26"/>
                  <a:gd name="T7" fmla="*/ 19 h 19"/>
                  <a:gd name="T8" fmla="*/ 0 w 26"/>
                  <a:gd name="T9" fmla="*/ 19 h 19"/>
                  <a:gd name="T10" fmla="*/ 0 w 26"/>
                  <a:gd name="T11" fmla="*/ 13 h 19"/>
                  <a:gd name="T12" fmla="*/ 12 w 26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9">
                    <a:moveTo>
                      <a:pt x="12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21" y="0"/>
                      <a:pt x="26" y="6"/>
                      <a:pt x="26" y="13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5" y="0"/>
                      <a:pt x="12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Rectangle 435">
                <a:extLst>
                  <a:ext uri="{FF2B5EF4-FFF2-40B4-BE49-F238E27FC236}">
                    <a16:creationId xmlns:a16="http://schemas.microsoft.com/office/drawing/2014/main" id="{5E7221C1-7A6D-469B-9AC2-11A82827F4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9" y="2365"/>
                <a:ext cx="6" cy="2"/>
              </a:xfrm>
              <a:prstGeom prst="rect">
                <a:avLst/>
              </a:pr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Rectangle 436">
                <a:extLst>
                  <a:ext uri="{FF2B5EF4-FFF2-40B4-BE49-F238E27FC236}">
                    <a16:creationId xmlns:a16="http://schemas.microsoft.com/office/drawing/2014/main" id="{B0E087A0-E53B-4F17-86D1-EDEB80A62A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9" y="2365"/>
                <a:ext cx="6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437">
                <a:extLst>
                  <a:ext uri="{FF2B5EF4-FFF2-40B4-BE49-F238E27FC236}">
                    <a16:creationId xmlns:a16="http://schemas.microsoft.com/office/drawing/2014/main" id="{1828DB6B-1A57-49EC-BD7B-12E84713EB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4" y="2365"/>
                <a:ext cx="13" cy="65"/>
              </a:xfrm>
              <a:custGeom>
                <a:avLst/>
                <a:gdLst>
                  <a:gd name="T0" fmla="*/ 2 w 24"/>
                  <a:gd name="T1" fmla="*/ 0 h 118"/>
                  <a:gd name="T2" fmla="*/ 3 w 24"/>
                  <a:gd name="T3" fmla="*/ 0 h 118"/>
                  <a:gd name="T4" fmla="*/ 5 w 24"/>
                  <a:gd name="T5" fmla="*/ 1 h 118"/>
                  <a:gd name="T6" fmla="*/ 5 w 24"/>
                  <a:gd name="T7" fmla="*/ 112 h 118"/>
                  <a:gd name="T8" fmla="*/ 7 w 24"/>
                  <a:gd name="T9" fmla="*/ 113 h 118"/>
                  <a:gd name="T10" fmla="*/ 7 w 24"/>
                  <a:gd name="T11" fmla="*/ 117 h 118"/>
                  <a:gd name="T12" fmla="*/ 0 w 24"/>
                  <a:gd name="T13" fmla="*/ 117 h 118"/>
                  <a:gd name="T14" fmla="*/ 1 w 24"/>
                  <a:gd name="T15" fmla="*/ 3 h 118"/>
                  <a:gd name="T16" fmla="*/ 0 w 24"/>
                  <a:gd name="T17" fmla="*/ 1 h 118"/>
                  <a:gd name="T18" fmla="*/ 2 w 24"/>
                  <a:gd name="T19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118">
                    <a:moveTo>
                      <a:pt x="2" y="0"/>
                    </a:moveTo>
                    <a:cubicBezTo>
                      <a:pt x="2" y="0"/>
                      <a:pt x="3" y="0"/>
                      <a:pt x="3" y="0"/>
                    </a:cubicBezTo>
                    <a:cubicBezTo>
                      <a:pt x="4" y="1"/>
                      <a:pt x="5" y="1"/>
                      <a:pt x="5" y="1"/>
                    </a:cubicBezTo>
                    <a:cubicBezTo>
                      <a:pt x="24" y="20"/>
                      <a:pt x="8" y="101"/>
                      <a:pt x="5" y="112"/>
                    </a:cubicBezTo>
                    <a:cubicBezTo>
                      <a:pt x="6" y="112"/>
                      <a:pt x="7" y="112"/>
                      <a:pt x="7" y="113"/>
                    </a:cubicBezTo>
                    <a:cubicBezTo>
                      <a:pt x="8" y="113"/>
                      <a:pt x="8" y="116"/>
                      <a:pt x="7" y="117"/>
                    </a:cubicBezTo>
                    <a:cubicBezTo>
                      <a:pt x="6" y="118"/>
                      <a:pt x="0" y="117"/>
                      <a:pt x="0" y="117"/>
                    </a:cubicBezTo>
                    <a:cubicBezTo>
                      <a:pt x="0" y="117"/>
                      <a:pt x="9" y="27"/>
                      <a:pt x="1" y="3"/>
                    </a:cubicBezTo>
                    <a:cubicBezTo>
                      <a:pt x="1" y="3"/>
                      <a:pt x="1" y="2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438">
                <a:extLst>
                  <a:ext uri="{FF2B5EF4-FFF2-40B4-BE49-F238E27FC236}">
                    <a16:creationId xmlns:a16="http://schemas.microsoft.com/office/drawing/2014/main" id="{F890825E-E460-4351-B586-42A7BDEC9C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74"/>
                <a:ext cx="19" cy="59"/>
              </a:xfrm>
              <a:custGeom>
                <a:avLst/>
                <a:gdLst>
                  <a:gd name="T0" fmla="*/ 17 w 35"/>
                  <a:gd name="T1" fmla="*/ 0 h 109"/>
                  <a:gd name="T2" fmla="*/ 17 w 35"/>
                  <a:gd name="T3" fmla="*/ 0 h 109"/>
                  <a:gd name="T4" fmla="*/ 35 w 35"/>
                  <a:gd name="T5" fmla="*/ 2 h 109"/>
                  <a:gd name="T6" fmla="*/ 30 w 35"/>
                  <a:gd name="T7" fmla="*/ 109 h 109"/>
                  <a:gd name="T8" fmla="*/ 30 w 35"/>
                  <a:gd name="T9" fmla="*/ 109 h 109"/>
                  <a:gd name="T10" fmla="*/ 5 w 35"/>
                  <a:gd name="T11" fmla="*/ 109 h 109"/>
                  <a:gd name="T12" fmla="*/ 0 w 35"/>
                  <a:gd name="T13" fmla="*/ 2 h 109"/>
                  <a:gd name="T14" fmla="*/ 17 w 35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09">
                    <a:moveTo>
                      <a:pt x="1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26" y="0"/>
                      <a:pt x="35" y="2"/>
                      <a:pt x="35" y="2"/>
                    </a:cubicBezTo>
                    <a:cubicBezTo>
                      <a:pt x="33" y="46"/>
                      <a:pt x="31" y="72"/>
                      <a:pt x="30" y="109"/>
                    </a:cubicBezTo>
                    <a:cubicBezTo>
                      <a:pt x="30" y="109"/>
                      <a:pt x="30" y="109"/>
                      <a:pt x="30" y="109"/>
                    </a:cubicBezTo>
                    <a:cubicBezTo>
                      <a:pt x="5" y="109"/>
                      <a:pt x="5" y="109"/>
                      <a:pt x="5" y="109"/>
                    </a:cubicBezTo>
                    <a:cubicBezTo>
                      <a:pt x="3" y="72"/>
                      <a:pt x="1" y="46"/>
                      <a:pt x="0" y="2"/>
                    </a:cubicBezTo>
                    <a:cubicBezTo>
                      <a:pt x="0" y="2"/>
                      <a:pt x="10" y="0"/>
                      <a:pt x="17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439">
                <a:extLst>
                  <a:ext uri="{FF2B5EF4-FFF2-40B4-BE49-F238E27FC236}">
                    <a16:creationId xmlns:a16="http://schemas.microsoft.com/office/drawing/2014/main" id="{613367DD-F1E1-49C2-9C9E-E21C58B35D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74"/>
                <a:ext cx="19" cy="59"/>
              </a:xfrm>
              <a:custGeom>
                <a:avLst/>
                <a:gdLst>
                  <a:gd name="T0" fmla="*/ 17 w 35"/>
                  <a:gd name="T1" fmla="*/ 0 h 109"/>
                  <a:gd name="T2" fmla="*/ 17 w 35"/>
                  <a:gd name="T3" fmla="*/ 0 h 109"/>
                  <a:gd name="T4" fmla="*/ 35 w 35"/>
                  <a:gd name="T5" fmla="*/ 2 h 109"/>
                  <a:gd name="T6" fmla="*/ 30 w 35"/>
                  <a:gd name="T7" fmla="*/ 109 h 109"/>
                  <a:gd name="T8" fmla="*/ 30 w 35"/>
                  <a:gd name="T9" fmla="*/ 109 h 109"/>
                  <a:gd name="T10" fmla="*/ 5 w 35"/>
                  <a:gd name="T11" fmla="*/ 109 h 109"/>
                  <a:gd name="T12" fmla="*/ 0 w 35"/>
                  <a:gd name="T13" fmla="*/ 2 h 109"/>
                  <a:gd name="T14" fmla="*/ 17 w 35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09">
                    <a:moveTo>
                      <a:pt x="1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26" y="0"/>
                      <a:pt x="35" y="2"/>
                      <a:pt x="35" y="2"/>
                    </a:cubicBezTo>
                    <a:cubicBezTo>
                      <a:pt x="33" y="46"/>
                      <a:pt x="31" y="72"/>
                      <a:pt x="30" y="109"/>
                    </a:cubicBezTo>
                    <a:cubicBezTo>
                      <a:pt x="30" y="109"/>
                      <a:pt x="30" y="109"/>
                      <a:pt x="30" y="109"/>
                    </a:cubicBezTo>
                    <a:cubicBezTo>
                      <a:pt x="5" y="109"/>
                      <a:pt x="5" y="109"/>
                      <a:pt x="5" y="109"/>
                    </a:cubicBezTo>
                    <a:cubicBezTo>
                      <a:pt x="3" y="72"/>
                      <a:pt x="1" y="46"/>
                      <a:pt x="0" y="2"/>
                    </a:cubicBezTo>
                    <a:cubicBezTo>
                      <a:pt x="0" y="2"/>
                      <a:pt x="10" y="0"/>
                      <a:pt x="17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440">
                <a:extLst>
                  <a:ext uri="{FF2B5EF4-FFF2-40B4-BE49-F238E27FC236}">
                    <a16:creationId xmlns:a16="http://schemas.microsoft.com/office/drawing/2014/main" id="{DAE9DB01-7BDE-4644-9CE1-DA53CC765C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69"/>
                <a:ext cx="19" cy="4"/>
              </a:xfrm>
              <a:custGeom>
                <a:avLst/>
                <a:gdLst>
                  <a:gd name="T0" fmla="*/ 18 w 36"/>
                  <a:gd name="T1" fmla="*/ 0 h 7"/>
                  <a:gd name="T2" fmla="*/ 18 w 36"/>
                  <a:gd name="T3" fmla="*/ 0 h 7"/>
                  <a:gd name="T4" fmla="*/ 36 w 36"/>
                  <a:gd name="T5" fmla="*/ 2 h 7"/>
                  <a:gd name="T6" fmla="*/ 36 w 36"/>
                  <a:gd name="T7" fmla="*/ 7 h 7"/>
                  <a:gd name="T8" fmla="*/ 18 w 36"/>
                  <a:gd name="T9" fmla="*/ 5 h 7"/>
                  <a:gd name="T10" fmla="*/ 18 w 36"/>
                  <a:gd name="T11" fmla="*/ 5 h 7"/>
                  <a:gd name="T12" fmla="*/ 1 w 36"/>
                  <a:gd name="T13" fmla="*/ 7 h 7"/>
                  <a:gd name="T14" fmla="*/ 0 w 36"/>
                  <a:gd name="T15" fmla="*/ 2 h 7"/>
                  <a:gd name="T16" fmla="*/ 18 w 36"/>
                  <a:gd name="T1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" h="7">
                    <a:moveTo>
                      <a:pt x="18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26" y="0"/>
                      <a:pt x="34" y="1"/>
                      <a:pt x="36" y="2"/>
                    </a:cubicBezTo>
                    <a:cubicBezTo>
                      <a:pt x="36" y="3"/>
                      <a:pt x="36" y="5"/>
                      <a:pt x="36" y="7"/>
                    </a:cubicBezTo>
                    <a:cubicBezTo>
                      <a:pt x="34" y="6"/>
                      <a:pt x="26" y="5"/>
                      <a:pt x="18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2" y="5"/>
                      <a:pt x="2" y="6"/>
                      <a:pt x="1" y="7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2" y="1"/>
                      <a:pt x="11" y="0"/>
                      <a:pt x="18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441">
                <a:extLst>
                  <a:ext uri="{FF2B5EF4-FFF2-40B4-BE49-F238E27FC236}">
                    <a16:creationId xmlns:a16="http://schemas.microsoft.com/office/drawing/2014/main" id="{B7F23BCD-7291-42A1-A21F-BCA9489D4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2" y="2545"/>
                <a:ext cx="2" cy="6"/>
              </a:xfrm>
              <a:custGeom>
                <a:avLst/>
                <a:gdLst>
                  <a:gd name="T0" fmla="*/ 0 w 3"/>
                  <a:gd name="T1" fmla="*/ 0 h 11"/>
                  <a:gd name="T2" fmla="*/ 3 w 3"/>
                  <a:gd name="T3" fmla="*/ 0 h 11"/>
                  <a:gd name="T4" fmla="*/ 3 w 3"/>
                  <a:gd name="T5" fmla="*/ 9 h 11"/>
                  <a:gd name="T6" fmla="*/ 1 w 3"/>
                  <a:gd name="T7" fmla="*/ 11 h 11"/>
                  <a:gd name="T8" fmla="*/ 1 w 3"/>
                  <a:gd name="T9" fmla="*/ 11 h 11"/>
                  <a:gd name="T10" fmla="*/ 0 w 3"/>
                  <a:gd name="T11" fmla="*/ 11 h 11"/>
                  <a:gd name="T12" fmla="*/ 0 w 3"/>
                  <a:gd name="T13" fmla="*/ 9 h 11"/>
                  <a:gd name="T14" fmla="*/ 0 w 3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11">
                    <a:moveTo>
                      <a:pt x="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1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0" y="11"/>
                      <a:pt x="0" y="11"/>
                    </a:cubicBezTo>
                    <a:cubicBezTo>
                      <a:pt x="0" y="10"/>
                      <a:pt x="0" y="10"/>
                      <a:pt x="0" y="9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442">
                <a:extLst>
                  <a:ext uri="{FF2B5EF4-FFF2-40B4-BE49-F238E27FC236}">
                    <a16:creationId xmlns:a16="http://schemas.microsoft.com/office/drawing/2014/main" id="{9215A3D7-4A65-411A-8417-E89E3EB198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6" y="2532"/>
                <a:ext cx="14" cy="14"/>
              </a:xfrm>
              <a:custGeom>
                <a:avLst/>
                <a:gdLst>
                  <a:gd name="T0" fmla="*/ 12 w 25"/>
                  <a:gd name="T1" fmla="*/ 0 h 27"/>
                  <a:gd name="T2" fmla="*/ 25 w 25"/>
                  <a:gd name="T3" fmla="*/ 3 h 27"/>
                  <a:gd name="T4" fmla="*/ 25 w 25"/>
                  <a:gd name="T5" fmla="*/ 3 h 27"/>
                  <a:gd name="T6" fmla="*/ 15 w 25"/>
                  <a:gd name="T7" fmla="*/ 27 h 27"/>
                  <a:gd name="T8" fmla="*/ 14 w 25"/>
                  <a:gd name="T9" fmla="*/ 27 h 27"/>
                  <a:gd name="T10" fmla="*/ 12 w 25"/>
                  <a:gd name="T11" fmla="*/ 27 h 27"/>
                  <a:gd name="T12" fmla="*/ 12 w 25"/>
                  <a:gd name="T13" fmla="*/ 27 h 27"/>
                  <a:gd name="T14" fmla="*/ 11 w 25"/>
                  <a:gd name="T15" fmla="*/ 27 h 27"/>
                  <a:gd name="T16" fmla="*/ 10 w 25"/>
                  <a:gd name="T17" fmla="*/ 27 h 27"/>
                  <a:gd name="T18" fmla="*/ 0 w 25"/>
                  <a:gd name="T19" fmla="*/ 3 h 27"/>
                  <a:gd name="T20" fmla="*/ 12 w 25"/>
                  <a:gd name="T2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27">
                    <a:moveTo>
                      <a:pt x="12" y="0"/>
                    </a:moveTo>
                    <a:cubicBezTo>
                      <a:pt x="18" y="0"/>
                      <a:pt x="24" y="1"/>
                      <a:pt x="25" y="3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4" y="10"/>
                      <a:pt x="18" y="21"/>
                      <a:pt x="15" y="27"/>
                    </a:cubicBezTo>
                    <a:cubicBezTo>
                      <a:pt x="15" y="27"/>
                      <a:pt x="14" y="27"/>
                      <a:pt x="14" y="27"/>
                    </a:cubicBezTo>
                    <a:cubicBezTo>
                      <a:pt x="13" y="27"/>
                      <a:pt x="13" y="27"/>
                      <a:pt x="12" y="27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2" y="27"/>
                      <a:pt x="11" y="27"/>
                      <a:pt x="11" y="27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6" y="21"/>
                      <a:pt x="0" y="9"/>
                      <a:pt x="0" y="3"/>
                    </a:cubicBezTo>
                    <a:cubicBezTo>
                      <a:pt x="0" y="1"/>
                      <a:pt x="6" y="0"/>
                      <a:pt x="12" y="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443">
                <a:extLst>
                  <a:ext uri="{FF2B5EF4-FFF2-40B4-BE49-F238E27FC236}">
                    <a16:creationId xmlns:a16="http://schemas.microsoft.com/office/drawing/2014/main" id="{478B5557-FFF7-49A5-A64C-C85625664E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3" y="2368"/>
                <a:ext cx="9" cy="107"/>
              </a:xfrm>
              <a:custGeom>
                <a:avLst/>
                <a:gdLst>
                  <a:gd name="T0" fmla="*/ 0 w 18"/>
                  <a:gd name="T1" fmla="*/ 190 h 195"/>
                  <a:gd name="T2" fmla="*/ 0 w 18"/>
                  <a:gd name="T3" fmla="*/ 190 h 195"/>
                  <a:gd name="T4" fmla="*/ 0 w 18"/>
                  <a:gd name="T5" fmla="*/ 193 h 195"/>
                  <a:gd name="T6" fmla="*/ 0 w 18"/>
                  <a:gd name="T7" fmla="*/ 193 h 195"/>
                  <a:gd name="T8" fmla="*/ 18 w 18"/>
                  <a:gd name="T9" fmla="*/ 195 h 195"/>
                  <a:gd name="T10" fmla="*/ 18 w 18"/>
                  <a:gd name="T11" fmla="*/ 195 h 195"/>
                  <a:gd name="T12" fmla="*/ 18 w 18"/>
                  <a:gd name="T13" fmla="*/ 192 h 195"/>
                  <a:gd name="T14" fmla="*/ 0 w 18"/>
                  <a:gd name="T15" fmla="*/ 190 h 195"/>
                  <a:gd name="T16" fmla="*/ 13 w 18"/>
                  <a:gd name="T17" fmla="*/ 0 h 195"/>
                  <a:gd name="T18" fmla="*/ 0 w 18"/>
                  <a:gd name="T19" fmla="*/ 0 h 195"/>
                  <a:gd name="T20" fmla="*/ 0 w 18"/>
                  <a:gd name="T21" fmla="*/ 185 h 195"/>
                  <a:gd name="T22" fmla="*/ 0 w 18"/>
                  <a:gd name="T23" fmla="*/ 185 h 195"/>
                  <a:gd name="T24" fmla="*/ 18 w 18"/>
                  <a:gd name="T25" fmla="*/ 187 h 195"/>
                  <a:gd name="T26" fmla="*/ 18 w 18"/>
                  <a:gd name="T27" fmla="*/ 187 h 195"/>
                  <a:gd name="T28" fmla="*/ 18 w 18"/>
                  <a:gd name="T29" fmla="*/ 138 h 195"/>
                  <a:gd name="T30" fmla="*/ 13 w 18"/>
                  <a:gd name="T31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195">
                    <a:moveTo>
                      <a:pt x="0" y="190"/>
                    </a:move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9" y="193"/>
                      <a:pt x="18" y="195"/>
                      <a:pt x="18" y="195"/>
                    </a:cubicBezTo>
                    <a:cubicBezTo>
                      <a:pt x="18" y="195"/>
                      <a:pt x="18" y="195"/>
                      <a:pt x="18" y="195"/>
                    </a:cubicBezTo>
                    <a:cubicBezTo>
                      <a:pt x="18" y="194"/>
                      <a:pt x="18" y="193"/>
                      <a:pt x="18" y="192"/>
                    </a:cubicBezTo>
                    <a:cubicBezTo>
                      <a:pt x="16" y="191"/>
                      <a:pt x="8" y="190"/>
                      <a:pt x="0" y="190"/>
                    </a:cubicBezTo>
                    <a:moveTo>
                      <a:pt x="1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85"/>
                      <a:pt x="0" y="185"/>
                      <a:pt x="0" y="185"/>
                    </a:cubicBezTo>
                    <a:cubicBezTo>
                      <a:pt x="0" y="185"/>
                      <a:pt x="0" y="185"/>
                      <a:pt x="0" y="185"/>
                    </a:cubicBezTo>
                    <a:cubicBezTo>
                      <a:pt x="8" y="185"/>
                      <a:pt x="16" y="186"/>
                      <a:pt x="18" y="187"/>
                    </a:cubicBezTo>
                    <a:cubicBezTo>
                      <a:pt x="18" y="187"/>
                      <a:pt x="18" y="187"/>
                      <a:pt x="18" y="187"/>
                    </a:cubicBezTo>
                    <a:cubicBezTo>
                      <a:pt x="18" y="174"/>
                      <a:pt x="18" y="149"/>
                      <a:pt x="18" y="138"/>
                    </a:cubicBezTo>
                    <a:cubicBezTo>
                      <a:pt x="18" y="88"/>
                      <a:pt x="15" y="50"/>
                      <a:pt x="13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444">
                <a:extLst>
                  <a:ext uri="{FF2B5EF4-FFF2-40B4-BE49-F238E27FC236}">
                    <a16:creationId xmlns:a16="http://schemas.microsoft.com/office/drawing/2014/main" id="{17498DD3-4E74-4D0E-98A9-8B51249788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358"/>
                <a:ext cx="7" cy="10"/>
              </a:xfrm>
              <a:custGeom>
                <a:avLst/>
                <a:gdLst>
                  <a:gd name="T0" fmla="*/ 1 w 13"/>
                  <a:gd name="T1" fmla="*/ 0 h 19"/>
                  <a:gd name="T2" fmla="*/ 0 w 13"/>
                  <a:gd name="T3" fmla="*/ 0 h 19"/>
                  <a:gd name="T4" fmla="*/ 0 w 13"/>
                  <a:gd name="T5" fmla="*/ 19 h 19"/>
                  <a:gd name="T6" fmla="*/ 13 w 13"/>
                  <a:gd name="T7" fmla="*/ 19 h 19"/>
                  <a:gd name="T8" fmla="*/ 13 w 13"/>
                  <a:gd name="T9" fmla="*/ 16 h 19"/>
                  <a:gd name="T10" fmla="*/ 12 w 13"/>
                  <a:gd name="T11" fmla="*/ 16 h 19"/>
                  <a:gd name="T12" fmla="*/ 12 w 13"/>
                  <a:gd name="T13" fmla="*/ 13 h 19"/>
                  <a:gd name="T14" fmla="*/ 13 w 13"/>
                  <a:gd name="T15" fmla="*/ 13 h 19"/>
                  <a:gd name="T16" fmla="*/ 13 w 13"/>
                  <a:gd name="T17" fmla="*/ 13 h 19"/>
                  <a:gd name="T18" fmla="*/ 1 w 13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9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6"/>
                      <a:pt x="8" y="0"/>
                      <a:pt x="1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445">
                <a:extLst>
                  <a:ext uri="{FF2B5EF4-FFF2-40B4-BE49-F238E27FC236}">
                    <a16:creationId xmlns:a16="http://schemas.microsoft.com/office/drawing/2014/main" id="{64E4E2F8-6597-4EF0-BD7D-108BA247C7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9" y="2365"/>
                <a:ext cx="6" cy="2"/>
              </a:xfrm>
              <a:custGeom>
                <a:avLst/>
                <a:gdLst>
                  <a:gd name="T0" fmla="*/ 10 w 11"/>
                  <a:gd name="T1" fmla="*/ 0 h 3"/>
                  <a:gd name="T2" fmla="*/ 1 w 11"/>
                  <a:gd name="T3" fmla="*/ 0 h 3"/>
                  <a:gd name="T4" fmla="*/ 0 w 11"/>
                  <a:gd name="T5" fmla="*/ 0 h 3"/>
                  <a:gd name="T6" fmla="*/ 0 w 11"/>
                  <a:gd name="T7" fmla="*/ 3 h 3"/>
                  <a:gd name="T8" fmla="*/ 1 w 11"/>
                  <a:gd name="T9" fmla="*/ 3 h 3"/>
                  <a:gd name="T10" fmla="*/ 9 w 11"/>
                  <a:gd name="T11" fmla="*/ 3 h 3"/>
                  <a:gd name="T12" fmla="*/ 8 w 11"/>
                  <a:gd name="T13" fmla="*/ 1 h 3"/>
                  <a:gd name="T14" fmla="*/ 10 w 11"/>
                  <a:gd name="T15" fmla="*/ 0 h 3"/>
                  <a:gd name="T16" fmla="*/ 11 w 11"/>
                  <a:gd name="T17" fmla="*/ 0 h 3"/>
                  <a:gd name="T18" fmla="*/ 10 w 11"/>
                  <a:gd name="T19" fmla="*/ 0 h 3"/>
                  <a:gd name="T20" fmla="*/ 11 w 11"/>
                  <a:gd name="T21" fmla="*/ 0 h 3"/>
                  <a:gd name="T22" fmla="*/ 11 w 11"/>
                  <a:gd name="T2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3">
                    <a:moveTo>
                      <a:pt x="1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2"/>
                      <a:pt x="8" y="1"/>
                    </a:cubicBezTo>
                    <a:cubicBezTo>
                      <a:pt x="8" y="1"/>
                      <a:pt x="9" y="0"/>
                      <a:pt x="10" y="0"/>
                    </a:cubicBezTo>
                    <a:moveTo>
                      <a:pt x="1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446">
                <a:extLst>
                  <a:ext uri="{FF2B5EF4-FFF2-40B4-BE49-F238E27FC236}">
                    <a16:creationId xmlns:a16="http://schemas.microsoft.com/office/drawing/2014/main" id="{178BFD43-1F73-4C78-8572-DFDCE910C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4" y="2365"/>
                <a:ext cx="7" cy="64"/>
              </a:xfrm>
              <a:custGeom>
                <a:avLst/>
                <a:gdLst>
                  <a:gd name="T0" fmla="*/ 2 w 14"/>
                  <a:gd name="T1" fmla="*/ 0 h 117"/>
                  <a:gd name="T2" fmla="*/ 2 w 14"/>
                  <a:gd name="T3" fmla="*/ 0 h 117"/>
                  <a:gd name="T4" fmla="*/ 0 w 14"/>
                  <a:gd name="T5" fmla="*/ 1 h 117"/>
                  <a:gd name="T6" fmla="*/ 1 w 14"/>
                  <a:gd name="T7" fmla="*/ 3 h 117"/>
                  <a:gd name="T8" fmla="*/ 1 w 14"/>
                  <a:gd name="T9" fmla="*/ 3 h 117"/>
                  <a:gd name="T10" fmla="*/ 4 w 14"/>
                  <a:gd name="T11" fmla="*/ 40 h 117"/>
                  <a:gd name="T12" fmla="*/ 4 w 14"/>
                  <a:gd name="T13" fmla="*/ 61 h 117"/>
                  <a:gd name="T14" fmla="*/ 4 w 14"/>
                  <a:gd name="T15" fmla="*/ 63 h 117"/>
                  <a:gd name="T16" fmla="*/ 3 w 14"/>
                  <a:gd name="T17" fmla="*/ 86 h 117"/>
                  <a:gd name="T18" fmla="*/ 3 w 14"/>
                  <a:gd name="T19" fmla="*/ 87 h 117"/>
                  <a:gd name="T20" fmla="*/ 1 w 14"/>
                  <a:gd name="T21" fmla="*/ 110 h 117"/>
                  <a:gd name="T22" fmla="*/ 1 w 14"/>
                  <a:gd name="T23" fmla="*/ 112 h 117"/>
                  <a:gd name="T24" fmla="*/ 0 w 14"/>
                  <a:gd name="T25" fmla="*/ 117 h 117"/>
                  <a:gd name="T26" fmla="*/ 5 w 14"/>
                  <a:gd name="T27" fmla="*/ 117 h 117"/>
                  <a:gd name="T28" fmla="*/ 7 w 14"/>
                  <a:gd name="T29" fmla="*/ 117 h 117"/>
                  <a:gd name="T30" fmla="*/ 8 w 14"/>
                  <a:gd name="T31" fmla="*/ 115 h 117"/>
                  <a:gd name="T32" fmla="*/ 7 w 14"/>
                  <a:gd name="T33" fmla="*/ 113 h 117"/>
                  <a:gd name="T34" fmla="*/ 5 w 14"/>
                  <a:gd name="T35" fmla="*/ 112 h 117"/>
                  <a:gd name="T36" fmla="*/ 5 w 14"/>
                  <a:gd name="T37" fmla="*/ 112 h 117"/>
                  <a:gd name="T38" fmla="*/ 5 w 14"/>
                  <a:gd name="T39" fmla="*/ 112 h 117"/>
                  <a:gd name="T40" fmla="*/ 14 w 14"/>
                  <a:gd name="T41" fmla="*/ 39 h 117"/>
                  <a:gd name="T42" fmla="*/ 5 w 14"/>
                  <a:gd name="T43" fmla="*/ 1 h 117"/>
                  <a:gd name="T44" fmla="*/ 3 w 14"/>
                  <a:gd name="T45" fmla="*/ 0 h 117"/>
                  <a:gd name="T46" fmla="*/ 3 w 14"/>
                  <a:gd name="T47" fmla="*/ 0 h 117"/>
                  <a:gd name="T48" fmla="*/ 2 w 14"/>
                  <a:gd name="T49" fmla="*/ 0 h 117"/>
                  <a:gd name="T50" fmla="*/ 2 w 14"/>
                  <a:gd name="T51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" h="117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11"/>
                      <a:pt x="4" y="24"/>
                      <a:pt x="4" y="40"/>
                    </a:cubicBezTo>
                    <a:cubicBezTo>
                      <a:pt x="4" y="47"/>
                      <a:pt x="4" y="54"/>
                      <a:pt x="4" y="61"/>
                    </a:cubicBezTo>
                    <a:cubicBezTo>
                      <a:pt x="4" y="62"/>
                      <a:pt x="4" y="63"/>
                      <a:pt x="4" y="63"/>
                    </a:cubicBezTo>
                    <a:cubicBezTo>
                      <a:pt x="4" y="71"/>
                      <a:pt x="3" y="79"/>
                      <a:pt x="3" y="86"/>
                    </a:cubicBezTo>
                    <a:cubicBezTo>
                      <a:pt x="3" y="86"/>
                      <a:pt x="3" y="87"/>
                      <a:pt x="3" y="87"/>
                    </a:cubicBezTo>
                    <a:cubicBezTo>
                      <a:pt x="2" y="97"/>
                      <a:pt x="1" y="105"/>
                      <a:pt x="1" y="110"/>
                    </a:cubicBezTo>
                    <a:cubicBezTo>
                      <a:pt x="1" y="111"/>
                      <a:pt x="1" y="111"/>
                      <a:pt x="1" y="112"/>
                    </a:cubicBezTo>
                    <a:cubicBezTo>
                      <a:pt x="0" y="115"/>
                      <a:pt x="0" y="117"/>
                      <a:pt x="0" y="117"/>
                    </a:cubicBezTo>
                    <a:cubicBezTo>
                      <a:pt x="0" y="117"/>
                      <a:pt x="3" y="117"/>
                      <a:pt x="5" y="117"/>
                    </a:cubicBezTo>
                    <a:cubicBezTo>
                      <a:pt x="6" y="117"/>
                      <a:pt x="7" y="117"/>
                      <a:pt x="7" y="117"/>
                    </a:cubicBezTo>
                    <a:cubicBezTo>
                      <a:pt x="8" y="116"/>
                      <a:pt x="8" y="116"/>
                      <a:pt x="8" y="115"/>
                    </a:cubicBezTo>
                    <a:cubicBezTo>
                      <a:pt x="8" y="114"/>
                      <a:pt x="8" y="113"/>
                      <a:pt x="7" y="113"/>
                    </a:cubicBezTo>
                    <a:cubicBezTo>
                      <a:pt x="7" y="112"/>
                      <a:pt x="6" y="112"/>
                      <a:pt x="5" y="112"/>
                    </a:cubicBezTo>
                    <a:cubicBezTo>
                      <a:pt x="5" y="112"/>
                      <a:pt x="5" y="112"/>
                      <a:pt x="5" y="112"/>
                    </a:cubicBezTo>
                    <a:cubicBezTo>
                      <a:pt x="5" y="112"/>
                      <a:pt x="5" y="112"/>
                      <a:pt x="5" y="112"/>
                    </a:cubicBezTo>
                    <a:cubicBezTo>
                      <a:pt x="7" y="105"/>
                      <a:pt x="14" y="69"/>
                      <a:pt x="14" y="39"/>
                    </a:cubicBezTo>
                    <a:cubicBezTo>
                      <a:pt x="14" y="22"/>
                      <a:pt x="12" y="8"/>
                      <a:pt x="5" y="1"/>
                    </a:cubicBezTo>
                    <a:cubicBezTo>
                      <a:pt x="5" y="1"/>
                      <a:pt x="4" y="1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447">
                <a:extLst>
                  <a:ext uri="{FF2B5EF4-FFF2-40B4-BE49-F238E27FC236}">
                    <a16:creationId xmlns:a16="http://schemas.microsoft.com/office/drawing/2014/main" id="{DB9D77ED-B32C-4C0D-A146-982D2163D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474"/>
                <a:ext cx="9" cy="59"/>
              </a:xfrm>
              <a:custGeom>
                <a:avLst/>
                <a:gdLst>
                  <a:gd name="T0" fmla="*/ 0 w 18"/>
                  <a:gd name="T1" fmla="*/ 0 h 109"/>
                  <a:gd name="T2" fmla="*/ 0 w 18"/>
                  <a:gd name="T3" fmla="*/ 0 h 109"/>
                  <a:gd name="T4" fmla="*/ 0 w 18"/>
                  <a:gd name="T5" fmla="*/ 106 h 109"/>
                  <a:gd name="T6" fmla="*/ 13 w 18"/>
                  <a:gd name="T7" fmla="*/ 109 h 109"/>
                  <a:gd name="T8" fmla="*/ 13 w 18"/>
                  <a:gd name="T9" fmla="*/ 109 h 109"/>
                  <a:gd name="T10" fmla="*/ 13 w 18"/>
                  <a:gd name="T11" fmla="*/ 109 h 109"/>
                  <a:gd name="T12" fmla="*/ 18 w 18"/>
                  <a:gd name="T13" fmla="*/ 2 h 109"/>
                  <a:gd name="T14" fmla="*/ 0 w 18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09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6" y="106"/>
                      <a:pt x="12" y="107"/>
                      <a:pt x="13" y="109"/>
                    </a:cubicBezTo>
                    <a:cubicBezTo>
                      <a:pt x="13" y="109"/>
                      <a:pt x="13" y="109"/>
                      <a:pt x="13" y="109"/>
                    </a:cubicBezTo>
                    <a:cubicBezTo>
                      <a:pt x="13" y="109"/>
                      <a:pt x="13" y="109"/>
                      <a:pt x="13" y="109"/>
                    </a:cubicBezTo>
                    <a:cubicBezTo>
                      <a:pt x="14" y="72"/>
                      <a:pt x="16" y="46"/>
                      <a:pt x="18" y="2"/>
                    </a:cubicBezTo>
                    <a:cubicBezTo>
                      <a:pt x="18" y="2"/>
                      <a:pt x="9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448">
                <a:extLst>
                  <a:ext uri="{FF2B5EF4-FFF2-40B4-BE49-F238E27FC236}">
                    <a16:creationId xmlns:a16="http://schemas.microsoft.com/office/drawing/2014/main" id="{DFB48736-B053-4E47-8E66-2B69573E2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469"/>
                <a:ext cx="9" cy="4"/>
              </a:xfrm>
              <a:custGeom>
                <a:avLst/>
                <a:gdLst>
                  <a:gd name="T0" fmla="*/ 0 w 18"/>
                  <a:gd name="T1" fmla="*/ 0 h 7"/>
                  <a:gd name="T2" fmla="*/ 0 w 18"/>
                  <a:gd name="T3" fmla="*/ 0 h 7"/>
                  <a:gd name="T4" fmla="*/ 0 w 18"/>
                  <a:gd name="T5" fmla="*/ 5 h 7"/>
                  <a:gd name="T6" fmla="*/ 0 w 18"/>
                  <a:gd name="T7" fmla="*/ 5 h 7"/>
                  <a:gd name="T8" fmla="*/ 18 w 18"/>
                  <a:gd name="T9" fmla="*/ 7 h 7"/>
                  <a:gd name="T10" fmla="*/ 18 w 18"/>
                  <a:gd name="T11" fmla="*/ 7 h 7"/>
                  <a:gd name="T12" fmla="*/ 18 w 18"/>
                  <a:gd name="T13" fmla="*/ 2 h 7"/>
                  <a:gd name="T14" fmla="*/ 0 w 18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7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8" y="5"/>
                      <a:pt x="16" y="6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5"/>
                      <a:pt x="18" y="3"/>
                      <a:pt x="18" y="2"/>
                    </a:cubicBezTo>
                    <a:cubicBezTo>
                      <a:pt x="16" y="1"/>
                      <a:pt x="8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449">
                <a:extLst>
                  <a:ext uri="{FF2B5EF4-FFF2-40B4-BE49-F238E27FC236}">
                    <a16:creationId xmlns:a16="http://schemas.microsoft.com/office/drawing/2014/main" id="{EE67C20A-7262-451F-A13A-4FFB9B317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546"/>
                <a:ext cx="1" cy="5"/>
              </a:xfrm>
              <a:custGeom>
                <a:avLst/>
                <a:gdLst>
                  <a:gd name="T0" fmla="*/ 0 w 2"/>
                  <a:gd name="T1" fmla="*/ 0 h 8"/>
                  <a:gd name="T2" fmla="*/ 0 w 2"/>
                  <a:gd name="T3" fmla="*/ 0 h 8"/>
                  <a:gd name="T4" fmla="*/ 0 w 2"/>
                  <a:gd name="T5" fmla="*/ 8 h 8"/>
                  <a:gd name="T6" fmla="*/ 0 w 2"/>
                  <a:gd name="T7" fmla="*/ 8 h 8"/>
                  <a:gd name="T8" fmla="*/ 2 w 2"/>
                  <a:gd name="T9" fmla="*/ 6 h 8"/>
                  <a:gd name="T10" fmla="*/ 2 w 2"/>
                  <a:gd name="T11" fmla="*/ 0 h 8"/>
                  <a:gd name="T12" fmla="*/ 0 w 2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8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8"/>
                      <a:pt x="2" y="7"/>
                      <a:pt x="2" y="6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450">
                <a:extLst>
                  <a:ext uri="{FF2B5EF4-FFF2-40B4-BE49-F238E27FC236}">
                    <a16:creationId xmlns:a16="http://schemas.microsoft.com/office/drawing/2014/main" id="{19AA9A6F-C13A-4874-B973-48D06D31DD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532"/>
                <a:ext cx="7" cy="14"/>
              </a:xfrm>
              <a:custGeom>
                <a:avLst/>
                <a:gdLst>
                  <a:gd name="T0" fmla="*/ 0 w 13"/>
                  <a:gd name="T1" fmla="*/ 0 h 27"/>
                  <a:gd name="T2" fmla="*/ 0 w 13"/>
                  <a:gd name="T3" fmla="*/ 27 h 27"/>
                  <a:gd name="T4" fmla="*/ 0 w 13"/>
                  <a:gd name="T5" fmla="*/ 27 h 27"/>
                  <a:gd name="T6" fmla="*/ 2 w 13"/>
                  <a:gd name="T7" fmla="*/ 27 h 27"/>
                  <a:gd name="T8" fmla="*/ 2 w 13"/>
                  <a:gd name="T9" fmla="*/ 27 h 27"/>
                  <a:gd name="T10" fmla="*/ 2 w 13"/>
                  <a:gd name="T11" fmla="*/ 27 h 27"/>
                  <a:gd name="T12" fmla="*/ 3 w 13"/>
                  <a:gd name="T13" fmla="*/ 27 h 27"/>
                  <a:gd name="T14" fmla="*/ 13 w 13"/>
                  <a:gd name="T15" fmla="*/ 3 h 27"/>
                  <a:gd name="T16" fmla="*/ 13 w 13"/>
                  <a:gd name="T17" fmla="*/ 3 h 27"/>
                  <a:gd name="T18" fmla="*/ 0 w 13"/>
                  <a:gd name="T1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27">
                    <a:moveTo>
                      <a:pt x="0" y="0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27"/>
                      <a:pt x="1" y="27"/>
                      <a:pt x="2" y="2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7"/>
                      <a:pt x="3" y="27"/>
                      <a:pt x="3" y="27"/>
                    </a:cubicBezTo>
                    <a:cubicBezTo>
                      <a:pt x="6" y="21"/>
                      <a:pt x="12" y="10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2" y="1"/>
                      <a:pt x="6" y="0"/>
                      <a:pt x="0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451">
                <a:extLst>
                  <a:ext uri="{FF2B5EF4-FFF2-40B4-BE49-F238E27FC236}">
                    <a16:creationId xmlns:a16="http://schemas.microsoft.com/office/drawing/2014/main" id="{9E3CC415-918E-4FBB-8B4C-83A60F454C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4" y="2208"/>
                <a:ext cx="385" cy="430"/>
              </a:xfrm>
              <a:custGeom>
                <a:avLst/>
                <a:gdLst>
                  <a:gd name="T0" fmla="*/ 217 w 385"/>
                  <a:gd name="T1" fmla="*/ 0 h 430"/>
                  <a:gd name="T2" fmla="*/ 385 w 385"/>
                  <a:gd name="T3" fmla="*/ 33 h 430"/>
                  <a:gd name="T4" fmla="*/ 364 w 385"/>
                  <a:gd name="T5" fmla="*/ 172 h 430"/>
                  <a:gd name="T6" fmla="*/ 22 w 385"/>
                  <a:gd name="T7" fmla="*/ 430 h 430"/>
                  <a:gd name="T8" fmla="*/ 0 w 385"/>
                  <a:gd name="T9" fmla="*/ 387 h 430"/>
                  <a:gd name="T10" fmla="*/ 217 w 385"/>
                  <a:gd name="T11" fmla="*/ 0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5" h="430">
                    <a:moveTo>
                      <a:pt x="217" y="0"/>
                    </a:moveTo>
                    <a:lnTo>
                      <a:pt x="385" y="33"/>
                    </a:lnTo>
                    <a:lnTo>
                      <a:pt x="364" y="172"/>
                    </a:lnTo>
                    <a:lnTo>
                      <a:pt x="22" y="430"/>
                    </a:lnTo>
                    <a:lnTo>
                      <a:pt x="0" y="387"/>
                    </a:lnTo>
                    <a:lnTo>
                      <a:pt x="217" y="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452">
                <a:extLst>
                  <a:ext uri="{FF2B5EF4-FFF2-40B4-BE49-F238E27FC236}">
                    <a16:creationId xmlns:a16="http://schemas.microsoft.com/office/drawing/2014/main" id="{F0613E80-FB5E-4D05-A633-8025570994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8" y="2110"/>
                <a:ext cx="28" cy="27"/>
              </a:xfrm>
              <a:custGeom>
                <a:avLst/>
                <a:gdLst>
                  <a:gd name="T0" fmla="*/ 14 w 28"/>
                  <a:gd name="T1" fmla="*/ 0 h 27"/>
                  <a:gd name="T2" fmla="*/ 28 w 28"/>
                  <a:gd name="T3" fmla="*/ 13 h 27"/>
                  <a:gd name="T4" fmla="*/ 14 w 28"/>
                  <a:gd name="T5" fmla="*/ 27 h 27"/>
                  <a:gd name="T6" fmla="*/ 0 w 28"/>
                  <a:gd name="T7" fmla="*/ 14 h 27"/>
                  <a:gd name="T8" fmla="*/ 14 w 28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7">
                    <a:moveTo>
                      <a:pt x="14" y="0"/>
                    </a:moveTo>
                    <a:lnTo>
                      <a:pt x="28" y="13"/>
                    </a:lnTo>
                    <a:lnTo>
                      <a:pt x="14" y="27"/>
                    </a:lnTo>
                    <a:lnTo>
                      <a:pt x="0" y="14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6868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453">
                <a:extLst>
                  <a:ext uri="{FF2B5EF4-FFF2-40B4-BE49-F238E27FC236}">
                    <a16:creationId xmlns:a16="http://schemas.microsoft.com/office/drawing/2014/main" id="{8B4F3E16-AFD0-4119-90C0-591B01E65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8" y="2110"/>
                <a:ext cx="28" cy="27"/>
              </a:xfrm>
              <a:custGeom>
                <a:avLst/>
                <a:gdLst>
                  <a:gd name="T0" fmla="*/ 14 w 28"/>
                  <a:gd name="T1" fmla="*/ 0 h 27"/>
                  <a:gd name="T2" fmla="*/ 28 w 28"/>
                  <a:gd name="T3" fmla="*/ 13 h 27"/>
                  <a:gd name="T4" fmla="*/ 14 w 28"/>
                  <a:gd name="T5" fmla="*/ 27 h 27"/>
                  <a:gd name="T6" fmla="*/ 0 w 28"/>
                  <a:gd name="T7" fmla="*/ 14 h 27"/>
                  <a:gd name="T8" fmla="*/ 14 w 28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7">
                    <a:moveTo>
                      <a:pt x="14" y="0"/>
                    </a:moveTo>
                    <a:lnTo>
                      <a:pt x="28" y="13"/>
                    </a:lnTo>
                    <a:lnTo>
                      <a:pt x="14" y="27"/>
                    </a:lnTo>
                    <a:lnTo>
                      <a:pt x="0" y="14"/>
                    </a:lnTo>
                    <a:lnTo>
                      <a:pt x="1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454">
                <a:extLst>
                  <a:ext uri="{FF2B5EF4-FFF2-40B4-BE49-F238E27FC236}">
                    <a16:creationId xmlns:a16="http://schemas.microsoft.com/office/drawing/2014/main" id="{D3E7D7A5-8042-401A-BD13-13236A1BBB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04"/>
                <a:ext cx="24" cy="24"/>
              </a:xfrm>
              <a:custGeom>
                <a:avLst/>
                <a:gdLst>
                  <a:gd name="T0" fmla="*/ 6 w 24"/>
                  <a:gd name="T1" fmla="*/ 0 h 24"/>
                  <a:gd name="T2" fmla="*/ 24 w 24"/>
                  <a:gd name="T3" fmla="*/ 18 h 24"/>
                  <a:gd name="T4" fmla="*/ 18 w 24"/>
                  <a:gd name="T5" fmla="*/ 24 h 24"/>
                  <a:gd name="T6" fmla="*/ 0 w 24"/>
                  <a:gd name="T7" fmla="*/ 5 h 24"/>
                  <a:gd name="T8" fmla="*/ 6 w 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4">
                    <a:moveTo>
                      <a:pt x="6" y="0"/>
                    </a:moveTo>
                    <a:lnTo>
                      <a:pt x="24" y="18"/>
                    </a:lnTo>
                    <a:lnTo>
                      <a:pt x="18" y="24"/>
                    </a:lnTo>
                    <a:lnTo>
                      <a:pt x="0" y="5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455">
                <a:extLst>
                  <a:ext uri="{FF2B5EF4-FFF2-40B4-BE49-F238E27FC236}">
                    <a16:creationId xmlns:a16="http://schemas.microsoft.com/office/drawing/2014/main" id="{9C0C497F-D75E-4359-98A4-465AEE7A6B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04"/>
                <a:ext cx="24" cy="24"/>
              </a:xfrm>
              <a:custGeom>
                <a:avLst/>
                <a:gdLst>
                  <a:gd name="T0" fmla="*/ 6 w 24"/>
                  <a:gd name="T1" fmla="*/ 0 h 24"/>
                  <a:gd name="T2" fmla="*/ 24 w 24"/>
                  <a:gd name="T3" fmla="*/ 18 h 24"/>
                  <a:gd name="T4" fmla="*/ 18 w 24"/>
                  <a:gd name="T5" fmla="*/ 24 h 24"/>
                  <a:gd name="T6" fmla="*/ 0 w 24"/>
                  <a:gd name="T7" fmla="*/ 5 h 24"/>
                  <a:gd name="T8" fmla="*/ 6 w 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4">
                    <a:moveTo>
                      <a:pt x="6" y="0"/>
                    </a:moveTo>
                    <a:lnTo>
                      <a:pt x="24" y="18"/>
                    </a:lnTo>
                    <a:lnTo>
                      <a:pt x="18" y="24"/>
                    </a:lnTo>
                    <a:lnTo>
                      <a:pt x="0" y="5"/>
                    </a:lnTo>
                    <a:lnTo>
                      <a:pt x="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456">
                <a:extLst>
                  <a:ext uri="{FF2B5EF4-FFF2-40B4-BE49-F238E27FC236}">
                    <a16:creationId xmlns:a16="http://schemas.microsoft.com/office/drawing/2014/main" id="{FFA8D5FD-07C3-466A-97FA-4DE89C9BA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0" y="2052"/>
                <a:ext cx="74" cy="73"/>
              </a:xfrm>
              <a:custGeom>
                <a:avLst/>
                <a:gdLst>
                  <a:gd name="T0" fmla="*/ 96 w 135"/>
                  <a:gd name="T1" fmla="*/ 0 h 134"/>
                  <a:gd name="T2" fmla="*/ 135 w 135"/>
                  <a:gd name="T3" fmla="*/ 38 h 134"/>
                  <a:gd name="T4" fmla="*/ 39 w 135"/>
                  <a:gd name="T5" fmla="*/ 134 h 134"/>
                  <a:gd name="T6" fmla="*/ 0 w 135"/>
                  <a:gd name="T7" fmla="*/ 96 h 134"/>
                  <a:gd name="T8" fmla="*/ 96 w 135"/>
                  <a:gd name="T9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5" h="134">
                    <a:moveTo>
                      <a:pt x="96" y="0"/>
                    </a:moveTo>
                    <a:cubicBezTo>
                      <a:pt x="135" y="38"/>
                      <a:pt x="135" y="38"/>
                      <a:pt x="135" y="38"/>
                    </a:cubicBezTo>
                    <a:cubicBezTo>
                      <a:pt x="106" y="79"/>
                      <a:pt x="80" y="106"/>
                      <a:pt x="39" y="134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29" y="55"/>
                      <a:pt x="55" y="28"/>
                      <a:pt x="96" y="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457">
                <a:extLst>
                  <a:ext uri="{FF2B5EF4-FFF2-40B4-BE49-F238E27FC236}">
                    <a16:creationId xmlns:a16="http://schemas.microsoft.com/office/drawing/2014/main" id="{2DEDA6B9-13B8-4068-BB83-A64FD9172F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2067"/>
                <a:ext cx="44" cy="44"/>
              </a:xfrm>
              <a:custGeom>
                <a:avLst/>
                <a:gdLst>
                  <a:gd name="T0" fmla="*/ 78 w 81"/>
                  <a:gd name="T1" fmla="*/ 26 h 80"/>
                  <a:gd name="T2" fmla="*/ 27 w 81"/>
                  <a:gd name="T3" fmla="*/ 77 h 80"/>
                  <a:gd name="T4" fmla="*/ 16 w 81"/>
                  <a:gd name="T5" fmla="*/ 77 h 80"/>
                  <a:gd name="T6" fmla="*/ 3 w 81"/>
                  <a:gd name="T7" fmla="*/ 64 h 80"/>
                  <a:gd name="T8" fmla="*/ 3 w 81"/>
                  <a:gd name="T9" fmla="*/ 54 h 80"/>
                  <a:gd name="T10" fmla="*/ 54 w 81"/>
                  <a:gd name="T11" fmla="*/ 3 h 80"/>
                  <a:gd name="T12" fmla="*/ 65 w 81"/>
                  <a:gd name="T13" fmla="*/ 3 h 80"/>
                  <a:gd name="T14" fmla="*/ 78 w 81"/>
                  <a:gd name="T15" fmla="*/ 16 h 80"/>
                  <a:gd name="T16" fmla="*/ 78 w 81"/>
                  <a:gd name="T17" fmla="*/ 2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80">
                    <a:moveTo>
                      <a:pt x="78" y="26"/>
                    </a:moveTo>
                    <a:cubicBezTo>
                      <a:pt x="27" y="77"/>
                      <a:pt x="27" y="77"/>
                      <a:pt x="27" y="77"/>
                    </a:cubicBezTo>
                    <a:cubicBezTo>
                      <a:pt x="24" y="80"/>
                      <a:pt x="19" y="80"/>
                      <a:pt x="16" y="77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0" y="61"/>
                      <a:pt x="0" y="57"/>
                      <a:pt x="3" y="54"/>
                    </a:cubicBezTo>
                    <a:cubicBezTo>
                      <a:pt x="54" y="3"/>
                      <a:pt x="54" y="3"/>
                      <a:pt x="54" y="3"/>
                    </a:cubicBezTo>
                    <a:cubicBezTo>
                      <a:pt x="57" y="0"/>
                      <a:pt x="62" y="0"/>
                      <a:pt x="65" y="3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81" y="19"/>
                      <a:pt x="81" y="23"/>
                      <a:pt x="78" y="26"/>
                    </a:cubicBezTo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458">
                <a:extLst>
                  <a:ext uri="{FF2B5EF4-FFF2-40B4-BE49-F238E27FC236}">
                    <a16:creationId xmlns:a16="http://schemas.microsoft.com/office/drawing/2014/main" id="{975B9AE6-B436-4511-8B46-0245280CA9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17"/>
                <a:ext cx="5" cy="4"/>
              </a:xfrm>
              <a:custGeom>
                <a:avLst/>
                <a:gdLst>
                  <a:gd name="T0" fmla="*/ 5 w 5"/>
                  <a:gd name="T1" fmla="*/ 2 h 4"/>
                  <a:gd name="T2" fmla="*/ 2 w 5"/>
                  <a:gd name="T3" fmla="*/ 4 h 4"/>
                  <a:gd name="T4" fmla="*/ 0 w 5"/>
                  <a:gd name="T5" fmla="*/ 2 h 4"/>
                  <a:gd name="T6" fmla="*/ 2 w 5"/>
                  <a:gd name="T7" fmla="*/ 0 h 4"/>
                  <a:gd name="T8" fmla="*/ 5 w 5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4">
                    <a:moveTo>
                      <a:pt x="5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2A2A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459">
                <a:extLst>
                  <a:ext uri="{FF2B5EF4-FFF2-40B4-BE49-F238E27FC236}">
                    <a16:creationId xmlns:a16="http://schemas.microsoft.com/office/drawing/2014/main" id="{D2F387AD-0957-4D3C-8725-0DB78847E6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4 w 4"/>
                  <a:gd name="T1" fmla="*/ 2 h 4"/>
                  <a:gd name="T2" fmla="*/ 2 w 4"/>
                  <a:gd name="T3" fmla="*/ 4 h 4"/>
                  <a:gd name="T4" fmla="*/ 0 w 4"/>
                  <a:gd name="T5" fmla="*/ 2 h 4"/>
                  <a:gd name="T6" fmla="*/ 2 w 4"/>
                  <a:gd name="T7" fmla="*/ 0 h 4"/>
                  <a:gd name="T8" fmla="*/ 4 w 4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2A2A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460">
                <a:extLst>
                  <a:ext uri="{FF2B5EF4-FFF2-40B4-BE49-F238E27FC236}">
                    <a16:creationId xmlns:a16="http://schemas.microsoft.com/office/drawing/2014/main" id="{B6FD6709-28AB-4555-A625-0B49E6FF86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4 w 4"/>
                  <a:gd name="T1" fmla="*/ 2 h 4"/>
                  <a:gd name="T2" fmla="*/ 2 w 4"/>
                  <a:gd name="T3" fmla="*/ 4 h 4"/>
                  <a:gd name="T4" fmla="*/ 0 w 4"/>
                  <a:gd name="T5" fmla="*/ 2 h 4"/>
                  <a:gd name="T6" fmla="*/ 2 w 4"/>
                  <a:gd name="T7" fmla="*/ 0 h 4"/>
                  <a:gd name="T8" fmla="*/ 4 w 4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461">
                <a:extLst>
                  <a:ext uri="{FF2B5EF4-FFF2-40B4-BE49-F238E27FC236}">
                    <a16:creationId xmlns:a16="http://schemas.microsoft.com/office/drawing/2014/main" id="{D1BC37D3-EA04-4F1B-9613-BE00CAF458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2" y="2048"/>
                <a:ext cx="26" cy="25"/>
              </a:xfrm>
              <a:custGeom>
                <a:avLst/>
                <a:gdLst>
                  <a:gd name="T0" fmla="*/ 33 w 46"/>
                  <a:gd name="T1" fmla="*/ 13 h 46"/>
                  <a:gd name="T2" fmla="*/ 45 w 46"/>
                  <a:gd name="T3" fmla="*/ 32 h 46"/>
                  <a:gd name="T4" fmla="*/ 39 w 46"/>
                  <a:gd name="T5" fmla="*/ 46 h 46"/>
                  <a:gd name="T6" fmla="*/ 0 w 46"/>
                  <a:gd name="T7" fmla="*/ 8 h 46"/>
                  <a:gd name="T8" fmla="*/ 14 w 46"/>
                  <a:gd name="T9" fmla="*/ 1 h 46"/>
                  <a:gd name="T10" fmla="*/ 33 w 46"/>
                  <a:gd name="T11" fmla="*/ 1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46">
                    <a:moveTo>
                      <a:pt x="33" y="13"/>
                    </a:moveTo>
                    <a:cubicBezTo>
                      <a:pt x="39" y="20"/>
                      <a:pt x="44" y="27"/>
                      <a:pt x="45" y="32"/>
                    </a:cubicBezTo>
                    <a:cubicBezTo>
                      <a:pt x="46" y="36"/>
                      <a:pt x="39" y="46"/>
                      <a:pt x="39" y="46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10" y="0"/>
                      <a:pt x="14" y="1"/>
                    </a:cubicBezTo>
                    <a:cubicBezTo>
                      <a:pt x="19" y="2"/>
                      <a:pt x="27" y="7"/>
                      <a:pt x="33" y="13"/>
                    </a:cubicBezTo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462">
                <a:extLst>
                  <a:ext uri="{FF2B5EF4-FFF2-40B4-BE49-F238E27FC236}">
                    <a16:creationId xmlns:a16="http://schemas.microsoft.com/office/drawing/2014/main" id="{BCDDFEAA-A612-4F86-950C-01F1921BA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6" y="2087"/>
                <a:ext cx="7" cy="6"/>
              </a:xfrm>
              <a:custGeom>
                <a:avLst/>
                <a:gdLst>
                  <a:gd name="T0" fmla="*/ 5 w 7"/>
                  <a:gd name="T1" fmla="*/ 3 h 6"/>
                  <a:gd name="T2" fmla="*/ 2 w 7"/>
                  <a:gd name="T3" fmla="*/ 0 h 6"/>
                  <a:gd name="T4" fmla="*/ 0 w 7"/>
                  <a:gd name="T5" fmla="*/ 1 h 6"/>
                  <a:gd name="T6" fmla="*/ 1 w 7"/>
                  <a:gd name="T7" fmla="*/ 2 h 6"/>
                  <a:gd name="T8" fmla="*/ 2 w 7"/>
                  <a:gd name="T9" fmla="*/ 1 h 6"/>
                  <a:gd name="T10" fmla="*/ 4 w 7"/>
                  <a:gd name="T11" fmla="*/ 5 h 6"/>
                  <a:gd name="T12" fmla="*/ 4 w 7"/>
                  <a:gd name="T13" fmla="*/ 5 h 6"/>
                  <a:gd name="T14" fmla="*/ 4 w 7"/>
                  <a:gd name="T15" fmla="*/ 6 h 6"/>
                  <a:gd name="T16" fmla="*/ 7 w 7"/>
                  <a:gd name="T17" fmla="*/ 3 h 6"/>
                  <a:gd name="T18" fmla="*/ 6 w 7"/>
                  <a:gd name="T19" fmla="*/ 3 h 6"/>
                  <a:gd name="T20" fmla="*/ 5 w 7"/>
                  <a:gd name="T21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6">
                    <a:moveTo>
                      <a:pt x="5" y="3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5" y="3"/>
                    </a:lnTo>
                    <a:close/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463">
                <a:extLst>
                  <a:ext uri="{FF2B5EF4-FFF2-40B4-BE49-F238E27FC236}">
                    <a16:creationId xmlns:a16="http://schemas.microsoft.com/office/drawing/2014/main" id="{94D09D39-114B-4175-B2C8-D49670E6E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6" y="2087"/>
                <a:ext cx="7" cy="6"/>
              </a:xfrm>
              <a:custGeom>
                <a:avLst/>
                <a:gdLst>
                  <a:gd name="T0" fmla="*/ 5 w 7"/>
                  <a:gd name="T1" fmla="*/ 3 h 6"/>
                  <a:gd name="T2" fmla="*/ 2 w 7"/>
                  <a:gd name="T3" fmla="*/ 0 h 6"/>
                  <a:gd name="T4" fmla="*/ 0 w 7"/>
                  <a:gd name="T5" fmla="*/ 1 h 6"/>
                  <a:gd name="T6" fmla="*/ 1 w 7"/>
                  <a:gd name="T7" fmla="*/ 2 h 6"/>
                  <a:gd name="T8" fmla="*/ 2 w 7"/>
                  <a:gd name="T9" fmla="*/ 1 h 6"/>
                  <a:gd name="T10" fmla="*/ 4 w 7"/>
                  <a:gd name="T11" fmla="*/ 5 h 6"/>
                  <a:gd name="T12" fmla="*/ 4 w 7"/>
                  <a:gd name="T13" fmla="*/ 5 h 6"/>
                  <a:gd name="T14" fmla="*/ 4 w 7"/>
                  <a:gd name="T15" fmla="*/ 6 h 6"/>
                  <a:gd name="T16" fmla="*/ 7 w 7"/>
                  <a:gd name="T17" fmla="*/ 3 h 6"/>
                  <a:gd name="T18" fmla="*/ 6 w 7"/>
                  <a:gd name="T19" fmla="*/ 3 h 6"/>
                  <a:gd name="T20" fmla="*/ 5 w 7"/>
                  <a:gd name="T21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6">
                    <a:moveTo>
                      <a:pt x="5" y="3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5" y="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464">
                <a:extLst>
                  <a:ext uri="{FF2B5EF4-FFF2-40B4-BE49-F238E27FC236}">
                    <a16:creationId xmlns:a16="http://schemas.microsoft.com/office/drawing/2014/main" id="{E2250410-A058-4ACF-BA9F-0AB0093835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0" y="2083"/>
                <a:ext cx="6" cy="7"/>
              </a:xfrm>
              <a:custGeom>
                <a:avLst/>
                <a:gdLst>
                  <a:gd name="T0" fmla="*/ 4 w 11"/>
                  <a:gd name="T1" fmla="*/ 5 h 13"/>
                  <a:gd name="T2" fmla="*/ 3 w 11"/>
                  <a:gd name="T3" fmla="*/ 2 h 13"/>
                  <a:gd name="T4" fmla="*/ 3 w 11"/>
                  <a:gd name="T5" fmla="*/ 0 h 13"/>
                  <a:gd name="T6" fmla="*/ 0 w 11"/>
                  <a:gd name="T7" fmla="*/ 2 h 13"/>
                  <a:gd name="T8" fmla="*/ 1 w 11"/>
                  <a:gd name="T9" fmla="*/ 4 h 13"/>
                  <a:gd name="T10" fmla="*/ 2 w 11"/>
                  <a:gd name="T11" fmla="*/ 8 h 13"/>
                  <a:gd name="T12" fmla="*/ 4 w 11"/>
                  <a:gd name="T13" fmla="*/ 11 h 13"/>
                  <a:gd name="T14" fmla="*/ 9 w 11"/>
                  <a:gd name="T15" fmla="*/ 11 h 13"/>
                  <a:gd name="T16" fmla="*/ 9 w 11"/>
                  <a:gd name="T17" fmla="*/ 5 h 13"/>
                  <a:gd name="T18" fmla="*/ 4 w 11"/>
                  <a:gd name="T19" fmla="*/ 5 h 13"/>
                  <a:gd name="T20" fmla="*/ 8 w 11"/>
                  <a:gd name="T21" fmla="*/ 9 h 13"/>
                  <a:gd name="T22" fmla="*/ 6 w 11"/>
                  <a:gd name="T23" fmla="*/ 9 h 13"/>
                  <a:gd name="T24" fmla="*/ 5 w 11"/>
                  <a:gd name="T25" fmla="*/ 7 h 13"/>
                  <a:gd name="T26" fmla="*/ 7 w 11"/>
                  <a:gd name="T27" fmla="*/ 7 h 13"/>
                  <a:gd name="T28" fmla="*/ 8 w 11"/>
                  <a:gd name="T29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3">
                    <a:moveTo>
                      <a:pt x="4" y="5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3" y="9"/>
                      <a:pt x="3" y="10"/>
                      <a:pt x="4" y="11"/>
                    </a:cubicBezTo>
                    <a:cubicBezTo>
                      <a:pt x="5" y="13"/>
                      <a:pt x="8" y="13"/>
                      <a:pt x="9" y="11"/>
                    </a:cubicBezTo>
                    <a:cubicBezTo>
                      <a:pt x="11" y="9"/>
                      <a:pt x="11" y="7"/>
                      <a:pt x="9" y="5"/>
                    </a:cubicBezTo>
                    <a:cubicBezTo>
                      <a:pt x="8" y="3"/>
                      <a:pt x="6" y="3"/>
                      <a:pt x="4" y="5"/>
                    </a:cubicBezTo>
                    <a:moveTo>
                      <a:pt x="8" y="9"/>
                    </a:moveTo>
                    <a:cubicBezTo>
                      <a:pt x="7" y="9"/>
                      <a:pt x="6" y="9"/>
                      <a:pt x="6" y="9"/>
                    </a:cubicBezTo>
                    <a:cubicBezTo>
                      <a:pt x="5" y="8"/>
                      <a:pt x="5" y="7"/>
                      <a:pt x="5" y="7"/>
                    </a:cubicBezTo>
                    <a:cubicBezTo>
                      <a:pt x="6" y="6"/>
                      <a:pt x="7" y="6"/>
                      <a:pt x="7" y="7"/>
                    </a:cubicBezTo>
                    <a:cubicBezTo>
                      <a:pt x="8" y="8"/>
                      <a:pt x="8" y="8"/>
                      <a:pt x="8" y="9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465">
                <a:extLst>
                  <a:ext uri="{FF2B5EF4-FFF2-40B4-BE49-F238E27FC236}">
                    <a16:creationId xmlns:a16="http://schemas.microsoft.com/office/drawing/2014/main" id="{2071BBA6-C37F-4673-B4D4-E3F4B06EA9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3" y="2079"/>
                <a:ext cx="8" cy="7"/>
              </a:xfrm>
              <a:custGeom>
                <a:avLst/>
                <a:gdLst>
                  <a:gd name="T0" fmla="*/ 9 w 14"/>
                  <a:gd name="T1" fmla="*/ 2 h 13"/>
                  <a:gd name="T2" fmla="*/ 6 w 14"/>
                  <a:gd name="T3" fmla="*/ 5 h 13"/>
                  <a:gd name="T4" fmla="*/ 8 w 14"/>
                  <a:gd name="T5" fmla="*/ 7 h 13"/>
                  <a:gd name="T6" fmla="*/ 9 w 14"/>
                  <a:gd name="T7" fmla="*/ 6 h 13"/>
                  <a:gd name="T8" fmla="*/ 9 w 14"/>
                  <a:gd name="T9" fmla="*/ 8 h 13"/>
                  <a:gd name="T10" fmla="*/ 5 w 14"/>
                  <a:gd name="T11" fmla="*/ 7 h 13"/>
                  <a:gd name="T12" fmla="*/ 4 w 14"/>
                  <a:gd name="T13" fmla="*/ 3 h 13"/>
                  <a:gd name="T14" fmla="*/ 6 w 14"/>
                  <a:gd name="T15" fmla="*/ 3 h 13"/>
                  <a:gd name="T16" fmla="*/ 8 w 14"/>
                  <a:gd name="T17" fmla="*/ 1 h 13"/>
                  <a:gd name="T18" fmla="*/ 6 w 14"/>
                  <a:gd name="T19" fmla="*/ 0 h 13"/>
                  <a:gd name="T20" fmla="*/ 2 w 14"/>
                  <a:gd name="T21" fmla="*/ 1 h 13"/>
                  <a:gd name="T22" fmla="*/ 1 w 14"/>
                  <a:gd name="T23" fmla="*/ 6 h 13"/>
                  <a:gd name="T24" fmla="*/ 3 w 14"/>
                  <a:gd name="T25" fmla="*/ 10 h 13"/>
                  <a:gd name="T26" fmla="*/ 11 w 14"/>
                  <a:gd name="T27" fmla="*/ 10 h 13"/>
                  <a:gd name="T28" fmla="*/ 9 w 14"/>
                  <a:gd name="T29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3">
                    <a:moveTo>
                      <a:pt x="9" y="2"/>
                    </a:moveTo>
                    <a:cubicBezTo>
                      <a:pt x="6" y="5"/>
                      <a:pt x="6" y="5"/>
                      <a:pt x="6" y="5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10" y="7"/>
                      <a:pt x="10" y="8"/>
                      <a:pt x="9" y="8"/>
                    </a:cubicBezTo>
                    <a:cubicBezTo>
                      <a:pt x="8" y="9"/>
                      <a:pt x="6" y="9"/>
                      <a:pt x="5" y="7"/>
                    </a:cubicBezTo>
                    <a:cubicBezTo>
                      <a:pt x="3" y="6"/>
                      <a:pt x="3" y="4"/>
                      <a:pt x="4" y="3"/>
                    </a:cubicBezTo>
                    <a:cubicBezTo>
                      <a:pt x="5" y="3"/>
                      <a:pt x="5" y="3"/>
                      <a:pt x="6" y="3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1" y="6"/>
                    </a:cubicBezTo>
                    <a:cubicBezTo>
                      <a:pt x="1" y="7"/>
                      <a:pt x="1" y="8"/>
                      <a:pt x="3" y="10"/>
                    </a:cubicBezTo>
                    <a:cubicBezTo>
                      <a:pt x="5" y="12"/>
                      <a:pt x="9" y="13"/>
                      <a:pt x="11" y="10"/>
                    </a:cubicBezTo>
                    <a:cubicBezTo>
                      <a:pt x="14" y="8"/>
                      <a:pt x="12" y="4"/>
                      <a:pt x="9" y="2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466">
                <a:extLst>
                  <a:ext uri="{FF2B5EF4-FFF2-40B4-BE49-F238E27FC236}">
                    <a16:creationId xmlns:a16="http://schemas.microsoft.com/office/drawing/2014/main" id="{F12699FD-486B-457A-9A26-5FC12EBE18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7" y="2075"/>
                <a:ext cx="8" cy="7"/>
              </a:xfrm>
              <a:custGeom>
                <a:avLst/>
                <a:gdLst>
                  <a:gd name="T0" fmla="*/ 9 w 14"/>
                  <a:gd name="T1" fmla="*/ 4 h 14"/>
                  <a:gd name="T2" fmla="*/ 8 w 14"/>
                  <a:gd name="T3" fmla="*/ 2 h 14"/>
                  <a:gd name="T4" fmla="*/ 7 w 14"/>
                  <a:gd name="T5" fmla="*/ 1 h 14"/>
                  <a:gd name="T6" fmla="*/ 3 w 14"/>
                  <a:gd name="T7" fmla="*/ 2 h 14"/>
                  <a:gd name="T8" fmla="*/ 0 w 14"/>
                  <a:gd name="T9" fmla="*/ 5 h 14"/>
                  <a:gd name="T10" fmla="*/ 8 w 14"/>
                  <a:gd name="T11" fmla="*/ 14 h 14"/>
                  <a:gd name="T12" fmla="*/ 12 w 14"/>
                  <a:gd name="T13" fmla="*/ 10 h 14"/>
                  <a:gd name="T14" fmla="*/ 12 w 14"/>
                  <a:gd name="T15" fmla="*/ 5 h 14"/>
                  <a:gd name="T16" fmla="*/ 9 w 14"/>
                  <a:gd name="T17" fmla="*/ 4 h 14"/>
                  <a:gd name="T18" fmla="*/ 6 w 14"/>
                  <a:gd name="T19" fmla="*/ 4 h 14"/>
                  <a:gd name="T20" fmla="*/ 6 w 14"/>
                  <a:gd name="T21" fmla="*/ 5 h 14"/>
                  <a:gd name="T22" fmla="*/ 5 w 14"/>
                  <a:gd name="T23" fmla="*/ 6 h 14"/>
                  <a:gd name="T24" fmla="*/ 4 w 14"/>
                  <a:gd name="T25" fmla="*/ 5 h 14"/>
                  <a:gd name="T26" fmla="*/ 5 w 14"/>
                  <a:gd name="T27" fmla="*/ 4 h 14"/>
                  <a:gd name="T28" fmla="*/ 6 w 14"/>
                  <a:gd name="T29" fmla="*/ 4 h 14"/>
                  <a:gd name="T30" fmla="*/ 10 w 14"/>
                  <a:gd name="T31" fmla="*/ 8 h 14"/>
                  <a:gd name="T32" fmla="*/ 9 w 14"/>
                  <a:gd name="T33" fmla="*/ 9 h 14"/>
                  <a:gd name="T34" fmla="*/ 7 w 14"/>
                  <a:gd name="T35" fmla="*/ 8 h 14"/>
                  <a:gd name="T36" fmla="*/ 8 w 14"/>
                  <a:gd name="T37" fmla="*/ 7 h 14"/>
                  <a:gd name="T38" fmla="*/ 10 w 14"/>
                  <a:gd name="T39" fmla="*/ 7 h 14"/>
                  <a:gd name="T40" fmla="*/ 10 w 14"/>
                  <a:gd name="T41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" h="14">
                    <a:moveTo>
                      <a:pt x="9" y="4"/>
                    </a:moveTo>
                    <a:cubicBezTo>
                      <a:pt x="9" y="3"/>
                      <a:pt x="9" y="2"/>
                      <a:pt x="8" y="2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5" y="0"/>
                      <a:pt x="4" y="1"/>
                      <a:pt x="3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4" y="9"/>
                      <a:pt x="14" y="6"/>
                      <a:pt x="12" y="5"/>
                    </a:cubicBezTo>
                    <a:cubicBezTo>
                      <a:pt x="11" y="4"/>
                      <a:pt x="10" y="4"/>
                      <a:pt x="9" y="4"/>
                    </a:cubicBezTo>
                    <a:moveTo>
                      <a:pt x="6" y="4"/>
                    </a:moveTo>
                    <a:cubicBezTo>
                      <a:pt x="7" y="4"/>
                      <a:pt x="7" y="5"/>
                      <a:pt x="6" y="5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6" y="3"/>
                      <a:pt x="6" y="4"/>
                    </a:cubicBezTo>
                    <a:moveTo>
                      <a:pt x="10" y="8"/>
                    </a:moveTo>
                    <a:cubicBezTo>
                      <a:pt x="9" y="9"/>
                      <a:pt x="9" y="9"/>
                      <a:pt x="9" y="9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9" y="6"/>
                      <a:pt x="9" y="6"/>
                      <a:pt x="10" y="7"/>
                    </a:cubicBezTo>
                    <a:cubicBezTo>
                      <a:pt x="10" y="7"/>
                      <a:pt x="10" y="8"/>
                      <a:pt x="10" y="8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467">
                <a:extLst>
                  <a:ext uri="{FF2B5EF4-FFF2-40B4-BE49-F238E27FC236}">
                    <a16:creationId xmlns:a16="http://schemas.microsoft.com/office/drawing/2014/main" id="{F2614764-1365-4F27-AEF1-CE127655A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12" y="2124"/>
                <a:ext cx="18" cy="13"/>
              </a:xfrm>
              <a:custGeom>
                <a:avLst/>
                <a:gdLst>
                  <a:gd name="T0" fmla="*/ 12 w 18"/>
                  <a:gd name="T1" fmla="*/ 1 h 13"/>
                  <a:gd name="T2" fmla="*/ 0 w 18"/>
                  <a:gd name="T3" fmla="*/ 13 h 13"/>
                  <a:gd name="T4" fmla="*/ 12 w 18"/>
                  <a:gd name="T5" fmla="*/ 1 h 13"/>
                  <a:gd name="T6" fmla="*/ 14 w 18"/>
                  <a:gd name="T7" fmla="*/ 4 h 13"/>
                  <a:gd name="T8" fmla="*/ 12 w 18"/>
                  <a:gd name="T9" fmla="*/ 1 h 13"/>
                  <a:gd name="T10" fmla="*/ 18 w 18"/>
                  <a:gd name="T11" fmla="*/ 0 h 13"/>
                  <a:gd name="T12" fmla="*/ 14 w 18"/>
                  <a:gd name="T13" fmla="*/ 4 h 13"/>
                  <a:gd name="T14" fmla="*/ 18 w 18"/>
                  <a:gd name="T15" fmla="*/ 0 h 13"/>
                  <a:gd name="T16" fmla="*/ 18 w 1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3">
                    <a:moveTo>
                      <a:pt x="12" y="1"/>
                    </a:moveTo>
                    <a:lnTo>
                      <a:pt x="0" y="13"/>
                    </a:lnTo>
                    <a:lnTo>
                      <a:pt x="12" y="1"/>
                    </a:lnTo>
                    <a:lnTo>
                      <a:pt x="14" y="4"/>
                    </a:lnTo>
                    <a:lnTo>
                      <a:pt x="12" y="1"/>
                    </a:lnTo>
                    <a:close/>
                    <a:moveTo>
                      <a:pt x="18" y="0"/>
                    </a:move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468">
                <a:extLst>
                  <a:ext uri="{FF2B5EF4-FFF2-40B4-BE49-F238E27FC236}">
                    <a16:creationId xmlns:a16="http://schemas.microsoft.com/office/drawing/2014/main" id="{CABADD48-CF9D-4961-8A29-1CD5870E9C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12" y="2124"/>
                <a:ext cx="18" cy="13"/>
              </a:xfrm>
              <a:custGeom>
                <a:avLst/>
                <a:gdLst>
                  <a:gd name="T0" fmla="*/ 12 w 18"/>
                  <a:gd name="T1" fmla="*/ 1 h 13"/>
                  <a:gd name="T2" fmla="*/ 0 w 18"/>
                  <a:gd name="T3" fmla="*/ 13 h 13"/>
                  <a:gd name="T4" fmla="*/ 12 w 18"/>
                  <a:gd name="T5" fmla="*/ 1 h 13"/>
                  <a:gd name="T6" fmla="*/ 14 w 18"/>
                  <a:gd name="T7" fmla="*/ 4 h 13"/>
                  <a:gd name="T8" fmla="*/ 12 w 18"/>
                  <a:gd name="T9" fmla="*/ 1 h 13"/>
                  <a:gd name="T10" fmla="*/ 18 w 18"/>
                  <a:gd name="T11" fmla="*/ 0 h 13"/>
                  <a:gd name="T12" fmla="*/ 14 w 18"/>
                  <a:gd name="T13" fmla="*/ 4 h 13"/>
                  <a:gd name="T14" fmla="*/ 18 w 18"/>
                  <a:gd name="T15" fmla="*/ 0 h 13"/>
                  <a:gd name="T16" fmla="*/ 18 w 1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3">
                    <a:moveTo>
                      <a:pt x="12" y="1"/>
                    </a:moveTo>
                    <a:lnTo>
                      <a:pt x="0" y="13"/>
                    </a:lnTo>
                    <a:lnTo>
                      <a:pt x="12" y="1"/>
                    </a:lnTo>
                    <a:lnTo>
                      <a:pt x="14" y="4"/>
                    </a:lnTo>
                    <a:lnTo>
                      <a:pt x="12" y="1"/>
                    </a:lnTo>
                    <a:moveTo>
                      <a:pt x="18" y="0"/>
                    </a:move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469">
                <a:extLst>
                  <a:ext uri="{FF2B5EF4-FFF2-40B4-BE49-F238E27FC236}">
                    <a16:creationId xmlns:a16="http://schemas.microsoft.com/office/drawing/2014/main" id="{2066793D-4130-455F-9BD9-FD983A6D39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5" y="2118"/>
                <a:ext cx="19" cy="19"/>
              </a:xfrm>
              <a:custGeom>
                <a:avLst/>
                <a:gdLst>
                  <a:gd name="T0" fmla="*/ 12 w 19"/>
                  <a:gd name="T1" fmla="*/ 9 h 19"/>
                  <a:gd name="T2" fmla="*/ 10 w 19"/>
                  <a:gd name="T3" fmla="*/ 7 h 19"/>
                  <a:gd name="T4" fmla="*/ 12 w 19"/>
                  <a:gd name="T5" fmla="*/ 5 h 19"/>
                  <a:gd name="T6" fmla="*/ 14 w 19"/>
                  <a:gd name="T7" fmla="*/ 7 h 19"/>
                  <a:gd name="T8" fmla="*/ 12 w 19"/>
                  <a:gd name="T9" fmla="*/ 9 h 19"/>
                  <a:gd name="T10" fmla="*/ 12 w 19"/>
                  <a:gd name="T11" fmla="*/ 0 h 19"/>
                  <a:gd name="T12" fmla="*/ 0 w 19"/>
                  <a:gd name="T13" fmla="*/ 12 h 19"/>
                  <a:gd name="T14" fmla="*/ 7 w 19"/>
                  <a:gd name="T15" fmla="*/ 19 h 19"/>
                  <a:gd name="T16" fmla="*/ 19 w 19"/>
                  <a:gd name="T17" fmla="*/ 7 h 19"/>
                  <a:gd name="T18" fmla="*/ 12 w 19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9">
                    <a:moveTo>
                      <a:pt x="12" y="9"/>
                    </a:moveTo>
                    <a:lnTo>
                      <a:pt x="10" y="7"/>
                    </a:lnTo>
                    <a:lnTo>
                      <a:pt x="12" y="5"/>
                    </a:lnTo>
                    <a:lnTo>
                      <a:pt x="14" y="7"/>
                    </a:lnTo>
                    <a:lnTo>
                      <a:pt x="12" y="9"/>
                    </a:lnTo>
                    <a:close/>
                    <a:moveTo>
                      <a:pt x="12" y="0"/>
                    </a:moveTo>
                    <a:lnTo>
                      <a:pt x="0" y="12"/>
                    </a:lnTo>
                    <a:lnTo>
                      <a:pt x="7" y="19"/>
                    </a:lnTo>
                    <a:lnTo>
                      <a:pt x="19" y="7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5252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470">
                <a:extLst>
                  <a:ext uri="{FF2B5EF4-FFF2-40B4-BE49-F238E27FC236}">
                    <a16:creationId xmlns:a16="http://schemas.microsoft.com/office/drawing/2014/main" id="{665F8116-5153-46D7-A4A4-BA2725640A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5" y="2118"/>
                <a:ext cx="19" cy="19"/>
              </a:xfrm>
              <a:custGeom>
                <a:avLst/>
                <a:gdLst>
                  <a:gd name="T0" fmla="*/ 12 w 19"/>
                  <a:gd name="T1" fmla="*/ 9 h 19"/>
                  <a:gd name="T2" fmla="*/ 10 w 19"/>
                  <a:gd name="T3" fmla="*/ 7 h 19"/>
                  <a:gd name="T4" fmla="*/ 12 w 19"/>
                  <a:gd name="T5" fmla="*/ 5 h 19"/>
                  <a:gd name="T6" fmla="*/ 14 w 19"/>
                  <a:gd name="T7" fmla="*/ 7 h 19"/>
                  <a:gd name="T8" fmla="*/ 12 w 19"/>
                  <a:gd name="T9" fmla="*/ 9 h 19"/>
                  <a:gd name="T10" fmla="*/ 12 w 19"/>
                  <a:gd name="T11" fmla="*/ 0 h 19"/>
                  <a:gd name="T12" fmla="*/ 0 w 19"/>
                  <a:gd name="T13" fmla="*/ 12 h 19"/>
                  <a:gd name="T14" fmla="*/ 7 w 19"/>
                  <a:gd name="T15" fmla="*/ 19 h 19"/>
                  <a:gd name="T16" fmla="*/ 19 w 19"/>
                  <a:gd name="T17" fmla="*/ 7 h 19"/>
                  <a:gd name="T18" fmla="*/ 12 w 19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9">
                    <a:moveTo>
                      <a:pt x="12" y="9"/>
                    </a:moveTo>
                    <a:lnTo>
                      <a:pt x="10" y="7"/>
                    </a:lnTo>
                    <a:lnTo>
                      <a:pt x="12" y="5"/>
                    </a:lnTo>
                    <a:lnTo>
                      <a:pt x="14" y="7"/>
                    </a:lnTo>
                    <a:lnTo>
                      <a:pt x="12" y="9"/>
                    </a:lnTo>
                    <a:moveTo>
                      <a:pt x="12" y="0"/>
                    </a:moveTo>
                    <a:lnTo>
                      <a:pt x="0" y="12"/>
                    </a:lnTo>
                    <a:lnTo>
                      <a:pt x="7" y="19"/>
                    </a:lnTo>
                    <a:lnTo>
                      <a:pt x="19" y="7"/>
                    </a:lnTo>
                    <a:lnTo>
                      <a:pt x="1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471">
                <a:extLst>
                  <a:ext uri="{FF2B5EF4-FFF2-40B4-BE49-F238E27FC236}">
                    <a16:creationId xmlns:a16="http://schemas.microsoft.com/office/drawing/2014/main" id="{AA418549-5FAE-4EEA-AFCE-A6DF0F898E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7" y="2115"/>
                <a:ext cx="13" cy="13"/>
              </a:xfrm>
              <a:custGeom>
                <a:avLst/>
                <a:gdLst>
                  <a:gd name="T0" fmla="*/ 3 w 13"/>
                  <a:gd name="T1" fmla="*/ 0 h 13"/>
                  <a:gd name="T2" fmla="*/ 0 w 13"/>
                  <a:gd name="T3" fmla="*/ 3 h 13"/>
                  <a:gd name="T4" fmla="*/ 7 w 13"/>
                  <a:gd name="T5" fmla="*/ 10 h 13"/>
                  <a:gd name="T6" fmla="*/ 9 w 13"/>
                  <a:gd name="T7" fmla="*/ 13 h 13"/>
                  <a:gd name="T8" fmla="*/ 13 w 13"/>
                  <a:gd name="T9" fmla="*/ 9 h 13"/>
                  <a:gd name="T10" fmla="*/ 3 w 13"/>
                  <a:gd name="T1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3">
                    <a:moveTo>
                      <a:pt x="3" y="0"/>
                    </a:moveTo>
                    <a:lnTo>
                      <a:pt x="0" y="3"/>
                    </a:lnTo>
                    <a:lnTo>
                      <a:pt x="7" y="10"/>
                    </a:lnTo>
                    <a:lnTo>
                      <a:pt x="9" y="13"/>
                    </a:lnTo>
                    <a:lnTo>
                      <a:pt x="13" y="9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472">
                <a:extLst>
                  <a:ext uri="{FF2B5EF4-FFF2-40B4-BE49-F238E27FC236}">
                    <a16:creationId xmlns:a16="http://schemas.microsoft.com/office/drawing/2014/main" id="{1ED8E840-1F31-4A81-9F17-032BE78894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7" y="2115"/>
                <a:ext cx="13" cy="13"/>
              </a:xfrm>
              <a:custGeom>
                <a:avLst/>
                <a:gdLst>
                  <a:gd name="T0" fmla="*/ 3 w 13"/>
                  <a:gd name="T1" fmla="*/ 0 h 13"/>
                  <a:gd name="T2" fmla="*/ 0 w 13"/>
                  <a:gd name="T3" fmla="*/ 3 h 13"/>
                  <a:gd name="T4" fmla="*/ 7 w 13"/>
                  <a:gd name="T5" fmla="*/ 10 h 13"/>
                  <a:gd name="T6" fmla="*/ 9 w 13"/>
                  <a:gd name="T7" fmla="*/ 13 h 13"/>
                  <a:gd name="T8" fmla="*/ 13 w 13"/>
                  <a:gd name="T9" fmla="*/ 9 h 13"/>
                  <a:gd name="T10" fmla="*/ 3 w 13"/>
                  <a:gd name="T1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3">
                    <a:moveTo>
                      <a:pt x="3" y="0"/>
                    </a:moveTo>
                    <a:lnTo>
                      <a:pt x="0" y="3"/>
                    </a:lnTo>
                    <a:lnTo>
                      <a:pt x="7" y="10"/>
                    </a:lnTo>
                    <a:lnTo>
                      <a:pt x="9" y="13"/>
                    </a:lnTo>
                    <a:lnTo>
                      <a:pt x="13" y="9"/>
                    </a:lnTo>
                    <a:lnTo>
                      <a:pt x="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473">
                <a:extLst>
                  <a:ext uri="{FF2B5EF4-FFF2-40B4-BE49-F238E27FC236}">
                    <a16:creationId xmlns:a16="http://schemas.microsoft.com/office/drawing/2014/main" id="{A2C3C835-DF53-4908-B2DF-AC76CC1CF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2063"/>
                <a:ext cx="64" cy="62"/>
              </a:xfrm>
              <a:custGeom>
                <a:avLst/>
                <a:gdLst>
                  <a:gd name="T0" fmla="*/ 96 w 116"/>
                  <a:gd name="T1" fmla="*/ 0 h 115"/>
                  <a:gd name="T2" fmla="*/ 79 w 116"/>
                  <a:gd name="T3" fmla="*/ 17 h 115"/>
                  <a:gd name="T4" fmla="*/ 86 w 116"/>
                  <a:gd name="T5" fmla="*/ 24 h 115"/>
                  <a:gd name="T6" fmla="*/ 86 w 116"/>
                  <a:gd name="T7" fmla="*/ 34 h 115"/>
                  <a:gd name="T8" fmla="*/ 35 w 116"/>
                  <a:gd name="T9" fmla="*/ 85 h 115"/>
                  <a:gd name="T10" fmla="*/ 29 w 116"/>
                  <a:gd name="T11" fmla="*/ 88 h 115"/>
                  <a:gd name="T12" fmla="*/ 24 w 116"/>
                  <a:gd name="T13" fmla="*/ 85 h 115"/>
                  <a:gd name="T14" fmla="*/ 17 w 116"/>
                  <a:gd name="T15" fmla="*/ 79 h 115"/>
                  <a:gd name="T16" fmla="*/ 0 w 116"/>
                  <a:gd name="T17" fmla="*/ 96 h 115"/>
                  <a:gd name="T18" fmla="*/ 17 w 116"/>
                  <a:gd name="T19" fmla="*/ 113 h 115"/>
                  <a:gd name="T20" fmla="*/ 17 w 116"/>
                  <a:gd name="T21" fmla="*/ 113 h 115"/>
                  <a:gd name="T22" fmla="*/ 20 w 116"/>
                  <a:gd name="T23" fmla="*/ 115 h 115"/>
                  <a:gd name="T24" fmla="*/ 116 w 116"/>
                  <a:gd name="T25" fmla="*/ 19 h 115"/>
                  <a:gd name="T26" fmla="*/ 96 w 116"/>
                  <a:gd name="T27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6" h="115">
                    <a:moveTo>
                      <a:pt x="96" y="0"/>
                    </a:moveTo>
                    <a:cubicBezTo>
                      <a:pt x="79" y="17"/>
                      <a:pt x="79" y="17"/>
                      <a:pt x="79" y="17"/>
                    </a:cubicBezTo>
                    <a:cubicBezTo>
                      <a:pt x="86" y="24"/>
                      <a:pt x="86" y="24"/>
                      <a:pt x="86" y="24"/>
                    </a:cubicBezTo>
                    <a:cubicBezTo>
                      <a:pt x="89" y="27"/>
                      <a:pt x="89" y="31"/>
                      <a:pt x="86" y="34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3" y="87"/>
                      <a:pt x="31" y="88"/>
                      <a:pt x="29" y="88"/>
                    </a:cubicBezTo>
                    <a:cubicBezTo>
                      <a:pt x="27" y="88"/>
                      <a:pt x="25" y="87"/>
                      <a:pt x="24" y="85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17" y="113"/>
                      <a:pt x="17" y="113"/>
                      <a:pt x="17" y="113"/>
                    </a:cubicBezTo>
                    <a:cubicBezTo>
                      <a:pt x="17" y="113"/>
                      <a:pt x="17" y="113"/>
                      <a:pt x="17" y="113"/>
                    </a:cubicBezTo>
                    <a:cubicBezTo>
                      <a:pt x="20" y="115"/>
                      <a:pt x="20" y="115"/>
                      <a:pt x="20" y="115"/>
                    </a:cubicBezTo>
                    <a:cubicBezTo>
                      <a:pt x="61" y="87"/>
                      <a:pt x="87" y="60"/>
                      <a:pt x="116" y="19"/>
                    </a:cubicBezTo>
                    <a:cubicBezTo>
                      <a:pt x="96" y="0"/>
                      <a:pt x="96" y="0"/>
                      <a:pt x="96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474">
                <a:extLst>
                  <a:ext uri="{FF2B5EF4-FFF2-40B4-BE49-F238E27FC236}">
                    <a16:creationId xmlns:a16="http://schemas.microsoft.com/office/drawing/2014/main" id="{D08D8E9F-25FC-4523-94E0-91A5FE877E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30" y="2072"/>
                <a:ext cx="39" cy="39"/>
              </a:xfrm>
              <a:custGeom>
                <a:avLst/>
                <a:gdLst>
                  <a:gd name="T0" fmla="*/ 43 w 72"/>
                  <a:gd name="T1" fmla="*/ 26 h 71"/>
                  <a:gd name="T2" fmla="*/ 42 w 72"/>
                  <a:gd name="T3" fmla="*/ 27 h 71"/>
                  <a:gd name="T4" fmla="*/ 43 w 72"/>
                  <a:gd name="T5" fmla="*/ 29 h 71"/>
                  <a:gd name="T6" fmla="*/ 44 w 72"/>
                  <a:gd name="T7" fmla="*/ 29 h 71"/>
                  <a:gd name="T8" fmla="*/ 45 w 72"/>
                  <a:gd name="T9" fmla="*/ 29 h 71"/>
                  <a:gd name="T10" fmla="*/ 44 w 72"/>
                  <a:gd name="T11" fmla="*/ 27 h 71"/>
                  <a:gd name="T12" fmla="*/ 43 w 72"/>
                  <a:gd name="T13" fmla="*/ 26 h 71"/>
                  <a:gd name="T14" fmla="*/ 62 w 72"/>
                  <a:gd name="T15" fmla="*/ 0 h 71"/>
                  <a:gd name="T16" fmla="*/ 57 w 72"/>
                  <a:gd name="T17" fmla="*/ 6 h 71"/>
                  <a:gd name="T18" fmla="*/ 57 w 72"/>
                  <a:gd name="T19" fmla="*/ 6 h 71"/>
                  <a:gd name="T20" fmla="*/ 58 w 72"/>
                  <a:gd name="T21" fmla="*/ 7 h 71"/>
                  <a:gd name="T22" fmla="*/ 59 w 72"/>
                  <a:gd name="T23" fmla="*/ 9 h 71"/>
                  <a:gd name="T24" fmla="*/ 60 w 72"/>
                  <a:gd name="T25" fmla="*/ 9 h 71"/>
                  <a:gd name="T26" fmla="*/ 62 w 72"/>
                  <a:gd name="T27" fmla="*/ 10 h 71"/>
                  <a:gd name="T28" fmla="*/ 62 w 72"/>
                  <a:gd name="T29" fmla="*/ 15 h 71"/>
                  <a:gd name="T30" fmla="*/ 58 w 72"/>
                  <a:gd name="T31" fmla="*/ 19 h 71"/>
                  <a:gd name="T32" fmla="*/ 51 w 72"/>
                  <a:gd name="T33" fmla="*/ 11 h 71"/>
                  <a:gd name="T34" fmla="*/ 49 w 72"/>
                  <a:gd name="T35" fmla="*/ 13 h 71"/>
                  <a:gd name="T36" fmla="*/ 49 w 72"/>
                  <a:gd name="T37" fmla="*/ 13 h 71"/>
                  <a:gd name="T38" fmla="*/ 51 w 72"/>
                  <a:gd name="T39" fmla="*/ 14 h 71"/>
                  <a:gd name="T40" fmla="*/ 49 w 72"/>
                  <a:gd name="T41" fmla="*/ 16 h 71"/>
                  <a:gd name="T42" fmla="*/ 48 w 72"/>
                  <a:gd name="T43" fmla="*/ 16 h 71"/>
                  <a:gd name="T44" fmla="*/ 47 w 72"/>
                  <a:gd name="T45" fmla="*/ 16 h 71"/>
                  <a:gd name="T46" fmla="*/ 48 w 72"/>
                  <a:gd name="T47" fmla="*/ 20 h 71"/>
                  <a:gd name="T48" fmla="*/ 50 w 72"/>
                  <a:gd name="T49" fmla="*/ 22 h 71"/>
                  <a:gd name="T50" fmla="*/ 52 w 72"/>
                  <a:gd name="T51" fmla="*/ 21 h 71"/>
                  <a:gd name="T52" fmla="*/ 52 w 72"/>
                  <a:gd name="T53" fmla="*/ 19 h 71"/>
                  <a:gd name="T54" fmla="*/ 51 w 72"/>
                  <a:gd name="T55" fmla="*/ 20 h 71"/>
                  <a:gd name="T56" fmla="*/ 49 w 72"/>
                  <a:gd name="T57" fmla="*/ 18 h 71"/>
                  <a:gd name="T58" fmla="*/ 52 w 72"/>
                  <a:gd name="T59" fmla="*/ 15 h 71"/>
                  <a:gd name="T60" fmla="*/ 54 w 72"/>
                  <a:gd name="T61" fmla="*/ 23 h 71"/>
                  <a:gd name="T62" fmla="*/ 50 w 72"/>
                  <a:gd name="T63" fmla="*/ 25 h 71"/>
                  <a:gd name="T64" fmla="*/ 46 w 72"/>
                  <a:gd name="T65" fmla="*/ 23 h 71"/>
                  <a:gd name="T66" fmla="*/ 44 w 72"/>
                  <a:gd name="T67" fmla="*/ 19 h 71"/>
                  <a:gd name="T68" fmla="*/ 44 w 72"/>
                  <a:gd name="T69" fmla="*/ 19 h 71"/>
                  <a:gd name="T70" fmla="*/ 40 w 72"/>
                  <a:gd name="T71" fmla="*/ 22 h 71"/>
                  <a:gd name="T72" fmla="*/ 40 w 72"/>
                  <a:gd name="T73" fmla="*/ 22 h 71"/>
                  <a:gd name="T74" fmla="*/ 41 w 72"/>
                  <a:gd name="T75" fmla="*/ 25 h 71"/>
                  <a:gd name="T76" fmla="*/ 43 w 72"/>
                  <a:gd name="T77" fmla="*/ 23 h 71"/>
                  <a:gd name="T78" fmla="*/ 46 w 72"/>
                  <a:gd name="T79" fmla="*/ 25 h 71"/>
                  <a:gd name="T80" fmla="*/ 46 w 72"/>
                  <a:gd name="T81" fmla="*/ 31 h 71"/>
                  <a:gd name="T82" fmla="*/ 44 w 72"/>
                  <a:gd name="T83" fmla="*/ 32 h 71"/>
                  <a:gd name="T84" fmla="*/ 41 w 72"/>
                  <a:gd name="T85" fmla="*/ 31 h 71"/>
                  <a:gd name="T86" fmla="*/ 39 w 72"/>
                  <a:gd name="T87" fmla="*/ 28 h 71"/>
                  <a:gd name="T88" fmla="*/ 38 w 72"/>
                  <a:gd name="T89" fmla="*/ 24 h 71"/>
                  <a:gd name="T90" fmla="*/ 38 w 72"/>
                  <a:gd name="T91" fmla="*/ 24 h 71"/>
                  <a:gd name="T92" fmla="*/ 34 w 72"/>
                  <a:gd name="T93" fmla="*/ 28 h 71"/>
                  <a:gd name="T94" fmla="*/ 40 w 72"/>
                  <a:gd name="T95" fmla="*/ 34 h 71"/>
                  <a:gd name="T96" fmla="*/ 41 w 72"/>
                  <a:gd name="T97" fmla="*/ 33 h 71"/>
                  <a:gd name="T98" fmla="*/ 43 w 72"/>
                  <a:gd name="T99" fmla="*/ 34 h 71"/>
                  <a:gd name="T100" fmla="*/ 38 w 72"/>
                  <a:gd name="T101" fmla="*/ 39 h 71"/>
                  <a:gd name="T102" fmla="*/ 37 w 72"/>
                  <a:gd name="T103" fmla="*/ 37 h 71"/>
                  <a:gd name="T104" fmla="*/ 38 w 72"/>
                  <a:gd name="T105" fmla="*/ 36 h 71"/>
                  <a:gd name="T106" fmla="*/ 33 w 72"/>
                  <a:gd name="T107" fmla="*/ 30 h 71"/>
                  <a:gd name="T108" fmla="*/ 32 w 72"/>
                  <a:gd name="T109" fmla="*/ 31 h 71"/>
                  <a:gd name="T110" fmla="*/ 31 w 72"/>
                  <a:gd name="T111" fmla="*/ 31 h 71"/>
                  <a:gd name="T112" fmla="*/ 0 w 72"/>
                  <a:gd name="T113" fmla="*/ 62 h 71"/>
                  <a:gd name="T114" fmla="*/ 7 w 72"/>
                  <a:gd name="T115" fmla="*/ 68 h 71"/>
                  <a:gd name="T116" fmla="*/ 12 w 72"/>
                  <a:gd name="T117" fmla="*/ 71 h 71"/>
                  <a:gd name="T118" fmla="*/ 18 w 72"/>
                  <a:gd name="T119" fmla="*/ 68 h 71"/>
                  <a:gd name="T120" fmla="*/ 69 w 72"/>
                  <a:gd name="T121" fmla="*/ 17 h 71"/>
                  <a:gd name="T122" fmla="*/ 69 w 72"/>
                  <a:gd name="T123" fmla="*/ 7 h 71"/>
                  <a:gd name="T124" fmla="*/ 62 w 72"/>
                  <a:gd name="T12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2" h="71">
                    <a:moveTo>
                      <a:pt x="43" y="26"/>
                    </a:moveTo>
                    <a:cubicBezTo>
                      <a:pt x="43" y="26"/>
                      <a:pt x="43" y="26"/>
                      <a:pt x="42" y="27"/>
                    </a:cubicBezTo>
                    <a:cubicBezTo>
                      <a:pt x="42" y="27"/>
                      <a:pt x="42" y="28"/>
                      <a:pt x="43" y="29"/>
                    </a:cubicBezTo>
                    <a:cubicBezTo>
                      <a:pt x="43" y="29"/>
                      <a:pt x="44" y="29"/>
                      <a:pt x="44" y="29"/>
                    </a:cubicBezTo>
                    <a:cubicBezTo>
                      <a:pt x="44" y="29"/>
                      <a:pt x="44" y="29"/>
                      <a:pt x="45" y="29"/>
                    </a:cubicBezTo>
                    <a:cubicBezTo>
                      <a:pt x="45" y="28"/>
                      <a:pt x="45" y="28"/>
                      <a:pt x="44" y="27"/>
                    </a:cubicBezTo>
                    <a:cubicBezTo>
                      <a:pt x="44" y="27"/>
                      <a:pt x="43" y="26"/>
                      <a:pt x="43" y="26"/>
                    </a:cubicBezTo>
                    <a:moveTo>
                      <a:pt x="62" y="0"/>
                    </a:move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58" y="6"/>
                      <a:pt x="58" y="7"/>
                    </a:cubicBezTo>
                    <a:cubicBezTo>
                      <a:pt x="59" y="7"/>
                      <a:pt x="59" y="8"/>
                      <a:pt x="59" y="9"/>
                    </a:cubicBezTo>
                    <a:cubicBezTo>
                      <a:pt x="59" y="9"/>
                      <a:pt x="59" y="9"/>
                      <a:pt x="60" y="9"/>
                    </a:cubicBezTo>
                    <a:cubicBezTo>
                      <a:pt x="60" y="9"/>
                      <a:pt x="61" y="9"/>
                      <a:pt x="62" y="10"/>
                    </a:cubicBezTo>
                    <a:cubicBezTo>
                      <a:pt x="64" y="11"/>
                      <a:pt x="64" y="14"/>
                      <a:pt x="62" y="15"/>
                    </a:cubicBezTo>
                    <a:cubicBezTo>
                      <a:pt x="58" y="19"/>
                      <a:pt x="58" y="19"/>
                      <a:pt x="58" y="19"/>
                    </a:cubicBezTo>
                    <a:cubicBezTo>
                      <a:pt x="51" y="11"/>
                      <a:pt x="51" y="11"/>
                      <a:pt x="51" y="11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50" y="13"/>
                      <a:pt x="51" y="13"/>
                      <a:pt x="51" y="14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9" y="16"/>
                      <a:pt x="49" y="16"/>
                      <a:pt x="48" y="16"/>
                    </a:cubicBezTo>
                    <a:cubicBezTo>
                      <a:pt x="48" y="16"/>
                      <a:pt x="47" y="16"/>
                      <a:pt x="47" y="16"/>
                    </a:cubicBezTo>
                    <a:cubicBezTo>
                      <a:pt x="46" y="17"/>
                      <a:pt x="46" y="19"/>
                      <a:pt x="48" y="20"/>
                    </a:cubicBezTo>
                    <a:cubicBezTo>
                      <a:pt x="49" y="21"/>
                      <a:pt x="50" y="22"/>
                      <a:pt x="50" y="22"/>
                    </a:cubicBezTo>
                    <a:cubicBezTo>
                      <a:pt x="51" y="22"/>
                      <a:pt x="52" y="22"/>
                      <a:pt x="52" y="21"/>
                    </a:cubicBezTo>
                    <a:cubicBezTo>
                      <a:pt x="53" y="21"/>
                      <a:pt x="53" y="20"/>
                      <a:pt x="52" y="19"/>
                    </a:cubicBezTo>
                    <a:cubicBezTo>
                      <a:pt x="51" y="20"/>
                      <a:pt x="51" y="20"/>
                      <a:pt x="51" y="20"/>
                    </a:cubicBezTo>
                    <a:cubicBezTo>
                      <a:pt x="49" y="18"/>
                      <a:pt x="49" y="18"/>
                      <a:pt x="49" y="18"/>
                    </a:cubicBezTo>
                    <a:cubicBezTo>
                      <a:pt x="52" y="15"/>
                      <a:pt x="52" y="15"/>
                      <a:pt x="52" y="15"/>
                    </a:cubicBezTo>
                    <a:cubicBezTo>
                      <a:pt x="55" y="17"/>
                      <a:pt x="57" y="21"/>
                      <a:pt x="54" y="23"/>
                    </a:cubicBezTo>
                    <a:cubicBezTo>
                      <a:pt x="53" y="24"/>
                      <a:pt x="52" y="25"/>
                      <a:pt x="50" y="25"/>
                    </a:cubicBezTo>
                    <a:cubicBezTo>
                      <a:pt x="49" y="25"/>
                      <a:pt x="47" y="24"/>
                      <a:pt x="46" y="23"/>
                    </a:cubicBezTo>
                    <a:cubicBezTo>
                      <a:pt x="44" y="21"/>
                      <a:pt x="44" y="20"/>
                      <a:pt x="44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2" y="24"/>
                      <a:pt x="43" y="23"/>
                      <a:pt x="43" y="23"/>
                    </a:cubicBezTo>
                    <a:cubicBezTo>
                      <a:pt x="44" y="23"/>
                      <a:pt x="45" y="24"/>
                      <a:pt x="46" y="25"/>
                    </a:cubicBezTo>
                    <a:cubicBezTo>
                      <a:pt x="48" y="27"/>
                      <a:pt x="48" y="29"/>
                      <a:pt x="46" y="31"/>
                    </a:cubicBezTo>
                    <a:cubicBezTo>
                      <a:pt x="46" y="32"/>
                      <a:pt x="45" y="32"/>
                      <a:pt x="44" y="32"/>
                    </a:cubicBezTo>
                    <a:cubicBezTo>
                      <a:pt x="43" y="32"/>
                      <a:pt x="42" y="32"/>
                      <a:pt x="41" y="31"/>
                    </a:cubicBezTo>
                    <a:cubicBezTo>
                      <a:pt x="40" y="30"/>
                      <a:pt x="40" y="29"/>
                      <a:pt x="39" y="28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4" y="28"/>
                      <a:pt x="34" y="28"/>
                      <a:pt x="34" y="28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43" y="34"/>
                      <a:pt x="43" y="34"/>
                      <a:pt x="43" y="34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7" y="37"/>
                      <a:pt x="37" y="37"/>
                      <a:pt x="37" y="37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1" y="31"/>
                      <a:pt x="31" y="31"/>
                      <a:pt x="31" y="31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7" y="68"/>
                      <a:pt x="7" y="68"/>
                      <a:pt x="7" y="68"/>
                    </a:cubicBezTo>
                    <a:cubicBezTo>
                      <a:pt x="8" y="70"/>
                      <a:pt x="10" y="71"/>
                      <a:pt x="12" y="71"/>
                    </a:cubicBezTo>
                    <a:cubicBezTo>
                      <a:pt x="14" y="71"/>
                      <a:pt x="16" y="70"/>
                      <a:pt x="18" y="68"/>
                    </a:cubicBezTo>
                    <a:cubicBezTo>
                      <a:pt x="69" y="17"/>
                      <a:pt x="69" y="17"/>
                      <a:pt x="69" y="17"/>
                    </a:cubicBezTo>
                    <a:cubicBezTo>
                      <a:pt x="72" y="14"/>
                      <a:pt x="72" y="10"/>
                      <a:pt x="69" y="7"/>
                    </a:cubicBezTo>
                    <a:cubicBezTo>
                      <a:pt x="62" y="0"/>
                      <a:pt x="62" y="0"/>
                      <a:pt x="62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475">
                <a:extLst>
                  <a:ext uri="{FF2B5EF4-FFF2-40B4-BE49-F238E27FC236}">
                    <a16:creationId xmlns:a16="http://schemas.microsoft.com/office/drawing/2014/main" id="{31173EE4-93C5-4D06-835D-24D95BAF6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2 h 4"/>
                  <a:gd name="T4" fmla="*/ 2 w 4"/>
                  <a:gd name="T5" fmla="*/ 4 h 4"/>
                  <a:gd name="T6" fmla="*/ 4 w 4"/>
                  <a:gd name="T7" fmla="*/ 2 h 4"/>
                  <a:gd name="T8" fmla="*/ 2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2121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Freeform 476">
                <a:extLst>
                  <a:ext uri="{FF2B5EF4-FFF2-40B4-BE49-F238E27FC236}">
                    <a16:creationId xmlns:a16="http://schemas.microsoft.com/office/drawing/2014/main" id="{47CB574F-8205-4692-8F4A-4816A3761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2 h 4"/>
                  <a:gd name="T4" fmla="*/ 2 w 4"/>
                  <a:gd name="T5" fmla="*/ 4 h 4"/>
                  <a:gd name="T6" fmla="*/ 4 w 4"/>
                  <a:gd name="T7" fmla="*/ 2 h 4"/>
                  <a:gd name="T8" fmla="*/ 2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477">
                <a:extLst>
                  <a:ext uri="{FF2B5EF4-FFF2-40B4-BE49-F238E27FC236}">
                    <a16:creationId xmlns:a16="http://schemas.microsoft.com/office/drawing/2014/main" id="{AB30515E-C711-4F72-9542-AB954CF37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3" y="2055"/>
                <a:ext cx="14" cy="18"/>
              </a:xfrm>
              <a:custGeom>
                <a:avLst/>
                <a:gdLst>
                  <a:gd name="T0" fmla="*/ 14 w 26"/>
                  <a:gd name="T1" fmla="*/ 0 h 33"/>
                  <a:gd name="T2" fmla="*/ 0 w 26"/>
                  <a:gd name="T3" fmla="*/ 14 h 33"/>
                  <a:gd name="T4" fmla="*/ 20 w 26"/>
                  <a:gd name="T5" fmla="*/ 33 h 33"/>
                  <a:gd name="T6" fmla="*/ 20 w 26"/>
                  <a:gd name="T7" fmla="*/ 33 h 33"/>
                  <a:gd name="T8" fmla="*/ 26 w 26"/>
                  <a:gd name="T9" fmla="*/ 20 h 33"/>
                  <a:gd name="T10" fmla="*/ 26 w 26"/>
                  <a:gd name="T11" fmla="*/ 19 h 33"/>
                  <a:gd name="T12" fmla="*/ 14 w 26"/>
                  <a:gd name="T13" fmla="*/ 0 h 33"/>
                  <a:gd name="T14" fmla="*/ 14 w 26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3">
                    <a:moveTo>
                      <a:pt x="14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20" y="33"/>
                      <a:pt x="26" y="24"/>
                      <a:pt x="26" y="20"/>
                    </a:cubicBezTo>
                    <a:cubicBezTo>
                      <a:pt x="26" y="20"/>
                      <a:pt x="26" y="20"/>
                      <a:pt x="26" y="19"/>
                    </a:cubicBezTo>
                    <a:cubicBezTo>
                      <a:pt x="25" y="14"/>
                      <a:pt x="20" y="7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478">
                <a:extLst>
                  <a:ext uri="{FF2B5EF4-FFF2-40B4-BE49-F238E27FC236}">
                    <a16:creationId xmlns:a16="http://schemas.microsoft.com/office/drawing/2014/main" id="{FF114925-86BC-48BE-89A6-A26EAC5E91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7" y="2087"/>
                <a:ext cx="6" cy="6"/>
              </a:xfrm>
              <a:custGeom>
                <a:avLst/>
                <a:gdLst>
                  <a:gd name="T0" fmla="*/ 1 w 6"/>
                  <a:gd name="T1" fmla="*/ 0 h 6"/>
                  <a:gd name="T2" fmla="*/ 0 w 6"/>
                  <a:gd name="T3" fmla="*/ 2 h 6"/>
                  <a:gd name="T4" fmla="*/ 0 w 6"/>
                  <a:gd name="T5" fmla="*/ 2 h 6"/>
                  <a:gd name="T6" fmla="*/ 1 w 6"/>
                  <a:gd name="T7" fmla="*/ 1 h 6"/>
                  <a:gd name="T8" fmla="*/ 3 w 6"/>
                  <a:gd name="T9" fmla="*/ 5 h 6"/>
                  <a:gd name="T10" fmla="*/ 3 w 6"/>
                  <a:gd name="T11" fmla="*/ 5 h 6"/>
                  <a:gd name="T12" fmla="*/ 3 w 6"/>
                  <a:gd name="T13" fmla="*/ 6 h 6"/>
                  <a:gd name="T14" fmla="*/ 6 w 6"/>
                  <a:gd name="T15" fmla="*/ 3 h 6"/>
                  <a:gd name="T16" fmla="*/ 5 w 6"/>
                  <a:gd name="T17" fmla="*/ 3 h 6"/>
                  <a:gd name="T18" fmla="*/ 4 w 6"/>
                  <a:gd name="T19" fmla="*/ 3 h 6"/>
                  <a:gd name="T20" fmla="*/ 1 w 6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479">
                <a:extLst>
                  <a:ext uri="{FF2B5EF4-FFF2-40B4-BE49-F238E27FC236}">
                    <a16:creationId xmlns:a16="http://schemas.microsoft.com/office/drawing/2014/main" id="{3EC4FAC2-A67E-4FE4-AAFF-47960A718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7" y="2087"/>
                <a:ext cx="6" cy="6"/>
              </a:xfrm>
              <a:custGeom>
                <a:avLst/>
                <a:gdLst>
                  <a:gd name="T0" fmla="*/ 1 w 6"/>
                  <a:gd name="T1" fmla="*/ 0 h 6"/>
                  <a:gd name="T2" fmla="*/ 0 w 6"/>
                  <a:gd name="T3" fmla="*/ 2 h 6"/>
                  <a:gd name="T4" fmla="*/ 0 w 6"/>
                  <a:gd name="T5" fmla="*/ 2 h 6"/>
                  <a:gd name="T6" fmla="*/ 1 w 6"/>
                  <a:gd name="T7" fmla="*/ 1 h 6"/>
                  <a:gd name="T8" fmla="*/ 3 w 6"/>
                  <a:gd name="T9" fmla="*/ 5 h 6"/>
                  <a:gd name="T10" fmla="*/ 3 w 6"/>
                  <a:gd name="T11" fmla="*/ 5 h 6"/>
                  <a:gd name="T12" fmla="*/ 3 w 6"/>
                  <a:gd name="T13" fmla="*/ 6 h 6"/>
                  <a:gd name="T14" fmla="*/ 6 w 6"/>
                  <a:gd name="T15" fmla="*/ 3 h 6"/>
                  <a:gd name="T16" fmla="*/ 5 w 6"/>
                  <a:gd name="T17" fmla="*/ 3 h 6"/>
                  <a:gd name="T18" fmla="*/ 4 w 6"/>
                  <a:gd name="T19" fmla="*/ 3 h 6"/>
                  <a:gd name="T20" fmla="*/ 1 w 6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480">
                <a:extLst>
                  <a:ext uri="{FF2B5EF4-FFF2-40B4-BE49-F238E27FC236}">
                    <a16:creationId xmlns:a16="http://schemas.microsoft.com/office/drawing/2014/main" id="{383433D8-8C96-4051-9300-1318DD64E6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0" y="2084"/>
                <a:ext cx="6" cy="5"/>
              </a:xfrm>
              <a:custGeom>
                <a:avLst/>
                <a:gdLst>
                  <a:gd name="T0" fmla="*/ 6 w 10"/>
                  <a:gd name="T1" fmla="*/ 7 h 10"/>
                  <a:gd name="T2" fmla="*/ 5 w 10"/>
                  <a:gd name="T3" fmla="*/ 7 h 10"/>
                  <a:gd name="T4" fmla="*/ 4 w 10"/>
                  <a:gd name="T5" fmla="*/ 5 h 10"/>
                  <a:gd name="T6" fmla="*/ 5 w 10"/>
                  <a:gd name="T7" fmla="*/ 4 h 10"/>
                  <a:gd name="T8" fmla="*/ 6 w 10"/>
                  <a:gd name="T9" fmla="*/ 5 h 10"/>
                  <a:gd name="T10" fmla="*/ 7 w 10"/>
                  <a:gd name="T11" fmla="*/ 7 h 10"/>
                  <a:gd name="T12" fmla="*/ 6 w 10"/>
                  <a:gd name="T13" fmla="*/ 7 h 10"/>
                  <a:gd name="T14" fmla="*/ 2 w 10"/>
                  <a:gd name="T15" fmla="*/ 0 h 10"/>
                  <a:gd name="T16" fmla="*/ 0 w 10"/>
                  <a:gd name="T17" fmla="*/ 2 h 10"/>
                  <a:gd name="T18" fmla="*/ 0 w 10"/>
                  <a:gd name="T19" fmla="*/ 2 h 10"/>
                  <a:gd name="T20" fmla="*/ 1 w 10"/>
                  <a:gd name="T21" fmla="*/ 6 h 10"/>
                  <a:gd name="T22" fmla="*/ 3 w 10"/>
                  <a:gd name="T23" fmla="*/ 9 h 10"/>
                  <a:gd name="T24" fmla="*/ 6 w 10"/>
                  <a:gd name="T25" fmla="*/ 10 h 10"/>
                  <a:gd name="T26" fmla="*/ 8 w 10"/>
                  <a:gd name="T27" fmla="*/ 9 h 10"/>
                  <a:gd name="T28" fmla="*/ 8 w 10"/>
                  <a:gd name="T29" fmla="*/ 3 h 10"/>
                  <a:gd name="T30" fmla="*/ 5 w 10"/>
                  <a:gd name="T31" fmla="*/ 1 h 10"/>
                  <a:gd name="T32" fmla="*/ 3 w 10"/>
                  <a:gd name="T33" fmla="*/ 3 h 10"/>
                  <a:gd name="T34" fmla="*/ 2 w 10"/>
                  <a:gd name="T35" fmla="*/ 0 h 10"/>
                  <a:gd name="T36" fmla="*/ 2 w 10"/>
                  <a:gd name="T3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" h="10">
                    <a:moveTo>
                      <a:pt x="6" y="7"/>
                    </a:moveTo>
                    <a:cubicBezTo>
                      <a:pt x="6" y="7"/>
                      <a:pt x="5" y="7"/>
                      <a:pt x="5" y="7"/>
                    </a:cubicBezTo>
                    <a:cubicBezTo>
                      <a:pt x="4" y="6"/>
                      <a:pt x="4" y="5"/>
                      <a:pt x="4" y="5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6" y="5"/>
                      <a:pt x="6" y="5"/>
                    </a:cubicBezTo>
                    <a:cubicBezTo>
                      <a:pt x="7" y="6"/>
                      <a:pt x="7" y="6"/>
                      <a:pt x="7" y="7"/>
                    </a:cubicBezTo>
                    <a:cubicBezTo>
                      <a:pt x="6" y="7"/>
                      <a:pt x="6" y="7"/>
                      <a:pt x="6" y="7"/>
                    </a:cubicBezTo>
                    <a:moveTo>
                      <a:pt x="2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2" y="7"/>
                      <a:pt x="2" y="8"/>
                      <a:pt x="3" y="9"/>
                    </a:cubicBezTo>
                    <a:cubicBezTo>
                      <a:pt x="4" y="10"/>
                      <a:pt x="5" y="10"/>
                      <a:pt x="6" y="10"/>
                    </a:cubicBezTo>
                    <a:cubicBezTo>
                      <a:pt x="7" y="10"/>
                      <a:pt x="8" y="10"/>
                      <a:pt x="8" y="9"/>
                    </a:cubicBezTo>
                    <a:cubicBezTo>
                      <a:pt x="10" y="7"/>
                      <a:pt x="10" y="5"/>
                      <a:pt x="8" y="3"/>
                    </a:cubicBezTo>
                    <a:cubicBezTo>
                      <a:pt x="7" y="2"/>
                      <a:pt x="6" y="1"/>
                      <a:pt x="5" y="1"/>
                    </a:cubicBezTo>
                    <a:cubicBezTo>
                      <a:pt x="5" y="1"/>
                      <a:pt x="4" y="2"/>
                      <a:pt x="3" y="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481">
                <a:extLst>
                  <a:ext uri="{FF2B5EF4-FFF2-40B4-BE49-F238E27FC236}">
                    <a16:creationId xmlns:a16="http://schemas.microsoft.com/office/drawing/2014/main" id="{8C2A99D8-D6A7-4F92-956C-6FA00F7A3F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" y="2079"/>
                <a:ext cx="7" cy="7"/>
              </a:xfrm>
              <a:custGeom>
                <a:avLst/>
                <a:gdLst>
                  <a:gd name="T0" fmla="*/ 5 w 13"/>
                  <a:gd name="T1" fmla="*/ 0 h 12"/>
                  <a:gd name="T2" fmla="*/ 0 w 13"/>
                  <a:gd name="T3" fmla="*/ 6 h 12"/>
                  <a:gd name="T4" fmla="*/ 0 w 13"/>
                  <a:gd name="T5" fmla="*/ 6 h 12"/>
                  <a:gd name="T6" fmla="*/ 2 w 13"/>
                  <a:gd name="T7" fmla="*/ 10 h 12"/>
                  <a:gd name="T8" fmla="*/ 6 w 13"/>
                  <a:gd name="T9" fmla="*/ 12 h 12"/>
                  <a:gd name="T10" fmla="*/ 10 w 13"/>
                  <a:gd name="T11" fmla="*/ 10 h 12"/>
                  <a:gd name="T12" fmla="*/ 8 w 13"/>
                  <a:gd name="T13" fmla="*/ 2 h 12"/>
                  <a:gd name="T14" fmla="*/ 5 w 13"/>
                  <a:gd name="T15" fmla="*/ 5 h 12"/>
                  <a:gd name="T16" fmla="*/ 7 w 13"/>
                  <a:gd name="T17" fmla="*/ 7 h 12"/>
                  <a:gd name="T18" fmla="*/ 8 w 13"/>
                  <a:gd name="T19" fmla="*/ 6 h 12"/>
                  <a:gd name="T20" fmla="*/ 8 w 13"/>
                  <a:gd name="T21" fmla="*/ 8 h 12"/>
                  <a:gd name="T22" fmla="*/ 6 w 13"/>
                  <a:gd name="T23" fmla="*/ 9 h 12"/>
                  <a:gd name="T24" fmla="*/ 4 w 13"/>
                  <a:gd name="T25" fmla="*/ 7 h 12"/>
                  <a:gd name="T26" fmla="*/ 3 w 13"/>
                  <a:gd name="T27" fmla="*/ 3 h 12"/>
                  <a:gd name="T28" fmla="*/ 4 w 13"/>
                  <a:gd name="T29" fmla="*/ 3 h 12"/>
                  <a:gd name="T30" fmla="*/ 5 w 13"/>
                  <a:gd name="T31" fmla="*/ 3 h 12"/>
                  <a:gd name="T32" fmla="*/ 7 w 13"/>
                  <a:gd name="T33" fmla="*/ 1 h 12"/>
                  <a:gd name="T34" fmla="*/ 5 w 13"/>
                  <a:gd name="T35" fmla="*/ 0 h 12"/>
                  <a:gd name="T36" fmla="*/ 5 w 13"/>
                  <a:gd name="T3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12">
                    <a:moveTo>
                      <a:pt x="5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8"/>
                      <a:pt x="2" y="10"/>
                    </a:cubicBezTo>
                    <a:cubicBezTo>
                      <a:pt x="3" y="11"/>
                      <a:pt x="5" y="12"/>
                      <a:pt x="6" y="12"/>
                    </a:cubicBezTo>
                    <a:cubicBezTo>
                      <a:pt x="8" y="12"/>
                      <a:pt x="9" y="11"/>
                      <a:pt x="10" y="10"/>
                    </a:cubicBezTo>
                    <a:cubicBezTo>
                      <a:pt x="13" y="8"/>
                      <a:pt x="11" y="4"/>
                      <a:pt x="8" y="2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7"/>
                      <a:pt x="9" y="8"/>
                      <a:pt x="8" y="8"/>
                    </a:cubicBezTo>
                    <a:cubicBezTo>
                      <a:pt x="8" y="9"/>
                      <a:pt x="7" y="9"/>
                      <a:pt x="6" y="9"/>
                    </a:cubicBezTo>
                    <a:cubicBezTo>
                      <a:pt x="6" y="9"/>
                      <a:pt x="5" y="8"/>
                      <a:pt x="4" y="7"/>
                    </a:cubicBezTo>
                    <a:cubicBezTo>
                      <a:pt x="2" y="6"/>
                      <a:pt x="2" y="4"/>
                      <a:pt x="3" y="3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0"/>
                      <a:pt x="6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482">
                <a:extLst>
                  <a:ext uri="{FF2B5EF4-FFF2-40B4-BE49-F238E27FC236}">
                    <a16:creationId xmlns:a16="http://schemas.microsoft.com/office/drawing/2014/main" id="{50342975-A6CF-48F1-961C-B73C9BF50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9" y="2076"/>
                <a:ext cx="3" cy="4"/>
              </a:xfrm>
              <a:custGeom>
                <a:avLst/>
                <a:gdLst>
                  <a:gd name="T0" fmla="*/ 5 w 6"/>
                  <a:gd name="T1" fmla="*/ 4 h 6"/>
                  <a:gd name="T2" fmla="*/ 4 w 6"/>
                  <a:gd name="T3" fmla="*/ 4 h 6"/>
                  <a:gd name="T4" fmla="*/ 3 w 6"/>
                  <a:gd name="T5" fmla="*/ 5 h 6"/>
                  <a:gd name="T6" fmla="*/ 5 w 6"/>
                  <a:gd name="T7" fmla="*/ 6 h 6"/>
                  <a:gd name="T8" fmla="*/ 6 w 6"/>
                  <a:gd name="T9" fmla="*/ 5 h 6"/>
                  <a:gd name="T10" fmla="*/ 6 w 6"/>
                  <a:gd name="T11" fmla="*/ 4 h 6"/>
                  <a:gd name="T12" fmla="*/ 5 w 6"/>
                  <a:gd name="T13" fmla="*/ 4 h 6"/>
                  <a:gd name="T14" fmla="*/ 1 w 6"/>
                  <a:gd name="T15" fmla="*/ 0 h 6"/>
                  <a:gd name="T16" fmla="*/ 1 w 6"/>
                  <a:gd name="T17" fmla="*/ 1 h 6"/>
                  <a:gd name="T18" fmla="*/ 0 w 6"/>
                  <a:gd name="T19" fmla="*/ 2 h 6"/>
                  <a:gd name="T20" fmla="*/ 1 w 6"/>
                  <a:gd name="T21" fmla="*/ 3 h 6"/>
                  <a:gd name="T22" fmla="*/ 2 w 6"/>
                  <a:gd name="T23" fmla="*/ 2 h 6"/>
                  <a:gd name="T24" fmla="*/ 2 w 6"/>
                  <a:gd name="T25" fmla="*/ 1 h 6"/>
                  <a:gd name="T26" fmla="*/ 1 w 6"/>
                  <a:gd name="T2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6">
                    <a:moveTo>
                      <a:pt x="5" y="4"/>
                    </a:moveTo>
                    <a:cubicBezTo>
                      <a:pt x="5" y="4"/>
                      <a:pt x="4" y="4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4"/>
                      <a:pt x="6" y="4"/>
                    </a:cubicBezTo>
                    <a:cubicBezTo>
                      <a:pt x="5" y="4"/>
                      <a:pt x="5" y="4"/>
                      <a:pt x="5" y="4"/>
                    </a:cubicBezTo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483">
                <a:extLst>
                  <a:ext uri="{FF2B5EF4-FFF2-40B4-BE49-F238E27FC236}">
                    <a16:creationId xmlns:a16="http://schemas.microsoft.com/office/drawing/2014/main" id="{0AD79C15-9410-49EA-A0B7-001956844B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7" y="2075"/>
                <a:ext cx="8" cy="7"/>
              </a:xfrm>
              <a:custGeom>
                <a:avLst/>
                <a:gdLst>
                  <a:gd name="T0" fmla="*/ 8 w 13"/>
                  <a:gd name="T1" fmla="*/ 8 h 13"/>
                  <a:gd name="T2" fmla="*/ 6 w 13"/>
                  <a:gd name="T3" fmla="*/ 7 h 13"/>
                  <a:gd name="T4" fmla="*/ 7 w 13"/>
                  <a:gd name="T5" fmla="*/ 6 h 13"/>
                  <a:gd name="T6" fmla="*/ 8 w 13"/>
                  <a:gd name="T7" fmla="*/ 6 h 13"/>
                  <a:gd name="T8" fmla="*/ 9 w 13"/>
                  <a:gd name="T9" fmla="*/ 6 h 13"/>
                  <a:gd name="T10" fmla="*/ 9 w 13"/>
                  <a:gd name="T11" fmla="*/ 7 h 13"/>
                  <a:gd name="T12" fmla="*/ 8 w 13"/>
                  <a:gd name="T13" fmla="*/ 8 h 13"/>
                  <a:gd name="T14" fmla="*/ 4 w 13"/>
                  <a:gd name="T15" fmla="*/ 5 h 13"/>
                  <a:gd name="T16" fmla="*/ 3 w 13"/>
                  <a:gd name="T17" fmla="*/ 4 h 13"/>
                  <a:gd name="T18" fmla="*/ 4 w 13"/>
                  <a:gd name="T19" fmla="*/ 3 h 13"/>
                  <a:gd name="T20" fmla="*/ 4 w 13"/>
                  <a:gd name="T21" fmla="*/ 2 h 13"/>
                  <a:gd name="T22" fmla="*/ 5 w 13"/>
                  <a:gd name="T23" fmla="*/ 3 h 13"/>
                  <a:gd name="T24" fmla="*/ 5 w 13"/>
                  <a:gd name="T25" fmla="*/ 4 h 13"/>
                  <a:gd name="T26" fmla="*/ 4 w 13"/>
                  <a:gd name="T27" fmla="*/ 5 h 13"/>
                  <a:gd name="T28" fmla="*/ 6 w 13"/>
                  <a:gd name="T29" fmla="*/ 0 h 13"/>
                  <a:gd name="T30" fmla="*/ 0 w 13"/>
                  <a:gd name="T31" fmla="*/ 5 h 13"/>
                  <a:gd name="T32" fmla="*/ 7 w 13"/>
                  <a:gd name="T33" fmla="*/ 13 h 13"/>
                  <a:gd name="T34" fmla="*/ 11 w 13"/>
                  <a:gd name="T35" fmla="*/ 9 h 13"/>
                  <a:gd name="T36" fmla="*/ 11 w 13"/>
                  <a:gd name="T37" fmla="*/ 4 h 13"/>
                  <a:gd name="T38" fmla="*/ 9 w 13"/>
                  <a:gd name="T39" fmla="*/ 3 h 13"/>
                  <a:gd name="T40" fmla="*/ 8 w 13"/>
                  <a:gd name="T41" fmla="*/ 3 h 13"/>
                  <a:gd name="T42" fmla="*/ 7 w 13"/>
                  <a:gd name="T43" fmla="*/ 1 h 13"/>
                  <a:gd name="T44" fmla="*/ 6 w 13"/>
                  <a:gd name="T45" fmla="*/ 0 h 13"/>
                  <a:gd name="T46" fmla="*/ 6 w 13"/>
                  <a:gd name="T4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" h="13">
                    <a:moveTo>
                      <a:pt x="8" y="8"/>
                    </a:moveTo>
                    <a:cubicBezTo>
                      <a:pt x="6" y="7"/>
                      <a:pt x="6" y="7"/>
                      <a:pt x="6" y="7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9" y="6"/>
                    </a:cubicBezTo>
                    <a:cubicBezTo>
                      <a:pt x="9" y="6"/>
                      <a:pt x="9" y="7"/>
                      <a:pt x="9" y="7"/>
                    </a:cubicBezTo>
                    <a:cubicBezTo>
                      <a:pt x="8" y="8"/>
                      <a:pt x="8" y="8"/>
                      <a:pt x="8" y="8"/>
                    </a:cubicBezTo>
                    <a:moveTo>
                      <a:pt x="4" y="5"/>
                    </a:moveTo>
                    <a:cubicBezTo>
                      <a:pt x="3" y="4"/>
                      <a:pt x="3" y="4"/>
                      <a:pt x="3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2"/>
                      <a:pt x="4" y="2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6" y="3"/>
                      <a:pt x="6" y="4"/>
                      <a:pt x="5" y="4"/>
                    </a:cubicBezTo>
                    <a:cubicBezTo>
                      <a:pt x="4" y="5"/>
                      <a:pt x="4" y="5"/>
                      <a:pt x="4" y="5"/>
                    </a:cubicBezTo>
                    <a:moveTo>
                      <a:pt x="6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3" y="8"/>
                      <a:pt x="13" y="5"/>
                      <a:pt x="11" y="4"/>
                    </a:cubicBezTo>
                    <a:cubicBezTo>
                      <a:pt x="10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7" y="1"/>
                    </a:cubicBezTo>
                    <a:cubicBezTo>
                      <a:pt x="7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484">
                <a:extLst>
                  <a:ext uri="{FF2B5EF4-FFF2-40B4-BE49-F238E27FC236}">
                    <a16:creationId xmlns:a16="http://schemas.microsoft.com/office/drawing/2014/main" id="{436BE7DE-BF7D-482B-9611-959F43F05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4" y="2209"/>
                <a:ext cx="452" cy="412"/>
              </a:xfrm>
              <a:custGeom>
                <a:avLst/>
                <a:gdLst>
                  <a:gd name="T0" fmla="*/ 452 w 452"/>
                  <a:gd name="T1" fmla="*/ 159 h 412"/>
                  <a:gd name="T2" fmla="*/ 122 w 452"/>
                  <a:gd name="T3" fmla="*/ 412 h 412"/>
                  <a:gd name="T4" fmla="*/ 0 w 452"/>
                  <a:gd name="T5" fmla="*/ 253 h 412"/>
                  <a:gd name="T6" fmla="*/ 331 w 452"/>
                  <a:gd name="T7" fmla="*/ 0 h 412"/>
                  <a:gd name="T8" fmla="*/ 452 w 452"/>
                  <a:gd name="T9" fmla="*/ 159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2" h="412">
                    <a:moveTo>
                      <a:pt x="452" y="159"/>
                    </a:moveTo>
                    <a:lnTo>
                      <a:pt x="122" y="412"/>
                    </a:lnTo>
                    <a:lnTo>
                      <a:pt x="0" y="253"/>
                    </a:lnTo>
                    <a:lnTo>
                      <a:pt x="331" y="0"/>
                    </a:lnTo>
                    <a:lnTo>
                      <a:pt x="452" y="159"/>
                    </a:ln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485">
                <a:extLst>
                  <a:ext uri="{FF2B5EF4-FFF2-40B4-BE49-F238E27FC236}">
                    <a16:creationId xmlns:a16="http://schemas.microsoft.com/office/drawing/2014/main" id="{1EADEE1F-E248-4F77-8BBF-B1FD33108A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1" y="2216"/>
                <a:ext cx="401" cy="348"/>
              </a:xfrm>
              <a:custGeom>
                <a:avLst/>
                <a:gdLst>
                  <a:gd name="T0" fmla="*/ 401 w 401"/>
                  <a:gd name="T1" fmla="*/ 103 h 348"/>
                  <a:gd name="T2" fmla="*/ 79 w 401"/>
                  <a:gd name="T3" fmla="*/ 348 h 348"/>
                  <a:gd name="T4" fmla="*/ 0 w 401"/>
                  <a:gd name="T5" fmla="*/ 245 h 348"/>
                  <a:gd name="T6" fmla="*/ 322 w 401"/>
                  <a:gd name="T7" fmla="*/ 0 h 348"/>
                  <a:gd name="T8" fmla="*/ 401 w 401"/>
                  <a:gd name="T9" fmla="*/ 103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1" h="348">
                    <a:moveTo>
                      <a:pt x="401" y="103"/>
                    </a:moveTo>
                    <a:lnTo>
                      <a:pt x="79" y="348"/>
                    </a:lnTo>
                    <a:lnTo>
                      <a:pt x="0" y="245"/>
                    </a:lnTo>
                    <a:lnTo>
                      <a:pt x="322" y="0"/>
                    </a:lnTo>
                    <a:lnTo>
                      <a:pt x="401" y="103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486">
                <a:extLst>
                  <a:ext uri="{FF2B5EF4-FFF2-40B4-BE49-F238E27FC236}">
                    <a16:creationId xmlns:a16="http://schemas.microsoft.com/office/drawing/2014/main" id="{8FF5C2D7-99C0-4F20-B148-73A501517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7" y="2416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487">
                <a:extLst>
                  <a:ext uri="{FF2B5EF4-FFF2-40B4-BE49-F238E27FC236}">
                    <a16:creationId xmlns:a16="http://schemas.microsoft.com/office/drawing/2014/main" id="{2B0822BE-066C-4318-AE89-D9E7FB9BC6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6" y="2401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488">
                <a:extLst>
                  <a:ext uri="{FF2B5EF4-FFF2-40B4-BE49-F238E27FC236}">
                    <a16:creationId xmlns:a16="http://schemas.microsoft.com/office/drawing/2014/main" id="{EDE935F6-67DA-4E07-9DBF-3E9781969D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5" y="2386"/>
                <a:ext cx="20" cy="17"/>
              </a:xfrm>
              <a:custGeom>
                <a:avLst/>
                <a:gdLst>
                  <a:gd name="T0" fmla="*/ 33 w 35"/>
                  <a:gd name="T1" fmla="*/ 14 h 31"/>
                  <a:gd name="T2" fmla="*/ 12 w 35"/>
                  <a:gd name="T3" fmla="*/ 31 h 31"/>
                  <a:gd name="T4" fmla="*/ 9 w 35"/>
                  <a:gd name="T5" fmla="*/ 30 h 31"/>
                  <a:gd name="T6" fmla="*/ 1 w 35"/>
                  <a:gd name="T7" fmla="*/ 21 h 31"/>
                  <a:gd name="T8" fmla="*/ 2 w 35"/>
                  <a:gd name="T9" fmla="*/ 18 h 31"/>
                  <a:gd name="T10" fmla="*/ 24 w 35"/>
                  <a:gd name="T11" fmla="*/ 1 h 31"/>
                  <a:gd name="T12" fmla="*/ 27 w 35"/>
                  <a:gd name="T13" fmla="*/ 1 h 31"/>
                  <a:gd name="T14" fmla="*/ 34 w 35"/>
                  <a:gd name="T15" fmla="*/ 11 h 31"/>
                  <a:gd name="T16" fmla="*/ 33 w 35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1">
                    <a:moveTo>
                      <a:pt x="33" y="14"/>
                    </a:moveTo>
                    <a:cubicBezTo>
                      <a:pt x="12" y="31"/>
                      <a:pt x="12" y="31"/>
                      <a:pt x="12" y="31"/>
                    </a:cubicBezTo>
                    <a:cubicBezTo>
                      <a:pt x="11" y="31"/>
                      <a:pt x="9" y="31"/>
                      <a:pt x="9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0"/>
                      <a:pt x="27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489">
                <a:extLst>
                  <a:ext uri="{FF2B5EF4-FFF2-40B4-BE49-F238E27FC236}">
                    <a16:creationId xmlns:a16="http://schemas.microsoft.com/office/drawing/2014/main" id="{155EEAF4-F3B2-42D9-B9AA-4891C2A1A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5" y="2372"/>
                <a:ext cx="19" cy="17"/>
              </a:xfrm>
              <a:custGeom>
                <a:avLst/>
                <a:gdLst>
                  <a:gd name="T0" fmla="*/ 33 w 34"/>
                  <a:gd name="T1" fmla="*/ 14 h 32"/>
                  <a:gd name="T2" fmla="*/ 11 w 34"/>
                  <a:gd name="T3" fmla="*/ 31 h 32"/>
                  <a:gd name="T4" fmla="*/ 8 w 34"/>
                  <a:gd name="T5" fmla="*/ 30 h 32"/>
                  <a:gd name="T6" fmla="*/ 1 w 34"/>
                  <a:gd name="T7" fmla="*/ 21 h 32"/>
                  <a:gd name="T8" fmla="*/ 1 w 34"/>
                  <a:gd name="T9" fmla="*/ 18 h 32"/>
                  <a:gd name="T10" fmla="*/ 23 w 34"/>
                  <a:gd name="T11" fmla="*/ 1 h 32"/>
                  <a:gd name="T12" fmla="*/ 26 w 34"/>
                  <a:gd name="T13" fmla="*/ 2 h 32"/>
                  <a:gd name="T14" fmla="*/ 33 w 34"/>
                  <a:gd name="T15" fmla="*/ 11 h 32"/>
                  <a:gd name="T16" fmla="*/ 33 w 34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2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2"/>
                      <a:pt x="9" y="31"/>
                      <a:pt x="8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490">
                <a:extLst>
                  <a:ext uri="{FF2B5EF4-FFF2-40B4-BE49-F238E27FC236}">
                    <a16:creationId xmlns:a16="http://schemas.microsoft.com/office/drawing/2014/main" id="{0E5549F8-F970-4F47-AAF6-632987E02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4" y="2357"/>
                <a:ext cx="19" cy="17"/>
              </a:xfrm>
              <a:custGeom>
                <a:avLst/>
                <a:gdLst>
                  <a:gd name="T0" fmla="*/ 33 w 34"/>
                  <a:gd name="T1" fmla="*/ 13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4 w 34"/>
                  <a:gd name="T15" fmla="*/ 10 h 31"/>
                  <a:gd name="T16" fmla="*/ 33 w 34"/>
                  <a:gd name="T17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3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34" y="11"/>
                      <a:pt x="34" y="13"/>
                      <a:pt x="33" y="13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491">
                <a:extLst>
                  <a:ext uri="{FF2B5EF4-FFF2-40B4-BE49-F238E27FC236}">
                    <a16:creationId xmlns:a16="http://schemas.microsoft.com/office/drawing/2014/main" id="{0E1A9E02-6759-4F2D-A8D1-057EFE21D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4" y="2343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492">
                <a:extLst>
                  <a:ext uri="{FF2B5EF4-FFF2-40B4-BE49-F238E27FC236}">
                    <a16:creationId xmlns:a16="http://schemas.microsoft.com/office/drawing/2014/main" id="{BDA19D22-8617-4E29-89EC-0AC1F185FD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232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4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493">
                <a:extLst>
                  <a:ext uri="{FF2B5EF4-FFF2-40B4-BE49-F238E27FC236}">
                    <a16:creationId xmlns:a16="http://schemas.microsoft.com/office/drawing/2014/main" id="{9BC25345-D233-4999-A289-D8C5D2C41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2313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494">
                <a:extLst>
                  <a:ext uri="{FF2B5EF4-FFF2-40B4-BE49-F238E27FC236}">
                    <a16:creationId xmlns:a16="http://schemas.microsoft.com/office/drawing/2014/main" id="{61175883-ECDA-48C9-B066-2C8AE3CCF2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2" y="229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1 h 31"/>
                  <a:gd name="T8" fmla="*/ 1 w 34"/>
                  <a:gd name="T9" fmla="*/ 18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495">
                <a:extLst>
                  <a:ext uri="{FF2B5EF4-FFF2-40B4-BE49-F238E27FC236}">
                    <a16:creationId xmlns:a16="http://schemas.microsoft.com/office/drawing/2014/main" id="{C6AB355F-B11F-4464-B555-B26BF17B61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1" y="2284"/>
                <a:ext cx="19" cy="17"/>
              </a:xfrm>
              <a:custGeom>
                <a:avLst/>
                <a:gdLst>
                  <a:gd name="T0" fmla="*/ 33 w 35"/>
                  <a:gd name="T1" fmla="*/ 14 h 32"/>
                  <a:gd name="T2" fmla="*/ 12 w 35"/>
                  <a:gd name="T3" fmla="*/ 31 h 32"/>
                  <a:gd name="T4" fmla="*/ 9 w 35"/>
                  <a:gd name="T5" fmla="*/ 31 h 32"/>
                  <a:gd name="T6" fmla="*/ 1 w 35"/>
                  <a:gd name="T7" fmla="*/ 21 h 32"/>
                  <a:gd name="T8" fmla="*/ 2 w 35"/>
                  <a:gd name="T9" fmla="*/ 18 h 32"/>
                  <a:gd name="T10" fmla="*/ 23 w 35"/>
                  <a:gd name="T11" fmla="*/ 1 h 32"/>
                  <a:gd name="T12" fmla="*/ 26 w 35"/>
                  <a:gd name="T13" fmla="*/ 2 h 32"/>
                  <a:gd name="T14" fmla="*/ 34 w 35"/>
                  <a:gd name="T15" fmla="*/ 11 h 32"/>
                  <a:gd name="T16" fmla="*/ 33 w 35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2">
                    <a:moveTo>
                      <a:pt x="33" y="14"/>
                    </a:moveTo>
                    <a:cubicBezTo>
                      <a:pt x="12" y="31"/>
                      <a:pt x="12" y="31"/>
                      <a:pt x="12" y="31"/>
                    </a:cubicBezTo>
                    <a:cubicBezTo>
                      <a:pt x="11" y="32"/>
                      <a:pt x="9" y="31"/>
                      <a:pt x="9" y="31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9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496">
                <a:extLst>
                  <a:ext uri="{FF2B5EF4-FFF2-40B4-BE49-F238E27FC236}">
                    <a16:creationId xmlns:a16="http://schemas.microsoft.com/office/drawing/2014/main" id="{9FD5B91F-8A30-4D75-BDCF-4DACA62B3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1" y="2270"/>
                <a:ext cx="18" cy="16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497">
                <a:extLst>
                  <a:ext uri="{FF2B5EF4-FFF2-40B4-BE49-F238E27FC236}">
                    <a16:creationId xmlns:a16="http://schemas.microsoft.com/office/drawing/2014/main" id="{5A292DBB-296B-4ECF-A134-A8E328B6B3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7" y="2407"/>
                <a:ext cx="130" cy="102"/>
              </a:xfrm>
              <a:custGeom>
                <a:avLst/>
                <a:gdLst>
                  <a:gd name="T0" fmla="*/ 237 w 239"/>
                  <a:gd name="T1" fmla="*/ 18 h 187"/>
                  <a:gd name="T2" fmla="*/ 14 w 239"/>
                  <a:gd name="T3" fmla="*/ 187 h 187"/>
                  <a:gd name="T4" fmla="*/ 11 w 239"/>
                  <a:gd name="T5" fmla="*/ 186 h 187"/>
                  <a:gd name="T6" fmla="*/ 1 w 239"/>
                  <a:gd name="T7" fmla="*/ 172 h 187"/>
                  <a:gd name="T8" fmla="*/ 1 w 239"/>
                  <a:gd name="T9" fmla="*/ 169 h 187"/>
                  <a:gd name="T10" fmla="*/ 224 w 239"/>
                  <a:gd name="T11" fmla="*/ 1 h 187"/>
                  <a:gd name="T12" fmla="*/ 227 w 239"/>
                  <a:gd name="T13" fmla="*/ 1 h 187"/>
                  <a:gd name="T14" fmla="*/ 238 w 239"/>
                  <a:gd name="T15" fmla="*/ 15 h 187"/>
                  <a:gd name="T16" fmla="*/ 237 w 239"/>
                  <a:gd name="T17" fmla="*/ 18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9" h="187">
                    <a:moveTo>
                      <a:pt x="237" y="18"/>
                    </a:moveTo>
                    <a:cubicBezTo>
                      <a:pt x="14" y="187"/>
                      <a:pt x="14" y="187"/>
                      <a:pt x="14" y="187"/>
                    </a:cubicBezTo>
                    <a:cubicBezTo>
                      <a:pt x="13" y="187"/>
                      <a:pt x="12" y="187"/>
                      <a:pt x="11" y="186"/>
                    </a:cubicBezTo>
                    <a:cubicBezTo>
                      <a:pt x="1" y="172"/>
                      <a:pt x="1" y="172"/>
                      <a:pt x="1" y="172"/>
                    </a:cubicBezTo>
                    <a:cubicBezTo>
                      <a:pt x="0" y="172"/>
                      <a:pt x="0" y="170"/>
                      <a:pt x="1" y="169"/>
                    </a:cubicBezTo>
                    <a:cubicBezTo>
                      <a:pt x="224" y="1"/>
                      <a:pt x="224" y="1"/>
                      <a:pt x="224" y="1"/>
                    </a:cubicBezTo>
                    <a:cubicBezTo>
                      <a:pt x="225" y="0"/>
                      <a:pt x="227" y="0"/>
                      <a:pt x="227" y="1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9" y="16"/>
                      <a:pt x="238" y="17"/>
                      <a:pt x="237" y="18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498">
                <a:extLst>
                  <a:ext uri="{FF2B5EF4-FFF2-40B4-BE49-F238E27FC236}">
                    <a16:creationId xmlns:a16="http://schemas.microsoft.com/office/drawing/2014/main" id="{1E3D1821-8A29-4535-BD29-514176A27E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9" y="245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499">
                <a:extLst>
                  <a:ext uri="{FF2B5EF4-FFF2-40B4-BE49-F238E27FC236}">
                    <a16:creationId xmlns:a16="http://schemas.microsoft.com/office/drawing/2014/main" id="{CB282EC0-17B8-470E-91A5-09209140FA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8" y="244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500">
                <a:extLst>
                  <a:ext uri="{FF2B5EF4-FFF2-40B4-BE49-F238E27FC236}">
                    <a16:creationId xmlns:a16="http://schemas.microsoft.com/office/drawing/2014/main" id="{5BB13A33-D987-4164-A63B-29BA31DE9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8" y="242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501">
                <a:extLst>
                  <a:ext uri="{FF2B5EF4-FFF2-40B4-BE49-F238E27FC236}">
                    <a16:creationId xmlns:a16="http://schemas.microsoft.com/office/drawing/2014/main" id="{981703FC-41DE-4399-BBCA-3670431F6F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7" y="241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502">
                <a:extLst>
                  <a:ext uri="{FF2B5EF4-FFF2-40B4-BE49-F238E27FC236}">
                    <a16:creationId xmlns:a16="http://schemas.microsoft.com/office/drawing/2014/main" id="{A2FF5D8C-B542-4609-9A7E-70728CC82D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7" y="2396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503">
                <a:extLst>
                  <a:ext uri="{FF2B5EF4-FFF2-40B4-BE49-F238E27FC236}">
                    <a16:creationId xmlns:a16="http://schemas.microsoft.com/office/drawing/2014/main" id="{58600792-0054-4E5C-A9A6-2722C224C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6" y="2381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504">
                <a:extLst>
                  <a:ext uri="{FF2B5EF4-FFF2-40B4-BE49-F238E27FC236}">
                    <a16:creationId xmlns:a16="http://schemas.microsoft.com/office/drawing/2014/main" id="{D30A34DC-1E2A-4AF8-91A4-4AFA246AD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5" y="2366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505">
                <a:extLst>
                  <a:ext uri="{FF2B5EF4-FFF2-40B4-BE49-F238E27FC236}">
                    <a16:creationId xmlns:a16="http://schemas.microsoft.com/office/drawing/2014/main" id="{B0CA9F79-537B-4ACB-A3DA-4D02B28C1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235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506">
                <a:extLst>
                  <a:ext uri="{FF2B5EF4-FFF2-40B4-BE49-F238E27FC236}">
                    <a16:creationId xmlns:a16="http://schemas.microsoft.com/office/drawing/2014/main" id="{63270E50-EC83-4105-9B6F-C16C66324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4" y="233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507">
                <a:extLst>
                  <a:ext uri="{FF2B5EF4-FFF2-40B4-BE49-F238E27FC236}">
                    <a16:creationId xmlns:a16="http://schemas.microsoft.com/office/drawing/2014/main" id="{F819293F-35DA-4F52-9C37-E83D03F6F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4" y="2323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508">
                <a:extLst>
                  <a:ext uri="{FF2B5EF4-FFF2-40B4-BE49-F238E27FC236}">
                    <a16:creationId xmlns:a16="http://schemas.microsoft.com/office/drawing/2014/main" id="{6C6267B3-D53A-4054-BBBE-C992E830E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0" y="2279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509">
                <a:extLst>
                  <a:ext uri="{FF2B5EF4-FFF2-40B4-BE49-F238E27FC236}">
                    <a16:creationId xmlns:a16="http://schemas.microsoft.com/office/drawing/2014/main" id="{B035BFA6-3278-40F6-A55C-3F51C147F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0" y="2265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510">
                <a:extLst>
                  <a:ext uri="{FF2B5EF4-FFF2-40B4-BE49-F238E27FC236}">
                    <a16:creationId xmlns:a16="http://schemas.microsoft.com/office/drawing/2014/main" id="{010D9C33-F8FF-4801-BAC9-9CF602BAC1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9" y="225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511">
                <a:extLst>
                  <a:ext uri="{FF2B5EF4-FFF2-40B4-BE49-F238E27FC236}">
                    <a16:creationId xmlns:a16="http://schemas.microsoft.com/office/drawing/2014/main" id="{59B7C4A9-D2A8-4EF6-ABB3-C622EF890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230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512">
                <a:extLst>
                  <a:ext uri="{FF2B5EF4-FFF2-40B4-BE49-F238E27FC236}">
                    <a16:creationId xmlns:a16="http://schemas.microsoft.com/office/drawing/2014/main" id="{75A5B207-F356-4E05-8955-D6977037DF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5" y="228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513">
                <a:extLst>
                  <a:ext uri="{FF2B5EF4-FFF2-40B4-BE49-F238E27FC236}">
                    <a16:creationId xmlns:a16="http://schemas.microsoft.com/office/drawing/2014/main" id="{74CD231D-CA52-415A-ADBA-C283072ED2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4" y="2270"/>
                <a:ext cx="25" cy="24"/>
              </a:xfrm>
              <a:custGeom>
                <a:avLst/>
                <a:gdLst>
                  <a:gd name="T0" fmla="*/ 43 w 45"/>
                  <a:gd name="T1" fmla="*/ 27 h 44"/>
                  <a:gd name="T2" fmla="*/ 22 w 45"/>
                  <a:gd name="T3" fmla="*/ 44 h 44"/>
                  <a:gd name="T4" fmla="*/ 19 w 45"/>
                  <a:gd name="T5" fmla="*/ 43 h 44"/>
                  <a:gd name="T6" fmla="*/ 1 w 45"/>
                  <a:gd name="T7" fmla="*/ 20 h 44"/>
                  <a:gd name="T8" fmla="*/ 2 w 45"/>
                  <a:gd name="T9" fmla="*/ 17 h 44"/>
                  <a:gd name="T10" fmla="*/ 24 w 45"/>
                  <a:gd name="T11" fmla="*/ 1 h 44"/>
                  <a:gd name="T12" fmla="*/ 27 w 45"/>
                  <a:gd name="T13" fmla="*/ 1 h 44"/>
                  <a:gd name="T14" fmla="*/ 44 w 45"/>
                  <a:gd name="T15" fmla="*/ 24 h 44"/>
                  <a:gd name="T16" fmla="*/ 43 w 45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4">
                    <a:moveTo>
                      <a:pt x="43" y="27"/>
                    </a:moveTo>
                    <a:cubicBezTo>
                      <a:pt x="22" y="44"/>
                      <a:pt x="22" y="44"/>
                      <a:pt x="22" y="44"/>
                    </a:cubicBezTo>
                    <a:cubicBezTo>
                      <a:pt x="21" y="44"/>
                      <a:pt x="19" y="44"/>
                      <a:pt x="19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1" y="18"/>
                      <a:pt x="2" y="17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514">
                <a:extLst>
                  <a:ext uri="{FF2B5EF4-FFF2-40B4-BE49-F238E27FC236}">
                    <a16:creationId xmlns:a16="http://schemas.microsoft.com/office/drawing/2014/main" id="{B4D0927E-FF76-4381-8F9A-36C8D34D8C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1" y="2320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515">
                <a:extLst>
                  <a:ext uri="{FF2B5EF4-FFF2-40B4-BE49-F238E27FC236}">
                    <a16:creationId xmlns:a16="http://schemas.microsoft.com/office/drawing/2014/main" id="{6307E5C2-3AFC-4492-95F8-0986C64DC9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0" y="230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516">
                <a:extLst>
                  <a:ext uri="{FF2B5EF4-FFF2-40B4-BE49-F238E27FC236}">
                    <a16:creationId xmlns:a16="http://schemas.microsoft.com/office/drawing/2014/main" id="{C781957B-4280-4F56-8AE2-1610F2F77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9" y="229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517">
                <a:extLst>
                  <a:ext uri="{FF2B5EF4-FFF2-40B4-BE49-F238E27FC236}">
                    <a16:creationId xmlns:a16="http://schemas.microsoft.com/office/drawing/2014/main" id="{2CDBB2D5-4952-426D-88C6-EA603E618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0" y="2494"/>
                <a:ext cx="24" cy="25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518">
                <a:extLst>
                  <a:ext uri="{FF2B5EF4-FFF2-40B4-BE49-F238E27FC236}">
                    <a16:creationId xmlns:a16="http://schemas.microsoft.com/office/drawing/2014/main" id="{7869C014-92FB-40C9-B701-B426E3E85E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9" y="248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519">
                <a:extLst>
                  <a:ext uri="{FF2B5EF4-FFF2-40B4-BE49-F238E27FC236}">
                    <a16:creationId xmlns:a16="http://schemas.microsoft.com/office/drawing/2014/main" id="{0953934B-FD9D-454F-A027-FF4C80338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8" y="2465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1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520">
                <a:extLst>
                  <a:ext uri="{FF2B5EF4-FFF2-40B4-BE49-F238E27FC236}">
                    <a16:creationId xmlns:a16="http://schemas.microsoft.com/office/drawing/2014/main" id="{11289C28-335F-4C3D-8467-CF68F0B433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8" y="2450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521">
                <a:extLst>
                  <a:ext uri="{FF2B5EF4-FFF2-40B4-BE49-F238E27FC236}">
                    <a16:creationId xmlns:a16="http://schemas.microsoft.com/office/drawing/2014/main" id="{591DB9BA-5B21-48BF-A319-CF24A2081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7" y="243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522">
                <a:extLst>
                  <a:ext uri="{FF2B5EF4-FFF2-40B4-BE49-F238E27FC236}">
                    <a16:creationId xmlns:a16="http://schemas.microsoft.com/office/drawing/2014/main" id="{01C91A6B-858F-43D6-8080-3FC0FEA4F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6" y="2421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523">
                <a:extLst>
                  <a:ext uri="{FF2B5EF4-FFF2-40B4-BE49-F238E27FC236}">
                    <a16:creationId xmlns:a16="http://schemas.microsoft.com/office/drawing/2014/main" id="{E90A2A1C-B981-4614-8CD2-DCF1803EAD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6" y="240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524">
                <a:extLst>
                  <a:ext uri="{FF2B5EF4-FFF2-40B4-BE49-F238E27FC236}">
                    <a16:creationId xmlns:a16="http://schemas.microsoft.com/office/drawing/2014/main" id="{47C80186-DFA5-458B-86D5-2C2D86AB2F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5" y="2392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525">
                <a:extLst>
                  <a:ext uri="{FF2B5EF4-FFF2-40B4-BE49-F238E27FC236}">
                    <a16:creationId xmlns:a16="http://schemas.microsoft.com/office/drawing/2014/main" id="{48D9EBA5-2329-4945-9540-E68A52CFCC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4" y="2377"/>
                <a:ext cx="25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526">
                <a:extLst>
                  <a:ext uri="{FF2B5EF4-FFF2-40B4-BE49-F238E27FC236}">
                    <a16:creationId xmlns:a16="http://schemas.microsoft.com/office/drawing/2014/main" id="{6D0CFF16-A71B-41BF-9B8B-55947D38A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" y="2362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527">
                <a:extLst>
                  <a:ext uri="{FF2B5EF4-FFF2-40B4-BE49-F238E27FC236}">
                    <a16:creationId xmlns:a16="http://schemas.microsoft.com/office/drawing/2014/main" id="{CC335629-A293-4B3D-A78C-87D54024C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4" y="248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528">
                <a:extLst>
                  <a:ext uri="{FF2B5EF4-FFF2-40B4-BE49-F238E27FC236}">
                    <a16:creationId xmlns:a16="http://schemas.microsoft.com/office/drawing/2014/main" id="{EC46FF70-8DB6-4F4A-A660-68F11B2EC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4" y="246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1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529">
                <a:extLst>
                  <a:ext uri="{FF2B5EF4-FFF2-40B4-BE49-F238E27FC236}">
                    <a16:creationId xmlns:a16="http://schemas.microsoft.com/office/drawing/2014/main" id="{9E8BF80A-0B56-436C-9337-18E1BEB383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3" y="245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530">
                <a:extLst>
                  <a:ext uri="{FF2B5EF4-FFF2-40B4-BE49-F238E27FC236}">
                    <a16:creationId xmlns:a16="http://schemas.microsoft.com/office/drawing/2014/main" id="{72F17F5B-7B3C-45B3-BDD2-0D1F337E4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2" y="243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531">
                <a:extLst>
                  <a:ext uri="{FF2B5EF4-FFF2-40B4-BE49-F238E27FC236}">
                    <a16:creationId xmlns:a16="http://schemas.microsoft.com/office/drawing/2014/main" id="{FBCAE7E7-4C34-4349-A244-C5D4FF730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2" y="2423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532">
                <a:extLst>
                  <a:ext uri="{FF2B5EF4-FFF2-40B4-BE49-F238E27FC236}">
                    <a16:creationId xmlns:a16="http://schemas.microsoft.com/office/drawing/2014/main" id="{2FB73896-2048-40F7-905B-FC9CF1117F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" y="2408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533">
                <a:extLst>
                  <a:ext uri="{FF2B5EF4-FFF2-40B4-BE49-F238E27FC236}">
                    <a16:creationId xmlns:a16="http://schemas.microsoft.com/office/drawing/2014/main" id="{5B6108C1-7C25-497D-9879-8FD11A232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1" y="2394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534">
                <a:extLst>
                  <a:ext uri="{FF2B5EF4-FFF2-40B4-BE49-F238E27FC236}">
                    <a16:creationId xmlns:a16="http://schemas.microsoft.com/office/drawing/2014/main" id="{AE3B850E-9E63-4287-AE9C-1756B5FA7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0" y="237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535">
                <a:extLst>
                  <a:ext uri="{FF2B5EF4-FFF2-40B4-BE49-F238E27FC236}">
                    <a16:creationId xmlns:a16="http://schemas.microsoft.com/office/drawing/2014/main" id="{459645BC-DA68-44F9-932F-4A9FDA15F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9" y="23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536">
                <a:extLst>
                  <a:ext uri="{FF2B5EF4-FFF2-40B4-BE49-F238E27FC236}">
                    <a16:creationId xmlns:a16="http://schemas.microsoft.com/office/drawing/2014/main" id="{B772567E-FBC8-420E-BAE1-8E6BE4D47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9" y="23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537">
                <a:extLst>
                  <a:ext uri="{FF2B5EF4-FFF2-40B4-BE49-F238E27FC236}">
                    <a16:creationId xmlns:a16="http://schemas.microsoft.com/office/drawing/2014/main" id="{64FF99C4-D0D1-4B7B-B2AC-026A45504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8" y="2335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538">
                <a:extLst>
                  <a:ext uri="{FF2B5EF4-FFF2-40B4-BE49-F238E27FC236}">
                    <a16:creationId xmlns:a16="http://schemas.microsoft.com/office/drawing/2014/main" id="{2BBEE087-504A-4EFE-B80D-9FCFDB9501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0" y="2468"/>
                <a:ext cx="34" cy="32"/>
              </a:xfrm>
              <a:custGeom>
                <a:avLst/>
                <a:gdLst>
                  <a:gd name="T0" fmla="*/ 61 w 63"/>
                  <a:gd name="T1" fmla="*/ 27 h 59"/>
                  <a:gd name="T2" fmla="*/ 21 w 63"/>
                  <a:gd name="T3" fmla="*/ 58 h 59"/>
                  <a:gd name="T4" fmla="*/ 18 w 63"/>
                  <a:gd name="T5" fmla="*/ 58 h 59"/>
                  <a:gd name="T6" fmla="*/ 1 w 63"/>
                  <a:gd name="T7" fmla="*/ 35 h 59"/>
                  <a:gd name="T8" fmla="*/ 1 w 63"/>
                  <a:gd name="T9" fmla="*/ 32 h 59"/>
                  <a:gd name="T10" fmla="*/ 42 w 63"/>
                  <a:gd name="T11" fmla="*/ 1 h 59"/>
                  <a:gd name="T12" fmla="*/ 45 w 63"/>
                  <a:gd name="T13" fmla="*/ 2 h 59"/>
                  <a:gd name="T14" fmla="*/ 62 w 63"/>
                  <a:gd name="T15" fmla="*/ 24 h 59"/>
                  <a:gd name="T16" fmla="*/ 61 w 63"/>
                  <a:gd name="T17" fmla="*/ 27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9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9"/>
                      <a:pt x="19" y="59"/>
                      <a:pt x="18" y="58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0" y="34"/>
                      <a:pt x="0" y="32"/>
                      <a:pt x="1" y="32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2" y="0"/>
                      <a:pt x="44" y="1"/>
                      <a:pt x="45" y="2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7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539">
                <a:extLst>
                  <a:ext uri="{FF2B5EF4-FFF2-40B4-BE49-F238E27FC236}">
                    <a16:creationId xmlns:a16="http://schemas.microsoft.com/office/drawing/2014/main" id="{18AF95A4-D1F9-46ED-A4D9-247F9DAE2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3" y="2300"/>
                <a:ext cx="34" cy="32"/>
              </a:xfrm>
              <a:custGeom>
                <a:avLst/>
                <a:gdLst>
                  <a:gd name="T0" fmla="*/ 62 w 63"/>
                  <a:gd name="T1" fmla="*/ 27 h 58"/>
                  <a:gd name="T2" fmla="*/ 21 w 63"/>
                  <a:gd name="T3" fmla="*/ 58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1 h 58"/>
                  <a:gd name="T12" fmla="*/ 45 w 63"/>
                  <a:gd name="T13" fmla="*/ 1 h 58"/>
                  <a:gd name="T14" fmla="*/ 62 w 63"/>
                  <a:gd name="T15" fmla="*/ 24 h 58"/>
                  <a:gd name="T16" fmla="*/ 62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2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3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540">
                <a:extLst>
                  <a:ext uri="{FF2B5EF4-FFF2-40B4-BE49-F238E27FC236}">
                    <a16:creationId xmlns:a16="http://schemas.microsoft.com/office/drawing/2014/main" id="{561CC3DF-7059-4DBB-ADFA-EE8F50B33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5" y="2496"/>
                <a:ext cx="25" cy="25"/>
              </a:xfrm>
              <a:custGeom>
                <a:avLst/>
                <a:gdLst>
                  <a:gd name="T0" fmla="*/ 44 w 45"/>
                  <a:gd name="T1" fmla="*/ 27 h 45"/>
                  <a:gd name="T2" fmla="*/ 21 w 45"/>
                  <a:gd name="T3" fmla="*/ 44 h 45"/>
                  <a:gd name="T4" fmla="*/ 18 w 45"/>
                  <a:gd name="T5" fmla="*/ 43 h 45"/>
                  <a:gd name="T6" fmla="*/ 1 w 45"/>
                  <a:gd name="T7" fmla="*/ 21 h 45"/>
                  <a:gd name="T8" fmla="*/ 1 w 45"/>
                  <a:gd name="T9" fmla="*/ 18 h 45"/>
                  <a:gd name="T10" fmla="*/ 24 w 45"/>
                  <a:gd name="T11" fmla="*/ 0 h 45"/>
                  <a:gd name="T12" fmla="*/ 27 w 45"/>
                  <a:gd name="T13" fmla="*/ 1 h 45"/>
                  <a:gd name="T14" fmla="*/ 44 w 45"/>
                  <a:gd name="T15" fmla="*/ 24 h 45"/>
                  <a:gd name="T16" fmla="*/ 44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4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5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5" y="26"/>
                      <a:pt x="44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541">
                <a:extLst>
                  <a:ext uri="{FF2B5EF4-FFF2-40B4-BE49-F238E27FC236}">
                    <a16:creationId xmlns:a16="http://schemas.microsoft.com/office/drawing/2014/main" id="{300CAD8E-3CA3-4973-B7E0-A49E421477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8" y="2320"/>
                <a:ext cx="24" cy="25"/>
              </a:xfrm>
              <a:custGeom>
                <a:avLst/>
                <a:gdLst>
                  <a:gd name="T0" fmla="*/ 43 w 45"/>
                  <a:gd name="T1" fmla="*/ 27 h 45"/>
                  <a:gd name="T2" fmla="*/ 21 w 45"/>
                  <a:gd name="T3" fmla="*/ 44 h 45"/>
                  <a:gd name="T4" fmla="*/ 18 w 45"/>
                  <a:gd name="T5" fmla="*/ 44 h 45"/>
                  <a:gd name="T6" fmla="*/ 0 w 45"/>
                  <a:gd name="T7" fmla="*/ 21 h 45"/>
                  <a:gd name="T8" fmla="*/ 1 w 45"/>
                  <a:gd name="T9" fmla="*/ 18 h 45"/>
                  <a:gd name="T10" fmla="*/ 23 w 45"/>
                  <a:gd name="T11" fmla="*/ 1 h 45"/>
                  <a:gd name="T12" fmla="*/ 26 w 45"/>
                  <a:gd name="T13" fmla="*/ 1 h 45"/>
                  <a:gd name="T14" fmla="*/ 44 w 45"/>
                  <a:gd name="T15" fmla="*/ 24 h 45"/>
                  <a:gd name="T16" fmla="*/ 43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542">
                <a:extLst>
                  <a:ext uri="{FF2B5EF4-FFF2-40B4-BE49-F238E27FC236}">
                    <a16:creationId xmlns:a16="http://schemas.microsoft.com/office/drawing/2014/main" id="{F7D20588-F415-41DF-904E-397147B324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" y="2509"/>
                <a:ext cx="33" cy="31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8 h 58"/>
                  <a:gd name="T4" fmla="*/ 18 w 62"/>
                  <a:gd name="T5" fmla="*/ 57 h 58"/>
                  <a:gd name="T6" fmla="*/ 0 w 62"/>
                  <a:gd name="T7" fmla="*/ 34 h 58"/>
                  <a:gd name="T8" fmla="*/ 1 w 62"/>
                  <a:gd name="T9" fmla="*/ 31 h 58"/>
                  <a:gd name="T10" fmla="*/ 41 w 62"/>
                  <a:gd name="T11" fmla="*/ 1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8" y="58"/>
                      <a:pt x="18" y="57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543">
                <a:extLst>
                  <a:ext uri="{FF2B5EF4-FFF2-40B4-BE49-F238E27FC236}">
                    <a16:creationId xmlns:a16="http://schemas.microsoft.com/office/drawing/2014/main" id="{2D73A50B-5CF6-4A79-AB8E-FE340E18A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3" y="2341"/>
                <a:ext cx="34" cy="31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7 h 58"/>
                  <a:gd name="T4" fmla="*/ 18 w 62"/>
                  <a:gd name="T5" fmla="*/ 57 h 58"/>
                  <a:gd name="T6" fmla="*/ 1 w 62"/>
                  <a:gd name="T7" fmla="*/ 34 h 58"/>
                  <a:gd name="T8" fmla="*/ 1 w 62"/>
                  <a:gd name="T9" fmla="*/ 31 h 58"/>
                  <a:gd name="T10" fmla="*/ 41 w 62"/>
                  <a:gd name="T11" fmla="*/ 0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544">
                <a:extLst>
                  <a:ext uri="{FF2B5EF4-FFF2-40B4-BE49-F238E27FC236}">
                    <a16:creationId xmlns:a16="http://schemas.microsoft.com/office/drawing/2014/main" id="{31749532-E181-4F8F-9BBC-905634E31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5" y="2415"/>
                <a:ext cx="19" cy="18"/>
              </a:xfrm>
              <a:custGeom>
                <a:avLst/>
                <a:gdLst>
                  <a:gd name="T0" fmla="*/ 33 w 34"/>
                  <a:gd name="T1" fmla="*/ 14 h 32"/>
                  <a:gd name="T2" fmla="*/ 11 w 34"/>
                  <a:gd name="T3" fmla="*/ 31 h 32"/>
                  <a:gd name="T4" fmla="*/ 8 w 34"/>
                  <a:gd name="T5" fmla="*/ 31 h 32"/>
                  <a:gd name="T6" fmla="*/ 0 w 34"/>
                  <a:gd name="T7" fmla="*/ 21 h 32"/>
                  <a:gd name="T8" fmla="*/ 1 w 34"/>
                  <a:gd name="T9" fmla="*/ 18 h 32"/>
                  <a:gd name="T10" fmla="*/ 23 w 34"/>
                  <a:gd name="T11" fmla="*/ 1 h 32"/>
                  <a:gd name="T12" fmla="*/ 26 w 34"/>
                  <a:gd name="T13" fmla="*/ 2 h 32"/>
                  <a:gd name="T14" fmla="*/ 33 w 34"/>
                  <a:gd name="T15" fmla="*/ 11 h 32"/>
                  <a:gd name="T16" fmla="*/ 33 w 34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2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2"/>
                      <a:pt x="8" y="31"/>
                      <a:pt x="8" y="3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545">
                <a:extLst>
                  <a:ext uri="{FF2B5EF4-FFF2-40B4-BE49-F238E27FC236}">
                    <a16:creationId xmlns:a16="http://schemas.microsoft.com/office/drawing/2014/main" id="{D192B3A2-3BA2-4280-8C11-45485EDB6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" y="2401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546">
                <a:extLst>
                  <a:ext uri="{FF2B5EF4-FFF2-40B4-BE49-F238E27FC236}">
                    <a16:creationId xmlns:a16="http://schemas.microsoft.com/office/drawing/2014/main" id="{D1FE8AB4-3DEE-4950-BE7A-AD2CC12B09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4" y="2386"/>
                <a:ext cx="19" cy="17"/>
              </a:xfrm>
              <a:custGeom>
                <a:avLst/>
                <a:gdLst>
                  <a:gd name="T0" fmla="*/ 32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2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2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3" y="13"/>
                      <a:pt x="32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547">
                <a:extLst>
                  <a:ext uri="{FF2B5EF4-FFF2-40B4-BE49-F238E27FC236}">
                    <a16:creationId xmlns:a16="http://schemas.microsoft.com/office/drawing/2014/main" id="{FB47BC66-84DB-4A03-92DB-7A0851320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3" y="2372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548">
                <a:extLst>
                  <a:ext uri="{FF2B5EF4-FFF2-40B4-BE49-F238E27FC236}">
                    <a16:creationId xmlns:a16="http://schemas.microsoft.com/office/drawing/2014/main" id="{06878301-4F65-4E0F-ADD0-17B8D6C4B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3" y="2357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4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549">
                <a:extLst>
                  <a:ext uri="{FF2B5EF4-FFF2-40B4-BE49-F238E27FC236}">
                    <a16:creationId xmlns:a16="http://schemas.microsoft.com/office/drawing/2014/main" id="{CE0BCD4A-36B0-4954-926B-6B5CDA6CA2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" y="2342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0 w 34"/>
                  <a:gd name="T7" fmla="*/ 21 h 31"/>
                  <a:gd name="T8" fmla="*/ 1 w 34"/>
                  <a:gd name="T9" fmla="*/ 18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550">
                <a:extLst>
                  <a:ext uri="{FF2B5EF4-FFF2-40B4-BE49-F238E27FC236}">
                    <a16:creationId xmlns:a16="http://schemas.microsoft.com/office/drawing/2014/main" id="{7E2F856C-7573-42F0-AD91-55F4D3E2C1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1" y="2328"/>
                <a:ext cx="19" cy="17"/>
              </a:xfrm>
              <a:custGeom>
                <a:avLst/>
                <a:gdLst>
                  <a:gd name="T0" fmla="*/ 33 w 34"/>
                  <a:gd name="T1" fmla="*/ 13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4 w 34"/>
                  <a:gd name="T15" fmla="*/ 10 h 31"/>
                  <a:gd name="T16" fmla="*/ 33 w 34"/>
                  <a:gd name="T17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3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0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34" y="11"/>
                      <a:pt x="34" y="13"/>
                      <a:pt x="33" y="13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551">
                <a:extLst>
                  <a:ext uri="{FF2B5EF4-FFF2-40B4-BE49-F238E27FC236}">
                    <a16:creationId xmlns:a16="http://schemas.microsoft.com/office/drawing/2014/main" id="{BDEEF76D-6F0F-4D9E-BCD0-550C2C327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1" y="2313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552">
                <a:extLst>
                  <a:ext uri="{FF2B5EF4-FFF2-40B4-BE49-F238E27FC236}">
                    <a16:creationId xmlns:a16="http://schemas.microsoft.com/office/drawing/2014/main" id="{C76D42C8-B9E7-4623-BB60-F99C670A2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0" y="229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553">
                <a:extLst>
                  <a:ext uri="{FF2B5EF4-FFF2-40B4-BE49-F238E27FC236}">
                    <a16:creationId xmlns:a16="http://schemas.microsoft.com/office/drawing/2014/main" id="{57863703-4CCF-4B4F-9757-B79E44645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" y="2284"/>
                <a:ext cx="19" cy="17"/>
              </a:xfrm>
              <a:custGeom>
                <a:avLst/>
                <a:gdLst>
                  <a:gd name="T0" fmla="*/ 33 w 35"/>
                  <a:gd name="T1" fmla="*/ 14 h 31"/>
                  <a:gd name="T2" fmla="*/ 12 w 35"/>
                  <a:gd name="T3" fmla="*/ 30 h 31"/>
                  <a:gd name="T4" fmla="*/ 9 w 35"/>
                  <a:gd name="T5" fmla="*/ 30 h 31"/>
                  <a:gd name="T6" fmla="*/ 1 w 35"/>
                  <a:gd name="T7" fmla="*/ 20 h 31"/>
                  <a:gd name="T8" fmla="*/ 2 w 35"/>
                  <a:gd name="T9" fmla="*/ 17 h 31"/>
                  <a:gd name="T10" fmla="*/ 23 w 35"/>
                  <a:gd name="T11" fmla="*/ 1 h 31"/>
                  <a:gd name="T12" fmla="*/ 26 w 35"/>
                  <a:gd name="T13" fmla="*/ 1 h 31"/>
                  <a:gd name="T14" fmla="*/ 34 w 35"/>
                  <a:gd name="T15" fmla="*/ 11 h 31"/>
                  <a:gd name="T16" fmla="*/ 33 w 35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1">
                    <a:moveTo>
                      <a:pt x="33" y="14"/>
                    </a:moveTo>
                    <a:cubicBezTo>
                      <a:pt x="12" y="30"/>
                      <a:pt x="12" y="30"/>
                      <a:pt x="12" y="30"/>
                    </a:cubicBezTo>
                    <a:cubicBezTo>
                      <a:pt x="11" y="31"/>
                      <a:pt x="9" y="31"/>
                      <a:pt x="9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554">
                <a:extLst>
                  <a:ext uri="{FF2B5EF4-FFF2-40B4-BE49-F238E27FC236}">
                    <a16:creationId xmlns:a16="http://schemas.microsoft.com/office/drawing/2014/main" id="{1BAC271B-4331-4195-933B-0807D2A77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9" y="2269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555">
                <a:extLst>
                  <a:ext uri="{FF2B5EF4-FFF2-40B4-BE49-F238E27FC236}">
                    <a16:creationId xmlns:a16="http://schemas.microsoft.com/office/drawing/2014/main" id="{9E3BE345-E8A4-4DF4-83EF-29A57E2CB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" y="2407"/>
                <a:ext cx="131" cy="102"/>
              </a:xfrm>
              <a:custGeom>
                <a:avLst/>
                <a:gdLst>
                  <a:gd name="T0" fmla="*/ 237 w 239"/>
                  <a:gd name="T1" fmla="*/ 18 h 188"/>
                  <a:gd name="T2" fmla="*/ 14 w 239"/>
                  <a:gd name="T3" fmla="*/ 187 h 188"/>
                  <a:gd name="T4" fmla="*/ 11 w 239"/>
                  <a:gd name="T5" fmla="*/ 187 h 188"/>
                  <a:gd name="T6" fmla="*/ 1 w 239"/>
                  <a:gd name="T7" fmla="*/ 173 h 188"/>
                  <a:gd name="T8" fmla="*/ 1 w 239"/>
                  <a:gd name="T9" fmla="*/ 170 h 188"/>
                  <a:gd name="T10" fmla="*/ 224 w 239"/>
                  <a:gd name="T11" fmla="*/ 1 h 188"/>
                  <a:gd name="T12" fmla="*/ 227 w 239"/>
                  <a:gd name="T13" fmla="*/ 2 h 188"/>
                  <a:gd name="T14" fmla="*/ 238 w 239"/>
                  <a:gd name="T15" fmla="*/ 15 h 188"/>
                  <a:gd name="T16" fmla="*/ 237 w 239"/>
                  <a:gd name="T17" fmla="*/ 1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9" h="188">
                    <a:moveTo>
                      <a:pt x="237" y="18"/>
                    </a:moveTo>
                    <a:cubicBezTo>
                      <a:pt x="14" y="187"/>
                      <a:pt x="14" y="187"/>
                      <a:pt x="14" y="187"/>
                    </a:cubicBezTo>
                    <a:cubicBezTo>
                      <a:pt x="13" y="188"/>
                      <a:pt x="12" y="188"/>
                      <a:pt x="11" y="187"/>
                    </a:cubicBezTo>
                    <a:cubicBezTo>
                      <a:pt x="1" y="173"/>
                      <a:pt x="1" y="173"/>
                      <a:pt x="1" y="173"/>
                    </a:cubicBezTo>
                    <a:cubicBezTo>
                      <a:pt x="0" y="172"/>
                      <a:pt x="0" y="171"/>
                      <a:pt x="1" y="170"/>
                    </a:cubicBezTo>
                    <a:cubicBezTo>
                      <a:pt x="224" y="1"/>
                      <a:pt x="224" y="1"/>
                      <a:pt x="224" y="1"/>
                    </a:cubicBezTo>
                    <a:cubicBezTo>
                      <a:pt x="225" y="0"/>
                      <a:pt x="227" y="1"/>
                      <a:pt x="227" y="2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9" y="16"/>
                      <a:pt x="238" y="17"/>
                      <a:pt x="237" y="18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556">
                <a:extLst>
                  <a:ext uri="{FF2B5EF4-FFF2-40B4-BE49-F238E27FC236}">
                    <a16:creationId xmlns:a16="http://schemas.microsoft.com/office/drawing/2014/main" id="{316E814B-1C85-4AD3-B2D9-64350F6481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7" y="2454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557">
                <a:extLst>
                  <a:ext uri="{FF2B5EF4-FFF2-40B4-BE49-F238E27FC236}">
                    <a16:creationId xmlns:a16="http://schemas.microsoft.com/office/drawing/2014/main" id="{302CDC22-9F83-4578-BE8C-9F129BD40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43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558">
                <a:extLst>
                  <a:ext uri="{FF2B5EF4-FFF2-40B4-BE49-F238E27FC236}">
                    <a16:creationId xmlns:a16="http://schemas.microsoft.com/office/drawing/2014/main" id="{020789DA-9842-4918-BE57-E0C3B1FC6F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6" y="2425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Freeform 559">
                <a:extLst>
                  <a:ext uri="{FF2B5EF4-FFF2-40B4-BE49-F238E27FC236}">
                    <a16:creationId xmlns:a16="http://schemas.microsoft.com/office/drawing/2014/main" id="{5B081819-FA59-4AC6-9E40-A369E196D8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" y="241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Freeform 560">
                <a:extLst>
                  <a:ext uri="{FF2B5EF4-FFF2-40B4-BE49-F238E27FC236}">
                    <a16:creationId xmlns:a16="http://schemas.microsoft.com/office/drawing/2014/main" id="{433DBDB2-5094-417D-8E50-EE0C5D0BC0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" y="2396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561">
                <a:extLst>
                  <a:ext uri="{FF2B5EF4-FFF2-40B4-BE49-F238E27FC236}">
                    <a16:creationId xmlns:a16="http://schemas.microsoft.com/office/drawing/2014/main" id="{FAF954B3-FBB0-40FA-98BC-93320C228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4" y="238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562">
                <a:extLst>
                  <a:ext uri="{FF2B5EF4-FFF2-40B4-BE49-F238E27FC236}">
                    <a16:creationId xmlns:a16="http://schemas.microsoft.com/office/drawing/2014/main" id="{58C24E26-F294-49DF-B976-6A8EEFB49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236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563">
                <a:extLst>
                  <a:ext uri="{FF2B5EF4-FFF2-40B4-BE49-F238E27FC236}">
                    <a16:creationId xmlns:a16="http://schemas.microsoft.com/office/drawing/2014/main" id="{61D88D73-D038-4214-B4E0-0DF8ADF635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" y="235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564">
                <a:extLst>
                  <a:ext uri="{FF2B5EF4-FFF2-40B4-BE49-F238E27FC236}">
                    <a16:creationId xmlns:a16="http://schemas.microsoft.com/office/drawing/2014/main" id="{89DF9584-EA07-4E49-B2A9-84E23DF22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2" y="2337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565">
                <a:extLst>
                  <a:ext uri="{FF2B5EF4-FFF2-40B4-BE49-F238E27FC236}">
                    <a16:creationId xmlns:a16="http://schemas.microsoft.com/office/drawing/2014/main" id="{BCDCACA9-5549-4BB1-A051-7274986A9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2" y="2322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566">
                <a:extLst>
                  <a:ext uri="{FF2B5EF4-FFF2-40B4-BE49-F238E27FC236}">
                    <a16:creationId xmlns:a16="http://schemas.microsoft.com/office/drawing/2014/main" id="{DBE333B4-A466-4C0E-924C-7B18823F6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9" y="227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567">
                <a:extLst>
                  <a:ext uri="{FF2B5EF4-FFF2-40B4-BE49-F238E27FC236}">
                    <a16:creationId xmlns:a16="http://schemas.microsoft.com/office/drawing/2014/main" id="{A7D397F7-5467-4A7C-B10B-036B8F5848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8" y="22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568">
                <a:extLst>
                  <a:ext uri="{FF2B5EF4-FFF2-40B4-BE49-F238E27FC236}">
                    <a16:creationId xmlns:a16="http://schemas.microsoft.com/office/drawing/2014/main" id="{0C480BAD-71EC-41D8-9834-853D640544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8" y="22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569">
                <a:extLst>
                  <a:ext uri="{FF2B5EF4-FFF2-40B4-BE49-F238E27FC236}">
                    <a16:creationId xmlns:a16="http://schemas.microsoft.com/office/drawing/2014/main" id="{6706C141-F2AF-4C28-9B89-AE609FB7C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4" y="2299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570">
                <a:extLst>
                  <a:ext uri="{FF2B5EF4-FFF2-40B4-BE49-F238E27FC236}">
                    <a16:creationId xmlns:a16="http://schemas.microsoft.com/office/drawing/2014/main" id="{C37F81D3-D340-44E9-96E7-806463E8D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3" y="228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4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571">
                <a:extLst>
                  <a:ext uri="{FF2B5EF4-FFF2-40B4-BE49-F238E27FC236}">
                    <a16:creationId xmlns:a16="http://schemas.microsoft.com/office/drawing/2014/main" id="{3CCCA222-B227-432D-9D5C-19ADF7EF3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2270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572">
                <a:extLst>
                  <a:ext uri="{FF2B5EF4-FFF2-40B4-BE49-F238E27FC236}">
                    <a16:creationId xmlns:a16="http://schemas.microsoft.com/office/drawing/2014/main" id="{BD77A952-0C1E-4C65-9251-0E026364D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9" y="2319"/>
                <a:ext cx="25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573">
                <a:extLst>
                  <a:ext uri="{FF2B5EF4-FFF2-40B4-BE49-F238E27FC236}">
                    <a16:creationId xmlns:a16="http://schemas.microsoft.com/office/drawing/2014/main" id="{41DA7B2B-C81A-4ACF-BD23-45C1012EE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9" y="230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574">
                <a:extLst>
                  <a:ext uri="{FF2B5EF4-FFF2-40B4-BE49-F238E27FC236}">
                    <a16:creationId xmlns:a16="http://schemas.microsoft.com/office/drawing/2014/main" id="{914993AE-F037-432F-B036-CD2831814F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" y="229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575">
                <a:extLst>
                  <a:ext uri="{FF2B5EF4-FFF2-40B4-BE49-F238E27FC236}">
                    <a16:creationId xmlns:a16="http://schemas.microsoft.com/office/drawing/2014/main" id="{256C5CC4-3A51-45C9-BBAE-D457BEA09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8" y="249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576">
                <a:extLst>
                  <a:ext uri="{FF2B5EF4-FFF2-40B4-BE49-F238E27FC236}">
                    <a16:creationId xmlns:a16="http://schemas.microsoft.com/office/drawing/2014/main" id="{61A35434-F835-467D-B28F-08A928293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7" y="248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577">
                <a:extLst>
                  <a:ext uri="{FF2B5EF4-FFF2-40B4-BE49-F238E27FC236}">
                    <a16:creationId xmlns:a16="http://schemas.microsoft.com/office/drawing/2014/main" id="{1E4F6551-CDB6-471B-B32D-032D7F936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6" y="24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1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578">
                <a:extLst>
                  <a:ext uri="{FF2B5EF4-FFF2-40B4-BE49-F238E27FC236}">
                    <a16:creationId xmlns:a16="http://schemas.microsoft.com/office/drawing/2014/main" id="{27BC30B5-9C98-497F-AC0A-B902E35A7C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6" y="24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579">
                <a:extLst>
                  <a:ext uri="{FF2B5EF4-FFF2-40B4-BE49-F238E27FC236}">
                    <a16:creationId xmlns:a16="http://schemas.microsoft.com/office/drawing/2014/main" id="{E1E7D166-3B6D-451B-BAB9-258710ADD0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5" y="243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580">
                <a:extLst>
                  <a:ext uri="{FF2B5EF4-FFF2-40B4-BE49-F238E27FC236}">
                    <a16:creationId xmlns:a16="http://schemas.microsoft.com/office/drawing/2014/main" id="{9916FB65-B040-4773-B3C7-079B0426D2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421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581">
                <a:extLst>
                  <a:ext uri="{FF2B5EF4-FFF2-40B4-BE49-F238E27FC236}">
                    <a16:creationId xmlns:a16="http://schemas.microsoft.com/office/drawing/2014/main" id="{BDCC5EE5-46FF-4906-8E69-BD7955F969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2407"/>
                <a:ext cx="24" cy="24"/>
              </a:xfrm>
              <a:custGeom>
                <a:avLst/>
                <a:gdLst>
                  <a:gd name="T0" fmla="*/ 43 w 44"/>
                  <a:gd name="T1" fmla="*/ 26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3 h 44"/>
                  <a:gd name="T16" fmla="*/ 43 w 44"/>
                  <a:gd name="T17" fmla="*/ 2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6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3"/>
                      <a:pt x="43" y="23"/>
                      <a:pt x="43" y="23"/>
                    </a:cubicBezTo>
                    <a:cubicBezTo>
                      <a:pt x="44" y="24"/>
                      <a:pt x="44" y="26"/>
                      <a:pt x="43" y="26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582">
                <a:extLst>
                  <a:ext uri="{FF2B5EF4-FFF2-40B4-BE49-F238E27FC236}">
                    <a16:creationId xmlns:a16="http://schemas.microsoft.com/office/drawing/2014/main" id="{C06D843A-1491-4BF6-84E4-4EE8CA846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" y="2392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583">
                <a:extLst>
                  <a:ext uri="{FF2B5EF4-FFF2-40B4-BE49-F238E27FC236}">
                    <a16:creationId xmlns:a16="http://schemas.microsoft.com/office/drawing/2014/main" id="{8C16E6A0-1BA9-40F1-AB2E-019BBDD6A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3" y="237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584">
                <a:extLst>
                  <a:ext uri="{FF2B5EF4-FFF2-40B4-BE49-F238E27FC236}">
                    <a16:creationId xmlns:a16="http://schemas.microsoft.com/office/drawing/2014/main" id="{B366D578-3570-4ACC-B9EF-0F9ED2D84D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2" y="236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585">
                <a:extLst>
                  <a:ext uri="{FF2B5EF4-FFF2-40B4-BE49-F238E27FC236}">
                    <a16:creationId xmlns:a16="http://schemas.microsoft.com/office/drawing/2014/main" id="{9001624C-1FEE-4C90-8111-D18F5FA0A0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3" y="248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586">
                <a:extLst>
                  <a:ext uri="{FF2B5EF4-FFF2-40B4-BE49-F238E27FC236}">
                    <a16:creationId xmlns:a16="http://schemas.microsoft.com/office/drawing/2014/main" id="{D05E39D6-35F8-4A70-80C2-88413387C4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2" y="2467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1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587">
                <a:extLst>
                  <a:ext uri="{FF2B5EF4-FFF2-40B4-BE49-F238E27FC236}">
                    <a16:creationId xmlns:a16="http://schemas.microsoft.com/office/drawing/2014/main" id="{91E2C48B-F149-4548-8CED-A7BB7B7CB2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2" y="2452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588">
                <a:extLst>
                  <a:ext uri="{FF2B5EF4-FFF2-40B4-BE49-F238E27FC236}">
                    <a16:creationId xmlns:a16="http://schemas.microsoft.com/office/drawing/2014/main" id="{E67CA0A7-E3C2-466D-AC43-B29B7050E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1" y="243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589">
                <a:extLst>
                  <a:ext uri="{FF2B5EF4-FFF2-40B4-BE49-F238E27FC236}">
                    <a16:creationId xmlns:a16="http://schemas.microsoft.com/office/drawing/2014/main" id="{F4F064AE-FCDF-4691-A1F0-37695AA132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0" y="2423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590">
                <a:extLst>
                  <a:ext uri="{FF2B5EF4-FFF2-40B4-BE49-F238E27FC236}">
                    <a16:creationId xmlns:a16="http://schemas.microsoft.com/office/drawing/2014/main" id="{2EF8E9D8-3F28-46FD-8517-0F8B086752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0" y="240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591">
                <a:extLst>
                  <a:ext uri="{FF2B5EF4-FFF2-40B4-BE49-F238E27FC236}">
                    <a16:creationId xmlns:a16="http://schemas.microsoft.com/office/drawing/2014/main" id="{39070184-863B-46E8-8CCA-DDBC900E90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9" y="2393"/>
                <a:ext cx="24" cy="25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592">
                <a:extLst>
                  <a:ext uri="{FF2B5EF4-FFF2-40B4-BE49-F238E27FC236}">
                    <a16:creationId xmlns:a16="http://schemas.microsoft.com/office/drawing/2014/main" id="{BB7FA9C7-0A08-44FB-BF60-554E7D2F9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8" y="2379"/>
                <a:ext cx="25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593">
                <a:extLst>
                  <a:ext uri="{FF2B5EF4-FFF2-40B4-BE49-F238E27FC236}">
                    <a16:creationId xmlns:a16="http://schemas.microsoft.com/office/drawing/2014/main" id="{545FE0E4-EE72-4D3D-9519-CE3F4323E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8" y="2365"/>
                <a:ext cx="24" cy="24"/>
              </a:xfrm>
              <a:custGeom>
                <a:avLst/>
                <a:gdLst>
                  <a:gd name="T0" fmla="*/ 43 w 44"/>
                  <a:gd name="T1" fmla="*/ 26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3 h 44"/>
                  <a:gd name="T16" fmla="*/ 43 w 44"/>
                  <a:gd name="T17" fmla="*/ 2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6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24"/>
                      <a:pt x="44" y="26"/>
                      <a:pt x="43" y="26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594">
                <a:extLst>
                  <a:ext uri="{FF2B5EF4-FFF2-40B4-BE49-F238E27FC236}">
                    <a16:creationId xmlns:a16="http://schemas.microsoft.com/office/drawing/2014/main" id="{D9660B5A-974B-4448-BE3B-0022A5ACE2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7" y="23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595">
                <a:extLst>
                  <a:ext uri="{FF2B5EF4-FFF2-40B4-BE49-F238E27FC236}">
                    <a16:creationId xmlns:a16="http://schemas.microsoft.com/office/drawing/2014/main" id="{56AB09C3-3BC1-41EE-9302-85B3BDD0D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" y="2335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596">
                <a:extLst>
                  <a:ext uri="{FF2B5EF4-FFF2-40B4-BE49-F238E27FC236}">
                    <a16:creationId xmlns:a16="http://schemas.microsoft.com/office/drawing/2014/main" id="{94319A51-A7D3-4754-A719-0517C95BF9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8" y="2468"/>
                <a:ext cx="35" cy="32"/>
              </a:xfrm>
              <a:custGeom>
                <a:avLst/>
                <a:gdLst>
                  <a:gd name="T0" fmla="*/ 61 w 63"/>
                  <a:gd name="T1" fmla="*/ 27 h 58"/>
                  <a:gd name="T2" fmla="*/ 21 w 63"/>
                  <a:gd name="T3" fmla="*/ 58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1 h 58"/>
                  <a:gd name="T12" fmla="*/ 45 w 63"/>
                  <a:gd name="T13" fmla="*/ 1 h 58"/>
                  <a:gd name="T14" fmla="*/ 62 w 63"/>
                  <a:gd name="T15" fmla="*/ 24 h 58"/>
                  <a:gd name="T16" fmla="*/ 61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2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597">
                <a:extLst>
                  <a:ext uri="{FF2B5EF4-FFF2-40B4-BE49-F238E27FC236}">
                    <a16:creationId xmlns:a16="http://schemas.microsoft.com/office/drawing/2014/main" id="{C9F8D29E-0972-4A11-A80D-D8807E3E5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1" y="2300"/>
                <a:ext cx="35" cy="32"/>
              </a:xfrm>
              <a:custGeom>
                <a:avLst/>
                <a:gdLst>
                  <a:gd name="T0" fmla="*/ 62 w 63"/>
                  <a:gd name="T1" fmla="*/ 27 h 58"/>
                  <a:gd name="T2" fmla="*/ 21 w 63"/>
                  <a:gd name="T3" fmla="*/ 57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0 h 58"/>
                  <a:gd name="T12" fmla="*/ 45 w 63"/>
                  <a:gd name="T13" fmla="*/ 1 h 58"/>
                  <a:gd name="T14" fmla="*/ 62 w 63"/>
                  <a:gd name="T15" fmla="*/ 24 h 58"/>
                  <a:gd name="T16" fmla="*/ 62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2" y="27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3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598">
                <a:extLst>
                  <a:ext uri="{FF2B5EF4-FFF2-40B4-BE49-F238E27FC236}">
                    <a16:creationId xmlns:a16="http://schemas.microsoft.com/office/drawing/2014/main" id="{DE89F5A4-270C-41B1-8EB3-4600906761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4" y="2496"/>
                <a:ext cx="24" cy="24"/>
              </a:xfrm>
              <a:custGeom>
                <a:avLst/>
                <a:gdLst>
                  <a:gd name="T0" fmla="*/ 44 w 45"/>
                  <a:gd name="T1" fmla="*/ 27 h 45"/>
                  <a:gd name="T2" fmla="*/ 21 w 45"/>
                  <a:gd name="T3" fmla="*/ 44 h 45"/>
                  <a:gd name="T4" fmla="*/ 18 w 45"/>
                  <a:gd name="T5" fmla="*/ 44 h 45"/>
                  <a:gd name="T6" fmla="*/ 1 w 45"/>
                  <a:gd name="T7" fmla="*/ 21 h 45"/>
                  <a:gd name="T8" fmla="*/ 1 w 45"/>
                  <a:gd name="T9" fmla="*/ 18 h 45"/>
                  <a:gd name="T10" fmla="*/ 24 w 45"/>
                  <a:gd name="T11" fmla="*/ 1 h 45"/>
                  <a:gd name="T12" fmla="*/ 27 w 45"/>
                  <a:gd name="T13" fmla="*/ 1 h 45"/>
                  <a:gd name="T14" fmla="*/ 44 w 45"/>
                  <a:gd name="T15" fmla="*/ 24 h 45"/>
                  <a:gd name="T16" fmla="*/ 44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4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5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5" y="26"/>
                      <a:pt x="44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599">
                <a:extLst>
                  <a:ext uri="{FF2B5EF4-FFF2-40B4-BE49-F238E27FC236}">
                    <a16:creationId xmlns:a16="http://schemas.microsoft.com/office/drawing/2014/main" id="{E1CEA497-EB10-4F76-8649-FF380148E9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6" y="2320"/>
                <a:ext cx="25" cy="24"/>
              </a:xfrm>
              <a:custGeom>
                <a:avLst/>
                <a:gdLst>
                  <a:gd name="T0" fmla="*/ 43 w 45"/>
                  <a:gd name="T1" fmla="*/ 27 h 45"/>
                  <a:gd name="T2" fmla="*/ 21 w 45"/>
                  <a:gd name="T3" fmla="*/ 45 h 45"/>
                  <a:gd name="T4" fmla="*/ 18 w 45"/>
                  <a:gd name="T5" fmla="*/ 44 h 45"/>
                  <a:gd name="T6" fmla="*/ 0 w 45"/>
                  <a:gd name="T7" fmla="*/ 21 h 45"/>
                  <a:gd name="T8" fmla="*/ 1 w 45"/>
                  <a:gd name="T9" fmla="*/ 18 h 45"/>
                  <a:gd name="T10" fmla="*/ 24 w 45"/>
                  <a:gd name="T11" fmla="*/ 1 h 45"/>
                  <a:gd name="T12" fmla="*/ 26 w 45"/>
                  <a:gd name="T13" fmla="*/ 2 h 45"/>
                  <a:gd name="T14" fmla="*/ 44 w 45"/>
                  <a:gd name="T15" fmla="*/ 24 h 45"/>
                  <a:gd name="T16" fmla="*/ 43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3" y="27"/>
                    </a:moveTo>
                    <a:cubicBezTo>
                      <a:pt x="21" y="45"/>
                      <a:pt x="21" y="45"/>
                      <a:pt x="21" y="45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600">
                <a:extLst>
                  <a:ext uri="{FF2B5EF4-FFF2-40B4-BE49-F238E27FC236}">
                    <a16:creationId xmlns:a16="http://schemas.microsoft.com/office/drawing/2014/main" id="{43A61379-8AAC-4CBC-BE77-F9FF02D3F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9" y="2508"/>
                <a:ext cx="34" cy="32"/>
              </a:xfrm>
              <a:custGeom>
                <a:avLst/>
                <a:gdLst>
                  <a:gd name="T0" fmla="*/ 61 w 62"/>
                  <a:gd name="T1" fmla="*/ 27 h 59"/>
                  <a:gd name="T2" fmla="*/ 21 w 62"/>
                  <a:gd name="T3" fmla="*/ 58 h 59"/>
                  <a:gd name="T4" fmla="*/ 18 w 62"/>
                  <a:gd name="T5" fmla="*/ 58 h 59"/>
                  <a:gd name="T6" fmla="*/ 0 w 62"/>
                  <a:gd name="T7" fmla="*/ 35 h 59"/>
                  <a:gd name="T8" fmla="*/ 1 w 62"/>
                  <a:gd name="T9" fmla="*/ 32 h 59"/>
                  <a:gd name="T10" fmla="*/ 41 w 62"/>
                  <a:gd name="T11" fmla="*/ 1 h 59"/>
                  <a:gd name="T12" fmla="*/ 44 w 62"/>
                  <a:gd name="T13" fmla="*/ 2 h 59"/>
                  <a:gd name="T14" fmla="*/ 62 w 62"/>
                  <a:gd name="T15" fmla="*/ 24 h 59"/>
                  <a:gd name="T16" fmla="*/ 61 w 62"/>
                  <a:gd name="T17" fmla="*/ 27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9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9"/>
                      <a:pt x="18" y="59"/>
                      <a:pt x="18" y="58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4"/>
                      <a:pt x="0" y="33"/>
                      <a:pt x="1" y="32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1"/>
                      <a:pt x="44" y="2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7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601">
                <a:extLst>
                  <a:ext uri="{FF2B5EF4-FFF2-40B4-BE49-F238E27FC236}">
                    <a16:creationId xmlns:a16="http://schemas.microsoft.com/office/drawing/2014/main" id="{95717062-E9AB-468A-BBF7-253587CDCB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2" y="2340"/>
                <a:ext cx="34" cy="32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8 h 58"/>
                  <a:gd name="T4" fmla="*/ 18 w 62"/>
                  <a:gd name="T5" fmla="*/ 57 h 58"/>
                  <a:gd name="T6" fmla="*/ 1 w 62"/>
                  <a:gd name="T7" fmla="*/ 34 h 58"/>
                  <a:gd name="T8" fmla="*/ 1 w 62"/>
                  <a:gd name="T9" fmla="*/ 31 h 58"/>
                  <a:gd name="T10" fmla="*/ 41 w 62"/>
                  <a:gd name="T11" fmla="*/ 1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4"/>
                      <a:pt x="0" y="32"/>
                      <a:pt x="1" y="31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602">
                <a:extLst>
                  <a:ext uri="{FF2B5EF4-FFF2-40B4-BE49-F238E27FC236}">
                    <a16:creationId xmlns:a16="http://schemas.microsoft.com/office/drawing/2014/main" id="{73BF71A9-D903-47A6-BBE3-01A398E892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3" y="2100"/>
                <a:ext cx="432" cy="362"/>
              </a:xfrm>
              <a:custGeom>
                <a:avLst/>
                <a:gdLst>
                  <a:gd name="T0" fmla="*/ 101 w 432"/>
                  <a:gd name="T1" fmla="*/ 362 h 362"/>
                  <a:gd name="T2" fmla="*/ 0 w 432"/>
                  <a:gd name="T3" fmla="*/ 316 h 362"/>
                  <a:gd name="T4" fmla="*/ 413 w 432"/>
                  <a:gd name="T5" fmla="*/ 0 h 362"/>
                  <a:gd name="T6" fmla="*/ 432 w 432"/>
                  <a:gd name="T7" fmla="*/ 109 h 362"/>
                  <a:gd name="T8" fmla="*/ 101 w 432"/>
                  <a:gd name="T9" fmla="*/ 3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2" h="362">
                    <a:moveTo>
                      <a:pt x="101" y="362"/>
                    </a:moveTo>
                    <a:lnTo>
                      <a:pt x="0" y="316"/>
                    </a:lnTo>
                    <a:lnTo>
                      <a:pt x="413" y="0"/>
                    </a:lnTo>
                    <a:lnTo>
                      <a:pt x="432" y="109"/>
                    </a:lnTo>
                    <a:lnTo>
                      <a:pt x="101" y="362"/>
                    </a:ln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603">
                <a:extLst>
                  <a:ext uri="{FF2B5EF4-FFF2-40B4-BE49-F238E27FC236}">
                    <a16:creationId xmlns:a16="http://schemas.microsoft.com/office/drawing/2014/main" id="{DBEBAA07-5EB5-4B80-B0A3-EEF813845D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2" y="2108"/>
                <a:ext cx="419" cy="350"/>
              </a:xfrm>
              <a:custGeom>
                <a:avLst/>
                <a:gdLst>
                  <a:gd name="T0" fmla="*/ 92 w 419"/>
                  <a:gd name="T1" fmla="*/ 350 h 350"/>
                  <a:gd name="T2" fmla="*/ 0 w 419"/>
                  <a:gd name="T3" fmla="*/ 307 h 350"/>
                  <a:gd name="T4" fmla="*/ 401 w 419"/>
                  <a:gd name="T5" fmla="*/ 0 h 350"/>
                  <a:gd name="T6" fmla="*/ 419 w 419"/>
                  <a:gd name="T7" fmla="*/ 100 h 350"/>
                  <a:gd name="T8" fmla="*/ 92 w 419"/>
                  <a:gd name="T9" fmla="*/ 35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9" h="350">
                    <a:moveTo>
                      <a:pt x="92" y="350"/>
                    </a:moveTo>
                    <a:lnTo>
                      <a:pt x="0" y="307"/>
                    </a:lnTo>
                    <a:lnTo>
                      <a:pt x="401" y="0"/>
                    </a:lnTo>
                    <a:lnTo>
                      <a:pt x="419" y="100"/>
                    </a:lnTo>
                    <a:lnTo>
                      <a:pt x="92" y="350"/>
                    </a:lnTo>
                    <a:close/>
                  </a:path>
                </a:pathLst>
              </a:custGeom>
              <a:solidFill>
                <a:srgbClr val="4849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604">
                <a:extLst>
                  <a:ext uri="{FF2B5EF4-FFF2-40B4-BE49-F238E27FC236}">
                    <a16:creationId xmlns:a16="http://schemas.microsoft.com/office/drawing/2014/main" id="{29E30B18-E14C-46AF-9209-C1071BEE47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7" y="2113"/>
                <a:ext cx="395" cy="305"/>
              </a:xfrm>
              <a:custGeom>
                <a:avLst/>
                <a:gdLst>
                  <a:gd name="T0" fmla="*/ 11 w 395"/>
                  <a:gd name="T1" fmla="*/ 305 h 305"/>
                  <a:gd name="T2" fmla="*/ 0 w 395"/>
                  <a:gd name="T3" fmla="*/ 300 h 305"/>
                  <a:gd name="T4" fmla="*/ 393 w 395"/>
                  <a:gd name="T5" fmla="*/ 0 h 305"/>
                  <a:gd name="T6" fmla="*/ 395 w 395"/>
                  <a:gd name="T7" fmla="*/ 12 h 305"/>
                  <a:gd name="T8" fmla="*/ 11 w 395"/>
                  <a:gd name="T9" fmla="*/ 305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05">
                    <a:moveTo>
                      <a:pt x="11" y="305"/>
                    </a:moveTo>
                    <a:lnTo>
                      <a:pt x="0" y="300"/>
                    </a:lnTo>
                    <a:lnTo>
                      <a:pt x="393" y="0"/>
                    </a:lnTo>
                    <a:lnTo>
                      <a:pt x="395" y="12"/>
                    </a:lnTo>
                    <a:lnTo>
                      <a:pt x="11" y="305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605">
                <a:extLst>
                  <a:ext uri="{FF2B5EF4-FFF2-40B4-BE49-F238E27FC236}">
                    <a16:creationId xmlns:a16="http://schemas.microsoft.com/office/drawing/2014/main" id="{771DFA5F-2B43-4889-8997-6DDC5912F1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1" y="2404"/>
                <a:ext cx="91" cy="51"/>
              </a:xfrm>
              <a:custGeom>
                <a:avLst/>
                <a:gdLst>
                  <a:gd name="T0" fmla="*/ 91 w 91"/>
                  <a:gd name="T1" fmla="*/ 37 h 51"/>
                  <a:gd name="T2" fmla="*/ 74 w 91"/>
                  <a:gd name="T3" fmla="*/ 51 h 51"/>
                  <a:gd name="T4" fmla="*/ 0 w 91"/>
                  <a:gd name="T5" fmla="*/ 16 h 51"/>
                  <a:gd name="T6" fmla="*/ 21 w 91"/>
                  <a:gd name="T7" fmla="*/ 0 h 51"/>
                  <a:gd name="T8" fmla="*/ 91 w 91"/>
                  <a:gd name="T9" fmla="*/ 3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51">
                    <a:moveTo>
                      <a:pt x="91" y="37"/>
                    </a:moveTo>
                    <a:lnTo>
                      <a:pt x="74" y="51"/>
                    </a:lnTo>
                    <a:lnTo>
                      <a:pt x="0" y="16"/>
                    </a:lnTo>
                    <a:lnTo>
                      <a:pt x="21" y="0"/>
                    </a:lnTo>
                    <a:lnTo>
                      <a:pt x="91" y="37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606">
                <a:extLst>
                  <a:ext uri="{FF2B5EF4-FFF2-40B4-BE49-F238E27FC236}">
                    <a16:creationId xmlns:a16="http://schemas.microsoft.com/office/drawing/2014/main" id="{D51B12FC-72A0-4A27-93A7-8699ED5F1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2" y="2129"/>
                <a:ext cx="35" cy="92"/>
              </a:xfrm>
              <a:custGeom>
                <a:avLst/>
                <a:gdLst>
                  <a:gd name="T0" fmla="*/ 35 w 35"/>
                  <a:gd name="T1" fmla="*/ 79 h 92"/>
                  <a:gd name="T2" fmla="*/ 18 w 35"/>
                  <a:gd name="T3" fmla="*/ 92 h 92"/>
                  <a:gd name="T4" fmla="*/ 0 w 35"/>
                  <a:gd name="T5" fmla="*/ 16 h 92"/>
                  <a:gd name="T6" fmla="*/ 21 w 35"/>
                  <a:gd name="T7" fmla="*/ 0 h 92"/>
                  <a:gd name="T8" fmla="*/ 35 w 35"/>
                  <a:gd name="T9" fmla="*/ 7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92">
                    <a:moveTo>
                      <a:pt x="35" y="79"/>
                    </a:moveTo>
                    <a:lnTo>
                      <a:pt x="18" y="92"/>
                    </a:lnTo>
                    <a:lnTo>
                      <a:pt x="0" y="16"/>
                    </a:lnTo>
                    <a:lnTo>
                      <a:pt x="21" y="0"/>
                    </a:lnTo>
                    <a:lnTo>
                      <a:pt x="35" y="79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" name="Freeform 608">
              <a:extLst>
                <a:ext uri="{FF2B5EF4-FFF2-40B4-BE49-F238E27FC236}">
                  <a16:creationId xmlns:a16="http://schemas.microsoft.com/office/drawing/2014/main" id="{1C033AF9-1F6B-4543-A719-DD0B422BA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7550" y="3503613"/>
              <a:ext cx="333375" cy="284163"/>
            </a:xfrm>
            <a:custGeom>
              <a:avLst/>
              <a:gdLst>
                <a:gd name="T0" fmla="*/ 210 w 210"/>
                <a:gd name="T1" fmla="*/ 53 h 179"/>
                <a:gd name="T2" fmla="*/ 46 w 210"/>
                <a:gd name="T3" fmla="*/ 179 h 179"/>
                <a:gd name="T4" fmla="*/ 0 w 210"/>
                <a:gd name="T5" fmla="*/ 143 h 179"/>
                <a:gd name="T6" fmla="*/ 187 w 210"/>
                <a:gd name="T7" fmla="*/ 0 h 179"/>
                <a:gd name="T8" fmla="*/ 210 w 210"/>
                <a:gd name="T9" fmla="*/ 5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179">
                  <a:moveTo>
                    <a:pt x="210" y="53"/>
                  </a:moveTo>
                  <a:lnTo>
                    <a:pt x="46" y="179"/>
                  </a:lnTo>
                  <a:lnTo>
                    <a:pt x="0" y="143"/>
                  </a:lnTo>
                  <a:lnTo>
                    <a:pt x="187" y="0"/>
                  </a:lnTo>
                  <a:lnTo>
                    <a:pt x="210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09">
              <a:extLst>
                <a:ext uri="{FF2B5EF4-FFF2-40B4-BE49-F238E27FC236}">
                  <a16:creationId xmlns:a16="http://schemas.microsoft.com/office/drawing/2014/main" id="{BA64B51C-C1B5-477D-A7B6-8262EAFEA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1238" y="3489326"/>
              <a:ext cx="138113" cy="134938"/>
            </a:xfrm>
            <a:custGeom>
              <a:avLst/>
              <a:gdLst>
                <a:gd name="T0" fmla="*/ 87 w 87"/>
                <a:gd name="T1" fmla="*/ 28 h 85"/>
                <a:gd name="T2" fmla="*/ 12 w 87"/>
                <a:gd name="T3" fmla="*/ 85 h 85"/>
                <a:gd name="T4" fmla="*/ 0 w 87"/>
                <a:gd name="T5" fmla="*/ 61 h 85"/>
                <a:gd name="T6" fmla="*/ 80 w 87"/>
                <a:gd name="T7" fmla="*/ 0 h 85"/>
                <a:gd name="T8" fmla="*/ 87 w 87"/>
                <a:gd name="T9" fmla="*/ 2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5">
                  <a:moveTo>
                    <a:pt x="87" y="28"/>
                  </a:moveTo>
                  <a:lnTo>
                    <a:pt x="12" y="85"/>
                  </a:lnTo>
                  <a:lnTo>
                    <a:pt x="0" y="61"/>
                  </a:lnTo>
                  <a:lnTo>
                    <a:pt x="80" y="0"/>
                  </a:lnTo>
                  <a:lnTo>
                    <a:pt x="87" y="28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10">
              <a:extLst>
                <a:ext uri="{FF2B5EF4-FFF2-40B4-BE49-F238E27FC236}">
                  <a16:creationId xmlns:a16="http://schemas.microsoft.com/office/drawing/2014/main" id="{0527022F-535B-4DD9-89B6-4D65BF587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650" y="3484563"/>
              <a:ext cx="128588" cy="101600"/>
            </a:xfrm>
            <a:custGeom>
              <a:avLst/>
              <a:gdLst>
                <a:gd name="T0" fmla="*/ 81 w 81"/>
                <a:gd name="T1" fmla="*/ 0 h 64"/>
                <a:gd name="T2" fmla="*/ 0 w 81"/>
                <a:gd name="T3" fmla="*/ 62 h 64"/>
                <a:gd name="T4" fmla="*/ 1 w 81"/>
                <a:gd name="T5" fmla="*/ 64 h 64"/>
                <a:gd name="T6" fmla="*/ 81 w 81"/>
                <a:gd name="T7" fmla="*/ 3 h 64"/>
                <a:gd name="T8" fmla="*/ 81 w 81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64">
                  <a:moveTo>
                    <a:pt x="81" y="0"/>
                  </a:moveTo>
                  <a:lnTo>
                    <a:pt x="0" y="62"/>
                  </a:lnTo>
                  <a:lnTo>
                    <a:pt x="1" y="64"/>
                  </a:lnTo>
                  <a:lnTo>
                    <a:pt x="81" y="3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565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611">
              <a:extLst>
                <a:ext uri="{FF2B5EF4-FFF2-40B4-BE49-F238E27FC236}">
                  <a16:creationId xmlns:a16="http://schemas.microsoft.com/office/drawing/2014/main" id="{676A0FFC-AFD5-4A9A-B9A5-3686F89988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0763" y="3568701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2 w 16"/>
                <a:gd name="T3" fmla="*/ 14 h 14"/>
                <a:gd name="T4" fmla="*/ 0 w 16"/>
                <a:gd name="T5" fmla="*/ 11 h 14"/>
                <a:gd name="T6" fmla="*/ 14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2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F5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12">
              <a:extLst>
                <a:ext uri="{FF2B5EF4-FFF2-40B4-BE49-F238E27FC236}">
                  <a16:creationId xmlns:a16="http://schemas.microsoft.com/office/drawing/2014/main" id="{6C93903C-03B2-4706-A562-55EE8543C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0925" y="3546476"/>
              <a:ext cx="25400" cy="23813"/>
            </a:xfrm>
            <a:custGeom>
              <a:avLst/>
              <a:gdLst>
                <a:gd name="T0" fmla="*/ 16 w 16"/>
                <a:gd name="T1" fmla="*/ 3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3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3"/>
                  </a:lnTo>
                  <a:close/>
                </a:path>
              </a:pathLst>
            </a:custGeom>
            <a:solidFill>
              <a:srgbClr val="FFE0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613">
              <a:extLst>
                <a:ext uri="{FF2B5EF4-FFF2-40B4-BE49-F238E27FC236}">
                  <a16:creationId xmlns:a16="http://schemas.microsoft.com/office/drawing/2014/main" id="{DC35686E-620F-42C6-8BA3-46D1B3686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9663" y="3500438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14">
              <a:extLst>
                <a:ext uri="{FF2B5EF4-FFF2-40B4-BE49-F238E27FC236}">
                  <a16:creationId xmlns:a16="http://schemas.microsoft.com/office/drawing/2014/main" id="{827AC62D-B1B5-41F2-9B17-D26774D43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9500" y="3522663"/>
              <a:ext cx="25400" cy="25400"/>
            </a:xfrm>
            <a:custGeom>
              <a:avLst/>
              <a:gdLst>
                <a:gd name="T0" fmla="*/ 16 w 16"/>
                <a:gd name="T1" fmla="*/ 5 h 16"/>
                <a:gd name="T2" fmla="*/ 2 w 16"/>
                <a:gd name="T3" fmla="*/ 16 h 16"/>
                <a:gd name="T4" fmla="*/ 0 w 16"/>
                <a:gd name="T5" fmla="*/ 11 h 16"/>
                <a:gd name="T6" fmla="*/ 15 w 16"/>
                <a:gd name="T7" fmla="*/ 0 h 16"/>
                <a:gd name="T8" fmla="*/ 16 w 16"/>
                <a:gd name="T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6" y="5"/>
                  </a:moveTo>
                  <a:lnTo>
                    <a:pt x="2" y="16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5"/>
                  </a:lnTo>
                  <a:close/>
                </a:path>
              </a:pathLst>
            </a:custGeom>
            <a:solidFill>
              <a:srgbClr val="E3C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15">
              <a:extLst>
                <a:ext uri="{FF2B5EF4-FFF2-40B4-BE49-F238E27FC236}">
                  <a16:creationId xmlns:a16="http://schemas.microsoft.com/office/drawing/2014/main" id="{6160D349-D2DE-44CE-AF40-D681FBECF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3938" y="3576638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2 w 16"/>
                <a:gd name="T3" fmla="*/ 15 h 15"/>
                <a:gd name="T4" fmla="*/ 0 w 16"/>
                <a:gd name="T5" fmla="*/ 11 h 15"/>
                <a:gd name="T6" fmla="*/ 15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F1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16">
              <a:extLst>
                <a:ext uri="{FF2B5EF4-FFF2-40B4-BE49-F238E27FC236}">
                  <a16:creationId xmlns:a16="http://schemas.microsoft.com/office/drawing/2014/main" id="{06D22AD4-72E1-4832-82B5-7E09B6538F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4100" y="3554413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FFD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17">
              <a:extLst>
                <a:ext uri="{FF2B5EF4-FFF2-40B4-BE49-F238E27FC236}">
                  <a16:creationId xmlns:a16="http://schemas.microsoft.com/office/drawing/2014/main" id="{216D32CE-0916-4096-8AD1-78C07D997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2838" y="3509963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A6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618">
              <a:extLst>
                <a:ext uri="{FF2B5EF4-FFF2-40B4-BE49-F238E27FC236}">
                  <a16:creationId xmlns:a16="http://schemas.microsoft.com/office/drawing/2014/main" id="{5CA55864-B949-4EA3-9161-FEF99405E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2675" y="3532188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2 w 16"/>
                <a:gd name="T3" fmla="*/ 15 h 15"/>
                <a:gd name="T4" fmla="*/ 0 w 16"/>
                <a:gd name="T5" fmla="*/ 11 h 15"/>
                <a:gd name="T6" fmla="*/ 15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E3B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19">
              <a:extLst>
                <a:ext uri="{FF2B5EF4-FFF2-40B4-BE49-F238E27FC236}">
                  <a16:creationId xmlns:a16="http://schemas.microsoft.com/office/drawing/2014/main" id="{0D60DE89-A7E8-4100-9D37-0288D2279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8700" y="3584576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EE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620">
              <a:extLst>
                <a:ext uri="{FF2B5EF4-FFF2-40B4-BE49-F238E27FC236}">
                  <a16:creationId xmlns:a16="http://schemas.microsoft.com/office/drawing/2014/main" id="{659895D8-C548-497F-A1FA-24BF93DA3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7275" y="3562351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CA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21">
              <a:extLst>
                <a:ext uri="{FF2B5EF4-FFF2-40B4-BE49-F238E27FC236}">
                  <a16:creationId xmlns:a16="http://schemas.microsoft.com/office/drawing/2014/main" id="{963DC246-A006-4DCF-A071-253A0474D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4425" y="3519488"/>
              <a:ext cx="25400" cy="22225"/>
            </a:xfrm>
            <a:custGeom>
              <a:avLst/>
              <a:gdLst>
                <a:gd name="T0" fmla="*/ 16 w 16"/>
                <a:gd name="T1" fmla="*/ 3 h 14"/>
                <a:gd name="T2" fmla="*/ 1 w 16"/>
                <a:gd name="T3" fmla="*/ 14 h 14"/>
                <a:gd name="T4" fmla="*/ 0 w 16"/>
                <a:gd name="T5" fmla="*/ 11 h 14"/>
                <a:gd name="T6" fmla="*/ 15 w 16"/>
                <a:gd name="T7" fmla="*/ 0 h 14"/>
                <a:gd name="T8" fmla="*/ 16 w 16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3"/>
                  </a:moveTo>
                  <a:lnTo>
                    <a:pt x="1" y="14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3"/>
                  </a:lnTo>
                  <a:close/>
                </a:path>
              </a:pathLst>
            </a:custGeom>
            <a:solidFill>
              <a:srgbClr val="E68B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22">
              <a:extLst>
                <a:ext uri="{FF2B5EF4-FFF2-40B4-BE49-F238E27FC236}">
                  <a16:creationId xmlns:a16="http://schemas.microsoft.com/office/drawing/2014/main" id="{676B4274-BD0F-4CBC-B5B2-227CA324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5850" y="3541713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1 w 16"/>
                <a:gd name="T3" fmla="*/ 14 h 14"/>
                <a:gd name="T4" fmla="*/ 0 w 16"/>
                <a:gd name="T5" fmla="*/ 10 h 14"/>
                <a:gd name="T6" fmla="*/ 15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E39E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23">
              <a:extLst>
                <a:ext uri="{FF2B5EF4-FFF2-40B4-BE49-F238E27FC236}">
                  <a16:creationId xmlns:a16="http://schemas.microsoft.com/office/drawing/2014/main" id="{7C75FA3E-26B3-4C74-B513-6C618AD3C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1875" y="3592513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2 w 16"/>
                <a:gd name="T3" fmla="*/ 14 h 14"/>
                <a:gd name="T4" fmla="*/ 0 w 16"/>
                <a:gd name="T5" fmla="*/ 11 h 14"/>
                <a:gd name="T6" fmla="*/ 14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2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E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24">
              <a:extLst>
                <a:ext uri="{FF2B5EF4-FFF2-40B4-BE49-F238E27FC236}">
                  <a16:creationId xmlns:a16="http://schemas.microsoft.com/office/drawing/2014/main" id="{0DAAA780-59AE-458A-BD71-2955C208C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0450" y="3570288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2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CCC7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25">
              <a:extLst>
                <a:ext uri="{FF2B5EF4-FFF2-40B4-BE49-F238E27FC236}">
                  <a16:creationId xmlns:a16="http://schemas.microsoft.com/office/drawing/2014/main" id="{635FAE51-2045-47DB-ABB6-B8832FBFC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7600" y="3527426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26">
              <a:extLst>
                <a:ext uri="{FF2B5EF4-FFF2-40B4-BE49-F238E27FC236}">
                  <a16:creationId xmlns:a16="http://schemas.microsoft.com/office/drawing/2014/main" id="{5AE8E328-48AB-45AB-A7AE-7EE5B04367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9025" y="3549651"/>
              <a:ext cx="23813" cy="22225"/>
            </a:xfrm>
            <a:custGeom>
              <a:avLst/>
              <a:gdLst>
                <a:gd name="T0" fmla="*/ 15 w 15"/>
                <a:gd name="T1" fmla="*/ 4 h 14"/>
                <a:gd name="T2" fmla="*/ 1 w 15"/>
                <a:gd name="T3" fmla="*/ 14 h 14"/>
                <a:gd name="T4" fmla="*/ 0 w 15"/>
                <a:gd name="T5" fmla="*/ 11 h 14"/>
                <a:gd name="T6" fmla="*/ 14 w 15"/>
                <a:gd name="T7" fmla="*/ 0 h 14"/>
                <a:gd name="T8" fmla="*/ 15 w 15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15" y="4"/>
                  </a:moveTo>
                  <a:lnTo>
                    <a:pt x="1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39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27">
              <a:extLst>
                <a:ext uri="{FF2B5EF4-FFF2-40B4-BE49-F238E27FC236}">
                  <a16:creationId xmlns:a16="http://schemas.microsoft.com/office/drawing/2014/main" id="{D319F6EA-9460-43FD-AD85-AAAD443A9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3489326"/>
              <a:ext cx="7938" cy="7938"/>
            </a:xfrm>
            <a:custGeom>
              <a:avLst/>
              <a:gdLst>
                <a:gd name="T0" fmla="*/ 5 w 5"/>
                <a:gd name="T1" fmla="*/ 2 h 5"/>
                <a:gd name="T2" fmla="*/ 0 w 5"/>
                <a:gd name="T3" fmla="*/ 5 h 5"/>
                <a:gd name="T4" fmla="*/ 0 w 5"/>
                <a:gd name="T5" fmla="*/ 3 h 5"/>
                <a:gd name="T6" fmla="*/ 5 w 5"/>
                <a:gd name="T7" fmla="*/ 0 h 5"/>
                <a:gd name="T8" fmla="*/ 5 w 5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5" y="2"/>
                  </a:moveTo>
                  <a:lnTo>
                    <a:pt x="0" y="5"/>
                  </a:lnTo>
                  <a:lnTo>
                    <a:pt x="0" y="3"/>
                  </a:lnTo>
                  <a:lnTo>
                    <a:pt x="5" y="0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28">
              <a:extLst>
                <a:ext uri="{FF2B5EF4-FFF2-40B4-BE49-F238E27FC236}">
                  <a16:creationId xmlns:a16="http://schemas.microsoft.com/office/drawing/2014/main" id="{AF6BDD5D-060D-45F9-9F95-2F67E3521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3490913"/>
              <a:ext cx="4763" cy="4763"/>
            </a:xfrm>
            <a:custGeom>
              <a:avLst/>
              <a:gdLst>
                <a:gd name="T0" fmla="*/ 1 w 3"/>
                <a:gd name="T1" fmla="*/ 3 h 3"/>
                <a:gd name="T2" fmla="*/ 0 w 3"/>
                <a:gd name="T3" fmla="*/ 3 h 3"/>
                <a:gd name="T4" fmla="*/ 0 w 3"/>
                <a:gd name="T5" fmla="*/ 3 h 3"/>
                <a:gd name="T6" fmla="*/ 3 w 3"/>
                <a:gd name="T7" fmla="*/ 0 h 3"/>
                <a:gd name="T8" fmla="*/ 3 w 3"/>
                <a:gd name="T9" fmla="*/ 0 h 3"/>
                <a:gd name="T10" fmla="*/ 3 w 3"/>
                <a:gd name="T11" fmla="*/ 0 h 3"/>
                <a:gd name="T12" fmla="*/ 1 w 3"/>
                <a:gd name="T13" fmla="*/ 3 h 3"/>
                <a:gd name="T14" fmla="*/ 1 w 3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3"/>
                  </a:lnTo>
                  <a:lnTo>
                    <a:pt x="1" y="3"/>
                  </a:lnTo>
                  <a:close/>
                </a:path>
              </a:pathLst>
            </a:custGeom>
            <a:solidFill>
              <a:srgbClr val="4849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629">
              <a:extLst>
                <a:ext uri="{FF2B5EF4-FFF2-40B4-BE49-F238E27FC236}">
                  <a16:creationId xmlns:a16="http://schemas.microsoft.com/office/drawing/2014/main" id="{451361B5-F0C6-447C-9DB5-1D230D128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3492501"/>
              <a:ext cx="4763" cy="1588"/>
            </a:xfrm>
            <a:custGeom>
              <a:avLst/>
              <a:gdLst>
                <a:gd name="T0" fmla="*/ 3 w 3"/>
                <a:gd name="T1" fmla="*/ 0 h 1"/>
                <a:gd name="T2" fmla="*/ 3 w 3"/>
                <a:gd name="T3" fmla="*/ 1 h 1"/>
                <a:gd name="T4" fmla="*/ 0 w 3"/>
                <a:gd name="T5" fmla="*/ 1 h 1"/>
                <a:gd name="T6" fmla="*/ 0 w 3"/>
                <a:gd name="T7" fmla="*/ 1 h 1"/>
                <a:gd name="T8" fmla="*/ 1 w 3"/>
                <a:gd name="T9" fmla="*/ 1 h 1"/>
                <a:gd name="T10" fmla="*/ 3 w 3"/>
                <a:gd name="T11" fmla="*/ 0 h 1"/>
                <a:gd name="T12" fmla="*/ 3 w 3"/>
                <a:gd name="T13" fmla="*/ 0 h 1"/>
                <a:gd name="T14" fmla="*/ 3 w 3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lnTo>
                    <a:pt x="3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4849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630">
              <a:extLst>
                <a:ext uri="{FF2B5EF4-FFF2-40B4-BE49-F238E27FC236}">
                  <a16:creationId xmlns:a16="http://schemas.microsoft.com/office/drawing/2014/main" id="{398C4447-9083-4DB6-BC77-B9CA5FE9D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175" y="3330576"/>
              <a:ext cx="657225" cy="504825"/>
            </a:xfrm>
            <a:custGeom>
              <a:avLst/>
              <a:gdLst>
                <a:gd name="T0" fmla="*/ 718 w 756"/>
                <a:gd name="T1" fmla="*/ 21 h 583"/>
                <a:gd name="T2" fmla="*/ 27 w 756"/>
                <a:gd name="T3" fmla="*/ 550 h 583"/>
                <a:gd name="T4" fmla="*/ 1 w 756"/>
                <a:gd name="T5" fmla="*/ 583 h 583"/>
                <a:gd name="T6" fmla="*/ 756 w 756"/>
                <a:gd name="T7" fmla="*/ 5 h 583"/>
                <a:gd name="T8" fmla="*/ 718 w 756"/>
                <a:gd name="T9" fmla="*/ 21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6" h="583">
                  <a:moveTo>
                    <a:pt x="718" y="21"/>
                  </a:moveTo>
                  <a:cubicBezTo>
                    <a:pt x="27" y="550"/>
                    <a:pt x="27" y="550"/>
                    <a:pt x="27" y="550"/>
                  </a:cubicBezTo>
                  <a:cubicBezTo>
                    <a:pt x="14" y="560"/>
                    <a:pt x="0" y="567"/>
                    <a:pt x="1" y="583"/>
                  </a:cubicBezTo>
                  <a:cubicBezTo>
                    <a:pt x="756" y="5"/>
                    <a:pt x="756" y="5"/>
                    <a:pt x="756" y="5"/>
                  </a:cubicBezTo>
                  <a:cubicBezTo>
                    <a:pt x="741" y="0"/>
                    <a:pt x="731" y="11"/>
                    <a:pt x="718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31">
              <a:extLst>
                <a:ext uri="{FF2B5EF4-FFF2-40B4-BE49-F238E27FC236}">
                  <a16:creationId xmlns:a16="http://schemas.microsoft.com/office/drawing/2014/main" id="{03531EE7-D46C-4161-9530-DC499F742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8063" y="3836988"/>
              <a:ext cx="176213" cy="161925"/>
            </a:xfrm>
            <a:custGeom>
              <a:avLst/>
              <a:gdLst>
                <a:gd name="T0" fmla="*/ 111 w 111"/>
                <a:gd name="T1" fmla="*/ 40 h 102"/>
                <a:gd name="T2" fmla="*/ 31 w 111"/>
                <a:gd name="T3" fmla="*/ 102 h 102"/>
                <a:gd name="T4" fmla="*/ 0 w 111"/>
                <a:gd name="T5" fmla="*/ 61 h 102"/>
                <a:gd name="T6" fmla="*/ 80 w 111"/>
                <a:gd name="T7" fmla="*/ 0 h 102"/>
                <a:gd name="T8" fmla="*/ 111 w 111"/>
                <a:gd name="T9" fmla="*/ 4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02">
                  <a:moveTo>
                    <a:pt x="111" y="40"/>
                  </a:moveTo>
                  <a:lnTo>
                    <a:pt x="31" y="102"/>
                  </a:lnTo>
                  <a:lnTo>
                    <a:pt x="0" y="61"/>
                  </a:lnTo>
                  <a:lnTo>
                    <a:pt x="80" y="0"/>
                  </a:lnTo>
                  <a:lnTo>
                    <a:pt x="111" y="4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632">
              <a:extLst>
                <a:ext uri="{FF2B5EF4-FFF2-40B4-BE49-F238E27FC236}">
                  <a16:creationId xmlns:a16="http://schemas.microsoft.com/office/drawing/2014/main" id="{DFF6CF30-4281-46B8-89A4-D9E9633B7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0738" y="4129088"/>
              <a:ext cx="403225" cy="577850"/>
            </a:xfrm>
            <a:custGeom>
              <a:avLst/>
              <a:gdLst>
                <a:gd name="T0" fmla="*/ 293 w 464"/>
                <a:gd name="T1" fmla="*/ 478 h 665"/>
                <a:gd name="T2" fmla="*/ 70 w 464"/>
                <a:gd name="T3" fmla="*/ 26 h 665"/>
                <a:gd name="T4" fmla="*/ 62 w 464"/>
                <a:gd name="T5" fmla="*/ 0 h 665"/>
                <a:gd name="T6" fmla="*/ 0 w 464"/>
                <a:gd name="T7" fmla="*/ 20 h 665"/>
                <a:gd name="T8" fmla="*/ 143 w 464"/>
                <a:gd name="T9" fmla="*/ 573 h 665"/>
                <a:gd name="T10" fmla="*/ 411 w 464"/>
                <a:gd name="T11" fmla="*/ 641 h 665"/>
                <a:gd name="T12" fmla="*/ 293 w 464"/>
                <a:gd name="T13" fmla="*/ 478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4" h="665">
                  <a:moveTo>
                    <a:pt x="293" y="478"/>
                  </a:moveTo>
                  <a:cubicBezTo>
                    <a:pt x="293" y="478"/>
                    <a:pt x="126" y="140"/>
                    <a:pt x="70" y="26"/>
                  </a:cubicBezTo>
                  <a:cubicBezTo>
                    <a:pt x="66" y="18"/>
                    <a:pt x="63" y="9"/>
                    <a:pt x="62" y="0"/>
                  </a:cubicBezTo>
                  <a:cubicBezTo>
                    <a:pt x="41" y="6"/>
                    <a:pt x="20" y="11"/>
                    <a:pt x="0" y="20"/>
                  </a:cubicBezTo>
                  <a:cubicBezTo>
                    <a:pt x="44" y="209"/>
                    <a:pt x="125" y="551"/>
                    <a:pt x="143" y="573"/>
                  </a:cubicBezTo>
                  <a:cubicBezTo>
                    <a:pt x="203" y="644"/>
                    <a:pt x="276" y="665"/>
                    <a:pt x="411" y="641"/>
                  </a:cubicBezTo>
                  <a:cubicBezTo>
                    <a:pt x="462" y="631"/>
                    <a:pt x="464" y="511"/>
                    <a:pt x="293" y="478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633">
              <a:extLst>
                <a:ext uri="{FF2B5EF4-FFF2-40B4-BE49-F238E27FC236}">
                  <a16:creationId xmlns:a16="http://schemas.microsoft.com/office/drawing/2014/main" id="{EB889C93-F9D8-4A34-B5AE-D20C1FD40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2488" y="3984626"/>
              <a:ext cx="60325" cy="120650"/>
            </a:xfrm>
            <a:custGeom>
              <a:avLst/>
              <a:gdLst>
                <a:gd name="T0" fmla="*/ 0 w 69"/>
                <a:gd name="T1" fmla="*/ 64 h 139"/>
                <a:gd name="T2" fmla="*/ 56 w 69"/>
                <a:gd name="T3" fmla="*/ 3 h 139"/>
                <a:gd name="T4" fmla="*/ 65 w 69"/>
                <a:gd name="T5" fmla="*/ 15 h 139"/>
                <a:gd name="T6" fmla="*/ 25 w 69"/>
                <a:gd name="T7" fmla="*/ 139 h 139"/>
                <a:gd name="T8" fmla="*/ 0 w 69"/>
                <a:gd name="T9" fmla="*/ 64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39">
                  <a:moveTo>
                    <a:pt x="0" y="64"/>
                  </a:moveTo>
                  <a:cubicBezTo>
                    <a:pt x="56" y="3"/>
                    <a:pt x="56" y="3"/>
                    <a:pt x="56" y="3"/>
                  </a:cubicBezTo>
                  <a:cubicBezTo>
                    <a:pt x="63" y="0"/>
                    <a:pt x="69" y="8"/>
                    <a:pt x="65" y="15"/>
                  </a:cubicBezTo>
                  <a:cubicBezTo>
                    <a:pt x="25" y="139"/>
                    <a:pt x="25" y="139"/>
                    <a:pt x="25" y="139"/>
                  </a:cubicBezTo>
                  <a:lnTo>
                    <a:pt x="0" y="6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34">
              <a:extLst>
                <a:ext uri="{FF2B5EF4-FFF2-40B4-BE49-F238E27FC236}">
                  <a16:creationId xmlns:a16="http://schemas.microsoft.com/office/drawing/2014/main" id="{DC216905-5A27-4939-A250-36C96EF56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825" y="3862388"/>
              <a:ext cx="128588" cy="325438"/>
            </a:xfrm>
            <a:custGeom>
              <a:avLst/>
              <a:gdLst>
                <a:gd name="T0" fmla="*/ 76 w 147"/>
                <a:gd name="T1" fmla="*/ 364 h 375"/>
                <a:gd name="T2" fmla="*/ 4 w 147"/>
                <a:gd name="T3" fmla="*/ 188 h 375"/>
                <a:gd name="T4" fmla="*/ 21 w 147"/>
                <a:gd name="T5" fmla="*/ 71 h 375"/>
                <a:gd name="T6" fmla="*/ 100 w 147"/>
                <a:gd name="T7" fmla="*/ 12 h 375"/>
                <a:gd name="T8" fmla="*/ 118 w 147"/>
                <a:gd name="T9" fmla="*/ 196 h 375"/>
                <a:gd name="T10" fmla="*/ 139 w 147"/>
                <a:gd name="T11" fmla="*/ 264 h 375"/>
                <a:gd name="T12" fmla="*/ 132 w 147"/>
                <a:gd name="T13" fmla="*/ 310 h 375"/>
                <a:gd name="T14" fmla="*/ 141 w 147"/>
                <a:gd name="T15" fmla="*/ 375 h 375"/>
                <a:gd name="T16" fmla="*/ 76 w 147"/>
                <a:gd name="T17" fmla="*/ 36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375">
                  <a:moveTo>
                    <a:pt x="76" y="364"/>
                  </a:moveTo>
                  <a:cubicBezTo>
                    <a:pt x="76" y="364"/>
                    <a:pt x="9" y="235"/>
                    <a:pt x="4" y="188"/>
                  </a:cubicBezTo>
                  <a:cubicBezTo>
                    <a:pt x="0" y="152"/>
                    <a:pt x="21" y="71"/>
                    <a:pt x="21" y="71"/>
                  </a:cubicBezTo>
                  <a:cubicBezTo>
                    <a:pt x="24" y="65"/>
                    <a:pt x="85" y="0"/>
                    <a:pt x="100" y="12"/>
                  </a:cubicBezTo>
                  <a:cubicBezTo>
                    <a:pt x="139" y="42"/>
                    <a:pt x="118" y="196"/>
                    <a:pt x="118" y="196"/>
                  </a:cubicBezTo>
                  <a:cubicBezTo>
                    <a:pt x="118" y="196"/>
                    <a:pt x="147" y="237"/>
                    <a:pt x="139" y="264"/>
                  </a:cubicBezTo>
                  <a:cubicBezTo>
                    <a:pt x="132" y="310"/>
                    <a:pt x="132" y="310"/>
                    <a:pt x="132" y="310"/>
                  </a:cubicBezTo>
                  <a:cubicBezTo>
                    <a:pt x="141" y="375"/>
                    <a:pt x="141" y="375"/>
                    <a:pt x="141" y="375"/>
                  </a:cubicBezTo>
                  <a:lnTo>
                    <a:pt x="76" y="36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35">
              <a:extLst>
                <a:ext uri="{FF2B5EF4-FFF2-40B4-BE49-F238E27FC236}">
                  <a16:creationId xmlns:a16="http://schemas.microsoft.com/office/drawing/2014/main" id="{C3923817-D74E-4B33-8C58-146872B63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2125" y="1884363"/>
              <a:ext cx="125413" cy="74613"/>
            </a:xfrm>
            <a:custGeom>
              <a:avLst/>
              <a:gdLst>
                <a:gd name="T0" fmla="*/ 102 w 143"/>
                <a:gd name="T1" fmla="*/ 80 h 85"/>
                <a:gd name="T2" fmla="*/ 8 w 143"/>
                <a:gd name="T3" fmla="*/ 85 h 85"/>
                <a:gd name="T4" fmla="*/ 10 w 143"/>
                <a:gd name="T5" fmla="*/ 67 h 85"/>
                <a:gd name="T6" fmla="*/ 143 w 143"/>
                <a:gd name="T7" fmla="*/ 0 h 85"/>
                <a:gd name="T8" fmla="*/ 102 w 143"/>
                <a:gd name="T9" fmla="*/ 8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85">
                  <a:moveTo>
                    <a:pt x="102" y="80"/>
                  </a:moveTo>
                  <a:cubicBezTo>
                    <a:pt x="8" y="85"/>
                    <a:pt x="8" y="85"/>
                    <a:pt x="8" y="85"/>
                  </a:cubicBezTo>
                  <a:cubicBezTo>
                    <a:pt x="0" y="81"/>
                    <a:pt x="2" y="69"/>
                    <a:pt x="10" y="67"/>
                  </a:cubicBezTo>
                  <a:cubicBezTo>
                    <a:pt x="143" y="0"/>
                    <a:pt x="143" y="0"/>
                    <a:pt x="143" y="0"/>
                  </a:cubicBezTo>
                  <a:lnTo>
                    <a:pt x="102" y="8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36">
              <a:extLst>
                <a:ext uri="{FF2B5EF4-FFF2-40B4-BE49-F238E27FC236}">
                  <a16:creationId xmlns:a16="http://schemas.microsoft.com/office/drawing/2014/main" id="{7426A101-A58E-46C2-B49A-4FE6C36D8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0" y="1812926"/>
              <a:ext cx="269875" cy="300038"/>
            </a:xfrm>
            <a:custGeom>
              <a:avLst/>
              <a:gdLst>
                <a:gd name="T0" fmla="*/ 310 w 310"/>
                <a:gd name="T1" fmla="*/ 62 h 347"/>
                <a:gd name="T2" fmla="*/ 227 w 310"/>
                <a:gd name="T3" fmla="*/ 262 h 347"/>
                <a:gd name="T4" fmla="*/ 119 w 310"/>
                <a:gd name="T5" fmla="*/ 341 h 347"/>
                <a:gd name="T6" fmla="*/ 7 w 310"/>
                <a:gd name="T7" fmla="*/ 325 h 347"/>
                <a:gd name="T8" fmla="*/ 141 w 310"/>
                <a:gd name="T9" fmla="*/ 163 h 347"/>
                <a:gd name="T10" fmla="*/ 179 w 310"/>
                <a:gd name="T11" fmla="*/ 91 h 347"/>
                <a:gd name="T12" fmla="*/ 222 w 310"/>
                <a:gd name="T13" fmla="*/ 60 h 347"/>
                <a:gd name="T14" fmla="*/ 266 w 310"/>
                <a:gd name="T15" fmla="*/ 0 h 347"/>
                <a:gd name="T16" fmla="*/ 310 w 310"/>
                <a:gd name="T17" fmla="*/ 6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0" h="347">
                  <a:moveTo>
                    <a:pt x="310" y="62"/>
                  </a:moveTo>
                  <a:cubicBezTo>
                    <a:pt x="310" y="62"/>
                    <a:pt x="261" y="219"/>
                    <a:pt x="227" y="262"/>
                  </a:cubicBezTo>
                  <a:cubicBezTo>
                    <a:pt x="201" y="293"/>
                    <a:pt x="119" y="341"/>
                    <a:pt x="119" y="341"/>
                  </a:cubicBezTo>
                  <a:cubicBezTo>
                    <a:pt x="112" y="343"/>
                    <a:pt x="10" y="347"/>
                    <a:pt x="7" y="325"/>
                  </a:cubicBezTo>
                  <a:cubicBezTo>
                    <a:pt x="0" y="270"/>
                    <a:pt x="141" y="163"/>
                    <a:pt x="141" y="163"/>
                  </a:cubicBezTo>
                  <a:cubicBezTo>
                    <a:pt x="141" y="163"/>
                    <a:pt x="151" y="107"/>
                    <a:pt x="179" y="91"/>
                  </a:cubicBezTo>
                  <a:cubicBezTo>
                    <a:pt x="222" y="60"/>
                    <a:pt x="222" y="60"/>
                    <a:pt x="222" y="60"/>
                  </a:cubicBezTo>
                  <a:cubicBezTo>
                    <a:pt x="266" y="0"/>
                    <a:pt x="266" y="0"/>
                    <a:pt x="266" y="0"/>
                  </a:cubicBezTo>
                  <a:lnTo>
                    <a:pt x="310" y="62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37">
              <a:extLst>
                <a:ext uri="{FF2B5EF4-FFF2-40B4-BE49-F238E27FC236}">
                  <a16:creationId xmlns:a16="http://schemas.microsoft.com/office/drawing/2014/main" id="{B39A04E4-C18F-40C2-A08C-09B14B453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0" y="2178051"/>
              <a:ext cx="53975" cy="130175"/>
            </a:xfrm>
            <a:custGeom>
              <a:avLst/>
              <a:gdLst>
                <a:gd name="T0" fmla="*/ 62 w 62"/>
                <a:gd name="T1" fmla="*/ 57 h 150"/>
                <a:gd name="T2" fmla="*/ 43 w 62"/>
                <a:gd name="T3" fmla="*/ 144 h 150"/>
                <a:gd name="T4" fmla="*/ 28 w 62"/>
                <a:gd name="T5" fmla="*/ 137 h 150"/>
                <a:gd name="T6" fmla="*/ 0 w 62"/>
                <a:gd name="T7" fmla="*/ 0 h 150"/>
                <a:gd name="T8" fmla="*/ 62 w 62"/>
                <a:gd name="T9" fmla="*/ 5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50">
                  <a:moveTo>
                    <a:pt x="62" y="57"/>
                  </a:moveTo>
                  <a:cubicBezTo>
                    <a:pt x="43" y="144"/>
                    <a:pt x="43" y="144"/>
                    <a:pt x="43" y="144"/>
                  </a:cubicBezTo>
                  <a:cubicBezTo>
                    <a:pt x="37" y="150"/>
                    <a:pt x="27" y="146"/>
                    <a:pt x="28" y="13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2" y="57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38">
              <a:extLst>
                <a:ext uri="{FF2B5EF4-FFF2-40B4-BE49-F238E27FC236}">
                  <a16:creationId xmlns:a16="http://schemas.microsoft.com/office/drawing/2014/main" id="{01117919-1C8D-4BA7-896A-2781C973E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3863" y="2085976"/>
              <a:ext cx="236538" cy="296863"/>
            </a:xfrm>
            <a:custGeom>
              <a:avLst/>
              <a:gdLst>
                <a:gd name="T0" fmla="*/ 66 w 272"/>
                <a:gd name="T1" fmla="*/ 0 h 344"/>
                <a:gd name="T2" fmla="*/ 227 w 272"/>
                <a:gd name="T3" fmla="*/ 126 h 344"/>
                <a:gd name="T4" fmla="*/ 272 w 272"/>
                <a:gd name="T5" fmla="*/ 243 h 344"/>
                <a:gd name="T6" fmla="*/ 230 w 272"/>
                <a:gd name="T7" fmla="*/ 341 h 344"/>
                <a:gd name="T8" fmla="*/ 116 w 272"/>
                <a:gd name="T9" fmla="*/ 178 h 344"/>
                <a:gd name="T10" fmla="*/ 60 w 272"/>
                <a:gd name="T11" fmla="*/ 126 h 344"/>
                <a:gd name="T12" fmla="*/ 43 w 272"/>
                <a:gd name="T13" fmla="*/ 80 h 344"/>
                <a:gd name="T14" fmla="*/ 0 w 272"/>
                <a:gd name="T15" fmla="*/ 24 h 344"/>
                <a:gd name="T16" fmla="*/ 66 w 272"/>
                <a:gd name="T17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44">
                  <a:moveTo>
                    <a:pt x="66" y="0"/>
                  </a:moveTo>
                  <a:cubicBezTo>
                    <a:pt x="66" y="0"/>
                    <a:pt x="197" y="84"/>
                    <a:pt x="227" y="126"/>
                  </a:cubicBezTo>
                  <a:cubicBezTo>
                    <a:pt x="249" y="156"/>
                    <a:pt x="272" y="243"/>
                    <a:pt x="272" y="243"/>
                  </a:cubicBezTo>
                  <a:cubicBezTo>
                    <a:pt x="272" y="250"/>
                    <a:pt x="250" y="344"/>
                    <a:pt x="230" y="341"/>
                  </a:cubicBezTo>
                  <a:cubicBezTo>
                    <a:pt x="178" y="333"/>
                    <a:pt x="116" y="178"/>
                    <a:pt x="116" y="178"/>
                  </a:cubicBezTo>
                  <a:cubicBezTo>
                    <a:pt x="116" y="178"/>
                    <a:pt x="67" y="156"/>
                    <a:pt x="60" y="126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0" y="24"/>
                    <a:pt x="0" y="24"/>
                    <a:pt x="0" y="24"/>
                  </a:cubicBezTo>
                  <a:lnTo>
                    <a:pt x="66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639">
              <a:extLst>
                <a:ext uri="{FF2B5EF4-FFF2-40B4-BE49-F238E27FC236}">
                  <a16:creationId xmlns:a16="http://schemas.microsoft.com/office/drawing/2014/main" id="{629DDDCB-389A-4C3F-B8C2-B1975DE17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300" y="3663951"/>
              <a:ext cx="136525" cy="68263"/>
            </a:xfrm>
            <a:custGeom>
              <a:avLst/>
              <a:gdLst>
                <a:gd name="T0" fmla="*/ 84 w 157"/>
                <a:gd name="T1" fmla="*/ 0 h 79"/>
                <a:gd name="T2" fmla="*/ 155 w 157"/>
                <a:gd name="T3" fmla="*/ 63 h 79"/>
                <a:gd name="T4" fmla="*/ 141 w 157"/>
                <a:gd name="T5" fmla="*/ 74 h 79"/>
                <a:gd name="T6" fmla="*/ 0 w 157"/>
                <a:gd name="T7" fmla="*/ 28 h 79"/>
                <a:gd name="T8" fmla="*/ 84 w 157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79">
                  <a:moveTo>
                    <a:pt x="84" y="0"/>
                  </a:moveTo>
                  <a:cubicBezTo>
                    <a:pt x="155" y="63"/>
                    <a:pt x="155" y="63"/>
                    <a:pt x="155" y="63"/>
                  </a:cubicBezTo>
                  <a:cubicBezTo>
                    <a:pt x="157" y="72"/>
                    <a:pt x="148" y="79"/>
                    <a:pt x="141" y="74"/>
                  </a:cubicBezTo>
                  <a:cubicBezTo>
                    <a:pt x="0" y="28"/>
                    <a:pt x="0" y="28"/>
                    <a:pt x="0" y="28"/>
                  </a:cubicBezTo>
                  <a:lnTo>
                    <a:pt x="84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640">
              <a:extLst>
                <a:ext uri="{FF2B5EF4-FFF2-40B4-BE49-F238E27FC236}">
                  <a16:creationId xmlns:a16="http://schemas.microsoft.com/office/drawing/2014/main" id="{7D37F57B-F65F-47C1-B204-0BE47F5BA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8638" y="3557588"/>
              <a:ext cx="369888" cy="144463"/>
            </a:xfrm>
            <a:custGeom>
              <a:avLst/>
              <a:gdLst>
                <a:gd name="T0" fmla="*/ 12 w 427"/>
                <a:gd name="T1" fmla="*/ 86 h 167"/>
                <a:gd name="T2" fmla="*/ 213 w 427"/>
                <a:gd name="T3" fmla="*/ 4 h 167"/>
                <a:gd name="T4" fmla="*/ 346 w 427"/>
                <a:gd name="T5" fmla="*/ 24 h 167"/>
                <a:gd name="T6" fmla="*/ 413 w 427"/>
                <a:gd name="T7" fmla="*/ 114 h 167"/>
                <a:gd name="T8" fmla="*/ 203 w 427"/>
                <a:gd name="T9" fmla="*/ 135 h 167"/>
                <a:gd name="T10" fmla="*/ 125 w 427"/>
                <a:gd name="T11" fmla="*/ 159 h 167"/>
                <a:gd name="T12" fmla="*/ 74 w 427"/>
                <a:gd name="T13" fmla="*/ 150 h 167"/>
                <a:gd name="T14" fmla="*/ 0 w 427"/>
                <a:gd name="T15" fmla="*/ 161 h 167"/>
                <a:gd name="T16" fmla="*/ 12 w 427"/>
                <a:gd name="T17" fmla="*/ 86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7" h="167">
                  <a:moveTo>
                    <a:pt x="12" y="86"/>
                  </a:moveTo>
                  <a:cubicBezTo>
                    <a:pt x="12" y="86"/>
                    <a:pt x="159" y="10"/>
                    <a:pt x="213" y="4"/>
                  </a:cubicBezTo>
                  <a:cubicBezTo>
                    <a:pt x="253" y="0"/>
                    <a:pt x="346" y="24"/>
                    <a:pt x="346" y="24"/>
                  </a:cubicBezTo>
                  <a:cubicBezTo>
                    <a:pt x="352" y="28"/>
                    <a:pt x="427" y="97"/>
                    <a:pt x="413" y="114"/>
                  </a:cubicBezTo>
                  <a:cubicBezTo>
                    <a:pt x="379" y="159"/>
                    <a:pt x="203" y="135"/>
                    <a:pt x="203" y="135"/>
                  </a:cubicBezTo>
                  <a:cubicBezTo>
                    <a:pt x="203" y="135"/>
                    <a:pt x="157" y="167"/>
                    <a:pt x="125" y="159"/>
                  </a:cubicBezTo>
                  <a:cubicBezTo>
                    <a:pt x="74" y="150"/>
                    <a:pt x="74" y="150"/>
                    <a:pt x="74" y="150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12" y="86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641">
              <a:extLst>
                <a:ext uri="{FF2B5EF4-FFF2-40B4-BE49-F238E27FC236}">
                  <a16:creationId xmlns:a16="http://schemas.microsoft.com/office/drawing/2014/main" id="{5EAD9F2B-E034-48BD-A535-033A20B88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8675" y="3889376"/>
              <a:ext cx="79375" cy="123825"/>
            </a:xfrm>
            <a:custGeom>
              <a:avLst/>
              <a:gdLst>
                <a:gd name="T0" fmla="*/ 91 w 91"/>
                <a:gd name="T1" fmla="*/ 55 h 143"/>
                <a:gd name="T2" fmla="*/ 14 w 91"/>
                <a:gd name="T3" fmla="*/ 0 h 143"/>
                <a:gd name="T4" fmla="*/ 6 w 91"/>
                <a:gd name="T5" fmla="*/ 16 h 143"/>
                <a:gd name="T6" fmla="*/ 83 w 91"/>
                <a:gd name="T7" fmla="*/ 143 h 143"/>
                <a:gd name="T8" fmla="*/ 91 w 91"/>
                <a:gd name="T9" fmla="*/ 5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43">
                  <a:moveTo>
                    <a:pt x="91" y="55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5" y="0"/>
                    <a:pt x="0" y="10"/>
                    <a:pt x="6" y="16"/>
                  </a:cubicBezTo>
                  <a:cubicBezTo>
                    <a:pt x="83" y="143"/>
                    <a:pt x="83" y="143"/>
                    <a:pt x="83" y="143"/>
                  </a:cubicBezTo>
                  <a:lnTo>
                    <a:pt x="91" y="5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642">
              <a:extLst>
                <a:ext uri="{FF2B5EF4-FFF2-40B4-BE49-F238E27FC236}">
                  <a16:creationId xmlns:a16="http://schemas.microsoft.com/office/drawing/2014/main" id="{C156ADCF-6464-4258-AFE9-156634CFA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9788" y="3733801"/>
              <a:ext cx="169863" cy="373063"/>
            </a:xfrm>
            <a:custGeom>
              <a:avLst/>
              <a:gdLst>
                <a:gd name="T0" fmla="*/ 154 w 195"/>
                <a:gd name="T1" fmla="*/ 401 h 430"/>
                <a:gd name="T2" fmla="*/ 188 w 195"/>
                <a:gd name="T3" fmla="*/ 187 h 430"/>
                <a:gd name="T4" fmla="*/ 139 w 195"/>
                <a:gd name="T5" fmla="*/ 62 h 430"/>
                <a:gd name="T6" fmla="*/ 36 w 195"/>
                <a:gd name="T7" fmla="*/ 17 h 430"/>
                <a:gd name="T8" fmla="*/ 64 w 195"/>
                <a:gd name="T9" fmla="*/ 226 h 430"/>
                <a:gd name="T10" fmla="*/ 58 w 195"/>
                <a:gd name="T11" fmla="*/ 307 h 430"/>
                <a:gd name="T12" fmla="*/ 78 w 195"/>
                <a:gd name="T13" fmla="*/ 356 h 430"/>
                <a:gd name="T14" fmla="*/ 84 w 195"/>
                <a:gd name="T15" fmla="*/ 430 h 430"/>
                <a:gd name="T16" fmla="*/ 154 w 195"/>
                <a:gd name="T17" fmla="*/ 401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5" h="430">
                  <a:moveTo>
                    <a:pt x="154" y="401"/>
                  </a:moveTo>
                  <a:cubicBezTo>
                    <a:pt x="154" y="401"/>
                    <a:pt x="195" y="241"/>
                    <a:pt x="188" y="187"/>
                  </a:cubicBezTo>
                  <a:cubicBezTo>
                    <a:pt x="183" y="147"/>
                    <a:pt x="139" y="62"/>
                    <a:pt x="139" y="62"/>
                  </a:cubicBezTo>
                  <a:cubicBezTo>
                    <a:pt x="134" y="57"/>
                    <a:pt x="49" y="0"/>
                    <a:pt x="36" y="17"/>
                  </a:cubicBezTo>
                  <a:cubicBezTo>
                    <a:pt x="0" y="60"/>
                    <a:pt x="64" y="226"/>
                    <a:pt x="64" y="226"/>
                  </a:cubicBezTo>
                  <a:cubicBezTo>
                    <a:pt x="64" y="226"/>
                    <a:pt x="42" y="278"/>
                    <a:pt x="58" y="307"/>
                  </a:cubicBezTo>
                  <a:cubicBezTo>
                    <a:pt x="78" y="356"/>
                    <a:pt x="78" y="356"/>
                    <a:pt x="78" y="356"/>
                  </a:cubicBezTo>
                  <a:cubicBezTo>
                    <a:pt x="84" y="430"/>
                    <a:pt x="84" y="430"/>
                    <a:pt x="84" y="430"/>
                  </a:cubicBezTo>
                  <a:lnTo>
                    <a:pt x="154" y="401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43">
              <a:extLst>
                <a:ext uri="{FF2B5EF4-FFF2-40B4-BE49-F238E27FC236}">
                  <a16:creationId xmlns:a16="http://schemas.microsoft.com/office/drawing/2014/main" id="{D6E74FD4-7AEA-4F20-8A93-3423D736D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2563" y="1601788"/>
              <a:ext cx="141288" cy="46038"/>
            </a:xfrm>
            <a:custGeom>
              <a:avLst/>
              <a:gdLst>
                <a:gd name="T0" fmla="*/ 72 w 163"/>
                <a:gd name="T1" fmla="*/ 54 h 54"/>
                <a:gd name="T2" fmla="*/ 158 w 163"/>
                <a:gd name="T3" fmla="*/ 17 h 54"/>
                <a:gd name="T4" fmla="*/ 149 w 163"/>
                <a:gd name="T5" fmla="*/ 2 h 54"/>
                <a:gd name="T6" fmla="*/ 0 w 163"/>
                <a:gd name="T7" fmla="*/ 1 h 54"/>
                <a:gd name="T8" fmla="*/ 72 w 163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" h="54">
                  <a:moveTo>
                    <a:pt x="72" y="54"/>
                  </a:moveTo>
                  <a:cubicBezTo>
                    <a:pt x="158" y="17"/>
                    <a:pt x="158" y="17"/>
                    <a:pt x="158" y="17"/>
                  </a:cubicBezTo>
                  <a:cubicBezTo>
                    <a:pt x="163" y="10"/>
                    <a:pt x="157" y="0"/>
                    <a:pt x="149" y="2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72" y="5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44">
              <a:extLst>
                <a:ext uri="{FF2B5EF4-FFF2-40B4-BE49-F238E27FC236}">
                  <a16:creationId xmlns:a16="http://schemas.microsoft.com/office/drawing/2014/main" id="{2C72BB08-AA58-4219-96BB-3C81A4177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725" y="1563688"/>
              <a:ext cx="346075" cy="207963"/>
            </a:xfrm>
            <a:custGeom>
              <a:avLst/>
              <a:gdLst>
                <a:gd name="T0" fmla="*/ 0 w 397"/>
                <a:gd name="T1" fmla="*/ 75 h 240"/>
                <a:gd name="T2" fmla="*/ 164 w 397"/>
                <a:gd name="T3" fmla="*/ 216 h 240"/>
                <a:gd name="T4" fmla="*/ 296 w 397"/>
                <a:gd name="T5" fmla="*/ 240 h 240"/>
                <a:gd name="T6" fmla="*/ 389 w 397"/>
                <a:gd name="T7" fmla="*/ 176 h 240"/>
                <a:gd name="T8" fmla="*/ 197 w 397"/>
                <a:gd name="T9" fmla="*/ 90 h 240"/>
                <a:gd name="T10" fmla="*/ 130 w 397"/>
                <a:gd name="T11" fmla="*/ 42 h 240"/>
                <a:gd name="T12" fmla="*/ 79 w 397"/>
                <a:gd name="T13" fmla="*/ 34 h 240"/>
                <a:gd name="T14" fmla="*/ 12 w 397"/>
                <a:gd name="T15" fmla="*/ 0 h 240"/>
                <a:gd name="T16" fmla="*/ 0 w 397"/>
                <a:gd name="T17" fmla="*/ 75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7" h="240">
                  <a:moveTo>
                    <a:pt x="0" y="75"/>
                  </a:moveTo>
                  <a:cubicBezTo>
                    <a:pt x="0" y="75"/>
                    <a:pt x="115" y="194"/>
                    <a:pt x="164" y="216"/>
                  </a:cubicBezTo>
                  <a:cubicBezTo>
                    <a:pt x="201" y="233"/>
                    <a:pt x="296" y="240"/>
                    <a:pt x="296" y="240"/>
                  </a:cubicBezTo>
                  <a:cubicBezTo>
                    <a:pt x="304" y="238"/>
                    <a:pt x="397" y="196"/>
                    <a:pt x="389" y="176"/>
                  </a:cubicBezTo>
                  <a:cubicBezTo>
                    <a:pt x="371" y="123"/>
                    <a:pt x="197" y="90"/>
                    <a:pt x="197" y="90"/>
                  </a:cubicBezTo>
                  <a:cubicBezTo>
                    <a:pt x="197" y="90"/>
                    <a:pt x="163" y="44"/>
                    <a:pt x="130" y="42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0" y="7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45">
              <a:extLst>
                <a:ext uri="{FF2B5EF4-FFF2-40B4-BE49-F238E27FC236}">
                  <a16:creationId xmlns:a16="http://schemas.microsoft.com/office/drawing/2014/main" id="{892207D4-6937-4F24-8EC5-7F4C7EF1C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3350" y="3654426"/>
              <a:ext cx="560388" cy="444500"/>
            </a:xfrm>
            <a:custGeom>
              <a:avLst/>
              <a:gdLst>
                <a:gd name="T0" fmla="*/ 457 w 645"/>
                <a:gd name="T1" fmla="*/ 331 h 513"/>
                <a:gd name="T2" fmla="*/ 25 w 645"/>
                <a:gd name="T3" fmla="*/ 70 h 513"/>
                <a:gd name="T4" fmla="*/ 0 w 645"/>
                <a:gd name="T5" fmla="*/ 60 h 513"/>
                <a:gd name="T6" fmla="*/ 25 w 645"/>
                <a:gd name="T7" fmla="*/ 0 h 513"/>
                <a:gd name="T8" fmla="*/ 564 w 645"/>
                <a:gd name="T9" fmla="*/ 189 h 513"/>
                <a:gd name="T10" fmla="*/ 609 w 645"/>
                <a:gd name="T11" fmla="*/ 463 h 513"/>
                <a:gd name="T12" fmla="*/ 457 w 645"/>
                <a:gd name="T13" fmla="*/ 331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5" h="513">
                  <a:moveTo>
                    <a:pt x="457" y="331"/>
                  </a:moveTo>
                  <a:cubicBezTo>
                    <a:pt x="457" y="331"/>
                    <a:pt x="135" y="136"/>
                    <a:pt x="25" y="70"/>
                  </a:cubicBezTo>
                  <a:cubicBezTo>
                    <a:pt x="18" y="65"/>
                    <a:pt x="9" y="62"/>
                    <a:pt x="0" y="60"/>
                  </a:cubicBezTo>
                  <a:cubicBezTo>
                    <a:pt x="8" y="40"/>
                    <a:pt x="15" y="19"/>
                    <a:pt x="25" y="0"/>
                  </a:cubicBezTo>
                  <a:cubicBezTo>
                    <a:pt x="210" y="59"/>
                    <a:pt x="544" y="170"/>
                    <a:pt x="564" y="189"/>
                  </a:cubicBezTo>
                  <a:cubicBezTo>
                    <a:pt x="630" y="255"/>
                    <a:pt x="645" y="331"/>
                    <a:pt x="609" y="463"/>
                  </a:cubicBezTo>
                  <a:cubicBezTo>
                    <a:pt x="595" y="513"/>
                    <a:pt x="475" y="504"/>
                    <a:pt x="457" y="331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46">
              <a:extLst>
                <a:ext uri="{FF2B5EF4-FFF2-40B4-BE49-F238E27FC236}">
                  <a16:creationId xmlns:a16="http://schemas.microsoft.com/office/drawing/2014/main" id="{AC7C4A95-0C82-49AA-B03E-AF87CC52F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5713" y="3678238"/>
              <a:ext cx="122238" cy="53975"/>
            </a:xfrm>
            <a:custGeom>
              <a:avLst/>
              <a:gdLst>
                <a:gd name="T0" fmla="*/ 69 w 141"/>
                <a:gd name="T1" fmla="*/ 0 h 63"/>
                <a:gd name="T2" fmla="*/ 3 w 141"/>
                <a:gd name="T3" fmla="*/ 49 h 63"/>
                <a:gd name="T4" fmla="*/ 14 w 141"/>
                <a:gd name="T5" fmla="*/ 60 h 63"/>
                <a:gd name="T6" fmla="*/ 141 w 141"/>
                <a:gd name="T7" fmla="*/ 30 h 63"/>
                <a:gd name="T8" fmla="*/ 69 w 141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63">
                  <a:moveTo>
                    <a:pt x="69" y="0"/>
                  </a:moveTo>
                  <a:cubicBezTo>
                    <a:pt x="3" y="49"/>
                    <a:pt x="3" y="49"/>
                    <a:pt x="3" y="49"/>
                  </a:cubicBezTo>
                  <a:cubicBezTo>
                    <a:pt x="0" y="56"/>
                    <a:pt x="7" y="63"/>
                    <a:pt x="14" y="60"/>
                  </a:cubicBezTo>
                  <a:cubicBezTo>
                    <a:pt x="141" y="30"/>
                    <a:pt x="141" y="30"/>
                    <a:pt x="141" y="30"/>
                  </a:cubicBezTo>
                  <a:lnTo>
                    <a:pt x="69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47">
              <a:extLst>
                <a:ext uri="{FF2B5EF4-FFF2-40B4-BE49-F238E27FC236}">
                  <a16:creationId xmlns:a16="http://schemas.microsoft.com/office/drawing/2014/main" id="{5805AC09-5D4C-4B51-A1D5-01A485911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8238" y="3581401"/>
              <a:ext cx="320675" cy="138113"/>
            </a:xfrm>
            <a:custGeom>
              <a:avLst/>
              <a:gdLst>
                <a:gd name="T0" fmla="*/ 364 w 369"/>
                <a:gd name="T1" fmla="*/ 94 h 160"/>
                <a:gd name="T2" fmla="*/ 194 w 369"/>
                <a:gd name="T3" fmla="*/ 7 h 160"/>
                <a:gd name="T4" fmla="*/ 77 w 369"/>
                <a:gd name="T5" fmla="*/ 14 h 160"/>
                <a:gd name="T6" fmla="*/ 11 w 369"/>
                <a:gd name="T7" fmla="*/ 88 h 160"/>
                <a:gd name="T8" fmla="*/ 193 w 369"/>
                <a:gd name="T9" fmla="*/ 121 h 160"/>
                <a:gd name="T10" fmla="*/ 259 w 369"/>
                <a:gd name="T11" fmla="*/ 148 h 160"/>
                <a:gd name="T12" fmla="*/ 305 w 369"/>
                <a:gd name="T13" fmla="*/ 145 h 160"/>
                <a:gd name="T14" fmla="*/ 369 w 369"/>
                <a:gd name="T15" fmla="*/ 160 h 160"/>
                <a:gd name="T16" fmla="*/ 364 w 369"/>
                <a:gd name="T17" fmla="*/ 9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9" h="160">
                  <a:moveTo>
                    <a:pt x="364" y="94"/>
                  </a:moveTo>
                  <a:cubicBezTo>
                    <a:pt x="364" y="94"/>
                    <a:pt x="241" y="16"/>
                    <a:pt x="194" y="7"/>
                  </a:cubicBezTo>
                  <a:cubicBezTo>
                    <a:pt x="160" y="0"/>
                    <a:pt x="77" y="14"/>
                    <a:pt x="77" y="14"/>
                  </a:cubicBezTo>
                  <a:cubicBezTo>
                    <a:pt x="71" y="17"/>
                    <a:pt x="0" y="72"/>
                    <a:pt x="11" y="88"/>
                  </a:cubicBezTo>
                  <a:cubicBezTo>
                    <a:pt x="37" y="129"/>
                    <a:pt x="193" y="121"/>
                    <a:pt x="193" y="121"/>
                  </a:cubicBezTo>
                  <a:cubicBezTo>
                    <a:pt x="193" y="121"/>
                    <a:pt x="231" y="154"/>
                    <a:pt x="259" y="148"/>
                  </a:cubicBezTo>
                  <a:cubicBezTo>
                    <a:pt x="305" y="145"/>
                    <a:pt x="305" y="145"/>
                    <a:pt x="305" y="145"/>
                  </a:cubicBezTo>
                  <a:cubicBezTo>
                    <a:pt x="369" y="160"/>
                    <a:pt x="369" y="160"/>
                    <a:pt x="369" y="160"/>
                  </a:cubicBezTo>
                  <a:lnTo>
                    <a:pt x="364" y="9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48">
              <a:extLst>
                <a:ext uri="{FF2B5EF4-FFF2-40B4-BE49-F238E27FC236}">
                  <a16:creationId xmlns:a16="http://schemas.microsoft.com/office/drawing/2014/main" id="{6E8DDD96-A420-4C14-9DDB-137E1B5A7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7413" y="4410076"/>
              <a:ext cx="741363" cy="619125"/>
            </a:xfrm>
            <a:custGeom>
              <a:avLst/>
              <a:gdLst>
                <a:gd name="T0" fmla="*/ 782 w 853"/>
                <a:gd name="T1" fmla="*/ 595 h 715"/>
                <a:gd name="T2" fmla="*/ 50 w 853"/>
                <a:gd name="T3" fmla="*/ 266 h 715"/>
                <a:gd name="T4" fmla="*/ 0 w 853"/>
                <a:gd name="T5" fmla="*/ 45 h 715"/>
                <a:gd name="T6" fmla="*/ 145 w 853"/>
                <a:gd name="T7" fmla="*/ 0 h 715"/>
                <a:gd name="T8" fmla="*/ 217 w 853"/>
                <a:gd name="T9" fmla="*/ 138 h 715"/>
                <a:gd name="T10" fmla="*/ 658 w 853"/>
                <a:gd name="T11" fmla="*/ 337 h 715"/>
                <a:gd name="T12" fmla="*/ 782 w 853"/>
                <a:gd name="T13" fmla="*/ 59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3" h="715">
                  <a:moveTo>
                    <a:pt x="782" y="595"/>
                  </a:moveTo>
                  <a:cubicBezTo>
                    <a:pt x="611" y="715"/>
                    <a:pt x="352" y="499"/>
                    <a:pt x="50" y="26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658" y="337"/>
                    <a:pt x="658" y="337"/>
                    <a:pt x="658" y="337"/>
                  </a:cubicBezTo>
                  <a:cubicBezTo>
                    <a:pt x="658" y="337"/>
                    <a:pt x="853" y="545"/>
                    <a:pt x="782" y="595"/>
                  </a:cubicBezTo>
                  <a:close/>
                </a:path>
              </a:pathLst>
            </a:custGeom>
            <a:solidFill>
              <a:srgbClr val="F0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49">
              <a:extLst>
                <a:ext uri="{FF2B5EF4-FFF2-40B4-BE49-F238E27FC236}">
                  <a16:creationId xmlns:a16="http://schemas.microsoft.com/office/drawing/2014/main" id="{AD094C47-0B90-4A5F-ACB0-A77873E8A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8463" y="3744913"/>
              <a:ext cx="541338" cy="803275"/>
            </a:xfrm>
            <a:custGeom>
              <a:avLst/>
              <a:gdLst>
                <a:gd name="T0" fmla="*/ 475 w 623"/>
                <a:gd name="T1" fmla="*/ 866 h 927"/>
                <a:gd name="T2" fmla="*/ 277 w 623"/>
                <a:gd name="T3" fmla="*/ 87 h 927"/>
                <a:gd name="T4" fmla="*/ 69 w 623"/>
                <a:gd name="T5" fmla="*/ 0 h 927"/>
                <a:gd name="T6" fmla="*/ 0 w 623"/>
                <a:gd name="T7" fmla="*/ 135 h 927"/>
                <a:gd name="T8" fmla="*/ 123 w 623"/>
                <a:gd name="T9" fmla="*/ 230 h 927"/>
                <a:gd name="T10" fmla="*/ 242 w 623"/>
                <a:gd name="T11" fmla="*/ 698 h 927"/>
                <a:gd name="T12" fmla="*/ 475 w 623"/>
                <a:gd name="T13" fmla="*/ 866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3" h="927">
                  <a:moveTo>
                    <a:pt x="475" y="866"/>
                  </a:moveTo>
                  <a:cubicBezTo>
                    <a:pt x="623" y="718"/>
                    <a:pt x="455" y="426"/>
                    <a:pt x="277" y="87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23" y="230"/>
                    <a:pt x="123" y="230"/>
                    <a:pt x="123" y="230"/>
                  </a:cubicBezTo>
                  <a:cubicBezTo>
                    <a:pt x="242" y="698"/>
                    <a:pt x="242" y="698"/>
                    <a:pt x="242" y="698"/>
                  </a:cubicBezTo>
                  <a:cubicBezTo>
                    <a:pt x="242" y="698"/>
                    <a:pt x="413" y="927"/>
                    <a:pt x="475" y="866"/>
                  </a:cubicBezTo>
                  <a:close/>
                </a:path>
              </a:pathLst>
            </a:custGeom>
            <a:solidFill>
              <a:srgbClr val="F0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50">
              <a:extLst>
                <a:ext uri="{FF2B5EF4-FFF2-40B4-BE49-F238E27FC236}">
                  <a16:creationId xmlns:a16="http://schemas.microsoft.com/office/drawing/2014/main" id="{C0B1BB2C-C3ED-4B61-9DA1-C7072BB18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8125" y="4386263"/>
              <a:ext cx="647700" cy="642938"/>
            </a:xfrm>
            <a:custGeom>
              <a:avLst/>
              <a:gdLst>
                <a:gd name="T0" fmla="*/ 126 w 744"/>
                <a:gd name="T1" fmla="*/ 592 h 742"/>
                <a:gd name="T2" fmla="*/ 144 w 744"/>
                <a:gd name="T3" fmla="*/ 114 h 742"/>
                <a:gd name="T4" fmla="*/ 618 w 744"/>
                <a:gd name="T5" fmla="*/ 179 h 742"/>
                <a:gd name="T6" fmla="*/ 536 w 744"/>
                <a:gd name="T7" fmla="*/ 581 h 742"/>
                <a:gd name="T8" fmla="*/ 126 w 744"/>
                <a:gd name="T9" fmla="*/ 59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4" h="742">
                  <a:moveTo>
                    <a:pt x="126" y="592"/>
                  </a:moveTo>
                  <a:cubicBezTo>
                    <a:pt x="0" y="442"/>
                    <a:pt x="8" y="228"/>
                    <a:pt x="144" y="114"/>
                  </a:cubicBezTo>
                  <a:cubicBezTo>
                    <a:pt x="280" y="0"/>
                    <a:pt x="492" y="30"/>
                    <a:pt x="618" y="179"/>
                  </a:cubicBezTo>
                  <a:cubicBezTo>
                    <a:pt x="744" y="329"/>
                    <a:pt x="672" y="467"/>
                    <a:pt x="536" y="581"/>
                  </a:cubicBezTo>
                  <a:cubicBezTo>
                    <a:pt x="400" y="695"/>
                    <a:pt x="252" y="742"/>
                    <a:pt x="126" y="592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651">
              <a:extLst>
                <a:ext uri="{FF2B5EF4-FFF2-40B4-BE49-F238E27FC236}">
                  <a16:creationId xmlns:a16="http://schemas.microsoft.com/office/drawing/2014/main" id="{62EA7D3A-2C6D-4703-B938-1A72813270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4446588"/>
              <a:ext cx="128588" cy="127000"/>
            </a:xfrm>
            <a:custGeom>
              <a:avLst/>
              <a:gdLst>
                <a:gd name="T0" fmla="*/ 65 w 147"/>
                <a:gd name="T1" fmla="*/ 12 h 147"/>
                <a:gd name="T2" fmla="*/ 147 w 147"/>
                <a:gd name="T3" fmla="*/ 41 h 147"/>
                <a:gd name="T4" fmla="*/ 21 w 147"/>
                <a:gd name="T5" fmla="*/ 147 h 147"/>
                <a:gd name="T6" fmla="*/ 6 w 147"/>
                <a:gd name="T7" fmla="*/ 61 h 147"/>
                <a:gd name="T8" fmla="*/ 65 w 147"/>
                <a:gd name="T9" fmla="*/ 1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47">
                  <a:moveTo>
                    <a:pt x="65" y="12"/>
                  </a:moveTo>
                  <a:cubicBezTo>
                    <a:pt x="147" y="41"/>
                    <a:pt x="147" y="41"/>
                    <a:pt x="147" y="41"/>
                  </a:cubicBezTo>
                  <a:cubicBezTo>
                    <a:pt x="21" y="147"/>
                    <a:pt x="21" y="147"/>
                    <a:pt x="21" y="147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0" y="28"/>
                    <a:pt x="33" y="0"/>
                    <a:pt x="65" y="12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652">
              <a:extLst>
                <a:ext uri="{FF2B5EF4-FFF2-40B4-BE49-F238E27FC236}">
                  <a16:creationId xmlns:a16="http://schemas.microsoft.com/office/drawing/2014/main" id="{F0B7242C-F351-458A-8869-A197E91EE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8938" y="4338638"/>
              <a:ext cx="515938" cy="568325"/>
            </a:xfrm>
            <a:custGeom>
              <a:avLst/>
              <a:gdLst>
                <a:gd name="T0" fmla="*/ 160 w 595"/>
                <a:gd name="T1" fmla="*/ 442 h 656"/>
                <a:gd name="T2" fmla="*/ 386 w 595"/>
                <a:gd name="T3" fmla="*/ 656 h 656"/>
                <a:gd name="T4" fmla="*/ 480 w 595"/>
                <a:gd name="T5" fmla="*/ 214 h 656"/>
                <a:gd name="T6" fmla="*/ 7 w 595"/>
                <a:gd name="T7" fmla="*/ 2 h 656"/>
                <a:gd name="T8" fmla="*/ 75 w 595"/>
                <a:gd name="T9" fmla="*/ 125 h 656"/>
                <a:gd name="T10" fmla="*/ 0 w 595"/>
                <a:gd name="T11" fmla="*/ 259 h 656"/>
                <a:gd name="T12" fmla="*/ 160 w 595"/>
                <a:gd name="T13" fmla="*/ 442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5" h="656">
                  <a:moveTo>
                    <a:pt x="160" y="442"/>
                  </a:moveTo>
                  <a:cubicBezTo>
                    <a:pt x="201" y="515"/>
                    <a:pt x="315" y="605"/>
                    <a:pt x="386" y="656"/>
                  </a:cubicBezTo>
                  <a:cubicBezTo>
                    <a:pt x="510" y="548"/>
                    <a:pt x="595" y="352"/>
                    <a:pt x="480" y="214"/>
                  </a:cubicBezTo>
                  <a:cubicBezTo>
                    <a:pt x="300" y="0"/>
                    <a:pt x="7" y="1"/>
                    <a:pt x="7" y="2"/>
                  </a:cubicBezTo>
                  <a:cubicBezTo>
                    <a:pt x="50" y="45"/>
                    <a:pt x="77" y="72"/>
                    <a:pt x="75" y="125"/>
                  </a:cubicBezTo>
                  <a:cubicBezTo>
                    <a:pt x="72" y="191"/>
                    <a:pt x="6" y="209"/>
                    <a:pt x="0" y="259"/>
                  </a:cubicBezTo>
                  <a:cubicBezTo>
                    <a:pt x="72" y="330"/>
                    <a:pt x="137" y="401"/>
                    <a:pt x="160" y="442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53">
              <a:extLst>
                <a:ext uri="{FF2B5EF4-FFF2-40B4-BE49-F238E27FC236}">
                  <a16:creationId xmlns:a16="http://schemas.microsoft.com/office/drawing/2014/main" id="{568C3011-C16C-47F4-AAEF-A0553EBB5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7163" y="4548188"/>
              <a:ext cx="561975" cy="501650"/>
            </a:xfrm>
            <a:custGeom>
              <a:avLst/>
              <a:gdLst>
                <a:gd name="T0" fmla="*/ 645 w 646"/>
                <a:gd name="T1" fmla="*/ 419 h 580"/>
                <a:gd name="T2" fmla="*/ 646 w 646"/>
                <a:gd name="T3" fmla="*/ 418 h 580"/>
                <a:gd name="T4" fmla="*/ 420 w 646"/>
                <a:gd name="T5" fmla="*/ 203 h 580"/>
                <a:gd name="T6" fmla="*/ 262 w 646"/>
                <a:gd name="T7" fmla="*/ 22 h 580"/>
                <a:gd name="T8" fmla="*/ 221 w 646"/>
                <a:gd name="T9" fmla="*/ 71 h 580"/>
                <a:gd name="T10" fmla="*/ 115 w 646"/>
                <a:gd name="T11" fmla="*/ 1 h 580"/>
                <a:gd name="T12" fmla="*/ 207 w 646"/>
                <a:gd name="T13" fmla="*/ 451 h 580"/>
                <a:gd name="T14" fmla="*/ 645 w 646"/>
                <a:gd name="T15" fmla="*/ 419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6" h="580">
                  <a:moveTo>
                    <a:pt x="645" y="419"/>
                  </a:moveTo>
                  <a:cubicBezTo>
                    <a:pt x="646" y="418"/>
                    <a:pt x="646" y="418"/>
                    <a:pt x="646" y="418"/>
                  </a:cubicBezTo>
                  <a:cubicBezTo>
                    <a:pt x="575" y="366"/>
                    <a:pt x="461" y="276"/>
                    <a:pt x="420" y="203"/>
                  </a:cubicBezTo>
                  <a:cubicBezTo>
                    <a:pt x="397" y="162"/>
                    <a:pt x="333" y="93"/>
                    <a:pt x="262" y="22"/>
                  </a:cubicBezTo>
                  <a:cubicBezTo>
                    <a:pt x="248" y="44"/>
                    <a:pt x="234" y="59"/>
                    <a:pt x="221" y="71"/>
                  </a:cubicBezTo>
                  <a:cubicBezTo>
                    <a:pt x="174" y="114"/>
                    <a:pt x="135" y="30"/>
                    <a:pt x="115" y="1"/>
                  </a:cubicBezTo>
                  <a:cubicBezTo>
                    <a:pt x="114" y="0"/>
                    <a:pt x="0" y="211"/>
                    <a:pt x="207" y="451"/>
                  </a:cubicBezTo>
                  <a:cubicBezTo>
                    <a:pt x="317" y="580"/>
                    <a:pt x="525" y="520"/>
                    <a:pt x="645" y="419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654">
              <a:extLst>
                <a:ext uri="{FF2B5EF4-FFF2-40B4-BE49-F238E27FC236}">
                  <a16:creationId xmlns:a16="http://schemas.microsoft.com/office/drawing/2014/main" id="{5DF74336-67F6-43D6-9FAF-C2B88F801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188" y="4548188"/>
              <a:ext cx="488950" cy="501650"/>
            </a:xfrm>
            <a:custGeom>
              <a:avLst/>
              <a:gdLst>
                <a:gd name="T0" fmla="*/ 124 w 563"/>
                <a:gd name="T1" fmla="*/ 451 h 580"/>
                <a:gd name="T2" fmla="*/ 37 w 563"/>
                <a:gd name="T3" fmla="*/ 317 h 580"/>
                <a:gd name="T4" fmla="*/ 28 w 563"/>
                <a:gd name="T5" fmla="*/ 297 h 580"/>
                <a:gd name="T6" fmla="*/ 10 w 563"/>
                <a:gd name="T7" fmla="*/ 238 h 580"/>
                <a:gd name="T8" fmla="*/ 6 w 563"/>
                <a:gd name="T9" fmla="*/ 220 h 580"/>
                <a:gd name="T10" fmla="*/ 2 w 563"/>
                <a:gd name="T11" fmla="*/ 193 h 580"/>
                <a:gd name="T12" fmla="*/ 1 w 563"/>
                <a:gd name="T13" fmla="*/ 176 h 580"/>
                <a:gd name="T14" fmla="*/ 0 w 563"/>
                <a:gd name="T15" fmla="*/ 167 h 580"/>
                <a:gd name="T16" fmla="*/ 0 w 563"/>
                <a:gd name="T17" fmla="*/ 151 h 580"/>
                <a:gd name="T18" fmla="*/ 0 w 563"/>
                <a:gd name="T19" fmla="*/ 128 h 580"/>
                <a:gd name="T20" fmla="*/ 1 w 563"/>
                <a:gd name="T21" fmla="*/ 114 h 580"/>
                <a:gd name="T22" fmla="*/ 32 w 563"/>
                <a:gd name="T23" fmla="*/ 1 h 580"/>
                <a:gd name="T24" fmla="*/ 89 w 563"/>
                <a:gd name="T25" fmla="*/ 43 h 580"/>
                <a:gd name="T26" fmla="*/ 179 w 563"/>
                <a:gd name="T27" fmla="*/ 22 h 580"/>
                <a:gd name="T28" fmla="*/ 337 w 563"/>
                <a:gd name="T29" fmla="*/ 203 h 580"/>
                <a:gd name="T30" fmla="*/ 552 w 563"/>
                <a:gd name="T31" fmla="*/ 410 h 580"/>
                <a:gd name="T32" fmla="*/ 563 w 563"/>
                <a:gd name="T33" fmla="*/ 418 h 580"/>
                <a:gd name="T34" fmla="*/ 562 w 563"/>
                <a:gd name="T35" fmla="*/ 419 h 580"/>
                <a:gd name="T36" fmla="*/ 124 w 563"/>
                <a:gd name="T37" fmla="*/ 451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3" h="580">
                  <a:moveTo>
                    <a:pt x="124" y="451"/>
                  </a:moveTo>
                  <a:cubicBezTo>
                    <a:pt x="84" y="405"/>
                    <a:pt x="56" y="360"/>
                    <a:pt x="37" y="317"/>
                  </a:cubicBezTo>
                  <a:cubicBezTo>
                    <a:pt x="34" y="310"/>
                    <a:pt x="31" y="303"/>
                    <a:pt x="28" y="297"/>
                  </a:cubicBezTo>
                  <a:cubicBezTo>
                    <a:pt x="21" y="276"/>
                    <a:pt x="15" y="257"/>
                    <a:pt x="10" y="238"/>
                  </a:cubicBezTo>
                  <a:cubicBezTo>
                    <a:pt x="9" y="232"/>
                    <a:pt x="8" y="226"/>
                    <a:pt x="6" y="220"/>
                  </a:cubicBezTo>
                  <a:cubicBezTo>
                    <a:pt x="5" y="211"/>
                    <a:pt x="3" y="202"/>
                    <a:pt x="2" y="193"/>
                  </a:cubicBezTo>
                  <a:cubicBezTo>
                    <a:pt x="2" y="187"/>
                    <a:pt x="1" y="181"/>
                    <a:pt x="1" y="176"/>
                  </a:cubicBezTo>
                  <a:cubicBezTo>
                    <a:pt x="1" y="173"/>
                    <a:pt x="0" y="170"/>
                    <a:pt x="0" y="167"/>
                  </a:cubicBezTo>
                  <a:cubicBezTo>
                    <a:pt x="0" y="162"/>
                    <a:pt x="0" y="156"/>
                    <a:pt x="0" y="151"/>
                  </a:cubicBezTo>
                  <a:cubicBezTo>
                    <a:pt x="0" y="143"/>
                    <a:pt x="0" y="136"/>
                    <a:pt x="0" y="128"/>
                  </a:cubicBezTo>
                  <a:cubicBezTo>
                    <a:pt x="0" y="123"/>
                    <a:pt x="1" y="118"/>
                    <a:pt x="1" y="114"/>
                  </a:cubicBezTo>
                  <a:cubicBezTo>
                    <a:pt x="8" y="44"/>
                    <a:pt x="31" y="0"/>
                    <a:pt x="32" y="1"/>
                  </a:cubicBezTo>
                  <a:cubicBezTo>
                    <a:pt x="51" y="27"/>
                    <a:pt x="70" y="39"/>
                    <a:pt x="89" y="43"/>
                  </a:cubicBezTo>
                  <a:cubicBezTo>
                    <a:pt x="126" y="52"/>
                    <a:pt x="160" y="31"/>
                    <a:pt x="179" y="22"/>
                  </a:cubicBezTo>
                  <a:cubicBezTo>
                    <a:pt x="250" y="93"/>
                    <a:pt x="314" y="162"/>
                    <a:pt x="337" y="203"/>
                  </a:cubicBezTo>
                  <a:cubicBezTo>
                    <a:pt x="376" y="273"/>
                    <a:pt x="480" y="357"/>
                    <a:pt x="552" y="410"/>
                  </a:cubicBezTo>
                  <a:cubicBezTo>
                    <a:pt x="556" y="413"/>
                    <a:pt x="559" y="415"/>
                    <a:pt x="563" y="418"/>
                  </a:cubicBezTo>
                  <a:cubicBezTo>
                    <a:pt x="562" y="419"/>
                    <a:pt x="562" y="419"/>
                    <a:pt x="562" y="419"/>
                  </a:cubicBezTo>
                  <a:cubicBezTo>
                    <a:pt x="442" y="520"/>
                    <a:pt x="234" y="580"/>
                    <a:pt x="124" y="451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655">
              <a:extLst>
                <a:ext uri="{FF2B5EF4-FFF2-40B4-BE49-F238E27FC236}">
                  <a16:creationId xmlns:a16="http://schemas.microsoft.com/office/drawing/2014/main" id="{6A6653D2-E8D9-4538-8A45-F09A8A86C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188" y="4548188"/>
              <a:ext cx="522288" cy="501650"/>
            </a:xfrm>
            <a:custGeom>
              <a:avLst/>
              <a:gdLst>
                <a:gd name="T0" fmla="*/ 124 w 602"/>
                <a:gd name="T1" fmla="*/ 451 h 580"/>
                <a:gd name="T2" fmla="*/ 37 w 602"/>
                <a:gd name="T3" fmla="*/ 317 h 580"/>
                <a:gd name="T4" fmla="*/ 28 w 602"/>
                <a:gd name="T5" fmla="*/ 297 h 580"/>
                <a:gd name="T6" fmla="*/ 10 w 602"/>
                <a:gd name="T7" fmla="*/ 238 h 580"/>
                <a:gd name="T8" fmla="*/ 6 w 602"/>
                <a:gd name="T9" fmla="*/ 220 h 580"/>
                <a:gd name="T10" fmla="*/ 2 w 602"/>
                <a:gd name="T11" fmla="*/ 193 h 580"/>
                <a:gd name="T12" fmla="*/ 1 w 602"/>
                <a:gd name="T13" fmla="*/ 176 h 580"/>
                <a:gd name="T14" fmla="*/ 0 w 602"/>
                <a:gd name="T15" fmla="*/ 167 h 580"/>
                <a:gd name="T16" fmla="*/ 0 w 602"/>
                <a:gd name="T17" fmla="*/ 151 h 580"/>
                <a:gd name="T18" fmla="*/ 0 w 602"/>
                <a:gd name="T19" fmla="*/ 128 h 580"/>
                <a:gd name="T20" fmla="*/ 1 w 602"/>
                <a:gd name="T21" fmla="*/ 114 h 580"/>
                <a:gd name="T22" fmla="*/ 32 w 602"/>
                <a:gd name="T23" fmla="*/ 1 h 580"/>
                <a:gd name="T24" fmla="*/ 89 w 602"/>
                <a:gd name="T25" fmla="*/ 43 h 580"/>
                <a:gd name="T26" fmla="*/ 207 w 602"/>
                <a:gd name="T27" fmla="*/ 381 h 580"/>
                <a:gd name="T28" fmla="*/ 552 w 602"/>
                <a:gd name="T29" fmla="*/ 410 h 580"/>
                <a:gd name="T30" fmla="*/ 602 w 602"/>
                <a:gd name="T31" fmla="*/ 381 h 580"/>
                <a:gd name="T32" fmla="*/ 567 w 602"/>
                <a:gd name="T33" fmla="*/ 414 h 580"/>
                <a:gd name="T34" fmla="*/ 563 w 602"/>
                <a:gd name="T35" fmla="*/ 418 h 580"/>
                <a:gd name="T36" fmla="*/ 562 w 602"/>
                <a:gd name="T37" fmla="*/ 419 h 580"/>
                <a:gd name="T38" fmla="*/ 124 w 602"/>
                <a:gd name="T39" fmla="*/ 451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02" h="580">
                  <a:moveTo>
                    <a:pt x="124" y="451"/>
                  </a:moveTo>
                  <a:cubicBezTo>
                    <a:pt x="84" y="405"/>
                    <a:pt x="56" y="360"/>
                    <a:pt x="37" y="317"/>
                  </a:cubicBezTo>
                  <a:cubicBezTo>
                    <a:pt x="34" y="310"/>
                    <a:pt x="31" y="303"/>
                    <a:pt x="28" y="297"/>
                  </a:cubicBezTo>
                  <a:cubicBezTo>
                    <a:pt x="21" y="276"/>
                    <a:pt x="15" y="257"/>
                    <a:pt x="10" y="238"/>
                  </a:cubicBezTo>
                  <a:cubicBezTo>
                    <a:pt x="9" y="232"/>
                    <a:pt x="8" y="226"/>
                    <a:pt x="6" y="220"/>
                  </a:cubicBezTo>
                  <a:cubicBezTo>
                    <a:pt x="5" y="211"/>
                    <a:pt x="3" y="202"/>
                    <a:pt x="2" y="193"/>
                  </a:cubicBezTo>
                  <a:cubicBezTo>
                    <a:pt x="2" y="187"/>
                    <a:pt x="1" y="181"/>
                    <a:pt x="1" y="176"/>
                  </a:cubicBezTo>
                  <a:cubicBezTo>
                    <a:pt x="1" y="173"/>
                    <a:pt x="0" y="170"/>
                    <a:pt x="0" y="167"/>
                  </a:cubicBezTo>
                  <a:cubicBezTo>
                    <a:pt x="0" y="162"/>
                    <a:pt x="0" y="156"/>
                    <a:pt x="0" y="151"/>
                  </a:cubicBezTo>
                  <a:cubicBezTo>
                    <a:pt x="0" y="143"/>
                    <a:pt x="0" y="136"/>
                    <a:pt x="0" y="128"/>
                  </a:cubicBezTo>
                  <a:cubicBezTo>
                    <a:pt x="1" y="123"/>
                    <a:pt x="1" y="118"/>
                    <a:pt x="1" y="114"/>
                  </a:cubicBezTo>
                  <a:cubicBezTo>
                    <a:pt x="8" y="44"/>
                    <a:pt x="31" y="0"/>
                    <a:pt x="32" y="1"/>
                  </a:cubicBezTo>
                  <a:cubicBezTo>
                    <a:pt x="51" y="27"/>
                    <a:pt x="70" y="39"/>
                    <a:pt x="89" y="43"/>
                  </a:cubicBezTo>
                  <a:cubicBezTo>
                    <a:pt x="88" y="125"/>
                    <a:pt x="106" y="264"/>
                    <a:pt x="207" y="381"/>
                  </a:cubicBezTo>
                  <a:cubicBezTo>
                    <a:pt x="292" y="481"/>
                    <a:pt x="436" y="467"/>
                    <a:pt x="552" y="410"/>
                  </a:cubicBezTo>
                  <a:cubicBezTo>
                    <a:pt x="569" y="401"/>
                    <a:pt x="586" y="392"/>
                    <a:pt x="602" y="381"/>
                  </a:cubicBezTo>
                  <a:cubicBezTo>
                    <a:pt x="591" y="393"/>
                    <a:pt x="579" y="404"/>
                    <a:pt x="567" y="414"/>
                  </a:cubicBezTo>
                  <a:cubicBezTo>
                    <a:pt x="566" y="415"/>
                    <a:pt x="565" y="417"/>
                    <a:pt x="563" y="418"/>
                  </a:cubicBezTo>
                  <a:cubicBezTo>
                    <a:pt x="562" y="419"/>
                    <a:pt x="562" y="419"/>
                    <a:pt x="562" y="419"/>
                  </a:cubicBezTo>
                  <a:cubicBezTo>
                    <a:pt x="442" y="520"/>
                    <a:pt x="234" y="580"/>
                    <a:pt x="124" y="451"/>
                  </a:cubicBezTo>
                  <a:close/>
                </a:path>
              </a:pathLst>
            </a:custGeom>
            <a:solidFill>
              <a:srgbClr val="D7A3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656">
              <a:extLst>
                <a:ext uri="{FF2B5EF4-FFF2-40B4-BE49-F238E27FC236}">
                  <a16:creationId xmlns:a16="http://schemas.microsoft.com/office/drawing/2014/main" id="{8CBD6E65-77C0-40CA-BC11-C7B16780A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5763" y="4562476"/>
              <a:ext cx="338138" cy="347663"/>
            </a:xfrm>
            <a:custGeom>
              <a:avLst/>
              <a:gdLst>
                <a:gd name="T0" fmla="*/ 158 w 389"/>
                <a:gd name="T1" fmla="*/ 186 h 401"/>
                <a:gd name="T2" fmla="*/ 384 w 389"/>
                <a:gd name="T3" fmla="*/ 401 h 401"/>
                <a:gd name="T4" fmla="*/ 389 w 389"/>
                <a:gd name="T5" fmla="*/ 397 h 401"/>
                <a:gd name="T6" fmla="*/ 163 w 389"/>
                <a:gd name="T7" fmla="*/ 183 h 401"/>
                <a:gd name="T8" fmla="*/ 3 w 389"/>
                <a:gd name="T9" fmla="*/ 0 h 401"/>
                <a:gd name="T10" fmla="*/ 0 w 389"/>
                <a:gd name="T11" fmla="*/ 5 h 401"/>
                <a:gd name="T12" fmla="*/ 158 w 389"/>
                <a:gd name="T13" fmla="*/ 186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9" h="401">
                  <a:moveTo>
                    <a:pt x="158" y="186"/>
                  </a:moveTo>
                  <a:cubicBezTo>
                    <a:pt x="199" y="259"/>
                    <a:pt x="313" y="349"/>
                    <a:pt x="384" y="401"/>
                  </a:cubicBezTo>
                  <a:cubicBezTo>
                    <a:pt x="386" y="400"/>
                    <a:pt x="387" y="398"/>
                    <a:pt x="389" y="397"/>
                  </a:cubicBezTo>
                  <a:cubicBezTo>
                    <a:pt x="318" y="346"/>
                    <a:pt x="204" y="256"/>
                    <a:pt x="163" y="183"/>
                  </a:cubicBezTo>
                  <a:cubicBezTo>
                    <a:pt x="140" y="142"/>
                    <a:pt x="75" y="71"/>
                    <a:pt x="3" y="0"/>
                  </a:cubicBezTo>
                  <a:cubicBezTo>
                    <a:pt x="2" y="2"/>
                    <a:pt x="1" y="4"/>
                    <a:pt x="0" y="5"/>
                  </a:cubicBezTo>
                  <a:cubicBezTo>
                    <a:pt x="71" y="76"/>
                    <a:pt x="135" y="145"/>
                    <a:pt x="158" y="186"/>
                  </a:cubicBezTo>
                  <a:close/>
                </a:path>
              </a:pathLst>
            </a:custGeom>
            <a:solidFill>
              <a:srgbClr val="CC99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57">
              <a:extLst>
                <a:ext uri="{FF2B5EF4-FFF2-40B4-BE49-F238E27FC236}">
                  <a16:creationId xmlns:a16="http://schemas.microsoft.com/office/drawing/2014/main" id="{C8CD7856-4367-4F68-8B17-6AD0BD279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3725" y="546101"/>
              <a:ext cx="449263" cy="1344613"/>
            </a:xfrm>
            <a:custGeom>
              <a:avLst/>
              <a:gdLst>
                <a:gd name="T0" fmla="*/ 102 w 516"/>
                <a:gd name="T1" fmla="*/ 9 h 1552"/>
                <a:gd name="T2" fmla="*/ 516 w 516"/>
                <a:gd name="T3" fmla="*/ 885 h 1552"/>
                <a:gd name="T4" fmla="*/ 144 w 516"/>
                <a:gd name="T5" fmla="*/ 1552 h 1552"/>
                <a:gd name="T6" fmla="*/ 57 w 516"/>
                <a:gd name="T7" fmla="*/ 1492 h 1552"/>
                <a:gd name="T8" fmla="*/ 267 w 516"/>
                <a:gd name="T9" fmla="*/ 873 h 1552"/>
                <a:gd name="T10" fmla="*/ 18 w 516"/>
                <a:gd name="T11" fmla="*/ 345 h 1552"/>
                <a:gd name="T12" fmla="*/ 102 w 516"/>
                <a:gd name="T13" fmla="*/ 9 h 1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6" h="1552">
                  <a:moveTo>
                    <a:pt x="102" y="9"/>
                  </a:moveTo>
                  <a:cubicBezTo>
                    <a:pt x="349" y="31"/>
                    <a:pt x="419" y="433"/>
                    <a:pt x="516" y="885"/>
                  </a:cubicBezTo>
                  <a:cubicBezTo>
                    <a:pt x="144" y="1552"/>
                    <a:pt x="144" y="1552"/>
                    <a:pt x="144" y="1552"/>
                  </a:cubicBezTo>
                  <a:cubicBezTo>
                    <a:pt x="57" y="1492"/>
                    <a:pt x="57" y="1492"/>
                    <a:pt x="57" y="1492"/>
                  </a:cubicBezTo>
                  <a:cubicBezTo>
                    <a:pt x="267" y="873"/>
                    <a:pt x="267" y="873"/>
                    <a:pt x="267" y="873"/>
                  </a:cubicBezTo>
                  <a:cubicBezTo>
                    <a:pt x="18" y="345"/>
                    <a:pt x="18" y="345"/>
                    <a:pt x="18" y="345"/>
                  </a:cubicBezTo>
                  <a:cubicBezTo>
                    <a:pt x="18" y="345"/>
                    <a:pt x="0" y="0"/>
                    <a:pt x="102" y="9"/>
                  </a:cubicBezTo>
                  <a:close/>
                </a:path>
              </a:pathLst>
            </a:custGeom>
            <a:solidFill>
              <a:srgbClr val="E3C8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658">
              <a:extLst>
                <a:ext uri="{FF2B5EF4-FFF2-40B4-BE49-F238E27FC236}">
                  <a16:creationId xmlns:a16="http://schemas.microsoft.com/office/drawing/2014/main" id="{2A5E03E3-E048-41E3-8DF3-B5A2A4DAB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1688" y="546101"/>
              <a:ext cx="620713" cy="1123950"/>
            </a:xfrm>
            <a:custGeom>
              <a:avLst/>
              <a:gdLst>
                <a:gd name="T0" fmla="*/ 410 w 714"/>
                <a:gd name="T1" fmla="*/ 9 h 1297"/>
                <a:gd name="T2" fmla="*/ 0 w 714"/>
                <a:gd name="T3" fmla="*/ 940 h 1297"/>
                <a:gd name="T4" fmla="*/ 673 w 714"/>
                <a:gd name="T5" fmla="*/ 1297 h 1297"/>
                <a:gd name="T6" fmla="*/ 714 w 714"/>
                <a:gd name="T7" fmla="*/ 1197 h 1297"/>
                <a:gd name="T8" fmla="*/ 244 w 714"/>
                <a:gd name="T9" fmla="*/ 873 h 1297"/>
                <a:gd name="T10" fmla="*/ 493 w 714"/>
                <a:gd name="T11" fmla="*/ 345 h 1297"/>
                <a:gd name="T12" fmla="*/ 410 w 714"/>
                <a:gd name="T13" fmla="*/ 9 h 1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4" h="1297">
                  <a:moveTo>
                    <a:pt x="410" y="9"/>
                  </a:moveTo>
                  <a:cubicBezTo>
                    <a:pt x="162" y="31"/>
                    <a:pt x="55" y="639"/>
                    <a:pt x="0" y="940"/>
                  </a:cubicBezTo>
                  <a:cubicBezTo>
                    <a:pt x="69" y="1093"/>
                    <a:pt x="673" y="1297"/>
                    <a:pt x="673" y="1297"/>
                  </a:cubicBezTo>
                  <a:cubicBezTo>
                    <a:pt x="714" y="1197"/>
                    <a:pt x="714" y="1197"/>
                    <a:pt x="714" y="1197"/>
                  </a:cubicBezTo>
                  <a:cubicBezTo>
                    <a:pt x="244" y="873"/>
                    <a:pt x="244" y="873"/>
                    <a:pt x="244" y="873"/>
                  </a:cubicBezTo>
                  <a:cubicBezTo>
                    <a:pt x="493" y="345"/>
                    <a:pt x="493" y="345"/>
                    <a:pt x="493" y="345"/>
                  </a:cubicBezTo>
                  <a:cubicBezTo>
                    <a:pt x="493" y="345"/>
                    <a:pt x="512" y="0"/>
                    <a:pt x="410" y="9"/>
                  </a:cubicBezTo>
                  <a:close/>
                </a:path>
              </a:pathLst>
            </a:custGeom>
            <a:solidFill>
              <a:srgbClr val="E3C8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659">
              <a:extLst>
                <a:ext uri="{FF2B5EF4-FFF2-40B4-BE49-F238E27FC236}">
                  <a16:creationId xmlns:a16="http://schemas.microsoft.com/office/drawing/2014/main" id="{F67704D2-2BBE-4007-965C-BA02F0300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5825" y="3567113"/>
              <a:ext cx="950913" cy="954088"/>
            </a:xfrm>
            <a:custGeom>
              <a:avLst/>
              <a:gdLst>
                <a:gd name="T0" fmla="*/ 175 w 1094"/>
                <a:gd name="T1" fmla="*/ 1027 h 1100"/>
                <a:gd name="T2" fmla="*/ 422 w 1094"/>
                <a:gd name="T3" fmla="*/ 90 h 1100"/>
                <a:gd name="T4" fmla="*/ 1087 w 1094"/>
                <a:gd name="T5" fmla="*/ 50 h 1100"/>
                <a:gd name="T6" fmla="*/ 1094 w 1094"/>
                <a:gd name="T7" fmla="*/ 160 h 1100"/>
                <a:gd name="T8" fmla="*/ 604 w 1094"/>
                <a:gd name="T9" fmla="*/ 259 h 1100"/>
                <a:gd name="T10" fmla="*/ 455 w 1094"/>
                <a:gd name="T11" fmla="*/ 823 h 1100"/>
                <a:gd name="T12" fmla="*/ 175 w 1094"/>
                <a:gd name="T13" fmla="*/ 1027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4" h="1100">
                  <a:moveTo>
                    <a:pt x="175" y="1027"/>
                  </a:moveTo>
                  <a:cubicBezTo>
                    <a:pt x="0" y="851"/>
                    <a:pt x="209" y="410"/>
                    <a:pt x="422" y="90"/>
                  </a:cubicBezTo>
                  <a:cubicBezTo>
                    <a:pt x="565" y="0"/>
                    <a:pt x="1087" y="50"/>
                    <a:pt x="1087" y="50"/>
                  </a:cubicBezTo>
                  <a:cubicBezTo>
                    <a:pt x="1094" y="160"/>
                    <a:pt x="1094" y="160"/>
                    <a:pt x="1094" y="160"/>
                  </a:cubicBezTo>
                  <a:cubicBezTo>
                    <a:pt x="604" y="259"/>
                    <a:pt x="604" y="259"/>
                    <a:pt x="604" y="259"/>
                  </a:cubicBezTo>
                  <a:cubicBezTo>
                    <a:pt x="455" y="823"/>
                    <a:pt x="455" y="823"/>
                    <a:pt x="455" y="823"/>
                  </a:cubicBezTo>
                  <a:cubicBezTo>
                    <a:pt x="455" y="823"/>
                    <a:pt x="248" y="1100"/>
                    <a:pt x="175" y="1027"/>
                  </a:cubicBezTo>
                  <a:close/>
                </a:path>
              </a:pathLst>
            </a:custGeom>
            <a:solidFill>
              <a:srgbClr val="447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660">
              <a:extLst>
                <a:ext uri="{FF2B5EF4-FFF2-40B4-BE49-F238E27FC236}">
                  <a16:creationId xmlns:a16="http://schemas.microsoft.com/office/drawing/2014/main" id="{0ACAE47F-9501-4224-A15B-0E1CE7FA5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3213" y="4067176"/>
              <a:ext cx="901700" cy="1023938"/>
            </a:xfrm>
            <a:custGeom>
              <a:avLst/>
              <a:gdLst>
                <a:gd name="T0" fmla="*/ 84 w 1037"/>
                <a:gd name="T1" fmla="*/ 1040 h 1182"/>
                <a:gd name="T2" fmla="*/ 977 w 1037"/>
                <a:gd name="T3" fmla="*/ 675 h 1182"/>
                <a:gd name="T4" fmla="*/ 790 w 1037"/>
                <a:gd name="T5" fmla="*/ 0 h 1182"/>
                <a:gd name="T6" fmla="*/ 679 w 1037"/>
                <a:gd name="T7" fmla="*/ 10 h 1182"/>
                <a:gd name="T8" fmla="*/ 767 w 1037"/>
                <a:gd name="T9" fmla="*/ 548 h 1182"/>
                <a:gd name="T10" fmla="*/ 237 w 1037"/>
                <a:gd name="T11" fmla="*/ 728 h 1182"/>
                <a:gd name="T12" fmla="*/ 84 w 1037"/>
                <a:gd name="T13" fmla="*/ 1040 h 1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7" h="1182">
                  <a:moveTo>
                    <a:pt x="84" y="1040"/>
                  </a:moveTo>
                  <a:cubicBezTo>
                    <a:pt x="288" y="1182"/>
                    <a:pt x="785" y="863"/>
                    <a:pt x="977" y="675"/>
                  </a:cubicBezTo>
                  <a:cubicBezTo>
                    <a:pt x="1037" y="482"/>
                    <a:pt x="790" y="0"/>
                    <a:pt x="790" y="0"/>
                  </a:cubicBezTo>
                  <a:cubicBezTo>
                    <a:pt x="679" y="10"/>
                    <a:pt x="679" y="10"/>
                    <a:pt x="679" y="10"/>
                  </a:cubicBezTo>
                  <a:cubicBezTo>
                    <a:pt x="767" y="548"/>
                    <a:pt x="767" y="548"/>
                    <a:pt x="767" y="548"/>
                  </a:cubicBezTo>
                  <a:cubicBezTo>
                    <a:pt x="237" y="728"/>
                    <a:pt x="237" y="728"/>
                    <a:pt x="237" y="728"/>
                  </a:cubicBezTo>
                  <a:cubicBezTo>
                    <a:pt x="237" y="728"/>
                    <a:pt x="0" y="981"/>
                    <a:pt x="84" y="1040"/>
                  </a:cubicBezTo>
                  <a:close/>
                </a:path>
              </a:pathLst>
            </a:custGeom>
            <a:solidFill>
              <a:srgbClr val="447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661">
              <a:extLst>
                <a:ext uri="{FF2B5EF4-FFF2-40B4-BE49-F238E27FC236}">
                  <a16:creationId xmlns:a16="http://schemas.microsoft.com/office/drawing/2014/main" id="{86036990-83B2-495D-AF96-FB939CD37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3038" y="2300288"/>
              <a:ext cx="628650" cy="561975"/>
            </a:xfrm>
            <a:custGeom>
              <a:avLst/>
              <a:gdLst>
                <a:gd name="T0" fmla="*/ 697 w 724"/>
                <a:gd name="T1" fmla="*/ 212 h 648"/>
                <a:gd name="T2" fmla="*/ 204 w 724"/>
                <a:gd name="T3" fmla="*/ 8 h 648"/>
                <a:gd name="T4" fmla="*/ 158 w 724"/>
                <a:gd name="T5" fmla="*/ 27 h 648"/>
                <a:gd name="T6" fmla="*/ 8 w 724"/>
                <a:gd name="T7" fmla="*/ 391 h 648"/>
                <a:gd name="T8" fmla="*/ 27 w 724"/>
                <a:gd name="T9" fmla="*/ 437 h 648"/>
                <a:gd name="T10" fmla="*/ 520 w 724"/>
                <a:gd name="T11" fmla="*/ 641 h 648"/>
                <a:gd name="T12" fmla="*/ 565 w 724"/>
                <a:gd name="T13" fmla="*/ 622 h 648"/>
                <a:gd name="T14" fmla="*/ 716 w 724"/>
                <a:gd name="T15" fmla="*/ 258 h 648"/>
                <a:gd name="T16" fmla="*/ 697 w 724"/>
                <a:gd name="T17" fmla="*/ 212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4" h="648">
                  <a:moveTo>
                    <a:pt x="697" y="212"/>
                  </a:moveTo>
                  <a:cubicBezTo>
                    <a:pt x="204" y="8"/>
                    <a:pt x="204" y="8"/>
                    <a:pt x="204" y="8"/>
                  </a:cubicBezTo>
                  <a:cubicBezTo>
                    <a:pt x="186" y="0"/>
                    <a:pt x="166" y="9"/>
                    <a:pt x="158" y="27"/>
                  </a:cubicBezTo>
                  <a:cubicBezTo>
                    <a:pt x="8" y="391"/>
                    <a:pt x="8" y="391"/>
                    <a:pt x="8" y="391"/>
                  </a:cubicBezTo>
                  <a:cubicBezTo>
                    <a:pt x="0" y="409"/>
                    <a:pt x="9" y="429"/>
                    <a:pt x="27" y="437"/>
                  </a:cubicBezTo>
                  <a:cubicBezTo>
                    <a:pt x="520" y="641"/>
                    <a:pt x="520" y="641"/>
                    <a:pt x="520" y="641"/>
                  </a:cubicBezTo>
                  <a:cubicBezTo>
                    <a:pt x="538" y="648"/>
                    <a:pt x="558" y="640"/>
                    <a:pt x="565" y="622"/>
                  </a:cubicBezTo>
                  <a:cubicBezTo>
                    <a:pt x="716" y="258"/>
                    <a:pt x="716" y="258"/>
                    <a:pt x="716" y="258"/>
                  </a:cubicBezTo>
                  <a:cubicBezTo>
                    <a:pt x="724" y="240"/>
                    <a:pt x="715" y="219"/>
                    <a:pt x="697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662">
              <a:extLst>
                <a:ext uri="{FF2B5EF4-FFF2-40B4-BE49-F238E27FC236}">
                  <a16:creationId xmlns:a16="http://schemas.microsoft.com/office/drawing/2014/main" id="{15F777DB-869B-4765-9BDF-6C4AD221C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3513" y="2274888"/>
              <a:ext cx="627063" cy="561975"/>
            </a:xfrm>
            <a:custGeom>
              <a:avLst/>
              <a:gdLst>
                <a:gd name="T0" fmla="*/ 7 w 723"/>
                <a:gd name="T1" fmla="*/ 391 h 648"/>
                <a:gd name="T2" fmla="*/ 158 w 723"/>
                <a:gd name="T3" fmla="*/ 27 h 648"/>
                <a:gd name="T4" fmla="*/ 204 w 723"/>
                <a:gd name="T5" fmla="*/ 8 h 648"/>
                <a:gd name="T6" fmla="*/ 697 w 723"/>
                <a:gd name="T7" fmla="*/ 212 h 648"/>
                <a:gd name="T8" fmla="*/ 716 w 723"/>
                <a:gd name="T9" fmla="*/ 258 h 648"/>
                <a:gd name="T10" fmla="*/ 565 w 723"/>
                <a:gd name="T11" fmla="*/ 622 h 648"/>
                <a:gd name="T12" fmla="*/ 519 w 723"/>
                <a:gd name="T13" fmla="*/ 641 h 648"/>
                <a:gd name="T14" fmla="*/ 26 w 723"/>
                <a:gd name="T15" fmla="*/ 437 h 648"/>
                <a:gd name="T16" fmla="*/ 7 w 723"/>
                <a:gd name="T17" fmla="*/ 391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3" h="648">
                  <a:moveTo>
                    <a:pt x="7" y="391"/>
                  </a:moveTo>
                  <a:cubicBezTo>
                    <a:pt x="158" y="27"/>
                    <a:pt x="158" y="27"/>
                    <a:pt x="158" y="27"/>
                  </a:cubicBezTo>
                  <a:cubicBezTo>
                    <a:pt x="165" y="9"/>
                    <a:pt x="186" y="0"/>
                    <a:pt x="204" y="8"/>
                  </a:cubicBezTo>
                  <a:cubicBezTo>
                    <a:pt x="697" y="212"/>
                    <a:pt x="697" y="212"/>
                    <a:pt x="697" y="212"/>
                  </a:cubicBezTo>
                  <a:cubicBezTo>
                    <a:pt x="714" y="219"/>
                    <a:pt x="723" y="240"/>
                    <a:pt x="716" y="258"/>
                  </a:cubicBezTo>
                  <a:cubicBezTo>
                    <a:pt x="565" y="622"/>
                    <a:pt x="565" y="622"/>
                    <a:pt x="565" y="622"/>
                  </a:cubicBezTo>
                  <a:cubicBezTo>
                    <a:pt x="557" y="640"/>
                    <a:pt x="537" y="648"/>
                    <a:pt x="519" y="641"/>
                  </a:cubicBezTo>
                  <a:cubicBezTo>
                    <a:pt x="26" y="437"/>
                    <a:pt x="26" y="437"/>
                    <a:pt x="26" y="437"/>
                  </a:cubicBezTo>
                  <a:cubicBezTo>
                    <a:pt x="8" y="429"/>
                    <a:pt x="0" y="409"/>
                    <a:pt x="7" y="39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663">
              <a:extLst>
                <a:ext uri="{FF2B5EF4-FFF2-40B4-BE49-F238E27FC236}">
                  <a16:creationId xmlns:a16="http://schemas.microsoft.com/office/drawing/2014/main" id="{AE618E9A-4AB3-4DF8-9531-DFA4339C4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2250" y="2314576"/>
              <a:ext cx="542925" cy="496888"/>
            </a:xfrm>
            <a:custGeom>
              <a:avLst/>
              <a:gdLst>
                <a:gd name="T0" fmla="*/ 0 w 342"/>
                <a:gd name="T1" fmla="*/ 207 h 313"/>
                <a:gd name="T2" fmla="*/ 85 w 342"/>
                <a:gd name="T3" fmla="*/ 0 h 313"/>
                <a:gd name="T4" fmla="*/ 342 w 342"/>
                <a:gd name="T5" fmla="*/ 106 h 313"/>
                <a:gd name="T6" fmla="*/ 257 w 342"/>
                <a:gd name="T7" fmla="*/ 313 h 313"/>
                <a:gd name="T8" fmla="*/ 0 w 342"/>
                <a:gd name="T9" fmla="*/ 207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" h="313">
                  <a:moveTo>
                    <a:pt x="0" y="207"/>
                  </a:moveTo>
                  <a:lnTo>
                    <a:pt x="85" y="0"/>
                  </a:lnTo>
                  <a:lnTo>
                    <a:pt x="342" y="106"/>
                  </a:lnTo>
                  <a:lnTo>
                    <a:pt x="257" y="313"/>
                  </a:lnTo>
                  <a:lnTo>
                    <a:pt x="0" y="207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64">
              <a:extLst>
                <a:ext uri="{FF2B5EF4-FFF2-40B4-BE49-F238E27FC236}">
                  <a16:creationId xmlns:a16="http://schemas.microsoft.com/office/drawing/2014/main" id="{2540A740-164E-4394-852E-FF0D9373E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6063" y="2449513"/>
              <a:ext cx="36513" cy="36513"/>
            </a:xfrm>
            <a:custGeom>
              <a:avLst/>
              <a:gdLst>
                <a:gd name="T0" fmla="*/ 14 w 42"/>
                <a:gd name="T1" fmla="*/ 38 h 41"/>
                <a:gd name="T2" fmla="*/ 4 w 42"/>
                <a:gd name="T3" fmla="*/ 14 h 41"/>
                <a:gd name="T4" fmla="*/ 28 w 42"/>
                <a:gd name="T5" fmla="*/ 4 h 41"/>
                <a:gd name="T6" fmla="*/ 38 w 42"/>
                <a:gd name="T7" fmla="*/ 28 h 41"/>
                <a:gd name="T8" fmla="*/ 14 w 42"/>
                <a:gd name="T9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1">
                  <a:moveTo>
                    <a:pt x="14" y="38"/>
                  </a:moveTo>
                  <a:cubicBezTo>
                    <a:pt x="5" y="34"/>
                    <a:pt x="0" y="23"/>
                    <a:pt x="4" y="14"/>
                  </a:cubicBezTo>
                  <a:cubicBezTo>
                    <a:pt x="8" y="4"/>
                    <a:pt x="19" y="0"/>
                    <a:pt x="28" y="4"/>
                  </a:cubicBezTo>
                  <a:cubicBezTo>
                    <a:pt x="38" y="8"/>
                    <a:pt x="42" y="18"/>
                    <a:pt x="38" y="28"/>
                  </a:cubicBezTo>
                  <a:cubicBezTo>
                    <a:pt x="34" y="37"/>
                    <a:pt x="24" y="41"/>
                    <a:pt x="14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665">
              <a:extLst>
                <a:ext uri="{FF2B5EF4-FFF2-40B4-BE49-F238E27FC236}">
                  <a16:creationId xmlns:a16="http://schemas.microsoft.com/office/drawing/2014/main" id="{62CFE098-D376-4ADA-AFE9-E91EE07CD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7825" y="2363788"/>
              <a:ext cx="234950" cy="100013"/>
            </a:xfrm>
            <a:custGeom>
              <a:avLst/>
              <a:gdLst>
                <a:gd name="T0" fmla="*/ 0 w 270"/>
                <a:gd name="T1" fmla="*/ 1 h 114"/>
                <a:gd name="T2" fmla="*/ 2 w 270"/>
                <a:gd name="T3" fmla="*/ 1 h 114"/>
                <a:gd name="T4" fmla="*/ 269 w 270"/>
                <a:gd name="T5" fmla="*/ 111 h 114"/>
                <a:gd name="T6" fmla="*/ 270 w 270"/>
                <a:gd name="T7" fmla="*/ 113 h 114"/>
                <a:gd name="T8" fmla="*/ 268 w 270"/>
                <a:gd name="T9" fmla="*/ 114 h 114"/>
                <a:gd name="T10" fmla="*/ 1 w 270"/>
                <a:gd name="T11" fmla="*/ 3 h 114"/>
                <a:gd name="T12" fmla="*/ 0 w 270"/>
                <a:gd name="T13" fmla="*/ 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114">
                  <a:moveTo>
                    <a:pt x="0" y="1"/>
                  </a:moveTo>
                  <a:cubicBezTo>
                    <a:pt x="1" y="1"/>
                    <a:pt x="1" y="0"/>
                    <a:pt x="2" y="1"/>
                  </a:cubicBezTo>
                  <a:cubicBezTo>
                    <a:pt x="269" y="111"/>
                    <a:pt x="269" y="111"/>
                    <a:pt x="269" y="111"/>
                  </a:cubicBezTo>
                  <a:cubicBezTo>
                    <a:pt x="270" y="112"/>
                    <a:pt x="270" y="112"/>
                    <a:pt x="270" y="113"/>
                  </a:cubicBezTo>
                  <a:cubicBezTo>
                    <a:pt x="270" y="114"/>
                    <a:pt x="269" y="114"/>
                    <a:pt x="268" y="11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666">
              <a:extLst>
                <a:ext uri="{FF2B5EF4-FFF2-40B4-BE49-F238E27FC236}">
                  <a16:creationId xmlns:a16="http://schemas.microsoft.com/office/drawing/2014/main" id="{EF23600E-87F0-4170-B8E8-A309285BE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8450" y="2357438"/>
              <a:ext cx="100013" cy="234950"/>
            </a:xfrm>
            <a:custGeom>
              <a:avLst/>
              <a:gdLst>
                <a:gd name="T0" fmla="*/ 1 w 115"/>
                <a:gd name="T1" fmla="*/ 270 h 272"/>
                <a:gd name="T2" fmla="*/ 112 w 115"/>
                <a:gd name="T3" fmla="*/ 2 h 272"/>
                <a:gd name="T4" fmla="*/ 114 w 115"/>
                <a:gd name="T5" fmla="*/ 1 h 272"/>
                <a:gd name="T6" fmla="*/ 115 w 115"/>
                <a:gd name="T7" fmla="*/ 3 h 272"/>
                <a:gd name="T8" fmla="*/ 3 w 115"/>
                <a:gd name="T9" fmla="*/ 271 h 272"/>
                <a:gd name="T10" fmla="*/ 2 w 115"/>
                <a:gd name="T11" fmla="*/ 272 h 272"/>
                <a:gd name="T12" fmla="*/ 1 w 115"/>
                <a:gd name="T13" fmla="*/ 27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272">
                  <a:moveTo>
                    <a:pt x="1" y="270"/>
                  </a:moveTo>
                  <a:cubicBezTo>
                    <a:pt x="112" y="2"/>
                    <a:pt x="112" y="2"/>
                    <a:pt x="112" y="2"/>
                  </a:cubicBezTo>
                  <a:cubicBezTo>
                    <a:pt x="112" y="1"/>
                    <a:pt x="113" y="0"/>
                    <a:pt x="114" y="1"/>
                  </a:cubicBezTo>
                  <a:cubicBezTo>
                    <a:pt x="115" y="1"/>
                    <a:pt x="115" y="2"/>
                    <a:pt x="115" y="3"/>
                  </a:cubicBezTo>
                  <a:cubicBezTo>
                    <a:pt x="3" y="271"/>
                    <a:pt x="3" y="271"/>
                    <a:pt x="3" y="271"/>
                  </a:cubicBezTo>
                  <a:cubicBezTo>
                    <a:pt x="3" y="272"/>
                    <a:pt x="2" y="272"/>
                    <a:pt x="2" y="272"/>
                  </a:cubicBezTo>
                  <a:cubicBezTo>
                    <a:pt x="1" y="272"/>
                    <a:pt x="0" y="271"/>
                    <a:pt x="1" y="270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667">
              <a:extLst>
                <a:ext uri="{FF2B5EF4-FFF2-40B4-BE49-F238E27FC236}">
                  <a16:creationId xmlns:a16="http://schemas.microsoft.com/office/drawing/2014/main" id="{0D9C8F8D-54A8-4F0F-BE42-2A667EDF5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7825" y="2400301"/>
              <a:ext cx="144463" cy="282575"/>
            </a:xfrm>
            <a:custGeom>
              <a:avLst/>
              <a:gdLst>
                <a:gd name="T0" fmla="*/ 38 w 165"/>
                <a:gd name="T1" fmla="*/ 2 h 326"/>
                <a:gd name="T2" fmla="*/ 39 w 165"/>
                <a:gd name="T3" fmla="*/ 1 h 326"/>
                <a:gd name="T4" fmla="*/ 41 w 165"/>
                <a:gd name="T5" fmla="*/ 1 h 326"/>
                <a:gd name="T6" fmla="*/ 99 w 165"/>
                <a:gd name="T7" fmla="*/ 85 h 326"/>
                <a:gd name="T8" fmla="*/ 100 w 165"/>
                <a:gd name="T9" fmla="*/ 86 h 326"/>
                <a:gd name="T10" fmla="*/ 99 w 165"/>
                <a:gd name="T11" fmla="*/ 87 h 326"/>
                <a:gd name="T12" fmla="*/ 69 w 165"/>
                <a:gd name="T13" fmla="*/ 106 h 326"/>
                <a:gd name="T14" fmla="*/ 133 w 165"/>
                <a:gd name="T15" fmla="*/ 165 h 326"/>
                <a:gd name="T16" fmla="*/ 133 w 165"/>
                <a:gd name="T17" fmla="*/ 167 h 326"/>
                <a:gd name="T18" fmla="*/ 133 w 165"/>
                <a:gd name="T19" fmla="*/ 167 h 326"/>
                <a:gd name="T20" fmla="*/ 132 w 165"/>
                <a:gd name="T21" fmla="*/ 168 h 326"/>
                <a:gd name="T22" fmla="*/ 7 w 165"/>
                <a:gd name="T23" fmla="*/ 160 h 326"/>
                <a:gd name="T24" fmla="*/ 72 w 165"/>
                <a:gd name="T25" fmla="*/ 206 h 326"/>
                <a:gd name="T26" fmla="*/ 72 w 165"/>
                <a:gd name="T27" fmla="*/ 208 h 326"/>
                <a:gd name="T28" fmla="*/ 71 w 165"/>
                <a:gd name="T29" fmla="*/ 209 h 326"/>
                <a:gd name="T30" fmla="*/ 42 w 165"/>
                <a:gd name="T31" fmla="*/ 214 h 326"/>
                <a:gd name="T32" fmla="*/ 112 w 165"/>
                <a:gd name="T33" fmla="*/ 260 h 326"/>
                <a:gd name="T34" fmla="*/ 113 w 165"/>
                <a:gd name="T35" fmla="*/ 261 h 326"/>
                <a:gd name="T36" fmla="*/ 111 w 165"/>
                <a:gd name="T37" fmla="*/ 262 h 326"/>
                <a:gd name="T38" fmla="*/ 94 w 165"/>
                <a:gd name="T39" fmla="*/ 267 h 326"/>
                <a:gd name="T40" fmla="*/ 164 w 165"/>
                <a:gd name="T41" fmla="*/ 324 h 326"/>
                <a:gd name="T42" fmla="*/ 164 w 165"/>
                <a:gd name="T43" fmla="*/ 326 h 326"/>
                <a:gd name="T44" fmla="*/ 162 w 165"/>
                <a:gd name="T45" fmla="*/ 326 h 326"/>
                <a:gd name="T46" fmla="*/ 90 w 165"/>
                <a:gd name="T47" fmla="*/ 267 h 326"/>
                <a:gd name="T48" fmla="*/ 90 w 165"/>
                <a:gd name="T49" fmla="*/ 266 h 326"/>
                <a:gd name="T50" fmla="*/ 91 w 165"/>
                <a:gd name="T51" fmla="*/ 265 h 326"/>
                <a:gd name="T52" fmla="*/ 108 w 165"/>
                <a:gd name="T53" fmla="*/ 260 h 326"/>
                <a:gd name="T54" fmla="*/ 37 w 165"/>
                <a:gd name="T55" fmla="*/ 215 h 326"/>
                <a:gd name="T56" fmla="*/ 36 w 165"/>
                <a:gd name="T57" fmla="*/ 213 h 326"/>
                <a:gd name="T58" fmla="*/ 37 w 165"/>
                <a:gd name="T59" fmla="*/ 212 h 326"/>
                <a:gd name="T60" fmla="*/ 67 w 165"/>
                <a:gd name="T61" fmla="*/ 207 h 326"/>
                <a:gd name="T62" fmla="*/ 1 w 165"/>
                <a:gd name="T63" fmla="*/ 159 h 326"/>
                <a:gd name="T64" fmla="*/ 0 w 165"/>
                <a:gd name="T65" fmla="*/ 158 h 326"/>
                <a:gd name="T66" fmla="*/ 2 w 165"/>
                <a:gd name="T67" fmla="*/ 157 h 326"/>
                <a:gd name="T68" fmla="*/ 128 w 165"/>
                <a:gd name="T69" fmla="*/ 164 h 326"/>
                <a:gd name="T70" fmla="*/ 65 w 165"/>
                <a:gd name="T71" fmla="*/ 107 h 326"/>
                <a:gd name="T72" fmla="*/ 65 w 165"/>
                <a:gd name="T73" fmla="*/ 106 h 326"/>
                <a:gd name="T74" fmla="*/ 66 w 165"/>
                <a:gd name="T75" fmla="*/ 104 h 326"/>
                <a:gd name="T76" fmla="*/ 96 w 165"/>
                <a:gd name="T77" fmla="*/ 85 h 326"/>
                <a:gd name="T78" fmla="*/ 38 w 165"/>
                <a:gd name="T79" fmla="*/ 3 h 326"/>
                <a:gd name="T80" fmla="*/ 38 w 165"/>
                <a:gd name="T81" fmla="*/ 2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5" h="326">
                  <a:moveTo>
                    <a:pt x="38" y="2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39" y="0"/>
                    <a:pt x="40" y="1"/>
                    <a:pt x="41" y="1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100" y="85"/>
                    <a:pt x="100" y="85"/>
                    <a:pt x="100" y="86"/>
                  </a:cubicBezTo>
                  <a:cubicBezTo>
                    <a:pt x="100" y="86"/>
                    <a:pt x="99" y="87"/>
                    <a:pt x="99" y="87"/>
                  </a:cubicBezTo>
                  <a:cubicBezTo>
                    <a:pt x="69" y="106"/>
                    <a:pt x="69" y="106"/>
                    <a:pt x="69" y="106"/>
                  </a:cubicBezTo>
                  <a:cubicBezTo>
                    <a:pt x="133" y="165"/>
                    <a:pt x="133" y="165"/>
                    <a:pt x="133" y="165"/>
                  </a:cubicBezTo>
                  <a:cubicBezTo>
                    <a:pt x="133" y="165"/>
                    <a:pt x="133" y="166"/>
                    <a:pt x="133" y="167"/>
                  </a:cubicBezTo>
                  <a:cubicBezTo>
                    <a:pt x="133" y="167"/>
                    <a:pt x="133" y="167"/>
                    <a:pt x="133" y="167"/>
                  </a:cubicBezTo>
                  <a:cubicBezTo>
                    <a:pt x="133" y="167"/>
                    <a:pt x="132" y="168"/>
                    <a:pt x="132" y="168"/>
                  </a:cubicBezTo>
                  <a:cubicBezTo>
                    <a:pt x="7" y="160"/>
                    <a:pt x="7" y="160"/>
                    <a:pt x="7" y="160"/>
                  </a:cubicBezTo>
                  <a:cubicBezTo>
                    <a:pt x="72" y="206"/>
                    <a:pt x="72" y="206"/>
                    <a:pt x="72" y="206"/>
                  </a:cubicBezTo>
                  <a:cubicBezTo>
                    <a:pt x="72" y="207"/>
                    <a:pt x="72" y="207"/>
                    <a:pt x="72" y="208"/>
                  </a:cubicBezTo>
                  <a:cubicBezTo>
                    <a:pt x="72" y="208"/>
                    <a:pt x="72" y="209"/>
                    <a:pt x="71" y="209"/>
                  </a:cubicBezTo>
                  <a:cubicBezTo>
                    <a:pt x="42" y="214"/>
                    <a:pt x="42" y="214"/>
                    <a:pt x="42" y="214"/>
                  </a:cubicBezTo>
                  <a:cubicBezTo>
                    <a:pt x="112" y="260"/>
                    <a:pt x="112" y="260"/>
                    <a:pt x="112" y="260"/>
                  </a:cubicBezTo>
                  <a:cubicBezTo>
                    <a:pt x="112" y="260"/>
                    <a:pt x="113" y="260"/>
                    <a:pt x="113" y="261"/>
                  </a:cubicBezTo>
                  <a:cubicBezTo>
                    <a:pt x="112" y="262"/>
                    <a:pt x="112" y="262"/>
                    <a:pt x="111" y="262"/>
                  </a:cubicBezTo>
                  <a:cubicBezTo>
                    <a:pt x="94" y="267"/>
                    <a:pt x="94" y="267"/>
                    <a:pt x="94" y="267"/>
                  </a:cubicBezTo>
                  <a:cubicBezTo>
                    <a:pt x="164" y="324"/>
                    <a:pt x="164" y="324"/>
                    <a:pt x="164" y="324"/>
                  </a:cubicBezTo>
                  <a:cubicBezTo>
                    <a:pt x="165" y="324"/>
                    <a:pt x="165" y="325"/>
                    <a:pt x="164" y="326"/>
                  </a:cubicBezTo>
                  <a:cubicBezTo>
                    <a:pt x="164" y="326"/>
                    <a:pt x="163" y="326"/>
                    <a:pt x="162" y="326"/>
                  </a:cubicBezTo>
                  <a:cubicBezTo>
                    <a:pt x="90" y="267"/>
                    <a:pt x="90" y="267"/>
                    <a:pt x="90" y="267"/>
                  </a:cubicBezTo>
                  <a:cubicBezTo>
                    <a:pt x="90" y="267"/>
                    <a:pt x="90" y="266"/>
                    <a:pt x="90" y="266"/>
                  </a:cubicBezTo>
                  <a:cubicBezTo>
                    <a:pt x="90" y="265"/>
                    <a:pt x="91" y="265"/>
                    <a:pt x="91" y="265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37" y="215"/>
                    <a:pt x="37" y="215"/>
                    <a:pt x="37" y="215"/>
                  </a:cubicBezTo>
                  <a:cubicBezTo>
                    <a:pt x="36" y="215"/>
                    <a:pt x="36" y="214"/>
                    <a:pt x="36" y="213"/>
                  </a:cubicBezTo>
                  <a:cubicBezTo>
                    <a:pt x="36" y="213"/>
                    <a:pt x="37" y="212"/>
                    <a:pt x="37" y="212"/>
                  </a:cubicBezTo>
                  <a:cubicBezTo>
                    <a:pt x="67" y="207"/>
                    <a:pt x="67" y="207"/>
                    <a:pt x="67" y="207"/>
                  </a:cubicBezTo>
                  <a:cubicBezTo>
                    <a:pt x="1" y="159"/>
                    <a:pt x="1" y="159"/>
                    <a:pt x="1" y="159"/>
                  </a:cubicBezTo>
                  <a:cubicBezTo>
                    <a:pt x="0" y="159"/>
                    <a:pt x="0" y="158"/>
                    <a:pt x="0" y="158"/>
                  </a:cubicBezTo>
                  <a:cubicBezTo>
                    <a:pt x="1" y="157"/>
                    <a:pt x="1" y="157"/>
                    <a:pt x="2" y="157"/>
                  </a:cubicBezTo>
                  <a:cubicBezTo>
                    <a:pt x="128" y="164"/>
                    <a:pt x="128" y="164"/>
                    <a:pt x="128" y="164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65" y="106"/>
                    <a:pt x="65" y="106"/>
                    <a:pt x="65" y="106"/>
                  </a:cubicBezTo>
                  <a:cubicBezTo>
                    <a:pt x="65" y="105"/>
                    <a:pt x="65" y="105"/>
                    <a:pt x="66" y="104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2"/>
                    <a:pt x="38" y="2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668">
              <a:extLst>
                <a:ext uri="{FF2B5EF4-FFF2-40B4-BE49-F238E27FC236}">
                  <a16:creationId xmlns:a16="http://schemas.microsoft.com/office/drawing/2014/main" id="{B0C16853-D4E6-4DEA-A4D9-A35895DB4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3238" y="2665413"/>
              <a:ext cx="19050" cy="17463"/>
            </a:xfrm>
            <a:custGeom>
              <a:avLst/>
              <a:gdLst>
                <a:gd name="T0" fmla="*/ 0 w 22"/>
                <a:gd name="T1" fmla="*/ 11 h 20"/>
                <a:gd name="T2" fmla="*/ 2 w 22"/>
                <a:gd name="T3" fmla="*/ 11 h 20"/>
                <a:gd name="T4" fmla="*/ 17 w 22"/>
                <a:gd name="T5" fmla="*/ 16 h 20"/>
                <a:gd name="T6" fmla="*/ 8 w 22"/>
                <a:gd name="T7" fmla="*/ 3 h 20"/>
                <a:gd name="T8" fmla="*/ 9 w 22"/>
                <a:gd name="T9" fmla="*/ 1 h 20"/>
                <a:gd name="T10" fmla="*/ 11 w 22"/>
                <a:gd name="T11" fmla="*/ 1 h 20"/>
                <a:gd name="T12" fmla="*/ 21 w 22"/>
                <a:gd name="T13" fmla="*/ 18 h 20"/>
                <a:gd name="T14" fmla="*/ 21 w 22"/>
                <a:gd name="T15" fmla="*/ 20 h 20"/>
                <a:gd name="T16" fmla="*/ 20 w 22"/>
                <a:gd name="T17" fmla="*/ 20 h 20"/>
                <a:gd name="T18" fmla="*/ 1 w 22"/>
                <a:gd name="T19" fmla="*/ 13 h 20"/>
                <a:gd name="T20" fmla="*/ 0 w 22"/>
                <a:gd name="T21" fmla="*/ 12 h 20"/>
                <a:gd name="T22" fmla="*/ 0 w 22"/>
                <a:gd name="T2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0">
                  <a:moveTo>
                    <a:pt x="0" y="11"/>
                  </a:moveTo>
                  <a:cubicBezTo>
                    <a:pt x="0" y="11"/>
                    <a:pt x="1" y="10"/>
                    <a:pt x="2" y="11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9" y="1"/>
                  </a:cubicBezTo>
                  <a:cubicBezTo>
                    <a:pt x="10" y="0"/>
                    <a:pt x="10" y="0"/>
                    <a:pt x="11" y="1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2" y="19"/>
                    <a:pt x="22" y="19"/>
                    <a:pt x="21" y="20"/>
                  </a:cubicBezTo>
                  <a:cubicBezTo>
                    <a:pt x="21" y="20"/>
                    <a:pt x="20" y="20"/>
                    <a:pt x="20" y="20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2"/>
                    <a:pt x="0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669">
              <a:extLst>
                <a:ext uri="{FF2B5EF4-FFF2-40B4-BE49-F238E27FC236}">
                  <a16:creationId xmlns:a16="http://schemas.microsoft.com/office/drawing/2014/main" id="{6A9346AD-CE65-4540-B12A-EA6C0EC42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5950" y="2506663"/>
              <a:ext cx="111125" cy="260350"/>
            </a:xfrm>
            <a:custGeom>
              <a:avLst/>
              <a:gdLst>
                <a:gd name="T0" fmla="*/ 0 w 70"/>
                <a:gd name="T1" fmla="*/ 163 h 164"/>
                <a:gd name="T2" fmla="*/ 68 w 70"/>
                <a:gd name="T3" fmla="*/ 0 h 164"/>
                <a:gd name="T4" fmla="*/ 70 w 70"/>
                <a:gd name="T5" fmla="*/ 1 h 164"/>
                <a:gd name="T6" fmla="*/ 3 w 70"/>
                <a:gd name="T7" fmla="*/ 164 h 164"/>
                <a:gd name="T8" fmla="*/ 0 w 70"/>
                <a:gd name="T9" fmla="*/ 16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3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3" y="164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670">
              <a:extLst>
                <a:ext uri="{FF2B5EF4-FFF2-40B4-BE49-F238E27FC236}">
                  <a16:creationId xmlns:a16="http://schemas.microsoft.com/office/drawing/2014/main" id="{5B894938-C742-4699-A96B-875E3AC4C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5313" y="2497138"/>
              <a:ext cx="111125" cy="260350"/>
            </a:xfrm>
            <a:custGeom>
              <a:avLst/>
              <a:gdLst>
                <a:gd name="T0" fmla="*/ 0 w 70"/>
                <a:gd name="T1" fmla="*/ 164 h 164"/>
                <a:gd name="T2" fmla="*/ 68 w 70"/>
                <a:gd name="T3" fmla="*/ 0 h 164"/>
                <a:gd name="T4" fmla="*/ 70 w 70"/>
                <a:gd name="T5" fmla="*/ 1 h 164"/>
                <a:gd name="T6" fmla="*/ 2 w 70"/>
                <a:gd name="T7" fmla="*/ 164 h 164"/>
                <a:gd name="T8" fmla="*/ 0 w 70"/>
                <a:gd name="T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4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2" y="164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671">
              <a:extLst>
                <a:ext uri="{FF2B5EF4-FFF2-40B4-BE49-F238E27FC236}">
                  <a16:creationId xmlns:a16="http://schemas.microsoft.com/office/drawing/2014/main" id="{FE5E4E1D-04CC-4787-AFA0-EEA774A2E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3088" y="2487613"/>
              <a:ext cx="111125" cy="261938"/>
            </a:xfrm>
            <a:custGeom>
              <a:avLst/>
              <a:gdLst>
                <a:gd name="T0" fmla="*/ 0 w 70"/>
                <a:gd name="T1" fmla="*/ 164 h 165"/>
                <a:gd name="T2" fmla="*/ 68 w 70"/>
                <a:gd name="T3" fmla="*/ 0 h 165"/>
                <a:gd name="T4" fmla="*/ 70 w 70"/>
                <a:gd name="T5" fmla="*/ 2 h 165"/>
                <a:gd name="T6" fmla="*/ 2 w 70"/>
                <a:gd name="T7" fmla="*/ 165 h 165"/>
                <a:gd name="T8" fmla="*/ 0 w 70"/>
                <a:gd name="T9" fmla="*/ 16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5">
                  <a:moveTo>
                    <a:pt x="0" y="164"/>
                  </a:moveTo>
                  <a:lnTo>
                    <a:pt x="68" y="0"/>
                  </a:lnTo>
                  <a:lnTo>
                    <a:pt x="70" y="2"/>
                  </a:lnTo>
                  <a:lnTo>
                    <a:pt x="2" y="165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72">
              <a:extLst>
                <a:ext uri="{FF2B5EF4-FFF2-40B4-BE49-F238E27FC236}">
                  <a16:creationId xmlns:a16="http://schemas.microsoft.com/office/drawing/2014/main" id="{47003382-97CB-4D6D-8E8A-237950B8F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0863" y="2479676"/>
              <a:ext cx="111125" cy="260350"/>
            </a:xfrm>
            <a:custGeom>
              <a:avLst/>
              <a:gdLst>
                <a:gd name="T0" fmla="*/ 0 w 70"/>
                <a:gd name="T1" fmla="*/ 163 h 164"/>
                <a:gd name="T2" fmla="*/ 68 w 70"/>
                <a:gd name="T3" fmla="*/ 0 h 164"/>
                <a:gd name="T4" fmla="*/ 70 w 70"/>
                <a:gd name="T5" fmla="*/ 1 h 164"/>
                <a:gd name="T6" fmla="*/ 2 w 70"/>
                <a:gd name="T7" fmla="*/ 164 h 164"/>
                <a:gd name="T8" fmla="*/ 0 w 70"/>
                <a:gd name="T9" fmla="*/ 16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3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2" y="164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673">
              <a:extLst>
                <a:ext uri="{FF2B5EF4-FFF2-40B4-BE49-F238E27FC236}">
                  <a16:creationId xmlns:a16="http://schemas.microsoft.com/office/drawing/2014/main" id="{51A5FAD9-E0A9-4E46-BAA1-F26EB94A2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9800" y="2497138"/>
              <a:ext cx="585788" cy="461963"/>
            </a:xfrm>
            <a:custGeom>
              <a:avLst/>
              <a:gdLst>
                <a:gd name="T0" fmla="*/ 652 w 675"/>
                <a:gd name="T1" fmla="*/ 37 h 533"/>
                <a:gd name="T2" fmla="*/ 674 w 675"/>
                <a:gd name="T3" fmla="*/ 462 h 533"/>
                <a:gd name="T4" fmla="*/ 638 w 675"/>
                <a:gd name="T5" fmla="*/ 502 h 533"/>
                <a:gd name="T6" fmla="*/ 63 w 675"/>
                <a:gd name="T7" fmla="*/ 531 h 533"/>
                <a:gd name="T8" fmla="*/ 23 w 675"/>
                <a:gd name="T9" fmla="*/ 496 h 533"/>
                <a:gd name="T10" fmla="*/ 1 w 675"/>
                <a:gd name="T11" fmla="*/ 71 h 533"/>
                <a:gd name="T12" fmla="*/ 37 w 675"/>
                <a:gd name="T13" fmla="*/ 31 h 533"/>
                <a:gd name="T14" fmla="*/ 612 w 675"/>
                <a:gd name="T15" fmla="*/ 1 h 533"/>
                <a:gd name="T16" fmla="*/ 652 w 675"/>
                <a:gd name="T17" fmla="*/ 3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533">
                  <a:moveTo>
                    <a:pt x="652" y="37"/>
                  </a:moveTo>
                  <a:cubicBezTo>
                    <a:pt x="674" y="462"/>
                    <a:pt x="674" y="462"/>
                    <a:pt x="674" y="462"/>
                  </a:cubicBezTo>
                  <a:cubicBezTo>
                    <a:pt x="675" y="483"/>
                    <a:pt x="659" y="500"/>
                    <a:pt x="638" y="502"/>
                  </a:cubicBezTo>
                  <a:cubicBezTo>
                    <a:pt x="63" y="531"/>
                    <a:pt x="63" y="531"/>
                    <a:pt x="63" y="531"/>
                  </a:cubicBezTo>
                  <a:cubicBezTo>
                    <a:pt x="42" y="533"/>
                    <a:pt x="24" y="516"/>
                    <a:pt x="23" y="496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50"/>
                    <a:pt x="16" y="32"/>
                    <a:pt x="37" y="31"/>
                  </a:cubicBezTo>
                  <a:cubicBezTo>
                    <a:pt x="612" y="1"/>
                    <a:pt x="612" y="1"/>
                    <a:pt x="612" y="1"/>
                  </a:cubicBezTo>
                  <a:cubicBezTo>
                    <a:pt x="633" y="0"/>
                    <a:pt x="651" y="16"/>
                    <a:pt x="652" y="37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74">
              <a:extLst>
                <a:ext uri="{FF2B5EF4-FFF2-40B4-BE49-F238E27FC236}">
                  <a16:creationId xmlns:a16="http://schemas.microsoft.com/office/drawing/2014/main" id="{C7C10F7B-2DBC-498B-BCD0-1D4763CB4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5200" y="2525713"/>
              <a:ext cx="527050" cy="406400"/>
            </a:xfrm>
            <a:custGeom>
              <a:avLst/>
              <a:gdLst>
                <a:gd name="T0" fmla="*/ 320 w 332"/>
                <a:gd name="T1" fmla="*/ 0 h 256"/>
                <a:gd name="T2" fmla="*/ 332 w 332"/>
                <a:gd name="T3" fmla="*/ 240 h 256"/>
                <a:gd name="T4" fmla="*/ 13 w 332"/>
                <a:gd name="T5" fmla="*/ 256 h 256"/>
                <a:gd name="T6" fmla="*/ 0 w 332"/>
                <a:gd name="T7" fmla="*/ 15 h 256"/>
                <a:gd name="T8" fmla="*/ 320 w 332"/>
                <a:gd name="T9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2" h="256">
                  <a:moveTo>
                    <a:pt x="320" y="0"/>
                  </a:moveTo>
                  <a:lnTo>
                    <a:pt x="332" y="240"/>
                  </a:lnTo>
                  <a:lnTo>
                    <a:pt x="13" y="256"/>
                  </a:lnTo>
                  <a:lnTo>
                    <a:pt x="0" y="15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675">
              <a:extLst>
                <a:ext uri="{FF2B5EF4-FFF2-40B4-BE49-F238E27FC236}">
                  <a16:creationId xmlns:a16="http://schemas.microsoft.com/office/drawing/2014/main" id="{0D688104-C53E-4BF3-AAC7-3FD9D34BF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9163" y="2058988"/>
              <a:ext cx="585788" cy="461963"/>
            </a:xfrm>
            <a:custGeom>
              <a:avLst/>
              <a:gdLst>
                <a:gd name="T0" fmla="*/ 652 w 675"/>
                <a:gd name="T1" fmla="*/ 37 h 533"/>
                <a:gd name="T2" fmla="*/ 674 w 675"/>
                <a:gd name="T3" fmla="*/ 462 h 533"/>
                <a:gd name="T4" fmla="*/ 638 w 675"/>
                <a:gd name="T5" fmla="*/ 502 h 533"/>
                <a:gd name="T6" fmla="*/ 63 w 675"/>
                <a:gd name="T7" fmla="*/ 532 h 533"/>
                <a:gd name="T8" fmla="*/ 23 w 675"/>
                <a:gd name="T9" fmla="*/ 496 h 533"/>
                <a:gd name="T10" fmla="*/ 1 w 675"/>
                <a:gd name="T11" fmla="*/ 71 h 533"/>
                <a:gd name="T12" fmla="*/ 37 w 675"/>
                <a:gd name="T13" fmla="*/ 31 h 533"/>
                <a:gd name="T14" fmla="*/ 612 w 675"/>
                <a:gd name="T15" fmla="*/ 1 h 533"/>
                <a:gd name="T16" fmla="*/ 652 w 675"/>
                <a:gd name="T17" fmla="*/ 3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533">
                  <a:moveTo>
                    <a:pt x="652" y="37"/>
                  </a:moveTo>
                  <a:cubicBezTo>
                    <a:pt x="674" y="462"/>
                    <a:pt x="674" y="462"/>
                    <a:pt x="674" y="462"/>
                  </a:cubicBezTo>
                  <a:cubicBezTo>
                    <a:pt x="675" y="483"/>
                    <a:pt x="659" y="501"/>
                    <a:pt x="638" y="502"/>
                  </a:cubicBezTo>
                  <a:cubicBezTo>
                    <a:pt x="63" y="532"/>
                    <a:pt x="63" y="532"/>
                    <a:pt x="63" y="532"/>
                  </a:cubicBezTo>
                  <a:cubicBezTo>
                    <a:pt x="42" y="533"/>
                    <a:pt x="24" y="517"/>
                    <a:pt x="23" y="496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50"/>
                    <a:pt x="16" y="32"/>
                    <a:pt x="37" y="31"/>
                  </a:cubicBezTo>
                  <a:cubicBezTo>
                    <a:pt x="612" y="1"/>
                    <a:pt x="612" y="1"/>
                    <a:pt x="612" y="1"/>
                  </a:cubicBezTo>
                  <a:cubicBezTo>
                    <a:pt x="633" y="0"/>
                    <a:pt x="651" y="16"/>
                    <a:pt x="652" y="37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676">
              <a:extLst>
                <a:ext uri="{FF2B5EF4-FFF2-40B4-BE49-F238E27FC236}">
                  <a16:creationId xmlns:a16="http://schemas.microsoft.com/office/drawing/2014/main" id="{BE48FF14-8BEE-44AF-BA9F-526F2ED4F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4563" y="2087563"/>
              <a:ext cx="527050" cy="406400"/>
            </a:xfrm>
            <a:custGeom>
              <a:avLst/>
              <a:gdLst>
                <a:gd name="T0" fmla="*/ 320 w 332"/>
                <a:gd name="T1" fmla="*/ 0 h 256"/>
                <a:gd name="T2" fmla="*/ 332 w 332"/>
                <a:gd name="T3" fmla="*/ 240 h 256"/>
                <a:gd name="T4" fmla="*/ 13 w 332"/>
                <a:gd name="T5" fmla="*/ 256 h 256"/>
                <a:gd name="T6" fmla="*/ 0 w 332"/>
                <a:gd name="T7" fmla="*/ 15 h 256"/>
                <a:gd name="T8" fmla="*/ 320 w 332"/>
                <a:gd name="T9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2" h="256">
                  <a:moveTo>
                    <a:pt x="320" y="0"/>
                  </a:moveTo>
                  <a:lnTo>
                    <a:pt x="332" y="240"/>
                  </a:lnTo>
                  <a:lnTo>
                    <a:pt x="13" y="256"/>
                  </a:lnTo>
                  <a:lnTo>
                    <a:pt x="0" y="15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677">
              <a:extLst>
                <a:ext uri="{FF2B5EF4-FFF2-40B4-BE49-F238E27FC236}">
                  <a16:creationId xmlns:a16="http://schemas.microsoft.com/office/drawing/2014/main" id="{02BA105E-F192-47DE-AF1A-ADDAEA148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7450" y="2865438"/>
              <a:ext cx="274638" cy="17463"/>
            </a:xfrm>
            <a:custGeom>
              <a:avLst/>
              <a:gdLst>
                <a:gd name="T0" fmla="*/ 315 w 315"/>
                <a:gd name="T1" fmla="*/ 2 h 20"/>
                <a:gd name="T2" fmla="*/ 313 w 315"/>
                <a:gd name="T3" fmla="*/ 4 h 20"/>
                <a:gd name="T4" fmla="*/ 2 w 315"/>
                <a:gd name="T5" fmla="*/ 20 h 20"/>
                <a:gd name="T6" fmla="*/ 0 w 315"/>
                <a:gd name="T7" fmla="*/ 18 h 20"/>
                <a:gd name="T8" fmla="*/ 1 w 315"/>
                <a:gd name="T9" fmla="*/ 17 h 20"/>
                <a:gd name="T10" fmla="*/ 313 w 315"/>
                <a:gd name="T11" fmla="*/ 0 h 20"/>
                <a:gd name="T12" fmla="*/ 315 w 315"/>
                <a:gd name="T13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5" h="20">
                  <a:moveTo>
                    <a:pt x="315" y="2"/>
                  </a:moveTo>
                  <a:cubicBezTo>
                    <a:pt x="315" y="3"/>
                    <a:pt x="314" y="4"/>
                    <a:pt x="313" y="4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17"/>
                    <a:pt x="1" y="17"/>
                    <a:pt x="1" y="17"/>
                  </a:cubicBezTo>
                  <a:cubicBezTo>
                    <a:pt x="313" y="0"/>
                    <a:pt x="313" y="0"/>
                    <a:pt x="313" y="0"/>
                  </a:cubicBezTo>
                  <a:cubicBezTo>
                    <a:pt x="314" y="0"/>
                    <a:pt x="315" y="1"/>
                    <a:pt x="315" y="2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678">
              <a:extLst>
                <a:ext uri="{FF2B5EF4-FFF2-40B4-BE49-F238E27FC236}">
                  <a16:creationId xmlns:a16="http://schemas.microsoft.com/office/drawing/2014/main" id="{26A379BE-9E95-4F43-B1F2-83BF325B6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1925" y="2609851"/>
              <a:ext cx="15875" cy="274638"/>
            </a:xfrm>
            <a:custGeom>
              <a:avLst/>
              <a:gdLst>
                <a:gd name="T0" fmla="*/ 3 w 19"/>
                <a:gd name="T1" fmla="*/ 1 h 317"/>
                <a:gd name="T2" fmla="*/ 19 w 19"/>
                <a:gd name="T3" fmla="*/ 315 h 317"/>
                <a:gd name="T4" fmla="*/ 18 w 19"/>
                <a:gd name="T5" fmla="*/ 316 h 317"/>
                <a:gd name="T6" fmla="*/ 16 w 19"/>
                <a:gd name="T7" fmla="*/ 315 h 317"/>
                <a:gd name="T8" fmla="*/ 0 w 19"/>
                <a:gd name="T9" fmla="*/ 2 h 317"/>
                <a:gd name="T10" fmla="*/ 1 w 19"/>
                <a:gd name="T11" fmla="*/ 0 h 317"/>
                <a:gd name="T12" fmla="*/ 3 w 19"/>
                <a:gd name="T13" fmla="*/ 1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17">
                  <a:moveTo>
                    <a:pt x="3" y="1"/>
                  </a:moveTo>
                  <a:cubicBezTo>
                    <a:pt x="19" y="315"/>
                    <a:pt x="19" y="315"/>
                    <a:pt x="19" y="315"/>
                  </a:cubicBezTo>
                  <a:cubicBezTo>
                    <a:pt x="19" y="316"/>
                    <a:pt x="18" y="316"/>
                    <a:pt x="18" y="316"/>
                  </a:cubicBezTo>
                  <a:cubicBezTo>
                    <a:pt x="17" y="317"/>
                    <a:pt x="16" y="316"/>
                    <a:pt x="16" y="31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679">
              <a:extLst>
                <a:ext uri="{FF2B5EF4-FFF2-40B4-BE49-F238E27FC236}">
                  <a16:creationId xmlns:a16="http://schemas.microsoft.com/office/drawing/2014/main" id="{B45F720B-232D-4E42-9282-F1773E913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4750" y="2624138"/>
              <a:ext cx="238125" cy="225425"/>
            </a:xfrm>
            <a:custGeom>
              <a:avLst/>
              <a:gdLst>
                <a:gd name="T0" fmla="*/ 274 w 274"/>
                <a:gd name="T1" fmla="*/ 259 h 260"/>
                <a:gd name="T2" fmla="*/ 274 w 274"/>
                <a:gd name="T3" fmla="*/ 259 h 260"/>
                <a:gd name="T4" fmla="*/ 272 w 274"/>
                <a:gd name="T5" fmla="*/ 260 h 260"/>
                <a:gd name="T6" fmla="*/ 176 w 274"/>
                <a:gd name="T7" fmla="*/ 206 h 260"/>
                <a:gd name="T8" fmla="*/ 175 w 274"/>
                <a:gd name="T9" fmla="*/ 205 h 260"/>
                <a:gd name="T10" fmla="*/ 175 w 274"/>
                <a:gd name="T11" fmla="*/ 204 h 260"/>
                <a:gd name="T12" fmla="*/ 196 w 274"/>
                <a:gd name="T13" fmla="*/ 171 h 260"/>
                <a:gd name="T14" fmla="*/ 106 w 274"/>
                <a:gd name="T15" fmla="*/ 143 h 260"/>
                <a:gd name="T16" fmla="*/ 105 w 274"/>
                <a:gd name="T17" fmla="*/ 142 h 260"/>
                <a:gd name="T18" fmla="*/ 105 w 274"/>
                <a:gd name="T19" fmla="*/ 142 h 260"/>
                <a:gd name="T20" fmla="*/ 106 w 274"/>
                <a:gd name="T21" fmla="*/ 140 h 260"/>
                <a:gd name="T22" fmla="*/ 231 w 274"/>
                <a:gd name="T23" fmla="*/ 90 h 260"/>
                <a:gd name="T24" fmla="*/ 146 w 274"/>
                <a:gd name="T25" fmla="*/ 74 h 260"/>
                <a:gd name="T26" fmla="*/ 145 w 274"/>
                <a:gd name="T27" fmla="*/ 73 h 260"/>
                <a:gd name="T28" fmla="*/ 146 w 274"/>
                <a:gd name="T29" fmla="*/ 72 h 260"/>
                <a:gd name="T30" fmla="*/ 172 w 274"/>
                <a:gd name="T31" fmla="*/ 53 h 260"/>
                <a:gd name="T32" fmla="*/ 82 w 274"/>
                <a:gd name="T33" fmla="*/ 41 h 260"/>
                <a:gd name="T34" fmla="*/ 81 w 274"/>
                <a:gd name="T35" fmla="*/ 40 h 260"/>
                <a:gd name="T36" fmla="*/ 82 w 274"/>
                <a:gd name="T37" fmla="*/ 39 h 260"/>
                <a:gd name="T38" fmla="*/ 96 w 274"/>
                <a:gd name="T39" fmla="*/ 26 h 260"/>
                <a:gd name="T40" fmla="*/ 2 w 274"/>
                <a:gd name="T41" fmla="*/ 3 h 260"/>
                <a:gd name="T42" fmla="*/ 1 w 274"/>
                <a:gd name="T43" fmla="*/ 1 h 260"/>
                <a:gd name="T44" fmla="*/ 2 w 274"/>
                <a:gd name="T45" fmla="*/ 0 h 260"/>
                <a:gd name="T46" fmla="*/ 100 w 274"/>
                <a:gd name="T47" fmla="*/ 24 h 260"/>
                <a:gd name="T48" fmla="*/ 101 w 274"/>
                <a:gd name="T49" fmla="*/ 25 h 260"/>
                <a:gd name="T50" fmla="*/ 100 w 274"/>
                <a:gd name="T51" fmla="*/ 26 h 260"/>
                <a:gd name="T52" fmla="*/ 86 w 274"/>
                <a:gd name="T53" fmla="*/ 39 h 260"/>
                <a:gd name="T54" fmla="*/ 176 w 274"/>
                <a:gd name="T55" fmla="*/ 50 h 260"/>
                <a:gd name="T56" fmla="*/ 178 w 274"/>
                <a:gd name="T57" fmla="*/ 51 h 260"/>
                <a:gd name="T58" fmla="*/ 177 w 274"/>
                <a:gd name="T59" fmla="*/ 53 h 260"/>
                <a:gd name="T60" fmla="*/ 151 w 274"/>
                <a:gd name="T61" fmla="*/ 72 h 260"/>
                <a:gd name="T62" fmla="*/ 237 w 274"/>
                <a:gd name="T63" fmla="*/ 87 h 260"/>
                <a:gd name="T64" fmla="*/ 239 w 274"/>
                <a:gd name="T65" fmla="*/ 89 h 260"/>
                <a:gd name="T66" fmla="*/ 238 w 274"/>
                <a:gd name="T67" fmla="*/ 90 h 260"/>
                <a:gd name="T68" fmla="*/ 111 w 274"/>
                <a:gd name="T69" fmla="*/ 141 h 260"/>
                <a:gd name="T70" fmla="*/ 199 w 274"/>
                <a:gd name="T71" fmla="*/ 169 h 260"/>
                <a:gd name="T72" fmla="*/ 200 w 274"/>
                <a:gd name="T73" fmla="*/ 170 h 260"/>
                <a:gd name="T74" fmla="*/ 200 w 274"/>
                <a:gd name="T75" fmla="*/ 171 h 260"/>
                <a:gd name="T76" fmla="*/ 179 w 274"/>
                <a:gd name="T77" fmla="*/ 204 h 260"/>
                <a:gd name="T78" fmla="*/ 273 w 274"/>
                <a:gd name="T79" fmla="*/ 257 h 260"/>
                <a:gd name="T80" fmla="*/ 274 w 274"/>
                <a:gd name="T81" fmla="*/ 259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4" h="260"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3" y="260"/>
                    <a:pt x="273" y="260"/>
                    <a:pt x="272" y="260"/>
                  </a:cubicBezTo>
                  <a:cubicBezTo>
                    <a:pt x="176" y="206"/>
                    <a:pt x="176" y="206"/>
                    <a:pt x="176" y="206"/>
                  </a:cubicBezTo>
                  <a:cubicBezTo>
                    <a:pt x="175" y="206"/>
                    <a:pt x="175" y="205"/>
                    <a:pt x="175" y="205"/>
                  </a:cubicBezTo>
                  <a:cubicBezTo>
                    <a:pt x="175" y="205"/>
                    <a:pt x="175" y="204"/>
                    <a:pt x="175" y="204"/>
                  </a:cubicBezTo>
                  <a:cubicBezTo>
                    <a:pt x="196" y="171"/>
                    <a:pt x="196" y="171"/>
                    <a:pt x="196" y="171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5" y="143"/>
                    <a:pt x="105" y="142"/>
                    <a:pt x="105" y="142"/>
                  </a:cubicBezTo>
                  <a:cubicBezTo>
                    <a:pt x="105" y="142"/>
                    <a:pt x="105" y="142"/>
                    <a:pt x="105" y="142"/>
                  </a:cubicBezTo>
                  <a:cubicBezTo>
                    <a:pt x="105" y="141"/>
                    <a:pt x="105" y="140"/>
                    <a:pt x="106" y="140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146" y="74"/>
                    <a:pt x="146" y="74"/>
                    <a:pt x="146" y="74"/>
                  </a:cubicBezTo>
                  <a:cubicBezTo>
                    <a:pt x="146" y="74"/>
                    <a:pt x="145" y="74"/>
                    <a:pt x="145" y="73"/>
                  </a:cubicBezTo>
                  <a:cubicBezTo>
                    <a:pt x="145" y="73"/>
                    <a:pt x="145" y="72"/>
                    <a:pt x="146" y="72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41"/>
                    <a:pt x="81" y="41"/>
                    <a:pt x="81" y="40"/>
                  </a:cubicBezTo>
                  <a:cubicBezTo>
                    <a:pt x="81" y="40"/>
                    <a:pt x="81" y="39"/>
                    <a:pt x="82" y="39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0" y="24"/>
                    <a:pt x="101" y="24"/>
                    <a:pt x="101" y="25"/>
                  </a:cubicBezTo>
                  <a:cubicBezTo>
                    <a:pt x="101" y="25"/>
                    <a:pt x="101" y="26"/>
                    <a:pt x="100" y="26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176" y="50"/>
                    <a:pt x="176" y="50"/>
                    <a:pt x="176" y="50"/>
                  </a:cubicBezTo>
                  <a:cubicBezTo>
                    <a:pt x="177" y="50"/>
                    <a:pt x="177" y="51"/>
                    <a:pt x="178" y="51"/>
                  </a:cubicBezTo>
                  <a:cubicBezTo>
                    <a:pt x="178" y="52"/>
                    <a:pt x="177" y="52"/>
                    <a:pt x="177" y="53"/>
                  </a:cubicBezTo>
                  <a:cubicBezTo>
                    <a:pt x="151" y="72"/>
                    <a:pt x="151" y="72"/>
                    <a:pt x="151" y="72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38" y="88"/>
                    <a:pt x="239" y="88"/>
                    <a:pt x="239" y="89"/>
                  </a:cubicBezTo>
                  <a:cubicBezTo>
                    <a:pt x="239" y="90"/>
                    <a:pt x="238" y="90"/>
                    <a:pt x="238" y="90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99" y="169"/>
                    <a:pt x="199" y="169"/>
                    <a:pt x="199" y="169"/>
                  </a:cubicBezTo>
                  <a:cubicBezTo>
                    <a:pt x="199" y="169"/>
                    <a:pt x="200" y="169"/>
                    <a:pt x="200" y="170"/>
                  </a:cubicBezTo>
                  <a:cubicBezTo>
                    <a:pt x="200" y="170"/>
                    <a:pt x="200" y="171"/>
                    <a:pt x="200" y="171"/>
                  </a:cubicBezTo>
                  <a:cubicBezTo>
                    <a:pt x="179" y="204"/>
                    <a:pt x="179" y="204"/>
                    <a:pt x="179" y="204"/>
                  </a:cubicBezTo>
                  <a:cubicBezTo>
                    <a:pt x="273" y="257"/>
                    <a:pt x="273" y="257"/>
                    <a:pt x="273" y="257"/>
                  </a:cubicBezTo>
                  <a:cubicBezTo>
                    <a:pt x="274" y="258"/>
                    <a:pt x="274" y="258"/>
                    <a:pt x="274" y="259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680">
              <a:extLst>
                <a:ext uri="{FF2B5EF4-FFF2-40B4-BE49-F238E27FC236}">
                  <a16:creationId xmlns:a16="http://schemas.microsoft.com/office/drawing/2014/main" id="{6DDFAC12-54FE-457B-ADBF-E160BEC74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4750" y="2622551"/>
              <a:ext cx="20638" cy="14288"/>
            </a:xfrm>
            <a:custGeom>
              <a:avLst/>
              <a:gdLst>
                <a:gd name="T0" fmla="*/ 25 w 25"/>
                <a:gd name="T1" fmla="*/ 1 h 17"/>
                <a:gd name="T2" fmla="*/ 24 w 25"/>
                <a:gd name="T3" fmla="*/ 3 h 17"/>
                <a:gd name="T4" fmla="*/ 7 w 25"/>
                <a:gd name="T5" fmla="*/ 5 h 17"/>
                <a:gd name="T6" fmla="*/ 21 w 25"/>
                <a:gd name="T7" fmla="*/ 14 h 17"/>
                <a:gd name="T8" fmla="*/ 22 w 25"/>
                <a:gd name="T9" fmla="*/ 16 h 17"/>
                <a:gd name="T10" fmla="*/ 19 w 25"/>
                <a:gd name="T11" fmla="*/ 16 h 17"/>
                <a:gd name="T12" fmla="*/ 1 w 25"/>
                <a:gd name="T13" fmla="*/ 5 h 17"/>
                <a:gd name="T14" fmla="*/ 1 w 25"/>
                <a:gd name="T15" fmla="*/ 3 h 17"/>
                <a:gd name="T16" fmla="*/ 2 w 25"/>
                <a:gd name="T17" fmla="*/ 2 h 17"/>
                <a:gd name="T18" fmla="*/ 24 w 25"/>
                <a:gd name="T19" fmla="*/ 0 h 17"/>
                <a:gd name="T20" fmla="*/ 25 w 25"/>
                <a:gd name="T2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2"/>
                    <a:pt x="25" y="3"/>
                    <a:pt x="24" y="3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2" y="14"/>
                    <a:pt x="22" y="15"/>
                    <a:pt x="22" y="16"/>
                  </a:cubicBezTo>
                  <a:cubicBezTo>
                    <a:pt x="21" y="17"/>
                    <a:pt x="20" y="17"/>
                    <a:pt x="19" y="1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0" y="4"/>
                    <a:pt x="1" y="3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5" y="0"/>
                    <a:pt x="25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681">
              <a:extLst>
                <a:ext uri="{FF2B5EF4-FFF2-40B4-BE49-F238E27FC236}">
                  <a16:creationId xmlns:a16="http://schemas.microsoft.com/office/drawing/2014/main" id="{0C2AE36B-24FD-4910-B93F-094BE0F47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5363" y="258762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682">
              <a:extLst>
                <a:ext uri="{FF2B5EF4-FFF2-40B4-BE49-F238E27FC236}">
                  <a16:creationId xmlns:a16="http://schemas.microsoft.com/office/drawing/2014/main" id="{7E6A49CC-7461-480E-A3F6-2559FBAEC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0763" y="2587626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683">
              <a:extLst>
                <a:ext uri="{FF2B5EF4-FFF2-40B4-BE49-F238E27FC236}">
                  <a16:creationId xmlns:a16="http://schemas.microsoft.com/office/drawing/2014/main" id="{D5101D08-9F7D-4FB6-A857-7A8601D9F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6163" y="2586038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684">
              <a:extLst>
                <a:ext uri="{FF2B5EF4-FFF2-40B4-BE49-F238E27FC236}">
                  <a16:creationId xmlns:a16="http://schemas.microsoft.com/office/drawing/2014/main" id="{E447A855-61A7-4E98-88D1-F005CE314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1563" y="2584451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685">
              <a:extLst>
                <a:ext uri="{FF2B5EF4-FFF2-40B4-BE49-F238E27FC236}">
                  <a16:creationId xmlns:a16="http://schemas.microsoft.com/office/drawing/2014/main" id="{CDC8842D-CE02-4E54-BF49-A1D54F50D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6963" y="2586038"/>
              <a:ext cx="19050" cy="301625"/>
            </a:xfrm>
            <a:custGeom>
              <a:avLst/>
              <a:gdLst>
                <a:gd name="T0" fmla="*/ 3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3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3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686">
              <a:extLst>
                <a:ext uri="{FF2B5EF4-FFF2-40B4-BE49-F238E27FC236}">
                  <a16:creationId xmlns:a16="http://schemas.microsoft.com/office/drawing/2014/main" id="{EF58B84E-0EFE-4B3F-BC0C-B051C8D28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2363" y="2584451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687">
              <a:extLst>
                <a:ext uri="{FF2B5EF4-FFF2-40B4-BE49-F238E27FC236}">
                  <a16:creationId xmlns:a16="http://schemas.microsoft.com/office/drawing/2014/main" id="{601E2CC2-6FEF-40F9-85FF-81863B1DC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63138" y="214947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0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0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688">
              <a:extLst>
                <a:ext uri="{FF2B5EF4-FFF2-40B4-BE49-F238E27FC236}">
                  <a16:creationId xmlns:a16="http://schemas.microsoft.com/office/drawing/2014/main" id="{EF483B1F-A61A-42D0-88D4-A4513E02B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8538" y="2147888"/>
              <a:ext cx="20638" cy="303213"/>
            </a:xfrm>
            <a:custGeom>
              <a:avLst/>
              <a:gdLst>
                <a:gd name="T0" fmla="*/ 2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2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2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689">
              <a:extLst>
                <a:ext uri="{FF2B5EF4-FFF2-40B4-BE49-F238E27FC236}">
                  <a16:creationId xmlns:a16="http://schemas.microsoft.com/office/drawing/2014/main" id="{74098FF4-6074-4F6B-A491-73049DEC5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3938" y="2146301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690">
              <a:extLst>
                <a:ext uri="{FF2B5EF4-FFF2-40B4-BE49-F238E27FC236}">
                  <a16:creationId xmlns:a16="http://schemas.microsoft.com/office/drawing/2014/main" id="{C2822E90-E0F3-4C3B-BBBC-9A6C518D39D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9338" y="2146301"/>
              <a:ext cx="20638" cy="301625"/>
            </a:xfrm>
            <a:custGeom>
              <a:avLst/>
              <a:gdLst>
                <a:gd name="T0" fmla="*/ 3 w 13"/>
                <a:gd name="T1" fmla="*/ 0 h 190"/>
                <a:gd name="T2" fmla="*/ 13 w 13"/>
                <a:gd name="T3" fmla="*/ 190 h 190"/>
                <a:gd name="T4" fmla="*/ 10 w 13"/>
                <a:gd name="T5" fmla="*/ 190 h 190"/>
                <a:gd name="T6" fmla="*/ 0 w 13"/>
                <a:gd name="T7" fmla="*/ 0 h 190"/>
                <a:gd name="T8" fmla="*/ 3 w 13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0">
                  <a:moveTo>
                    <a:pt x="3" y="0"/>
                  </a:moveTo>
                  <a:lnTo>
                    <a:pt x="13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691">
              <a:extLst>
                <a:ext uri="{FF2B5EF4-FFF2-40B4-BE49-F238E27FC236}">
                  <a16:creationId xmlns:a16="http://schemas.microsoft.com/office/drawing/2014/main" id="{D7B7F628-44EC-4D45-AC5B-E48A7FED1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4738" y="2146301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692">
              <a:extLst>
                <a:ext uri="{FF2B5EF4-FFF2-40B4-BE49-F238E27FC236}">
                  <a16:creationId xmlns:a16="http://schemas.microsoft.com/office/drawing/2014/main" id="{A37D8B84-975A-43CC-9FCB-8362274E2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1725" y="2146301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9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9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693">
              <a:extLst>
                <a:ext uri="{FF2B5EF4-FFF2-40B4-BE49-F238E27FC236}">
                  <a16:creationId xmlns:a16="http://schemas.microsoft.com/office/drawing/2014/main" id="{9BDCB92C-3142-4E46-BA6F-20BA670BF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214312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694">
              <a:extLst>
                <a:ext uri="{FF2B5EF4-FFF2-40B4-BE49-F238E27FC236}">
                  <a16:creationId xmlns:a16="http://schemas.microsoft.com/office/drawing/2014/main" id="{CA55041B-68A4-4738-97EF-6B0E1F25A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2525" y="2141538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695">
              <a:extLst>
                <a:ext uri="{FF2B5EF4-FFF2-40B4-BE49-F238E27FC236}">
                  <a16:creationId xmlns:a16="http://schemas.microsoft.com/office/drawing/2014/main" id="{484832CE-638E-481B-8951-8F4ED8BF1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7925" y="2139951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696">
              <a:extLst>
                <a:ext uri="{FF2B5EF4-FFF2-40B4-BE49-F238E27FC236}">
                  <a16:creationId xmlns:a16="http://schemas.microsoft.com/office/drawing/2014/main" id="{A35E5C8F-F539-4DBC-891C-0D5A6F53A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3325" y="2138363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1 w 13"/>
                <a:gd name="T5" fmla="*/ 191 h 191"/>
                <a:gd name="T6" fmla="*/ 0 w 13"/>
                <a:gd name="T7" fmla="*/ 0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1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697">
              <a:extLst>
                <a:ext uri="{FF2B5EF4-FFF2-40B4-BE49-F238E27FC236}">
                  <a16:creationId xmlns:a16="http://schemas.microsoft.com/office/drawing/2014/main" id="{993256EB-5248-4B29-94B5-08171ED96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8725" y="2139951"/>
              <a:ext cx="20638" cy="303213"/>
            </a:xfrm>
            <a:custGeom>
              <a:avLst/>
              <a:gdLst>
                <a:gd name="T0" fmla="*/ 2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2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2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698">
              <a:extLst>
                <a:ext uri="{FF2B5EF4-FFF2-40B4-BE49-F238E27FC236}">
                  <a16:creationId xmlns:a16="http://schemas.microsoft.com/office/drawing/2014/main" id="{51D4617A-4C05-4EAE-A1FC-C855DF876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5713" y="2138363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9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9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699">
              <a:extLst>
                <a:ext uri="{FF2B5EF4-FFF2-40B4-BE49-F238E27FC236}">
                  <a16:creationId xmlns:a16="http://schemas.microsoft.com/office/drawing/2014/main" id="{568BECF8-F95B-428D-A64F-7EB6237BC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9525" y="2133601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1 w 13"/>
                <a:gd name="T5" fmla="*/ 191 h 191"/>
                <a:gd name="T6" fmla="*/ 0 w 13"/>
                <a:gd name="T7" fmla="*/ 1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1" y="191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700">
              <a:extLst>
                <a:ext uri="{FF2B5EF4-FFF2-40B4-BE49-F238E27FC236}">
                  <a16:creationId xmlns:a16="http://schemas.microsoft.com/office/drawing/2014/main" id="{403FA11D-7F9A-494D-9222-DAB7600EC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6513" y="2133601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701">
              <a:extLst>
                <a:ext uri="{FF2B5EF4-FFF2-40B4-BE49-F238E27FC236}">
                  <a16:creationId xmlns:a16="http://schemas.microsoft.com/office/drawing/2014/main" id="{EACF65AD-0871-495B-AC1A-910A46202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1913" y="2130426"/>
              <a:ext cx="19050" cy="304800"/>
            </a:xfrm>
            <a:custGeom>
              <a:avLst/>
              <a:gdLst>
                <a:gd name="T0" fmla="*/ 2 w 12"/>
                <a:gd name="T1" fmla="*/ 0 h 192"/>
                <a:gd name="T2" fmla="*/ 12 w 12"/>
                <a:gd name="T3" fmla="*/ 191 h 192"/>
                <a:gd name="T4" fmla="*/ 10 w 12"/>
                <a:gd name="T5" fmla="*/ 192 h 192"/>
                <a:gd name="T6" fmla="*/ 0 w 12"/>
                <a:gd name="T7" fmla="*/ 1 h 192"/>
                <a:gd name="T8" fmla="*/ 2 w 12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2">
                  <a:moveTo>
                    <a:pt x="2" y="0"/>
                  </a:moveTo>
                  <a:lnTo>
                    <a:pt x="12" y="191"/>
                  </a:lnTo>
                  <a:lnTo>
                    <a:pt x="10" y="192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702">
              <a:extLst>
                <a:ext uri="{FF2B5EF4-FFF2-40B4-BE49-F238E27FC236}">
                  <a16:creationId xmlns:a16="http://schemas.microsoft.com/office/drawing/2014/main" id="{99D4AF95-35F1-45B0-A542-23E387C4E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7313" y="2130426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703">
              <a:extLst>
                <a:ext uri="{FF2B5EF4-FFF2-40B4-BE49-F238E27FC236}">
                  <a16:creationId xmlns:a16="http://schemas.microsoft.com/office/drawing/2014/main" id="{8C141A24-830D-402E-9EB3-2DB022DC6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2713" y="2130426"/>
              <a:ext cx="19050" cy="304800"/>
            </a:xfrm>
            <a:custGeom>
              <a:avLst/>
              <a:gdLst>
                <a:gd name="T0" fmla="*/ 2 w 12"/>
                <a:gd name="T1" fmla="*/ 0 h 192"/>
                <a:gd name="T2" fmla="*/ 12 w 12"/>
                <a:gd name="T3" fmla="*/ 191 h 192"/>
                <a:gd name="T4" fmla="*/ 10 w 12"/>
                <a:gd name="T5" fmla="*/ 192 h 192"/>
                <a:gd name="T6" fmla="*/ 0 w 12"/>
                <a:gd name="T7" fmla="*/ 1 h 192"/>
                <a:gd name="T8" fmla="*/ 2 w 12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2">
                  <a:moveTo>
                    <a:pt x="2" y="0"/>
                  </a:moveTo>
                  <a:lnTo>
                    <a:pt x="12" y="191"/>
                  </a:lnTo>
                  <a:lnTo>
                    <a:pt x="10" y="192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704">
              <a:extLst>
                <a:ext uri="{FF2B5EF4-FFF2-40B4-BE49-F238E27FC236}">
                  <a16:creationId xmlns:a16="http://schemas.microsoft.com/office/drawing/2014/main" id="{216D591F-C126-4B03-A444-BABE71D56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8113" y="2130426"/>
              <a:ext cx="19050" cy="301625"/>
            </a:xfrm>
            <a:custGeom>
              <a:avLst/>
              <a:gdLst>
                <a:gd name="T0" fmla="*/ 3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3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3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705">
              <a:extLst>
                <a:ext uri="{FF2B5EF4-FFF2-40B4-BE49-F238E27FC236}">
                  <a16:creationId xmlns:a16="http://schemas.microsoft.com/office/drawing/2014/main" id="{379D3C38-4A25-4F8E-B3A1-FF966A8B6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4888" y="2500313"/>
              <a:ext cx="100013" cy="33338"/>
            </a:xfrm>
            <a:custGeom>
              <a:avLst/>
              <a:gdLst>
                <a:gd name="T0" fmla="*/ 2 w 63"/>
                <a:gd name="T1" fmla="*/ 21 h 21"/>
                <a:gd name="T2" fmla="*/ 63 w 63"/>
                <a:gd name="T3" fmla="*/ 18 h 21"/>
                <a:gd name="T4" fmla="*/ 61 w 63"/>
                <a:gd name="T5" fmla="*/ 0 h 21"/>
                <a:gd name="T6" fmla="*/ 0 w 63"/>
                <a:gd name="T7" fmla="*/ 4 h 21"/>
                <a:gd name="T8" fmla="*/ 2 w 63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1">
                  <a:moveTo>
                    <a:pt x="2" y="21"/>
                  </a:moveTo>
                  <a:lnTo>
                    <a:pt x="63" y="18"/>
                  </a:lnTo>
                  <a:lnTo>
                    <a:pt x="61" y="0"/>
                  </a:lnTo>
                  <a:lnTo>
                    <a:pt x="0" y="4"/>
                  </a:lnTo>
                  <a:lnTo>
                    <a:pt x="2" y="21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706">
              <a:extLst>
                <a:ext uri="{FF2B5EF4-FFF2-40B4-BE49-F238E27FC236}">
                  <a16:creationId xmlns:a16="http://schemas.microsoft.com/office/drawing/2014/main" id="{CFF51BBB-0EC8-4A4E-8C88-2D494DB05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9525" y="2486026"/>
              <a:ext cx="100013" cy="34925"/>
            </a:xfrm>
            <a:custGeom>
              <a:avLst/>
              <a:gdLst>
                <a:gd name="T0" fmla="*/ 2 w 63"/>
                <a:gd name="T1" fmla="*/ 22 h 22"/>
                <a:gd name="T2" fmla="*/ 63 w 63"/>
                <a:gd name="T3" fmla="*/ 18 h 22"/>
                <a:gd name="T4" fmla="*/ 61 w 63"/>
                <a:gd name="T5" fmla="*/ 0 h 22"/>
                <a:gd name="T6" fmla="*/ 0 w 63"/>
                <a:gd name="T7" fmla="*/ 5 h 22"/>
                <a:gd name="T8" fmla="*/ 2 w 63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2">
                  <a:moveTo>
                    <a:pt x="2" y="22"/>
                  </a:moveTo>
                  <a:lnTo>
                    <a:pt x="63" y="18"/>
                  </a:lnTo>
                  <a:lnTo>
                    <a:pt x="61" y="0"/>
                  </a:lnTo>
                  <a:lnTo>
                    <a:pt x="0" y="5"/>
                  </a:lnTo>
                  <a:lnTo>
                    <a:pt x="2" y="22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707">
              <a:extLst>
                <a:ext uri="{FF2B5EF4-FFF2-40B4-BE49-F238E27FC236}">
                  <a16:creationId xmlns:a16="http://schemas.microsoft.com/office/drawing/2014/main" id="{11B02687-9241-41BA-B470-A647DAE9A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1513" y="1671638"/>
              <a:ext cx="1116013" cy="466725"/>
            </a:xfrm>
            <a:custGeom>
              <a:avLst/>
              <a:gdLst>
                <a:gd name="T0" fmla="*/ 33 w 1285"/>
                <a:gd name="T1" fmla="*/ 193 h 539"/>
                <a:gd name="T2" fmla="*/ 829 w 1285"/>
                <a:gd name="T3" fmla="*/ 84 h 539"/>
                <a:gd name="T4" fmla="*/ 1285 w 1285"/>
                <a:gd name="T5" fmla="*/ 477 h 539"/>
                <a:gd name="T6" fmla="*/ 1199 w 1285"/>
                <a:gd name="T7" fmla="*/ 539 h 539"/>
                <a:gd name="T8" fmla="*/ 755 w 1285"/>
                <a:gd name="T9" fmla="*/ 281 h 539"/>
                <a:gd name="T10" fmla="*/ 276 w 1285"/>
                <a:gd name="T11" fmla="*/ 346 h 539"/>
                <a:gd name="T12" fmla="*/ 33 w 1285"/>
                <a:gd name="T13" fmla="*/ 193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5" h="539">
                  <a:moveTo>
                    <a:pt x="33" y="193"/>
                  </a:moveTo>
                  <a:cubicBezTo>
                    <a:pt x="115" y="0"/>
                    <a:pt x="449" y="47"/>
                    <a:pt x="829" y="84"/>
                  </a:cubicBezTo>
                  <a:cubicBezTo>
                    <a:pt x="1285" y="477"/>
                    <a:pt x="1285" y="477"/>
                    <a:pt x="1285" y="477"/>
                  </a:cubicBezTo>
                  <a:cubicBezTo>
                    <a:pt x="1199" y="539"/>
                    <a:pt x="1199" y="539"/>
                    <a:pt x="1199" y="539"/>
                  </a:cubicBezTo>
                  <a:cubicBezTo>
                    <a:pt x="755" y="281"/>
                    <a:pt x="755" y="281"/>
                    <a:pt x="755" y="281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0" y="273"/>
                    <a:pt x="33" y="193"/>
                  </a:cubicBezTo>
                  <a:close/>
                </a:path>
              </a:pathLst>
            </a:custGeom>
            <a:solidFill>
              <a:srgbClr val="F44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708">
              <a:extLst>
                <a:ext uri="{FF2B5EF4-FFF2-40B4-BE49-F238E27FC236}">
                  <a16:creationId xmlns:a16="http://schemas.microsoft.com/office/drawing/2014/main" id="{10D20644-F97D-4D39-95B9-8F23E327E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850" y="2579688"/>
              <a:ext cx="82550" cy="106363"/>
            </a:xfrm>
            <a:custGeom>
              <a:avLst/>
              <a:gdLst>
                <a:gd name="T0" fmla="*/ 79 w 96"/>
                <a:gd name="T1" fmla="*/ 95 h 123"/>
                <a:gd name="T2" fmla="*/ 96 w 96"/>
                <a:gd name="T3" fmla="*/ 8 h 123"/>
                <a:gd name="T4" fmla="*/ 79 w 96"/>
                <a:gd name="T5" fmla="*/ 8 h 123"/>
                <a:gd name="T6" fmla="*/ 0 w 96"/>
                <a:gd name="T7" fmla="*/ 123 h 123"/>
                <a:gd name="T8" fmla="*/ 79 w 96"/>
                <a:gd name="T9" fmla="*/ 9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123">
                  <a:moveTo>
                    <a:pt x="79" y="95"/>
                  </a:moveTo>
                  <a:cubicBezTo>
                    <a:pt x="96" y="8"/>
                    <a:pt x="96" y="8"/>
                    <a:pt x="96" y="8"/>
                  </a:cubicBezTo>
                  <a:cubicBezTo>
                    <a:pt x="93" y="0"/>
                    <a:pt x="82" y="0"/>
                    <a:pt x="79" y="8"/>
                  </a:cubicBezTo>
                  <a:cubicBezTo>
                    <a:pt x="0" y="123"/>
                    <a:pt x="0" y="123"/>
                    <a:pt x="0" y="123"/>
                  </a:cubicBezTo>
                  <a:lnTo>
                    <a:pt x="79" y="9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709">
              <a:extLst>
                <a:ext uri="{FF2B5EF4-FFF2-40B4-BE49-F238E27FC236}">
                  <a16:creationId xmlns:a16="http://schemas.microsoft.com/office/drawing/2014/main" id="{C0182FD4-95CC-49E6-8BFF-D9C363556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7650" y="2547938"/>
              <a:ext cx="309563" cy="227013"/>
            </a:xfrm>
            <a:custGeom>
              <a:avLst/>
              <a:gdLst>
                <a:gd name="T0" fmla="*/ 51 w 356"/>
                <a:gd name="T1" fmla="*/ 263 h 263"/>
                <a:gd name="T2" fmla="*/ 249 w 356"/>
                <a:gd name="T3" fmla="*/ 210 h 263"/>
                <a:gd name="T4" fmla="*/ 337 w 356"/>
                <a:gd name="T5" fmla="*/ 120 h 263"/>
                <a:gd name="T6" fmla="*/ 336 w 356"/>
                <a:gd name="T7" fmla="*/ 13 h 263"/>
                <a:gd name="T8" fmla="*/ 167 w 356"/>
                <a:gd name="T9" fmla="*/ 118 h 263"/>
                <a:gd name="T10" fmla="*/ 95 w 356"/>
                <a:gd name="T11" fmla="*/ 144 h 263"/>
                <a:gd name="T12" fmla="*/ 61 w 356"/>
                <a:gd name="T13" fmla="*/ 180 h 263"/>
                <a:gd name="T14" fmla="*/ 0 w 356"/>
                <a:gd name="T15" fmla="*/ 214 h 263"/>
                <a:gd name="T16" fmla="*/ 51 w 356"/>
                <a:gd name="T17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6" h="263">
                  <a:moveTo>
                    <a:pt x="51" y="263"/>
                  </a:moveTo>
                  <a:cubicBezTo>
                    <a:pt x="51" y="263"/>
                    <a:pt x="205" y="236"/>
                    <a:pt x="249" y="210"/>
                  </a:cubicBezTo>
                  <a:cubicBezTo>
                    <a:pt x="281" y="190"/>
                    <a:pt x="337" y="120"/>
                    <a:pt x="337" y="120"/>
                  </a:cubicBezTo>
                  <a:cubicBezTo>
                    <a:pt x="339" y="113"/>
                    <a:pt x="356" y="19"/>
                    <a:pt x="336" y="13"/>
                  </a:cubicBezTo>
                  <a:cubicBezTo>
                    <a:pt x="285" y="0"/>
                    <a:pt x="167" y="118"/>
                    <a:pt x="167" y="118"/>
                  </a:cubicBezTo>
                  <a:cubicBezTo>
                    <a:pt x="167" y="118"/>
                    <a:pt x="114" y="120"/>
                    <a:pt x="95" y="14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0" y="214"/>
                    <a:pt x="0" y="214"/>
                    <a:pt x="0" y="214"/>
                  </a:cubicBezTo>
                  <a:lnTo>
                    <a:pt x="51" y="263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710">
              <a:extLst>
                <a:ext uri="{FF2B5EF4-FFF2-40B4-BE49-F238E27FC236}">
                  <a16:creationId xmlns:a16="http://schemas.microsoft.com/office/drawing/2014/main" id="{1278017C-0206-432F-9CB8-BF99A3294D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39363" y="2698751"/>
              <a:ext cx="112713" cy="76200"/>
            </a:xfrm>
            <a:custGeom>
              <a:avLst/>
              <a:gdLst>
                <a:gd name="T0" fmla="*/ 47 w 131"/>
                <a:gd name="T1" fmla="*/ 88 h 88"/>
                <a:gd name="T2" fmla="*/ 1 w 131"/>
                <a:gd name="T3" fmla="*/ 13 h 88"/>
                <a:gd name="T4" fmla="*/ 16 w 131"/>
                <a:gd name="T5" fmla="*/ 6 h 88"/>
                <a:gd name="T6" fmla="*/ 131 w 131"/>
                <a:gd name="T7" fmla="*/ 87 h 88"/>
                <a:gd name="T8" fmla="*/ 47 w 131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88">
                  <a:moveTo>
                    <a:pt x="47" y="88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0" y="4"/>
                    <a:pt x="11" y="0"/>
                    <a:pt x="16" y="6"/>
                  </a:cubicBezTo>
                  <a:cubicBezTo>
                    <a:pt x="131" y="87"/>
                    <a:pt x="131" y="87"/>
                    <a:pt x="131" y="87"/>
                  </a:cubicBezTo>
                  <a:lnTo>
                    <a:pt x="47" y="88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711">
              <a:extLst>
                <a:ext uri="{FF2B5EF4-FFF2-40B4-BE49-F238E27FC236}">
                  <a16:creationId xmlns:a16="http://schemas.microsoft.com/office/drawing/2014/main" id="{FEEBFD86-38EF-46B2-B9AE-DE1468CE5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0138" y="2703513"/>
              <a:ext cx="349250" cy="168275"/>
            </a:xfrm>
            <a:custGeom>
              <a:avLst/>
              <a:gdLst>
                <a:gd name="T0" fmla="*/ 370 w 402"/>
                <a:gd name="T1" fmla="*/ 165 h 194"/>
                <a:gd name="T2" fmla="*/ 167 w 402"/>
                <a:gd name="T3" fmla="*/ 184 h 194"/>
                <a:gd name="T4" fmla="*/ 53 w 402"/>
                <a:gd name="T5" fmla="*/ 130 h 194"/>
                <a:gd name="T6" fmla="*/ 17 w 402"/>
                <a:gd name="T7" fmla="*/ 30 h 194"/>
                <a:gd name="T8" fmla="*/ 211 w 402"/>
                <a:gd name="T9" fmla="*/ 70 h 194"/>
                <a:gd name="T10" fmla="*/ 288 w 402"/>
                <a:gd name="T11" fmla="*/ 69 h 194"/>
                <a:gd name="T12" fmla="*/ 332 w 402"/>
                <a:gd name="T13" fmla="*/ 91 h 194"/>
                <a:gd name="T14" fmla="*/ 402 w 402"/>
                <a:gd name="T15" fmla="*/ 102 h 194"/>
                <a:gd name="T16" fmla="*/ 370 w 402"/>
                <a:gd name="T17" fmla="*/ 16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2" h="194">
                  <a:moveTo>
                    <a:pt x="370" y="165"/>
                  </a:moveTo>
                  <a:cubicBezTo>
                    <a:pt x="370" y="165"/>
                    <a:pt x="217" y="194"/>
                    <a:pt x="167" y="184"/>
                  </a:cubicBezTo>
                  <a:cubicBezTo>
                    <a:pt x="130" y="177"/>
                    <a:pt x="53" y="130"/>
                    <a:pt x="53" y="130"/>
                  </a:cubicBezTo>
                  <a:cubicBezTo>
                    <a:pt x="48" y="125"/>
                    <a:pt x="0" y="42"/>
                    <a:pt x="17" y="30"/>
                  </a:cubicBezTo>
                  <a:cubicBezTo>
                    <a:pt x="60" y="0"/>
                    <a:pt x="211" y="70"/>
                    <a:pt x="211" y="70"/>
                  </a:cubicBezTo>
                  <a:cubicBezTo>
                    <a:pt x="211" y="70"/>
                    <a:pt x="262" y="53"/>
                    <a:pt x="288" y="69"/>
                  </a:cubicBezTo>
                  <a:cubicBezTo>
                    <a:pt x="332" y="91"/>
                    <a:pt x="332" y="91"/>
                    <a:pt x="332" y="91"/>
                  </a:cubicBezTo>
                  <a:cubicBezTo>
                    <a:pt x="402" y="102"/>
                    <a:pt x="402" y="102"/>
                    <a:pt x="402" y="102"/>
                  </a:cubicBezTo>
                  <a:lnTo>
                    <a:pt x="370" y="16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712">
              <a:extLst>
                <a:ext uri="{FF2B5EF4-FFF2-40B4-BE49-F238E27FC236}">
                  <a16:creationId xmlns:a16="http://schemas.microsoft.com/office/drawing/2014/main" id="{D6EC8DFB-B72C-4DA7-8D18-70CA8CB1C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9825" y="2270126"/>
              <a:ext cx="71438" cy="114300"/>
            </a:xfrm>
            <a:custGeom>
              <a:avLst/>
              <a:gdLst>
                <a:gd name="T0" fmla="*/ 7 w 82"/>
                <a:gd name="T1" fmla="*/ 36 h 132"/>
                <a:gd name="T2" fmla="*/ 0 w 82"/>
                <a:gd name="T3" fmla="*/ 125 h 132"/>
                <a:gd name="T4" fmla="*/ 16 w 82"/>
                <a:gd name="T5" fmla="*/ 123 h 132"/>
                <a:gd name="T6" fmla="*/ 82 w 82"/>
                <a:gd name="T7" fmla="*/ 0 h 132"/>
                <a:gd name="T8" fmla="*/ 7 w 82"/>
                <a:gd name="T9" fmla="*/ 3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132">
                  <a:moveTo>
                    <a:pt x="7" y="36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3" y="132"/>
                    <a:pt x="14" y="131"/>
                    <a:pt x="16" y="123"/>
                  </a:cubicBezTo>
                  <a:cubicBezTo>
                    <a:pt x="82" y="0"/>
                    <a:pt x="82" y="0"/>
                    <a:pt x="82" y="0"/>
                  </a:cubicBezTo>
                  <a:lnTo>
                    <a:pt x="7" y="36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713">
              <a:extLst>
                <a:ext uri="{FF2B5EF4-FFF2-40B4-BE49-F238E27FC236}">
                  <a16:creationId xmlns:a16="http://schemas.microsoft.com/office/drawing/2014/main" id="{13CC1D70-4EA3-4360-A2DB-F0A9C2C32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2188" y="2178051"/>
              <a:ext cx="287338" cy="249238"/>
            </a:xfrm>
            <a:custGeom>
              <a:avLst/>
              <a:gdLst>
                <a:gd name="T0" fmla="*/ 274 w 331"/>
                <a:gd name="T1" fmla="*/ 0 h 288"/>
                <a:gd name="T2" fmla="*/ 85 w 331"/>
                <a:gd name="T3" fmla="*/ 75 h 288"/>
                <a:gd name="T4" fmla="*/ 8 w 331"/>
                <a:gd name="T5" fmla="*/ 175 h 288"/>
                <a:gd name="T6" fmla="*/ 20 w 331"/>
                <a:gd name="T7" fmla="*/ 280 h 288"/>
                <a:gd name="T8" fmla="*/ 176 w 331"/>
                <a:gd name="T9" fmla="*/ 158 h 288"/>
                <a:gd name="T10" fmla="*/ 245 w 331"/>
                <a:gd name="T11" fmla="*/ 123 h 288"/>
                <a:gd name="T12" fmla="*/ 274 w 331"/>
                <a:gd name="T13" fmla="*/ 84 h 288"/>
                <a:gd name="T14" fmla="*/ 331 w 331"/>
                <a:gd name="T15" fmla="*/ 43 h 288"/>
                <a:gd name="T16" fmla="*/ 274 w 331"/>
                <a:gd name="T17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1" h="288">
                  <a:moveTo>
                    <a:pt x="274" y="0"/>
                  </a:moveTo>
                  <a:cubicBezTo>
                    <a:pt x="274" y="0"/>
                    <a:pt x="125" y="44"/>
                    <a:pt x="85" y="75"/>
                  </a:cubicBezTo>
                  <a:cubicBezTo>
                    <a:pt x="55" y="98"/>
                    <a:pt x="8" y="175"/>
                    <a:pt x="8" y="175"/>
                  </a:cubicBezTo>
                  <a:cubicBezTo>
                    <a:pt x="6" y="182"/>
                    <a:pt x="0" y="278"/>
                    <a:pt x="20" y="280"/>
                  </a:cubicBezTo>
                  <a:cubicBezTo>
                    <a:pt x="72" y="288"/>
                    <a:pt x="176" y="158"/>
                    <a:pt x="176" y="158"/>
                  </a:cubicBezTo>
                  <a:cubicBezTo>
                    <a:pt x="176" y="158"/>
                    <a:pt x="229" y="150"/>
                    <a:pt x="245" y="123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331" y="43"/>
                    <a:pt x="331" y="43"/>
                    <a:pt x="331" y="43"/>
                  </a:cubicBezTo>
                  <a:lnTo>
                    <a:pt x="274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714">
              <a:extLst>
                <a:ext uri="{FF2B5EF4-FFF2-40B4-BE49-F238E27FC236}">
                  <a16:creationId xmlns:a16="http://schemas.microsoft.com/office/drawing/2014/main" id="{B1721465-46A7-4328-95E4-0FD76628A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2438" y="2401888"/>
              <a:ext cx="1144588" cy="574675"/>
            </a:xfrm>
            <a:custGeom>
              <a:avLst/>
              <a:gdLst>
                <a:gd name="T0" fmla="*/ 47 w 1317"/>
                <a:gd name="T1" fmla="*/ 84 h 662"/>
                <a:gd name="T2" fmla="*/ 626 w 1317"/>
                <a:gd name="T3" fmla="*/ 640 h 662"/>
                <a:gd name="T4" fmla="*/ 1317 w 1317"/>
                <a:gd name="T5" fmla="*/ 431 h 662"/>
                <a:gd name="T6" fmla="*/ 1266 w 1317"/>
                <a:gd name="T7" fmla="*/ 351 h 662"/>
                <a:gd name="T8" fmla="*/ 682 w 1317"/>
                <a:gd name="T9" fmla="*/ 437 h 662"/>
                <a:gd name="T10" fmla="*/ 332 w 1317"/>
                <a:gd name="T11" fmla="*/ 103 h 662"/>
                <a:gd name="T12" fmla="*/ 47 w 1317"/>
                <a:gd name="T13" fmla="*/ 84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7" h="662">
                  <a:moveTo>
                    <a:pt x="47" y="84"/>
                  </a:moveTo>
                  <a:cubicBezTo>
                    <a:pt x="0" y="288"/>
                    <a:pt x="332" y="496"/>
                    <a:pt x="626" y="640"/>
                  </a:cubicBezTo>
                  <a:cubicBezTo>
                    <a:pt x="810" y="662"/>
                    <a:pt x="1317" y="431"/>
                    <a:pt x="1317" y="431"/>
                  </a:cubicBezTo>
                  <a:cubicBezTo>
                    <a:pt x="1266" y="351"/>
                    <a:pt x="1266" y="351"/>
                    <a:pt x="1266" y="351"/>
                  </a:cubicBezTo>
                  <a:cubicBezTo>
                    <a:pt x="682" y="437"/>
                    <a:pt x="682" y="437"/>
                    <a:pt x="682" y="437"/>
                  </a:cubicBezTo>
                  <a:cubicBezTo>
                    <a:pt x="332" y="103"/>
                    <a:pt x="332" y="103"/>
                    <a:pt x="332" y="103"/>
                  </a:cubicBezTo>
                  <a:cubicBezTo>
                    <a:pt x="332" y="103"/>
                    <a:pt x="66" y="0"/>
                    <a:pt x="47" y="84"/>
                  </a:cubicBezTo>
                  <a:close/>
                </a:path>
              </a:pathLst>
            </a:custGeom>
            <a:solidFill>
              <a:srgbClr val="F44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715">
              <a:extLst>
                <a:ext uri="{FF2B5EF4-FFF2-40B4-BE49-F238E27FC236}">
                  <a16:creationId xmlns:a16="http://schemas.microsoft.com/office/drawing/2014/main" id="{8AA0B265-489E-46FB-9023-727E6762F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1150" y="1812926"/>
              <a:ext cx="600075" cy="633413"/>
            </a:xfrm>
            <a:custGeom>
              <a:avLst/>
              <a:gdLst>
                <a:gd name="T0" fmla="*/ 397 w 689"/>
                <a:gd name="T1" fmla="*/ 60 h 731"/>
                <a:gd name="T2" fmla="*/ 635 w 689"/>
                <a:gd name="T3" fmla="*/ 475 h 731"/>
                <a:gd name="T4" fmla="*/ 199 w 689"/>
                <a:gd name="T5" fmla="*/ 670 h 731"/>
                <a:gd name="T6" fmla="*/ 55 w 689"/>
                <a:gd name="T7" fmla="*/ 287 h 731"/>
                <a:gd name="T8" fmla="*/ 397 w 689"/>
                <a:gd name="T9" fmla="*/ 60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9" h="731">
                  <a:moveTo>
                    <a:pt x="397" y="60"/>
                  </a:moveTo>
                  <a:cubicBezTo>
                    <a:pt x="583" y="121"/>
                    <a:pt x="689" y="306"/>
                    <a:pt x="635" y="475"/>
                  </a:cubicBezTo>
                  <a:cubicBezTo>
                    <a:pt x="580" y="643"/>
                    <a:pt x="385" y="731"/>
                    <a:pt x="199" y="670"/>
                  </a:cubicBezTo>
                  <a:cubicBezTo>
                    <a:pt x="12" y="610"/>
                    <a:pt x="0" y="455"/>
                    <a:pt x="55" y="287"/>
                  </a:cubicBezTo>
                  <a:cubicBezTo>
                    <a:pt x="110" y="118"/>
                    <a:pt x="211" y="0"/>
                    <a:pt x="397" y="60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716">
              <a:extLst>
                <a:ext uri="{FF2B5EF4-FFF2-40B4-BE49-F238E27FC236}">
                  <a16:creationId xmlns:a16="http://schemas.microsoft.com/office/drawing/2014/main" id="{2E466A13-57ED-4794-BE39-D6B902A05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400" y="2138363"/>
              <a:ext cx="114300" cy="136525"/>
            </a:xfrm>
            <a:custGeom>
              <a:avLst/>
              <a:gdLst>
                <a:gd name="T0" fmla="*/ 85 w 132"/>
                <a:gd name="T1" fmla="*/ 138 h 156"/>
                <a:gd name="T2" fmla="*/ 0 w 132"/>
                <a:gd name="T3" fmla="*/ 156 h 156"/>
                <a:gd name="T4" fmla="*/ 51 w 132"/>
                <a:gd name="T5" fmla="*/ 0 h 156"/>
                <a:gd name="T6" fmla="*/ 109 w 132"/>
                <a:gd name="T7" fmla="*/ 64 h 156"/>
                <a:gd name="T8" fmla="*/ 85 w 132"/>
                <a:gd name="T9" fmla="*/ 13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56">
                  <a:moveTo>
                    <a:pt x="85" y="138"/>
                  </a:moveTo>
                  <a:cubicBezTo>
                    <a:pt x="0" y="156"/>
                    <a:pt x="0" y="156"/>
                    <a:pt x="0" y="156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32" y="90"/>
                    <a:pt x="119" y="131"/>
                    <a:pt x="85" y="138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717">
              <a:extLst>
                <a:ext uri="{FF2B5EF4-FFF2-40B4-BE49-F238E27FC236}">
                  <a16:creationId xmlns:a16="http://schemas.microsoft.com/office/drawing/2014/main" id="{B6DDE148-81B9-47DC-84E5-B0AE01135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100" y="1781176"/>
              <a:ext cx="676275" cy="719138"/>
            </a:xfrm>
            <a:custGeom>
              <a:avLst/>
              <a:gdLst>
                <a:gd name="T0" fmla="*/ 406 w 779"/>
                <a:gd name="T1" fmla="*/ 50 h 829"/>
                <a:gd name="T2" fmla="*/ 51 w 779"/>
                <a:gd name="T3" fmla="*/ 310 h 829"/>
                <a:gd name="T4" fmla="*/ 203 w 779"/>
                <a:gd name="T5" fmla="*/ 742 h 829"/>
                <a:gd name="T6" fmla="*/ 643 w 779"/>
                <a:gd name="T7" fmla="*/ 735 h 829"/>
                <a:gd name="T8" fmla="*/ 536 w 779"/>
                <a:gd name="T9" fmla="*/ 662 h 829"/>
                <a:gd name="T10" fmla="*/ 601 w 779"/>
                <a:gd name="T11" fmla="*/ 543 h 829"/>
                <a:gd name="T12" fmla="*/ 595 w 779"/>
                <a:gd name="T13" fmla="*/ 380 h 829"/>
                <a:gd name="T14" fmla="*/ 688 w 779"/>
                <a:gd name="T15" fmla="*/ 308 h 829"/>
                <a:gd name="T16" fmla="*/ 778 w 779"/>
                <a:gd name="T17" fmla="*/ 322 h 829"/>
                <a:gd name="T18" fmla="*/ 406 w 779"/>
                <a:gd name="T19" fmla="*/ 50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9" h="829">
                  <a:moveTo>
                    <a:pt x="406" y="50"/>
                  </a:moveTo>
                  <a:cubicBezTo>
                    <a:pt x="244" y="0"/>
                    <a:pt x="100" y="161"/>
                    <a:pt x="51" y="310"/>
                  </a:cubicBezTo>
                  <a:cubicBezTo>
                    <a:pt x="0" y="469"/>
                    <a:pt x="30" y="685"/>
                    <a:pt x="203" y="742"/>
                  </a:cubicBezTo>
                  <a:cubicBezTo>
                    <a:pt x="469" y="829"/>
                    <a:pt x="644" y="735"/>
                    <a:pt x="643" y="735"/>
                  </a:cubicBezTo>
                  <a:cubicBezTo>
                    <a:pt x="549" y="714"/>
                    <a:pt x="538" y="662"/>
                    <a:pt x="536" y="662"/>
                  </a:cubicBezTo>
                  <a:cubicBezTo>
                    <a:pt x="564" y="630"/>
                    <a:pt x="614" y="591"/>
                    <a:pt x="601" y="543"/>
                  </a:cubicBezTo>
                  <a:cubicBezTo>
                    <a:pt x="581" y="467"/>
                    <a:pt x="584" y="415"/>
                    <a:pt x="595" y="380"/>
                  </a:cubicBezTo>
                  <a:cubicBezTo>
                    <a:pt x="608" y="339"/>
                    <a:pt x="646" y="311"/>
                    <a:pt x="688" y="308"/>
                  </a:cubicBezTo>
                  <a:cubicBezTo>
                    <a:pt x="714" y="307"/>
                    <a:pt x="745" y="308"/>
                    <a:pt x="778" y="322"/>
                  </a:cubicBezTo>
                  <a:cubicBezTo>
                    <a:pt x="779" y="323"/>
                    <a:pt x="708" y="145"/>
                    <a:pt x="406" y="50"/>
                  </a:cubicBezTo>
                  <a:close/>
                </a:path>
              </a:pathLst>
            </a:custGeom>
            <a:solidFill>
              <a:srgbClr val="FFE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718">
              <a:extLst>
                <a:ext uri="{FF2B5EF4-FFF2-40B4-BE49-F238E27FC236}">
                  <a16:creationId xmlns:a16="http://schemas.microsoft.com/office/drawing/2014/main" id="{C3E7EFAF-E0BB-4B23-89F7-0CF09E09C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675" y="2230438"/>
              <a:ext cx="530225" cy="269875"/>
            </a:xfrm>
            <a:custGeom>
              <a:avLst/>
              <a:gdLst>
                <a:gd name="T0" fmla="*/ 522 w 611"/>
                <a:gd name="T1" fmla="*/ 172 h 311"/>
                <a:gd name="T2" fmla="*/ 153 w 611"/>
                <a:gd name="T3" fmla="*/ 154 h 311"/>
                <a:gd name="T4" fmla="*/ 0 w 611"/>
                <a:gd name="T5" fmla="*/ 0 h 311"/>
                <a:gd name="T6" fmla="*/ 170 w 611"/>
                <a:gd name="T7" fmla="*/ 224 h 311"/>
                <a:gd name="T8" fmla="*/ 610 w 611"/>
                <a:gd name="T9" fmla="*/ 217 h 311"/>
                <a:gd name="T10" fmla="*/ 522 w 611"/>
                <a:gd name="T11" fmla="*/ 172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1" h="311">
                  <a:moveTo>
                    <a:pt x="522" y="172"/>
                  </a:moveTo>
                  <a:cubicBezTo>
                    <a:pt x="447" y="192"/>
                    <a:pt x="318" y="208"/>
                    <a:pt x="153" y="154"/>
                  </a:cubicBezTo>
                  <a:cubicBezTo>
                    <a:pt x="75" y="129"/>
                    <a:pt x="26" y="70"/>
                    <a:pt x="0" y="0"/>
                  </a:cubicBezTo>
                  <a:cubicBezTo>
                    <a:pt x="15" y="101"/>
                    <a:pt x="68" y="190"/>
                    <a:pt x="170" y="224"/>
                  </a:cubicBezTo>
                  <a:cubicBezTo>
                    <a:pt x="436" y="311"/>
                    <a:pt x="611" y="217"/>
                    <a:pt x="610" y="217"/>
                  </a:cubicBezTo>
                  <a:cubicBezTo>
                    <a:pt x="563" y="206"/>
                    <a:pt x="537" y="188"/>
                    <a:pt x="522" y="172"/>
                  </a:cubicBezTo>
                  <a:close/>
                </a:path>
              </a:pathLst>
            </a:custGeom>
            <a:solidFill>
              <a:srgbClr val="EDD6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719">
              <a:extLst>
                <a:ext uri="{FF2B5EF4-FFF2-40B4-BE49-F238E27FC236}">
                  <a16:creationId xmlns:a16="http://schemas.microsoft.com/office/drawing/2014/main" id="{96596A00-3142-4A89-8498-5111332AE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1763" y="2401888"/>
              <a:ext cx="1185863" cy="555625"/>
            </a:xfrm>
            <a:custGeom>
              <a:avLst/>
              <a:gdLst>
                <a:gd name="T0" fmla="*/ 1318 w 1365"/>
                <a:gd name="T1" fmla="*/ 84 h 640"/>
                <a:gd name="T2" fmla="*/ 739 w 1365"/>
                <a:gd name="T3" fmla="*/ 640 h 640"/>
                <a:gd name="T4" fmla="*/ 0 w 1365"/>
                <a:gd name="T5" fmla="*/ 524 h 640"/>
                <a:gd name="T6" fmla="*/ 14 w 1365"/>
                <a:gd name="T7" fmla="*/ 430 h 640"/>
                <a:gd name="T8" fmla="*/ 683 w 1365"/>
                <a:gd name="T9" fmla="*/ 437 h 640"/>
                <a:gd name="T10" fmla="*/ 1033 w 1365"/>
                <a:gd name="T11" fmla="*/ 103 h 640"/>
                <a:gd name="T12" fmla="*/ 1318 w 1365"/>
                <a:gd name="T13" fmla="*/ 84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5" h="640">
                  <a:moveTo>
                    <a:pt x="1318" y="84"/>
                  </a:moveTo>
                  <a:cubicBezTo>
                    <a:pt x="1365" y="288"/>
                    <a:pt x="1068" y="447"/>
                    <a:pt x="739" y="640"/>
                  </a:cubicBezTo>
                  <a:cubicBezTo>
                    <a:pt x="0" y="524"/>
                    <a:pt x="0" y="524"/>
                    <a:pt x="0" y="524"/>
                  </a:cubicBezTo>
                  <a:cubicBezTo>
                    <a:pt x="14" y="430"/>
                    <a:pt x="14" y="430"/>
                    <a:pt x="14" y="430"/>
                  </a:cubicBezTo>
                  <a:cubicBezTo>
                    <a:pt x="683" y="437"/>
                    <a:pt x="683" y="437"/>
                    <a:pt x="683" y="437"/>
                  </a:cubicBezTo>
                  <a:cubicBezTo>
                    <a:pt x="1033" y="103"/>
                    <a:pt x="1033" y="103"/>
                    <a:pt x="1033" y="103"/>
                  </a:cubicBezTo>
                  <a:cubicBezTo>
                    <a:pt x="1033" y="103"/>
                    <a:pt x="1299" y="0"/>
                    <a:pt x="1318" y="84"/>
                  </a:cubicBezTo>
                  <a:close/>
                </a:path>
              </a:pathLst>
            </a:custGeom>
            <a:solidFill>
              <a:srgbClr val="CF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720">
              <a:extLst>
                <a:ext uri="{FF2B5EF4-FFF2-40B4-BE49-F238E27FC236}">
                  <a16:creationId xmlns:a16="http://schemas.microsoft.com/office/drawing/2014/main" id="{90D51CD3-EC30-4B45-8018-BAF5E8988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8563" y="1671638"/>
              <a:ext cx="1169988" cy="568325"/>
            </a:xfrm>
            <a:custGeom>
              <a:avLst/>
              <a:gdLst>
                <a:gd name="T0" fmla="*/ 1314 w 1347"/>
                <a:gd name="T1" fmla="*/ 193 h 656"/>
                <a:gd name="T2" fmla="*/ 518 w 1347"/>
                <a:gd name="T3" fmla="*/ 84 h 656"/>
                <a:gd name="T4" fmla="*/ 0 w 1347"/>
                <a:gd name="T5" fmla="*/ 585 h 656"/>
                <a:gd name="T6" fmla="*/ 76 w 1347"/>
                <a:gd name="T7" fmla="*/ 656 h 656"/>
                <a:gd name="T8" fmla="*/ 592 w 1347"/>
                <a:gd name="T9" fmla="*/ 281 h 656"/>
                <a:gd name="T10" fmla="*/ 1072 w 1347"/>
                <a:gd name="T11" fmla="*/ 346 h 656"/>
                <a:gd name="T12" fmla="*/ 1314 w 1347"/>
                <a:gd name="T13" fmla="*/ 193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7" h="656">
                  <a:moveTo>
                    <a:pt x="1314" y="193"/>
                  </a:moveTo>
                  <a:cubicBezTo>
                    <a:pt x="1232" y="0"/>
                    <a:pt x="898" y="47"/>
                    <a:pt x="518" y="84"/>
                  </a:cubicBezTo>
                  <a:cubicBezTo>
                    <a:pt x="0" y="585"/>
                    <a:pt x="0" y="585"/>
                    <a:pt x="0" y="585"/>
                  </a:cubicBezTo>
                  <a:cubicBezTo>
                    <a:pt x="76" y="656"/>
                    <a:pt x="76" y="656"/>
                    <a:pt x="76" y="656"/>
                  </a:cubicBezTo>
                  <a:cubicBezTo>
                    <a:pt x="592" y="281"/>
                    <a:pt x="592" y="281"/>
                    <a:pt x="592" y="281"/>
                  </a:cubicBezTo>
                  <a:cubicBezTo>
                    <a:pt x="1072" y="346"/>
                    <a:pt x="1072" y="346"/>
                    <a:pt x="1072" y="346"/>
                  </a:cubicBezTo>
                  <a:cubicBezTo>
                    <a:pt x="1072" y="346"/>
                    <a:pt x="1347" y="273"/>
                    <a:pt x="1314" y="193"/>
                  </a:cubicBezTo>
                  <a:close/>
                </a:path>
              </a:pathLst>
            </a:custGeom>
            <a:solidFill>
              <a:srgbClr val="CF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721">
              <a:extLst>
                <a:ext uri="{FF2B5EF4-FFF2-40B4-BE49-F238E27FC236}">
                  <a16:creationId xmlns:a16="http://schemas.microsoft.com/office/drawing/2014/main" id="{7624AD20-5D50-4005-AE2E-97EDA8C58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6463" y="1766888"/>
              <a:ext cx="382588" cy="830263"/>
            </a:xfrm>
            <a:custGeom>
              <a:avLst/>
              <a:gdLst>
                <a:gd name="T0" fmla="*/ 369 w 441"/>
                <a:gd name="T1" fmla="*/ 936 h 959"/>
                <a:gd name="T2" fmla="*/ 90 w 441"/>
                <a:gd name="T3" fmla="*/ 522 h 959"/>
                <a:gd name="T4" fmla="*/ 72 w 441"/>
                <a:gd name="T5" fmla="*/ 23 h 959"/>
                <a:gd name="T6" fmla="*/ 351 w 441"/>
                <a:gd name="T7" fmla="*/ 437 h 959"/>
                <a:gd name="T8" fmla="*/ 369 w 441"/>
                <a:gd name="T9" fmla="*/ 936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1" h="959">
                  <a:moveTo>
                    <a:pt x="369" y="936"/>
                  </a:moveTo>
                  <a:cubicBezTo>
                    <a:pt x="297" y="959"/>
                    <a:pt x="172" y="774"/>
                    <a:pt x="90" y="522"/>
                  </a:cubicBezTo>
                  <a:cubicBezTo>
                    <a:pt x="8" y="270"/>
                    <a:pt x="0" y="47"/>
                    <a:pt x="72" y="23"/>
                  </a:cubicBezTo>
                  <a:cubicBezTo>
                    <a:pt x="144" y="0"/>
                    <a:pt x="269" y="185"/>
                    <a:pt x="351" y="437"/>
                  </a:cubicBezTo>
                  <a:cubicBezTo>
                    <a:pt x="432" y="689"/>
                    <a:pt x="441" y="912"/>
                    <a:pt x="369" y="936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722">
              <a:extLst>
                <a:ext uri="{FF2B5EF4-FFF2-40B4-BE49-F238E27FC236}">
                  <a16:creationId xmlns:a16="http://schemas.microsoft.com/office/drawing/2014/main" id="{F9D6AF26-56B1-47F7-9A34-20BEF5285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0738" y="2189163"/>
              <a:ext cx="109538" cy="107950"/>
            </a:xfrm>
            <a:custGeom>
              <a:avLst/>
              <a:gdLst>
                <a:gd name="T0" fmla="*/ 24 w 126"/>
                <a:gd name="T1" fmla="*/ 56 h 125"/>
                <a:gd name="T2" fmla="*/ 85 w 126"/>
                <a:gd name="T3" fmla="*/ 0 h 125"/>
                <a:gd name="T4" fmla="*/ 126 w 126"/>
                <a:gd name="T5" fmla="*/ 125 h 125"/>
                <a:gd name="T6" fmla="*/ 43 w 126"/>
                <a:gd name="T7" fmla="*/ 115 h 125"/>
                <a:gd name="T8" fmla="*/ 24 w 126"/>
                <a:gd name="T9" fmla="*/ 56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25">
                  <a:moveTo>
                    <a:pt x="24" y="5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126" y="125"/>
                    <a:pt x="126" y="125"/>
                    <a:pt x="126" y="125"/>
                  </a:cubicBezTo>
                  <a:cubicBezTo>
                    <a:pt x="43" y="115"/>
                    <a:pt x="43" y="115"/>
                    <a:pt x="43" y="115"/>
                  </a:cubicBezTo>
                  <a:cubicBezTo>
                    <a:pt x="11" y="111"/>
                    <a:pt x="0" y="78"/>
                    <a:pt x="24" y="56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723">
              <a:extLst>
                <a:ext uri="{FF2B5EF4-FFF2-40B4-BE49-F238E27FC236}">
                  <a16:creationId xmlns:a16="http://schemas.microsoft.com/office/drawing/2014/main" id="{183D6453-C884-4551-8CEF-FB328BD09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80800" y="1920876"/>
              <a:ext cx="217488" cy="307975"/>
            </a:xfrm>
            <a:custGeom>
              <a:avLst/>
              <a:gdLst>
                <a:gd name="T0" fmla="*/ 177 w 250"/>
                <a:gd name="T1" fmla="*/ 338 h 356"/>
                <a:gd name="T2" fmla="*/ 29 w 250"/>
                <a:gd name="T3" fmla="*/ 209 h 356"/>
                <a:gd name="T4" fmla="*/ 73 w 250"/>
                <a:gd name="T5" fmla="*/ 17 h 356"/>
                <a:gd name="T6" fmla="*/ 221 w 250"/>
                <a:gd name="T7" fmla="*/ 146 h 356"/>
                <a:gd name="T8" fmla="*/ 177 w 250"/>
                <a:gd name="T9" fmla="*/ 33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0" h="356">
                  <a:moveTo>
                    <a:pt x="177" y="338"/>
                  </a:moveTo>
                  <a:cubicBezTo>
                    <a:pt x="124" y="356"/>
                    <a:pt x="58" y="298"/>
                    <a:pt x="29" y="209"/>
                  </a:cubicBezTo>
                  <a:cubicBezTo>
                    <a:pt x="0" y="120"/>
                    <a:pt x="19" y="34"/>
                    <a:pt x="73" y="17"/>
                  </a:cubicBezTo>
                  <a:cubicBezTo>
                    <a:pt x="126" y="0"/>
                    <a:pt x="192" y="58"/>
                    <a:pt x="221" y="146"/>
                  </a:cubicBezTo>
                  <a:cubicBezTo>
                    <a:pt x="250" y="235"/>
                    <a:pt x="230" y="321"/>
                    <a:pt x="177" y="338"/>
                  </a:cubicBezTo>
                  <a:close/>
                </a:path>
              </a:pathLst>
            </a:custGeom>
            <a:solidFill>
              <a:srgbClr val="693F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24">
              <a:extLst>
                <a:ext uri="{FF2B5EF4-FFF2-40B4-BE49-F238E27FC236}">
                  <a16:creationId xmlns:a16="http://schemas.microsoft.com/office/drawing/2014/main" id="{081A85D7-6AD3-44B5-8C7D-3FD1732CAD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4388" y="1846263"/>
              <a:ext cx="644525" cy="635000"/>
            </a:xfrm>
            <a:custGeom>
              <a:avLst/>
              <a:gdLst>
                <a:gd name="T0" fmla="*/ 491 w 742"/>
                <a:gd name="T1" fmla="*/ 671 h 732"/>
                <a:gd name="T2" fmla="*/ 55 w 742"/>
                <a:gd name="T3" fmla="*/ 476 h 732"/>
                <a:gd name="T4" fmla="*/ 293 w 742"/>
                <a:gd name="T5" fmla="*/ 61 h 732"/>
                <a:gd name="T6" fmla="*/ 687 w 742"/>
                <a:gd name="T7" fmla="*/ 270 h 732"/>
                <a:gd name="T8" fmla="*/ 491 w 742"/>
                <a:gd name="T9" fmla="*/ 671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2" h="732">
                  <a:moveTo>
                    <a:pt x="491" y="671"/>
                  </a:moveTo>
                  <a:cubicBezTo>
                    <a:pt x="305" y="732"/>
                    <a:pt x="110" y="644"/>
                    <a:pt x="55" y="476"/>
                  </a:cubicBezTo>
                  <a:cubicBezTo>
                    <a:pt x="0" y="307"/>
                    <a:pt x="107" y="121"/>
                    <a:pt x="293" y="61"/>
                  </a:cubicBezTo>
                  <a:cubicBezTo>
                    <a:pt x="479" y="0"/>
                    <a:pt x="633" y="101"/>
                    <a:pt x="687" y="270"/>
                  </a:cubicBezTo>
                  <a:cubicBezTo>
                    <a:pt x="742" y="438"/>
                    <a:pt x="677" y="611"/>
                    <a:pt x="491" y="671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725">
              <a:extLst>
                <a:ext uri="{FF2B5EF4-FFF2-40B4-BE49-F238E27FC236}">
                  <a16:creationId xmlns:a16="http://schemas.microsoft.com/office/drawing/2014/main" id="{1797764D-7107-41E0-9CA1-B4A737E49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7563" y="1816101"/>
              <a:ext cx="661988" cy="657225"/>
            </a:xfrm>
            <a:custGeom>
              <a:avLst/>
              <a:gdLst>
                <a:gd name="T0" fmla="*/ 519 w 761"/>
                <a:gd name="T1" fmla="*/ 717 h 758"/>
                <a:gd name="T2" fmla="*/ 101 w 761"/>
                <a:gd name="T3" fmla="*/ 494 h 758"/>
                <a:gd name="T4" fmla="*/ 309 w 761"/>
                <a:gd name="T5" fmla="*/ 68 h 758"/>
                <a:gd name="T6" fmla="*/ 703 w 761"/>
                <a:gd name="T7" fmla="*/ 299 h 758"/>
                <a:gd name="T8" fmla="*/ 519 w 761"/>
                <a:gd name="T9" fmla="*/ 717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1" h="758">
                  <a:moveTo>
                    <a:pt x="519" y="717"/>
                  </a:moveTo>
                  <a:cubicBezTo>
                    <a:pt x="392" y="758"/>
                    <a:pt x="127" y="729"/>
                    <a:pt x="101" y="494"/>
                  </a:cubicBezTo>
                  <a:cubicBezTo>
                    <a:pt x="0" y="316"/>
                    <a:pt x="128" y="127"/>
                    <a:pt x="309" y="68"/>
                  </a:cubicBezTo>
                  <a:cubicBezTo>
                    <a:pt x="518" y="0"/>
                    <a:pt x="645" y="120"/>
                    <a:pt x="703" y="299"/>
                  </a:cubicBezTo>
                  <a:cubicBezTo>
                    <a:pt x="761" y="478"/>
                    <a:pt x="729" y="649"/>
                    <a:pt x="519" y="717"/>
                  </a:cubicBezTo>
                  <a:close/>
                </a:path>
              </a:pathLst>
            </a:custGeom>
            <a:solidFill>
              <a:srgbClr val="693F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726">
              <a:extLst>
                <a:ext uri="{FF2B5EF4-FFF2-40B4-BE49-F238E27FC236}">
                  <a16:creationId xmlns:a16="http://schemas.microsoft.com/office/drawing/2014/main" id="{12F70412-F41F-47C2-B7DD-F171B90B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8050" y="2079626"/>
              <a:ext cx="571500" cy="392113"/>
            </a:xfrm>
            <a:custGeom>
              <a:avLst/>
              <a:gdLst>
                <a:gd name="T0" fmla="*/ 601 w 657"/>
                <a:gd name="T1" fmla="*/ 0 h 453"/>
                <a:gd name="T2" fmla="*/ 390 w 657"/>
                <a:gd name="T3" fmla="*/ 321 h 453"/>
                <a:gd name="T4" fmla="*/ 0 w 657"/>
                <a:gd name="T5" fmla="*/ 207 h 453"/>
                <a:gd name="T6" fmla="*/ 416 w 657"/>
                <a:gd name="T7" fmla="*/ 413 h 453"/>
                <a:gd name="T8" fmla="*/ 601 w 657"/>
                <a:gd name="T9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7" h="453">
                  <a:moveTo>
                    <a:pt x="601" y="0"/>
                  </a:moveTo>
                  <a:cubicBezTo>
                    <a:pt x="620" y="139"/>
                    <a:pt x="566" y="264"/>
                    <a:pt x="390" y="321"/>
                  </a:cubicBezTo>
                  <a:cubicBezTo>
                    <a:pt x="282" y="356"/>
                    <a:pt x="81" y="344"/>
                    <a:pt x="0" y="207"/>
                  </a:cubicBezTo>
                  <a:cubicBezTo>
                    <a:pt x="38" y="427"/>
                    <a:pt x="292" y="453"/>
                    <a:pt x="416" y="413"/>
                  </a:cubicBezTo>
                  <a:cubicBezTo>
                    <a:pt x="624" y="345"/>
                    <a:pt x="657" y="177"/>
                    <a:pt x="601" y="0"/>
                  </a:cubicBezTo>
                  <a:close/>
                </a:path>
              </a:pathLst>
            </a:custGeom>
            <a:solidFill>
              <a:srgbClr val="4D2C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727">
              <a:extLst>
                <a:ext uri="{FF2B5EF4-FFF2-40B4-BE49-F238E27FC236}">
                  <a16:creationId xmlns:a16="http://schemas.microsoft.com/office/drawing/2014/main" id="{8D7DB485-362B-4267-A7D1-F5B2225EE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4875" y="2070101"/>
              <a:ext cx="525463" cy="177800"/>
            </a:xfrm>
            <a:custGeom>
              <a:avLst/>
              <a:gdLst>
                <a:gd name="T0" fmla="*/ 1 w 604"/>
                <a:gd name="T1" fmla="*/ 200 h 205"/>
                <a:gd name="T2" fmla="*/ 4 w 604"/>
                <a:gd name="T3" fmla="*/ 193 h 205"/>
                <a:gd name="T4" fmla="*/ 595 w 604"/>
                <a:gd name="T5" fmla="*/ 1 h 205"/>
                <a:gd name="T6" fmla="*/ 603 w 604"/>
                <a:gd name="T7" fmla="*/ 5 h 205"/>
                <a:gd name="T8" fmla="*/ 599 w 604"/>
                <a:gd name="T9" fmla="*/ 12 h 205"/>
                <a:gd name="T10" fmla="*/ 8 w 604"/>
                <a:gd name="T11" fmla="*/ 204 h 205"/>
                <a:gd name="T12" fmla="*/ 1 w 604"/>
                <a:gd name="T13" fmla="*/ 20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4" h="205">
                  <a:moveTo>
                    <a:pt x="1" y="200"/>
                  </a:moveTo>
                  <a:cubicBezTo>
                    <a:pt x="0" y="197"/>
                    <a:pt x="1" y="194"/>
                    <a:pt x="4" y="193"/>
                  </a:cubicBezTo>
                  <a:cubicBezTo>
                    <a:pt x="595" y="1"/>
                    <a:pt x="595" y="1"/>
                    <a:pt x="595" y="1"/>
                  </a:cubicBezTo>
                  <a:cubicBezTo>
                    <a:pt x="598" y="0"/>
                    <a:pt x="602" y="2"/>
                    <a:pt x="603" y="5"/>
                  </a:cubicBezTo>
                  <a:cubicBezTo>
                    <a:pt x="604" y="8"/>
                    <a:pt x="602" y="11"/>
                    <a:pt x="599" y="12"/>
                  </a:cubicBezTo>
                  <a:cubicBezTo>
                    <a:pt x="8" y="204"/>
                    <a:pt x="8" y="204"/>
                    <a:pt x="8" y="204"/>
                  </a:cubicBezTo>
                  <a:cubicBezTo>
                    <a:pt x="5" y="205"/>
                    <a:pt x="2" y="203"/>
                    <a:pt x="1" y="200"/>
                  </a:cubicBezTo>
                  <a:close/>
                </a:path>
              </a:pathLst>
            </a:custGeom>
            <a:solidFill>
              <a:srgbClr val="7F53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728">
              <a:extLst>
                <a:ext uri="{FF2B5EF4-FFF2-40B4-BE49-F238E27FC236}">
                  <a16:creationId xmlns:a16="http://schemas.microsoft.com/office/drawing/2014/main" id="{11E439F8-3F06-4FE7-A0C3-2A10AEEAF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9850" y="1874838"/>
              <a:ext cx="63500" cy="104775"/>
            </a:xfrm>
            <a:custGeom>
              <a:avLst/>
              <a:gdLst>
                <a:gd name="T0" fmla="*/ 1 w 74"/>
                <a:gd name="T1" fmla="*/ 13 h 122"/>
                <a:gd name="T2" fmla="*/ 6 w 74"/>
                <a:gd name="T3" fmla="*/ 3 h 122"/>
                <a:gd name="T4" fmla="*/ 17 w 74"/>
                <a:gd name="T5" fmla="*/ 6 h 122"/>
                <a:gd name="T6" fmla="*/ 72 w 74"/>
                <a:gd name="T7" fmla="*/ 108 h 122"/>
                <a:gd name="T8" fmla="*/ 68 w 74"/>
                <a:gd name="T9" fmla="*/ 120 h 122"/>
                <a:gd name="T10" fmla="*/ 57 w 74"/>
                <a:gd name="T11" fmla="*/ 116 h 122"/>
                <a:gd name="T12" fmla="*/ 2 w 74"/>
                <a:gd name="T13" fmla="*/ 15 h 122"/>
                <a:gd name="T14" fmla="*/ 1 w 74"/>
                <a:gd name="T15" fmla="*/ 1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122">
                  <a:moveTo>
                    <a:pt x="1" y="13"/>
                  </a:moveTo>
                  <a:cubicBezTo>
                    <a:pt x="0" y="9"/>
                    <a:pt x="2" y="5"/>
                    <a:pt x="6" y="3"/>
                  </a:cubicBezTo>
                  <a:cubicBezTo>
                    <a:pt x="10" y="0"/>
                    <a:pt x="15" y="2"/>
                    <a:pt x="17" y="6"/>
                  </a:cubicBezTo>
                  <a:cubicBezTo>
                    <a:pt x="72" y="108"/>
                    <a:pt x="72" y="108"/>
                    <a:pt x="72" y="108"/>
                  </a:cubicBezTo>
                  <a:cubicBezTo>
                    <a:pt x="74" y="112"/>
                    <a:pt x="73" y="118"/>
                    <a:pt x="68" y="120"/>
                  </a:cubicBezTo>
                  <a:cubicBezTo>
                    <a:pt x="64" y="122"/>
                    <a:pt x="59" y="121"/>
                    <a:pt x="57" y="116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4"/>
                    <a:pt x="2" y="14"/>
                    <a:pt x="1" y="13"/>
                  </a:cubicBezTo>
                  <a:close/>
                </a:path>
              </a:pathLst>
            </a:custGeom>
            <a:solidFill>
              <a:srgbClr val="039B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729">
              <a:extLst>
                <a:ext uri="{FF2B5EF4-FFF2-40B4-BE49-F238E27FC236}">
                  <a16:creationId xmlns:a16="http://schemas.microsoft.com/office/drawing/2014/main" id="{BAF79C1B-0B17-433E-8170-2FDBF7002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14150" y="2170113"/>
              <a:ext cx="30163" cy="114300"/>
            </a:xfrm>
            <a:custGeom>
              <a:avLst/>
              <a:gdLst>
                <a:gd name="T0" fmla="*/ 17 w 34"/>
                <a:gd name="T1" fmla="*/ 126 h 133"/>
                <a:gd name="T2" fmla="*/ 16 w 34"/>
                <a:gd name="T3" fmla="*/ 125 h 133"/>
                <a:gd name="T4" fmla="*/ 1 w 34"/>
                <a:gd name="T5" fmla="*/ 10 h 133"/>
                <a:gd name="T6" fmla="*/ 8 w 34"/>
                <a:gd name="T7" fmla="*/ 1 h 133"/>
                <a:gd name="T8" fmla="*/ 18 w 34"/>
                <a:gd name="T9" fmla="*/ 8 h 133"/>
                <a:gd name="T10" fmla="*/ 34 w 34"/>
                <a:gd name="T11" fmla="*/ 122 h 133"/>
                <a:gd name="T12" fmla="*/ 26 w 34"/>
                <a:gd name="T13" fmla="*/ 132 h 133"/>
                <a:gd name="T14" fmla="*/ 17 w 34"/>
                <a:gd name="T15" fmla="*/ 12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33">
                  <a:moveTo>
                    <a:pt x="17" y="126"/>
                  </a:moveTo>
                  <a:cubicBezTo>
                    <a:pt x="17" y="126"/>
                    <a:pt x="16" y="125"/>
                    <a:pt x="16" y="125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6"/>
                    <a:pt x="3" y="1"/>
                    <a:pt x="8" y="1"/>
                  </a:cubicBezTo>
                  <a:cubicBezTo>
                    <a:pt x="13" y="0"/>
                    <a:pt x="17" y="3"/>
                    <a:pt x="18" y="8"/>
                  </a:cubicBezTo>
                  <a:cubicBezTo>
                    <a:pt x="34" y="122"/>
                    <a:pt x="34" y="122"/>
                    <a:pt x="34" y="122"/>
                  </a:cubicBezTo>
                  <a:cubicBezTo>
                    <a:pt x="34" y="127"/>
                    <a:pt x="31" y="132"/>
                    <a:pt x="26" y="132"/>
                  </a:cubicBezTo>
                  <a:cubicBezTo>
                    <a:pt x="22" y="133"/>
                    <a:pt x="18" y="130"/>
                    <a:pt x="17" y="126"/>
                  </a:cubicBezTo>
                  <a:close/>
                </a:path>
              </a:pathLst>
            </a:custGeom>
            <a:solidFill>
              <a:srgbClr val="039B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730">
              <a:extLst>
                <a:ext uri="{FF2B5EF4-FFF2-40B4-BE49-F238E27FC236}">
                  <a16:creationId xmlns:a16="http://schemas.microsoft.com/office/drawing/2014/main" id="{BCFABBE1-E5FB-42A7-91AE-C9304590F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9213" y="4046538"/>
              <a:ext cx="263525" cy="244475"/>
            </a:xfrm>
            <a:custGeom>
              <a:avLst/>
              <a:gdLst>
                <a:gd name="T0" fmla="*/ 292 w 303"/>
                <a:gd name="T1" fmla="*/ 212 h 282"/>
                <a:gd name="T2" fmla="*/ 257 w 303"/>
                <a:gd name="T3" fmla="*/ 192 h 282"/>
                <a:gd name="T4" fmla="*/ 205 w 303"/>
                <a:gd name="T5" fmla="*/ 35 h 282"/>
                <a:gd name="T6" fmla="*/ 34 w 303"/>
                <a:gd name="T7" fmla="*/ 80 h 282"/>
                <a:gd name="T8" fmla="*/ 79 w 303"/>
                <a:gd name="T9" fmla="*/ 251 h 282"/>
                <a:gd name="T10" fmla="*/ 240 w 303"/>
                <a:gd name="T11" fmla="*/ 221 h 282"/>
                <a:gd name="T12" fmla="*/ 275 w 303"/>
                <a:gd name="T13" fmla="*/ 241 h 282"/>
                <a:gd name="T14" fmla="*/ 298 w 303"/>
                <a:gd name="T15" fmla="*/ 235 h 282"/>
                <a:gd name="T16" fmla="*/ 292 w 303"/>
                <a:gd name="T17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3" h="282">
                  <a:moveTo>
                    <a:pt x="292" y="212"/>
                  </a:moveTo>
                  <a:cubicBezTo>
                    <a:pt x="257" y="192"/>
                    <a:pt x="257" y="192"/>
                    <a:pt x="257" y="192"/>
                  </a:cubicBezTo>
                  <a:cubicBezTo>
                    <a:pt x="282" y="135"/>
                    <a:pt x="260" y="67"/>
                    <a:pt x="205" y="35"/>
                  </a:cubicBezTo>
                  <a:cubicBezTo>
                    <a:pt x="145" y="0"/>
                    <a:pt x="69" y="20"/>
                    <a:pt x="34" y="80"/>
                  </a:cubicBezTo>
                  <a:cubicBezTo>
                    <a:pt x="0" y="140"/>
                    <a:pt x="20" y="216"/>
                    <a:pt x="79" y="251"/>
                  </a:cubicBezTo>
                  <a:cubicBezTo>
                    <a:pt x="134" y="282"/>
                    <a:pt x="201" y="268"/>
                    <a:pt x="240" y="221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83" y="246"/>
                    <a:pt x="293" y="243"/>
                    <a:pt x="298" y="235"/>
                  </a:cubicBezTo>
                  <a:cubicBezTo>
                    <a:pt x="303" y="227"/>
                    <a:pt x="300" y="217"/>
                    <a:pt x="292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731">
              <a:extLst>
                <a:ext uri="{FF2B5EF4-FFF2-40B4-BE49-F238E27FC236}">
                  <a16:creationId xmlns:a16="http://schemas.microsoft.com/office/drawing/2014/main" id="{966D91E7-F09D-4AFB-82BF-6C9F1AEA1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9688" y="4032251"/>
              <a:ext cx="247650" cy="246063"/>
            </a:xfrm>
            <a:custGeom>
              <a:avLst/>
              <a:gdLst>
                <a:gd name="T0" fmla="*/ 251 w 285"/>
                <a:gd name="T1" fmla="*/ 205 h 285"/>
                <a:gd name="T2" fmla="*/ 80 w 285"/>
                <a:gd name="T3" fmla="*/ 250 h 285"/>
                <a:gd name="T4" fmla="*/ 34 w 285"/>
                <a:gd name="T5" fmla="*/ 80 h 285"/>
                <a:gd name="T6" fmla="*/ 205 w 285"/>
                <a:gd name="T7" fmla="*/ 34 h 285"/>
                <a:gd name="T8" fmla="*/ 251 w 285"/>
                <a:gd name="T9" fmla="*/ 20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5" h="285">
                  <a:moveTo>
                    <a:pt x="251" y="205"/>
                  </a:moveTo>
                  <a:cubicBezTo>
                    <a:pt x="216" y="265"/>
                    <a:pt x="139" y="285"/>
                    <a:pt x="80" y="250"/>
                  </a:cubicBezTo>
                  <a:cubicBezTo>
                    <a:pt x="20" y="216"/>
                    <a:pt x="0" y="139"/>
                    <a:pt x="34" y="80"/>
                  </a:cubicBezTo>
                  <a:cubicBezTo>
                    <a:pt x="69" y="20"/>
                    <a:pt x="146" y="0"/>
                    <a:pt x="205" y="34"/>
                  </a:cubicBezTo>
                  <a:cubicBezTo>
                    <a:pt x="265" y="69"/>
                    <a:pt x="285" y="145"/>
                    <a:pt x="251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732">
              <a:extLst>
                <a:ext uri="{FF2B5EF4-FFF2-40B4-BE49-F238E27FC236}">
                  <a16:creationId xmlns:a16="http://schemas.microsoft.com/office/drawing/2014/main" id="{249052A1-642D-4FA0-85AC-853592A72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8263" y="4060826"/>
              <a:ext cx="190500" cy="188913"/>
            </a:xfrm>
            <a:custGeom>
              <a:avLst/>
              <a:gdLst>
                <a:gd name="T0" fmla="*/ 213 w 219"/>
                <a:gd name="T1" fmla="*/ 99 h 219"/>
                <a:gd name="T2" fmla="*/ 120 w 219"/>
                <a:gd name="T3" fmla="*/ 213 h 219"/>
                <a:gd name="T4" fmla="*/ 6 w 219"/>
                <a:gd name="T5" fmla="*/ 120 h 219"/>
                <a:gd name="T6" fmla="*/ 99 w 219"/>
                <a:gd name="T7" fmla="*/ 6 h 219"/>
                <a:gd name="T8" fmla="*/ 213 w 219"/>
                <a:gd name="T9" fmla="*/ 9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19">
                  <a:moveTo>
                    <a:pt x="213" y="99"/>
                  </a:moveTo>
                  <a:cubicBezTo>
                    <a:pt x="219" y="156"/>
                    <a:pt x="177" y="207"/>
                    <a:pt x="120" y="213"/>
                  </a:cubicBezTo>
                  <a:cubicBezTo>
                    <a:pt x="63" y="219"/>
                    <a:pt x="12" y="177"/>
                    <a:pt x="6" y="120"/>
                  </a:cubicBezTo>
                  <a:cubicBezTo>
                    <a:pt x="0" y="63"/>
                    <a:pt x="42" y="12"/>
                    <a:pt x="99" y="6"/>
                  </a:cubicBezTo>
                  <a:cubicBezTo>
                    <a:pt x="156" y="0"/>
                    <a:pt x="207" y="41"/>
                    <a:pt x="213" y="99"/>
                  </a:cubicBezTo>
                  <a:close/>
                </a:path>
              </a:pathLst>
            </a:custGeom>
            <a:solidFill>
              <a:srgbClr val="9158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733">
              <a:extLst>
                <a:ext uri="{FF2B5EF4-FFF2-40B4-BE49-F238E27FC236}">
                  <a16:creationId xmlns:a16="http://schemas.microsoft.com/office/drawing/2014/main" id="{0F403B91-9B84-4CC9-8B24-1B0A44318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8263" y="4062413"/>
              <a:ext cx="158750" cy="168275"/>
            </a:xfrm>
            <a:custGeom>
              <a:avLst/>
              <a:gdLst>
                <a:gd name="T0" fmla="*/ 23 w 183"/>
                <a:gd name="T1" fmla="*/ 131 h 194"/>
                <a:gd name="T2" fmla="*/ 115 w 183"/>
                <a:gd name="T3" fmla="*/ 17 h 194"/>
                <a:gd name="T4" fmla="*/ 183 w 183"/>
                <a:gd name="T5" fmla="*/ 34 h 194"/>
                <a:gd name="T6" fmla="*/ 99 w 183"/>
                <a:gd name="T7" fmla="*/ 4 h 194"/>
                <a:gd name="T8" fmla="*/ 6 w 183"/>
                <a:gd name="T9" fmla="*/ 118 h 194"/>
                <a:gd name="T10" fmla="*/ 53 w 183"/>
                <a:gd name="T11" fmla="*/ 194 h 194"/>
                <a:gd name="T12" fmla="*/ 23 w 183"/>
                <a:gd name="T13" fmla="*/ 13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194">
                  <a:moveTo>
                    <a:pt x="23" y="131"/>
                  </a:moveTo>
                  <a:cubicBezTo>
                    <a:pt x="17" y="74"/>
                    <a:pt x="58" y="23"/>
                    <a:pt x="115" y="17"/>
                  </a:cubicBezTo>
                  <a:cubicBezTo>
                    <a:pt x="140" y="15"/>
                    <a:pt x="164" y="21"/>
                    <a:pt x="183" y="34"/>
                  </a:cubicBezTo>
                  <a:cubicBezTo>
                    <a:pt x="162" y="12"/>
                    <a:pt x="131" y="0"/>
                    <a:pt x="99" y="4"/>
                  </a:cubicBezTo>
                  <a:cubicBezTo>
                    <a:pt x="42" y="10"/>
                    <a:pt x="0" y="61"/>
                    <a:pt x="6" y="118"/>
                  </a:cubicBezTo>
                  <a:cubicBezTo>
                    <a:pt x="9" y="150"/>
                    <a:pt x="27" y="178"/>
                    <a:pt x="53" y="194"/>
                  </a:cubicBezTo>
                  <a:cubicBezTo>
                    <a:pt x="36" y="178"/>
                    <a:pt x="25" y="156"/>
                    <a:pt x="23" y="131"/>
                  </a:cubicBezTo>
                  <a:close/>
                </a:path>
              </a:pathLst>
            </a:custGeom>
            <a:solidFill>
              <a:srgbClr val="7C4B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734">
              <a:extLst>
                <a:ext uri="{FF2B5EF4-FFF2-40B4-BE49-F238E27FC236}">
                  <a16:creationId xmlns:a16="http://schemas.microsoft.com/office/drawing/2014/main" id="{2EF2E7C9-D440-4359-BF22-ED9E53C8D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1300" y="4194176"/>
              <a:ext cx="61913" cy="50800"/>
            </a:xfrm>
            <a:custGeom>
              <a:avLst/>
              <a:gdLst>
                <a:gd name="T0" fmla="*/ 42 w 70"/>
                <a:gd name="T1" fmla="*/ 54 h 59"/>
                <a:gd name="T2" fmla="*/ 0 w 70"/>
                <a:gd name="T3" fmla="*/ 30 h 59"/>
                <a:gd name="T4" fmla="*/ 17 w 70"/>
                <a:gd name="T5" fmla="*/ 0 h 59"/>
                <a:gd name="T6" fmla="*/ 59 w 70"/>
                <a:gd name="T7" fmla="*/ 25 h 59"/>
                <a:gd name="T8" fmla="*/ 65 w 70"/>
                <a:gd name="T9" fmla="*/ 48 h 59"/>
                <a:gd name="T10" fmla="*/ 42 w 70"/>
                <a:gd name="T11" fmla="*/ 5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59">
                  <a:moveTo>
                    <a:pt x="42" y="54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67" y="29"/>
                    <a:pt x="70" y="40"/>
                    <a:pt x="65" y="48"/>
                  </a:cubicBezTo>
                  <a:cubicBezTo>
                    <a:pt x="61" y="56"/>
                    <a:pt x="50" y="59"/>
                    <a:pt x="42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735">
              <a:extLst>
                <a:ext uri="{FF2B5EF4-FFF2-40B4-BE49-F238E27FC236}">
                  <a16:creationId xmlns:a16="http://schemas.microsoft.com/office/drawing/2014/main" id="{1B121890-B69A-4534-93C1-88E119724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6300" y="1749426"/>
              <a:ext cx="263525" cy="244475"/>
            </a:xfrm>
            <a:custGeom>
              <a:avLst/>
              <a:gdLst>
                <a:gd name="T0" fmla="*/ 293 w 303"/>
                <a:gd name="T1" fmla="*/ 212 h 282"/>
                <a:gd name="T2" fmla="*/ 258 w 303"/>
                <a:gd name="T3" fmla="*/ 191 h 282"/>
                <a:gd name="T4" fmla="*/ 206 w 303"/>
                <a:gd name="T5" fmla="*/ 34 h 282"/>
                <a:gd name="T6" fmla="*/ 35 w 303"/>
                <a:gd name="T7" fmla="*/ 80 h 282"/>
                <a:gd name="T8" fmla="*/ 80 w 303"/>
                <a:gd name="T9" fmla="*/ 250 h 282"/>
                <a:gd name="T10" fmla="*/ 240 w 303"/>
                <a:gd name="T11" fmla="*/ 221 h 282"/>
                <a:gd name="T12" fmla="*/ 275 w 303"/>
                <a:gd name="T13" fmla="*/ 241 h 282"/>
                <a:gd name="T14" fmla="*/ 299 w 303"/>
                <a:gd name="T15" fmla="*/ 235 h 282"/>
                <a:gd name="T16" fmla="*/ 293 w 303"/>
                <a:gd name="T17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3" h="282">
                  <a:moveTo>
                    <a:pt x="293" y="212"/>
                  </a:moveTo>
                  <a:cubicBezTo>
                    <a:pt x="258" y="191"/>
                    <a:pt x="258" y="191"/>
                    <a:pt x="258" y="191"/>
                  </a:cubicBezTo>
                  <a:cubicBezTo>
                    <a:pt x="282" y="134"/>
                    <a:pt x="261" y="66"/>
                    <a:pt x="206" y="34"/>
                  </a:cubicBezTo>
                  <a:cubicBezTo>
                    <a:pt x="146" y="0"/>
                    <a:pt x="70" y="20"/>
                    <a:pt x="35" y="80"/>
                  </a:cubicBezTo>
                  <a:cubicBezTo>
                    <a:pt x="0" y="139"/>
                    <a:pt x="21" y="216"/>
                    <a:pt x="80" y="250"/>
                  </a:cubicBezTo>
                  <a:cubicBezTo>
                    <a:pt x="134" y="282"/>
                    <a:pt x="202" y="268"/>
                    <a:pt x="240" y="221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84" y="246"/>
                    <a:pt x="294" y="243"/>
                    <a:pt x="299" y="235"/>
                  </a:cubicBezTo>
                  <a:cubicBezTo>
                    <a:pt x="303" y="227"/>
                    <a:pt x="301" y="216"/>
                    <a:pt x="293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736">
              <a:extLst>
                <a:ext uri="{FF2B5EF4-FFF2-40B4-BE49-F238E27FC236}">
                  <a16:creationId xmlns:a16="http://schemas.microsoft.com/office/drawing/2014/main" id="{1EB0E025-4DDD-46F5-A87E-70E08F482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7250" y="1754188"/>
              <a:ext cx="247650" cy="247650"/>
            </a:xfrm>
            <a:custGeom>
              <a:avLst/>
              <a:gdLst>
                <a:gd name="T0" fmla="*/ 251 w 285"/>
                <a:gd name="T1" fmla="*/ 205 h 285"/>
                <a:gd name="T2" fmla="*/ 80 w 285"/>
                <a:gd name="T3" fmla="*/ 250 h 285"/>
                <a:gd name="T4" fmla="*/ 35 w 285"/>
                <a:gd name="T5" fmla="*/ 79 h 285"/>
                <a:gd name="T6" fmla="*/ 205 w 285"/>
                <a:gd name="T7" fmla="*/ 34 h 285"/>
                <a:gd name="T8" fmla="*/ 251 w 285"/>
                <a:gd name="T9" fmla="*/ 20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5" h="285">
                  <a:moveTo>
                    <a:pt x="251" y="205"/>
                  </a:moveTo>
                  <a:cubicBezTo>
                    <a:pt x="216" y="265"/>
                    <a:pt x="140" y="285"/>
                    <a:pt x="80" y="250"/>
                  </a:cubicBezTo>
                  <a:cubicBezTo>
                    <a:pt x="20" y="216"/>
                    <a:pt x="0" y="139"/>
                    <a:pt x="35" y="79"/>
                  </a:cubicBezTo>
                  <a:cubicBezTo>
                    <a:pt x="69" y="20"/>
                    <a:pt x="146" y="0"/>
                    <a:pt x="205" y="34"/>
                  </a:cubicBezTo>
                  <a:cubicBezTo>
                    <a:pt x="265" y="69"/>
                    <a:pt x="285" y="145"/>
                    <a:pt x="251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737">
              <a:extLst>
                <a:ext uri="{FF2B5EF4-FFF2-40B4-BE49-F238E27FC236}">
                  <a16:creationId xmlns:a16="http://schemas.microsoft.com/office/drawing/2014/main" id="{E5A52628-CBEF-4276-91AA-59E114554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5825" y="1782763"/>
              <a:ext cx="190500" cy="190500"/>
            </a:xfrm>
            <a:custGeom>
              <a:avLst/>
              <a:gdLst>
                <a:gd name="T0" fmla="*/ 213 w 219"/>
                <a:gd name="T1" fmla="*/ 99 h 219"/>
                <a:gd name="T2" fmla="*/ 120 w 219"/>
                <a:gd name="T3" fmla="*/ 213 h 219"/>
                <a:gd name="T4" fmla="*/ 6 w 219"/>
                <a:gd name="T5" fmla="*/ 120 h 219"/>
                <a:gd name="T6" fmla="*/ 99 w 219"/>
                <a:gd name="T7" fmla="*/ 6 h 219"/>
                <a:gd name="T8" fmla="*/ 213 w 219"/>
                <a:gd name="T9" fmla="*/ 9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19">
                  <a:moveTo>
                    <a:pt x="213" y="99"/>
                  </a:moveTo>
                  <a:cubicBezTo>
                    <a:pt x="219" y="156"/>
                    <a:pt x="177" y="207"/>
                    <a:pt x="120" y="213"/>
                  </a:cubicBezTo>
                  <a:cubicBezTo>
                    <a:pt x="63" y="219"/>
                    <a:pt x="12" y="177"/>
                    <a:pt x="6" y="120"/>
                  </a:cubicBezTo>
                  <a:cubicBezTo>
                    <a:pt x="0" y="63"/>
                    <a:pt x="42" y="12"/>
                    <a:pt x="99" y="6"/>
                  </a:cubicBezTo>
                  <a:cubicBezTo>
                    <a:pt x="156" y="0"/>
                    <a:pt x="207" y="41"/>
                    <a:pt x="213" y="99"/>
                  </a:cubicBezTo>
                  <a:close/>
                </a:path>
              </a:pathLst>
            </a:custGeom>
            <a:solidFill>
              <a:srgbClr val="9158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738">
              <a:extLst>
                <a:ext uri="{FF2B5EF4-FFF2-40B4-BE49-F238E27FC236}">
                  <a16:creationId xmlns:a16="http://schemas.microsoft.com/office/drawing/2014/main" id="{27F0D199-300D-4DBF-8751-2A6A90140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5825" y="1784351"/>
              <a:ext cx="158750" cy="168275"/>
            </a:xfrm>
            <a:custGeom>
              <a:avLst/>
              <a:gdLst>
                <a:gd name="T0" fmla="*/ 23 w 183"/>
                <a:gd name="T1" fmla="*/ 131 h 194"/>
                <a:gd name="T2" fmla="*/ 116 w 183"/>
                <a:gd name="T3" fmla="*/ 17 h 194"/>
                <a:gd name="T4" fmla="*/ 183 w 183"/>
                <a:gd name="T5" fmla="*/ 34 h 194"/>
                <a:gd name="T6" fmla="*/ 99 w 183"/>
                <a:gd name="T7" fmla="*/ 4 h 194"/>
                <a:gd name="T8" fmla="*/ 6 w 183"/>
                <a:gd name="T9" fmla="*/ 118 h 194"/>
                <a:gd name="T10" fmla="*/ 53 w 183"/>
                <a:gd name="T11" fmla="*/ 194 h 194"/>
                <a:gd name="T12" fmla="*/ 23 w 183"/>
                <a:gd name="T13" fmla="*/ 13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194">
                  <a:moveTo>
                    <a:pt x="23" y="131"/>
                  </a:moveTo>
                  <a:cubicBezTo>
                    <a:pt x="17" y="74"/>
                    <a:pt x="58" y="23"/>
                    <a:pt x="116" y="17"/>
                  </a:cubicBezTo>
                  <a:cubicBezTo>
                    <a:pt x="140" y="15"/>
                    <a:pt x="164" y="21"/>
                    <a:pt x="183" y="34"/>
                  </a:cubicBezTo>
                  <a:cubicBezTo>
                    <a:pt x="162" y="12"/>
                    <a:pt x="131" y="0"/>
                    <a:pt x="99" y="4"/>
                  </a:cubicBezTo>
                  <a:cubicBezTo>
                    <a:pt x="42" y="10"/>
                    <a:pt x="0" y="61"/>
                    <a:pt x="6" y="118"/>
                  </a:cubicBezTo>
                  <a:cubicBezTo>
                    <a:pt x="9" y="150"/>
                    <a:pt x="27" y="178"/>
                    <a:pt x="53" y="194"/>
                  </a:cubicBezTo>
                  <a:cubicBezTo>
                    <a:pt x="36" y="178"/>
                    <a:pt x="25" y="156"/>
                    <a:pt x="23" y="131"/>
                  </a:cubicBezTo>
                  <a:close/>
                </a:path>
              </a:pathLst>
            </a:custGeom>
            <a:solidFill>
              <a:srgbClr val="7C4B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739">
              <a:extLst>
                <a:ext uri="{FF2B5EF4-FFF2-40B4-BE49-F238E27FC236}">
                  <a16:creationId xmlns:a16="http://schemas.microsoft.com/office/drawing/2014/main" id="{054328A0-52FA-4174-8DF5-C49F77755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8863" y="1916113"/>
              <a:ext cx="61913" cy="50800"/>
            </a:xfrm>
            <a:custGeom>
              <a:avLst/>
              <a:gdLst>
                <a:gd name="T0" fmla="*/ 42 w 70"/>
                <a:gd name="T1" fmla="*/ 54 h 59"/>
                <a:gd name="T2" fmla="*/ 0 w 70"/>
                <a:gd name="T3" fmla="*/ 29 h 59"/>
                <a:gd name="T4" fmla="*/ 17 w 70"/>
                <a:gd name="T5" fmla="*/ 0 h 59"/>
                <a:gd name="T6" fmla="*/ 59 w 70"/>
                <a:gd name="T7" fmla="*/ 24 h 59"/>
                <a:gd name="T8" fmla="*/ 65 w 70"/>
                <a:gd name="T9" fmla="*/ 48 h 59"/>
                <a:gd name="T10" fmla="*/ 42 w 70"/>
                <a:gd name="T11" fmla="*/ 5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59">
                  <a:moveTo>
                    <a:pt x="42" y="54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67" y="29"/>
                    <a:pt x="70" y="40"/>
                    <a:pt x="65" y="48"/>
                  </a:cubicBezTo>
                  <a:cubicBezTo>
                    <a:pt x="61" y="56"/>
                    <a:pt x="50" y="59"/>
                    <a:pt x="42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6403AD8-5BF8-4459-952F-C838B079D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051" y="334207"/>
            <a:ext cx="10339200" cy="784830"/>
          </a:xfrm>
        </p:spPr>
        <p:txBody>
          <a:bodyPr>
            <a:spAutoFit/>
          </a:bodyPr>
          <a:lstStyle/>
          <a:p>
            <a:r>
              <a:rPr lang="sv-SE" sz="6000" dirty="0"/>
              <a:t>Lab work</a:t>
            </a:r>
            <a:endParaRPr lang="en-US" sz="6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990C91E-B75C-4222-9AA7-7C8D99A7F3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688" y="2573499"/>
            <a:ext cx="6227763" cy="3211133"/>
          </a:xfrm>
          <a:prstGeom prst="rect">
            <a:avLst/>
          </a:prstGeom>
        </p:spPr>
      </p:pic>
      <p:sp>
        <p:nvSpPr>
          <p:cNvPr id="768" name="TextBox 767">
            <a:extLst>
              <a:ext uri="{FF2B5EF4-FFF2-40B4-BE49-F238E27FC236}">
                <a16:creationId xmlns:a16="http://schemas.microsoft.com/office/drawing/2014/main" id="{9242144E-2BD1-4DE3-829E-ED5E31D455FA}"/>
              </a:ext>
            </a:extLst>
          </p:cNvPr>
          <p:cNvSpPr txBox="1"/>
          <p:nvPr/>
        </p:nvSpPr>
        <p:spPr>
          <a:xfrm>
            <a:off x="821094" y="1758156"/>
            <a:ext cx="544000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sz="1600" spc="-70" dirty="0"/>
              <a:t>If a sales region meets their goal, get approval to buy the sales team lunch</a:t>
            </a:r>
          </a:p>
          <a:p>
            <a:pPr marL="342900" indent="-342900">
              <a:buFontTx/>
              <a:buChar char="-"/>
            </a:pPr>
            <a:r>
              <a:rPr lang="en-US" sz="1600" spc="-70" dirty="0"/>
              <a:t>Also give them a shout-out</a:t>
            </a:r>
          </a:p>
        </p:txBody>
      </p:sp>
    </p:spTree>
    <p:extLst>
      <p:ext uri="{BB962C8B-B14F-4D97-AF65-F5344CB8AC3E}">
        <p14:creationId xmlns:p14="http://schemas.microsoft.com/office/powerpoint/2010/main" val="35685892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1F6288C-61D7-4F48-8612-DCBB0A6F6FB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7E39E4C5-F7CE-4A49-9C01-84974E49B9BE}"/>
              </a:ext>
            </a:extLst>
          </p:cNvPr>
          <p:cNvSpPr txBox="1"/>
          <p:nvPr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lang="en-US" sz="8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FC9CFA-33B8-4AC2-8692-F4821C917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53661" y="3010424"/>
            <a:ext cx="3644422" cy="837152"/>
          </a:xfrm>
        </p:spPr>
        <p:txBody>
          <a:bodyPr>
            <a:spAutoFit/>
          </a:bodyPr>
          <a:lstStyle/>
          <a:p>
            <a:r>
              <a:rPr lang="en-US" sz="3200" dirty="0"/>
              <a:t>Business scenario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B625C01-DFD9-4E33-8FD0-01E4C5F07547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41" name="Oval 503">
              <a:extLst>
                <a:ext uri="{FF2B5EF4-FFF2-40B4-BE49-F238E27FC236}">
                  <a16:creationId xmlns:a16="http://schemas.microsoft.com/office/drawing/2014/main" id="{86646E12-A5D7-455E-8B8F-EFD6EF4E28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504">
              <a:extLst>
                <a:ext uri="{FF2B5EF4-FFF2-40B4-BE49-F238E27FC236}">
                  <a16:creationId xmlns:a16="http://schemas.microsoft.com/office/drawing/2014/main" id="{E3B29C9C-2988-48A8-B800-0831BC1A4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505">
              <a:extLst>
                <a:ext uri="{FF2B5EF4-FFF2-40B4-BE49-F238E27FC236}">
                  <a16:creationId xmlns:a16="http://schemas.microsoft.com/office/drawing/2014/main" id="{1BBFC87C-450D-48E3-86E4-9352E9249D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506">
              <a:extLst>
                <a:ext uri="{FF2B5EF4-FFF2-40B4-BE49-F238E27FC236}">
                  <a16:creationId xmlns:a16="http://schemas.microsoft.com/office/drawing/2014/main" id="{5A940483-A4FF-4045-9AE2-A2B8598EE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900799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7" name="Group 766">
            <a:extLst>
              <a:ext uri="{FF2B5EF4-FFF2-40B4-BE49-F238E27FC236}">
                <a16:creationId xmlns:a16="http://schemas.microsoft.com/office/drawing/2014/main" id="{9001FA43-023B-449E-9649-3C3556FBEC55}"/>
              </a:ext>
            </a:extLst>
          </p:cNvPr>
          <p:cNvGrpSpPr/>
          <p:nvPr/>
        </p:nvGrpSpPr>
        <p:grpSpPr>
          <a:xfrm>
            <a:off x="8277225" y="0"/>
            <a:ext cx="5097463" cy="4886325"/>
            <a:chOff x="6600825" y="260351"/>
            <a:chExt cx="5097463" cy="4886325"/>
          </a:xfrm>
        </p:grpSpPr>
        <p:grpSp>
          <p:nvGrpSpPr>
            <p:cNvPr id="7" name="Group 205">
              <a:extLst>
                <a:ext uri="{FF2B5EF4-FFF2-40B4-BE49-F238E27FC236}">
                  <a16:creationId xmlns:a16="http://schemas.microsoft.com/office/drawing/2014/main" id="{BFEA87D8-F9F4-4909-B906-53FB73F7E08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600825" y="260351"/>
              <a:ext cx="5054600" cy="4886325"/>
              <a:chOff x="4158" y="164"/>
              <a:chExt cx="3184" cy="3078"/>
            </a:xfrm>
          </p:grpSpPr>
          <p:sp>
            <p:nvSpPr>
              <p:cNvPr id="567" name="Rectangle 5">
                <a:extLst>
                  <a:ext uri="{FF2B5EF4-FFF2-40B4-BE49-F238E27FC236}">
                    <a16:creationId xmlns:a16="http://schemas.microsoft.com/office/drawing/2014/main" id="{68BA803B-B0C0-446C-92B3-8DE3FA683C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79" y="263"/>
                <a:ext cx="196" cy="102"/>
              </a:xfrm>
              <a:prstGeom prst="rect">
                <a:avLst/>
              </a:pr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8" name="Freeform 6">
                <a:extLst>
                  <a:ext uri="{FF2B5EF4-FFF2-40B4-BE49-F238E27FC236}">
                    <a16:creationId xmlns:a16="http://schemas.microsoft.com/office/drawing/2014/main" id="{1B286794-E1E4-4DC8-80E4-74FBC31CD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0" y="164"/>
                <a:ext cx="375" cy="143"/>
              </a:xfrm>
              <a:custGeom>
                <a:avLst/>
                <a:gdLst>
                  <a:gd name="T0" fmla="*/ 35 w 686"/>
                  <a:gd name="T1" fmla="*/ 112 h 262"/>
                  <a:gd name="T2" fmla="*/ 650 w 686"/>
                  <a:gd name="T3" fmla="*/ 112 h 262"/>
                  <a:gd name="T4" fmla="*/ 679 w 686"/>
                  <a:gd name="T5" fmla="*/ 205 h 262"/>
                  <a:gd name="T6" fmla="*/ 628 w 686"/>
                  <a:gd name="T7" fmla="*/ 251 h 262"/>
                  <a:gd name="T8" fmla="*/ 57 w 686"/>
                  <a:gd name="T9" fmla="*/ 251 h 262"/>
                  <a:gd name="T10" fmla="*/ 7 w 686"/>
                  <a:gd name="T11" fmla="*/ 205 h 262"/>
                  <a:gd name="T12" fmla="*/ 35 w 686"/>
                  <a:gd name="T13" fmla="*/ 11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6" h="262">
                    <a:moveTo>
                      <a:pt x="35" y="112"/>
                    </a:moveTo>
                    <a:cubicBezTo>
                      <a:pt x="236" y="0"/>
                      <a:pt x="450" y="0"/>
                      <a:pt x="650" y="112"/>
                    </a:cubicBezTo>
                    <a:cubicBezTo>
                      <a:pt x="673" y="124"/>
                      <a:pt x="686" y="167"/>
                      <a:pt x="679" y="205"/>
                    </a:cubicBezTo>
                    <a:cubicBezTo>
                      <a:pt x="671" y="243"/>
                      <a:pt x="649" y="262"/>
                      <a:pt x="628" y="251"/>
                    </a:cubicBezTo>
                    <a:cubicBezTo>
                      <a:pt x="442" y="147"/>
                      <a:pt x="244" y="147"/>
                      <a:pt x="57" y="251"/>
                    </a:cubicBezTo>
                    <a:cubicBezTo>
                      <a:pt x="36" y="262"/>
                      <a:pt x="14" y="243"/>
                      <a:pt x="7" y="205"/>
                    </a:cubicBezTo>
                    <a:cubicBezTo>
                      <a:pt x="0" y="167"/>
                      <a:pt x="12" y="124"/>
                      <a:pt x="35" y="112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9" name="Freeform 7">
                <a:extLst>
                  <a:ext uri="{FF2B5EF4-FFF2-40B4-BE49-F238E27FC236}">
                    <a16:creationId xmlns:a16="http://schemas.microsoft.com/office/drawing/2014/main" id="{0FF847E9-8A2B-4A09-880C-06CB9F3E0E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1" y="385"/>
                <a:ext cx="573" cy="571"/>
              </a:xfrm>
              <a:custGeom>
                <a:avLst/>
                <a:gdLst>
                  <a:gd name="T0" fmla="*/ 25 w 1046"/>
                  <a:gd name="T1" fmla="*/ 25 h 1046"/>
                  <a:gd name="T2" fmla="*/ 116 w 1046"/>
                  <a:gd name="T3" fmla="*/ 25 h 1046"/>
                  <a:gd name="T4" fmla="*/ 1020 w 1046"/>
                  <a:gd name="T5" fmla="*/ 929 h 1046"/>
                  <a:gd name="T6" fmla="*/ 1020 w 1046"/>
                  <a:gd name="T7" fmla="*/ 1021 h 1046"/>
                  <a:gd name="T8" fmla="*/ 929 w 1046"/>
                  <a:gd name="T9" fmla="*/ 1021 h 1046"/>
                  <a:gd name="T10" fmla="*/ 25 w 1046"/>
                  <a:gd name="T11" fmla="*/ 116 h 1046"/>
                  <a:gd name="T12" fmla="*/ 25 w 1046"/>
                  <a:gd name="T13" fmla="*/ 25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6" h="1046">
                    <a:moveTo>
                      <a:pt x="25" y="25"/>
                    </a:moveTo>
                    <a:cubicBezTo>
                      <a:pt x="50" y="0"/>
                      <a:pt x="91" y="0"/>
                      <a:pt x="116" y="25"/>
                    </a:cubicBezTo>
                    <a:cubicBezTo>
                      <a:pt x="1020" y="929"/>
                      <a:pt x="1020" y="929"/>
                      <a:pt x="1020" y="929"/>
                    </a:cubicBezTo>
                    <a:cubicBezTo>
                      <a:pt x="1046" y="955"/>
                      <a:pt x="1046" y="995"/>
                      <a:pt x="1020" y="1021"/>
                    </a:cubicBezTo>
                    <a:cubicBezTo>
                      <a:pt x="995" y="1046"/>
                      <a:pt x="954" y="1046"/>
                      <a:pt x="929" y="1021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0" y="91"/>
                      <a:pt x="0" y="50"/>
                      <a:pt x="25" y="25"/>
                    </a:cubicBezTo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0" name="Freeform 8">
                <a:extLst>
                  <a:ext uri="{FF2B5EF4-FFF2-40B4-BE49-F238E27FC236}">
                    <a16:creationId xmlns:a16="http://schemas.microsoft.com/office/drawing/2014/main" id="{65F99480-1029-4DB9-A18D-EDF55E361C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1" y="385"/>
                <a:ext cx="573" cy="571"/>
              </a:xfrm>
              <a:custGeom>
                <a:avLst/>
                <a:gdLst>
                  <a:gd name="T0" fmla="*/ 1020 w 1046"/>
                  <a:gd name="T1" fmla="*/ 25 h 1046"/>
                  <a:gd name="T2" fmla="*/ 1020 w 1046"/>
                  <a:gd name="T3" fmla="*/ 116 h 1046"/>
                  <a:gd name="T4" fmla="*/ 116 w 1046"/>
                  <a:gd name="T5" fmla="*/ 1021 h 1046"/>
                  <a:gd name="T6" fmla="*/ 25 w 1046"/>
                  <a:gd name="T7" fmla="*/ 1021 h 1046"/>
                  <a:gd name="T8" fmla="*/ 25 w 1046"/>
                  <a:gd name="T9" fmla="*/ 929 h 1046"/>
                  <a:gd name="T10" fmla="*/ 929 w 1046"/>
                  <a:gd name="T11" fmla="*/ 25 h 1046"/>
                  <a:gd name="T12" fmla="*/ 1020 w 1046"/>
                  <a:gd name="T13" fmla="*/ 25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6" h="1046">
                    <a:moveTo>
                      <a:pt x="1020" y="25"/>
                    </a:moveTo>
                    <a:cubicBezTo>
                      <a:pt x="1046" y="50"/>
                      <a:pt x="1046" y="91"/>
                      <a:pt x="1020" y="116"/>
                    </a:cubicBezTo>
                    <a:cubicBezTo>
                      <a:pt x="116" y="1021"/>
                      <a:pt x="116" y="1021"/>
                      <a:pt x="116" y="1021"/>
                    </a:cubicBezTo>
                    <a:cubicBezTo>
                      <a:pt x="91" y="1046"/>
                      <a:pt x="50" y="1046"/>
                      <a:pt x="25" y="1021"/>
                    </a:cubicBezTo>
                    <a:cubicBezTo>
                      <a:pt x="0" y="995"/>
                      <a:pt x="0" y="955"/>
                      <a:pt x="25" y="929"/>
                    </a:cubicBezTo>
                    <a:cubicBezTo>
                      <a:pt x="929" y="25"/>
                      <a:pt x="929" y="25"/>
                      <a:pt x="929" y="25"/>
                    </a:cubicBezTo>
                    <a:cubicBezTo>
                      <a:pt x="954" y="0"/>
                      <a:pt x="995" y="0"/>
                      <a:pt x="1020" y="25"/>
                    </a:cubicBezTo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1" name="Freeform 9">
                <a:extLst>
                  <a:ext uri="{FF2B5EF4-FFF2-40B4-BE49-F238E27FC236}">
                    <a16:creationId xmlns:a16="http://schemas.microsoft.com/office/drawing/2014/main" id="{74F52746-F364-44D3-A132-444B52E7B7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5" y="299"/>
                <a:ext cx="745" cy="743"/>
              </a:xfrm>
              <a:custGeom>
                <a:avLst/>
                <a:gdLst>
                  <a:gd name="T0" fmla="*/ 242 w 1362"/>
                  <a:gd name="T1" fmla="*/ 1120 h 1362"/>
                  <a:gd name="T2" fmla="*/ 242 w 1362"/>
                  <a:gd name="T3" fmla="*/ 242 h 1362"/>
                  <a:gd name="T4" fmla="*/ 1119 w 1362"/>
                  <a:gd name="T5" fmla="*/ 242 h 1362"/>
                  <a:gd name="T6" fmla="*/ 1119 w 1362"/>
                  <a:gd name="T7" fmla="*/ 1120 h 1362"/>
                  <a:gd name="T8" fmla="*/ 242 w 1362"/>
                  <a:gd name="T9" fmla="*/ 1120 h 1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62" h="1362">
                    <a:moveTo>
                      <a:pt x="242" y="1120"/>
                    </a:moveTo>
                    <a:cubicBezTo>
                      <a:pt x="0" y="877"/>
                      <a:pt x="0" y="484"/>
                      <a:pt x="242" y="242"/>
                    </a:cubicBezTo>
                    <a:cubicBezTo>
                      <a:pt x="484" y="0"/>
                      <a:pt x="877" y="0"/>
                      <a:pt x="1119" y="242"/>
                    </a:cubicBezTo>
                    <a:cubicBezTo>
                      <a:pt x="1362" y="484"/>
                      <a:pt x="1362" y="877"/>
                      <a:pt x="1119" y="1120"/>
                    </a:cubicBezTo>
                    <a:cubicBezTo>
                      <a:pt x="877" y="1362"/>
                      <a:pt x="484" y="1362"/>
                      <a:pt x="242" y="1120"/>
                    </a:cubicBezTo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2" name="Freeform 10">
                <a:extLst>
                  <a:ext uri="{FF2B5EF4-FFF2-40B4-BE49-F238E27FC236}">
                    <a16:creationId xmlns:a16="http://schemas.microsoft.com/office/drawing/2014/main" id="{DDA0F044-A0AD-4CE6-9510-D09E97D71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12"/>
                <a:ext cx="702" cy="143"/>
              </a:xfrm>
              <a:custGeom>
                <a:avLst/>
                <a:gdLst>
                  <a:gd name="T0" fmla="*/ 66 w 1282"/>
                  <a:gd name="T1" fmla="*/ 112 h 263"/>
                  <a:gd name="T2" fmla="*/ 1216 w 1282"/>
                  <a:gd name="T3" fmla="*/ 112 h 263"/>
                  <a:gd name="T4" fmla="*/ 1268 w 1282"/>
                  <a:gd name="T5" fmla="*/ 205 h 263"/>
                  <a:gd name="T6" fmla="*/ 1174 w 1282"/>
                  <a:gd name="T7" fmla="*/ 251 h 263"/>
                  <a:gd name="T8" fmla="*/ 107 w 1282"/>
                  <a:gd name="T9" fmla="*/ 251 h 263"/>
                  <a:gd name="T10" fmla="*/ 13 w 1282"/>
                  <a:gd name="T11" fmla="*/ 205 h 263"/>
                  <a:gd name="T12" fmla="*/ 66 w 1282"/>
                  <a:gd name="T13" fmla="*/ 112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2" h="263">
                    <a:moveTo>
                      <a:pt x="66" y="112"/>
                    </a:moveTo>
                    <a:cubicBezTo>
                      <a:pt x="441" y="0"/>
                      <a:pt x="841" y="0"/>
                      <a:pt x="1216" y="112"/>
                    </a:cubicBezTo>
                    <a:cubicBezTo>
                      <a:pt x="1258" y="125"/>
                      <a:pt x="1282" y="168"/>
                      <a:pt x="1268" y="205"/>
                    </a:cubicBezTo>
                    <a:cubicBezTo>
                      <a:pt x="1255" y="243"/>
                      <a:pt x="1213" y="263"/>
                      <a:pt x="1174" y="251"/>
                    </a:cubicBezTo>
                    <a:cubicBezTo>
                      <a:pt x="826" y="147"/>
                      <a:pt x="455" y="147"/>
                      <a:pt x="107" y="251"/>
                    </a:cubicBezTo>
                    <a:cubicBezTo>
                      <a:pt x="68" y="263"/>
                      <a:pt x="26" y="243"/>
                      <a:pt x="13" y="205"/>
                    </a:cubicBezTo>
                    <a:cubicBezTo>
                      <a:pt x="0" y="168"/>
                      <a:pt x="23" y="125"/>
                      <a:pt x="66" y="112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3" name="Freeform 11">
                <a:extLst>
                  <a:ext uri="{FF2B5EF4-FFF2-40B4-BE49-F238E27FC236}">
                    <a16:creationId xmlns:a16="http://schemas.microsoft.com/office/drawing/2014/main" id="{7F569259-1666-42E1-90C5-2140422562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5" y="2908"/>
                <a:ext cx="218" cy="201"/>
              </a:xfrm>
              <a:custGeom>
                <a:avLst/>
                <a:gdLst>
                  <a:gd name="T0" fmla="*/ 218 w 218"/>
                  <a:gd name="T1" fmla="*/ 81 h 201"/>
                  <a:gd name="T2" fmla="*/ 63 w 218"/>
                  <a:gd name="T3" fmla="*/ 201 h 201"/>
                  <a:gd name="T4" fmla="*/ 0 w 218"/>
                  <a:gd name="T5" fmla="*/ 120 h 201"/>
                  <a:gd name="T6" fmla="*/ 155 w 218"/>
                  <a:gd name="T7" fmla="*/ 0 h 201"/>
                  <a:gd name="T8" fmla="*/ 218 w 218"/>
                  <a:gd name="T9" fmla="*/ 8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8" h="201">
                    <a:moveTo>
                      <a:pt x="218" y="81"/>
                    </a:moveTo>
                    <a:lnTo>
                      <a:pt x="63" y="201"/>
                    </a:lnTo>
                    <a:lnTo>
                      <a:pt x="0" y="120"/>
                    </a:lnTo>
                    <a:lnTo>
                      <a:pt x="155" y="0"/>
                    </a:lnTo>
                    <a:lnTo>
                      <a:pt x="218" y="81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4" name="Freeform 12">
                <a:extLst>
                  <a:ext uri="{FF2B5EF4-FFF2-40B4-BE49-F238E27FC236}">
                    <a16:creationId xmlns:a16="http://schemas.microsoft.com/office/drawing/2014/main" id="{8D58AA32-334F-4A0B-A072-B288A9C70D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3" y="2911"/>
                <a:ext cx="324" cy="273"/>
              </a:xfrm>
              <a:custGeom>
                <a:avLst/>
                <a:gdLst>
                  <a:gd name="T0" fmla="*/ 582 w 592"/>
                  <a:gd name="T1" fmla="*/ 118 h 500"/>
                  <a:gd name="T2" fmla="*/ 97 w 592"/>
                  <a:gd name="T3" fmla="*/ 496 h 500"/>
                  <a:gd name="T4" fmla="*/ 17 w 592"/>
                  <a:gd name="T5" fmla="*/ 440 h 500"/>
                  <a:gd name="T6" fmla="*/ 29 w 592"/>
                  <a:gd name="T7" fmla="*/ 372 h 500"/>
                  <a:gd name="T8" fmla="*/ 479 w 592"/>
                  <a:gd name="T9" fmla="*/ 22 h 500"/>
                  <a:gd name="T10" fmla="*/ 547 w 592"/>
                  <a:gd name="T11" fmla="*/ 27 h 500"/>
                  <a:gd name="T12" fmla="*/ 582 w 592"/>
                  <a:gd name="T13" fmla="*/ 118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2" h="500">
                    <a:moveTo>
                      <a:pt x="582" y="118"/>
                    </a:moveTo>
                    <a:cubicBezTo>
                      <a:pt x="493" y="330"/>
                      <a:pt x="324" y="461"/>
                      <a:pt x="97" y="496"/>
                    </a:cubicBezTo>
                    <a:cubicBezTo>
                      <a:pt x="71" y="500"/>
                      <a:pt x="35" y="474"/>
                      <a:pt x="17" y="440"/>
                    </a:cubicBezTo>
                    <a:cubicBezTo>
                      <a:pt x="0" y="405"/>
                      <a:pt x="5" y="376"/>
                      <a:pt x="29" y="372"/>
                    </a:cubicBezTo>
                    <a:cubicBezTo>
                      <a:pt x="240" y="340"/>
                      <a:pt x="396" y="218"/>
                      <a:pt x="479" y="22"/>
                    </a:cubicBezTo>
                    <a:cubicBezTo>
                      <a:pt x="489" y="0"/>
                      <a:pt x="518" y="2"/>
                      <a:pt x="547" y="27"/>
                    </a:cubicBezTo>
                    <a:cubicBezTo>
                      <a:pt x="576" y="53"/>
                      <a:pt x="592" y="94"/>
                      <a:pt x="582" y="1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5" name="Freeform 13">
                <a:extLst>
                  <a:ext uri="{FF2B5EF4-FFF2-40B4-BE49-F238E27FC236}">
                    <a16:creationId xmlns:a16="http://schemas.microsoft.com/office/drawing/2014/main" id="{BF01CC71-81EF-4791-845A-3A2916E063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9" y="2646"/>
                <a:ext cx="770" cy="161"/>
              </a:xfrm>
              <a:custGeom>
                <a:avLst/>
                <a:gdLst>
                  <a:gd name="T0" fmla="*/ 1402 w 1406"/>
                  <a:gd name="T1" fmla="*/ 235 h 295"/>
                  <a:gd name="T2" fmla="*/ 1402 w 1406"/>
                  <a:gd name="T3" fmla="*/ 235 h 295"/>
                  <a:gd name="T4" fmla="*/ 1330 w 1406"/>
                  <a:gd name="T5" fmla="*/ 291 h 295"/>
                  <a:gd name="T6" fmla="*/ 61 w 1406"/>
                  <a:gd name="T7" fmla="*/ 133 h 295"/>
                  <a:gd name="T8" fmla="*/ 5 w 1406"/>
                  <a:gd name="T9" fmla="*/ 61 h 295"/>
                  <a:gd name="T10" fmla="*/ 77 w 1406"/>
                  <a:gd name="T11" fmla="*/ 5 h 295"/>
                  <a:gd name="T12" fmla="*/ 1346 w 1406"/>
                  <a:gd name="T13" fmla="*/ 163 h 295"/>
                  <a:gd name="T14" fmla="*/ 1402 w 1406"/>
                  <a:gd name="T15" fmla="*/ 23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6" h="295">
                    <a:moveTo>
                      <a:pt x="1402" y="235"/>
                    </a:moveTo>
                    <a:cubicBezTo>
                      <a:pt x="1402" y="235"/>
                      <a:pt x="1402" y="235"/>
                      <a:pt x="1402" y="235"/>
                    </a:cubicBezTo>
                    <a:cubicBezTo>
                      <a:pt x="1397" y="270"/>
                      <a:pt x="1365" y="295"/>
                      <a:pt x="1330" y="291"/>
                    </a:cubicBezTo>
                    <a:cubicBezTo>
                      <a:pt x="61" y="133"/>
                      <a:pt x="61" y="133"/>
                      <a:pt x="61" y="133"/>
                    </a:cubicBezTo>
                    <a:cubicBezTo>
                      <a:pt x="25" y="128"/>
                      <a:pt x="0" y="96"/>
                      <a:pt x="5" y="61"/>
                    </a:cubicBezTo>
                    <a:cubicBezTo>
                      <a:pt x="9" y="25"/>
                      <a:pt x="41" y="0"/>
                      <a:pt x="77" y="5"/>
                    </a:cubicBezTo>
                    <a:cubicBezTo>
                      <a:pt x="1346" y="163"/>
                      <a:pt x="1346" y="163"/>
                      <a:pt x="1346" y="163"/>
                    </a:cubicBezTo>
                    <a:cubicBezTo>
                      <a:pt x="1381" y="167"/>
                      <a:pt x="1406" y="200"/>
                      <a:pt x="1402" y="235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6" name="Freeform 14">
                <a:extLst>
                  <a:ext uri="{FF2B5EF4-FFF2-40B4-BE49-F238E27FC236}">
                    <a16:creationId xmlns:a16="http://schemas.microsoft.com/office/drawing/2014/main" id="{B0FF48EF-0B8A-4C8E-9DEF-0132297105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4" y="2343"/>
                <a:ext cx="161" cy="768"/>
              </a:xfrm>
              <a:custGeom>
                <a:avLst/>
                <a:gdLst>
                  <a:gd name="T0" fmla="*/ 60 w 295"/>
                  <a:gd name="T1" fmla="*/ 1401 h 1406"/>
                  <a:gd name="T2" fmla="*/ 60 w 295"/>
                  <a:gd name="T3" fmla="*/ 1401 h 1406"/>
                  <a:gd name="T4" fmla="*/ 4 w 295"/>
                  <a:gd name="T5" fmla="*/ 1329 h 1406"/>
                  <a:gd name="T6" fmla="*/ 162 w 295"/>
                  <a:gd name="T7" fmla="*/ 60 h 1406"/>
                  <a:gd name="T8" fmla="*/ 234 w 295"/>
                  <a:gd name="T9" fmla="*/ 4 h 1406"/>
                  <a:gd name="T10" fmla="*/ 290 w 295"/>
                  <a:gd name="T11" fmla="*/ 76 h 1406"/>
                  <a:gd name="T12" fmla="*/ 132 w 295"/>
                  <a:gd name="T13" fmla="*/ 1345 h 1406"/>
                  <a:gd name="T14" fmla="*/ 60 w 295"/>
                  <a:gd name="T15" fmla="*/ 1401 h 1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5" h="1406">
                    <a:moveTo>
                      <a:pt x="60" y="1401"/>
                    </a:moveTo>
                    <a:cubicBezTo>
                      <a:pt x="60" y="1401"/>
                      <a:pt x="60" y="1401"/>
                      <a:pt x="60" y="1401"/>
                    </a:cubicBezTo>
                    <a:cubicBezTo>
                      <a:pt x="25" y="1397"/>
                      <a:pt x="0" y="1365"/>
                      <a:pt x="4" y="1329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67" y="25"/>
                      <a:pt x="199" y="0"/>
                      <a:pt x="234" y="4"/>
                    </a:cubicBezTo>
                    <a:cubicBezTo>
                      <a:pt x="270" y="9"/>
                      <a:pt x="295" y="41"/>
                      <a:pt x="290" y="76"/>
                    </a:cubicBezTo>
                    <a:cubicBezTo>
                      <a:pt x="132" y="1345"/>
                      <a:pt x="132" y="1345"/>
                      <a:pt x="132" y="1345"/>
                    </a:cubicBezTo>
                    <a:cubicBezTo>
                      <a:pt x="128" y="1381"/>
                      <a:pt x="95" y="1406"/>
                      <a:pt x="60" y="1401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7" name="Freeform 15">
                <a:extLst>
                  <a:ext uri="{FF2B5EF4-FFF2-40B4-BE49-F238E27FC236}">
                    <a16:creationId xmlns:a16="http://schemas.microsoft.com/office/drawing/2014/main" id="{BA8A4FA2-17D1-4E7F-822D-DF990678D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4" y="2368"/>
                <a:ext cx="720" cy="718"/>
              </a:xfrm>
              <a:custGeom>
                <a:avLst/>
                <a:gdLst>
                  <a:gd name="T0" fmla="*/ 735 w 1316"/>
                  <a:gd name="T1" fmla="*/ 42 h 1316"/>
                  <a:gd name="T2" fmla="*/ 1274 w 1316"/>
                  <a:gd name="T3" fmla="*/ 735 h 1316"/>
                  <a:gd name="T4" fmla="*/ 581 w 1316"/>
                  <a:gd name="T5" fmla="*/ 1273 h 1316"/>
                  <a:gd name="T6" fmla="*/ 43 w 1316"/>
                  <a:gd name="T7" fmla="*/ 581 h 1316"/>
                  <a:gd name="T8" fmla="*/ 735 w 1316"/>
                  <a:gd name="T9" fmla="*/ 42 h 1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6" h="1316">
                    <a:moveTo>
                      <a:pt x="735" y="42"/>
                    </a:moveTo>
                    <a:cubicBezTo>
                      <a:pt x="1075" y="85"/>
                      <a:pt x="1316" y="395"/>
                      <a:pt x="1274" y="735"/>
                    </a:cubicBezTo>
                    <a:cubicBezTo>
                      <a:pt x="1231" y="1075"/>
                      <a:pt x="921" y="1316"/>
                      <a:pt x="581" y="1273"/>
                    </a:cubicBezTo>
                    <a:cubicBezTo>
                      <a:pt x="241" y="1231"/>
                      <a:pt x="0" y="921"/>
                      <a:pt x="43" y="581"/>
                    </a:cubicBezTo>
                    <a:cubicBezTo>
                      <a:pt x="85" y="241"/>
                      <a:pt x="395" y="0"/>
                      <a:pt x="735" y="42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8" name="Freeform 16">
                <a:extLst>
                  <a:ext uri="{FF2B5EF4-FFF2-40B4-BE49-F238E27FC236}">
                    <a16:creationId xmlns:a16="http://schemas.microsoft.com/office/drawing/2014/main" id="{3726B187-656C-43AB-B8A1-4627A77B2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0" y="2778"/>
                <a:ext cx="572" cy="464"/>
              </a:xfrm>
              <a:custGeom>
                <a:avLst/>
                <a:gdLst>
                  <a:gd name="T0" fmla="*/ 1019 w 1045"/>
                  <a:gd name="T1" fmla="*/ 128 h 850"/>
                  <a:gd name="T2" fmla="*/ 111 w 1045"/>
                  <a:gd name="T3" fmla="*/ 834 h 850"/>
                  <a:gd name="T4" fmla="*/ 12 w 1045"/>
                  <a:gd name="T5" fmla="*/ 793 h 850"/>
                  <a:gd name="T6" fmla="*/ 59 w 1045"/>
                  <a:gd name="T7" fmla="*/ 699 h 850"/>
                  <a:gd name="T8" fmla="*/ 901 w 1045"/>
                  <a:gd name="T9" fmla="*/ 44 h 850"/>
                  <a:gd name="T10" fmla="*/ 1003 w 1045"/>
                  <a:gd name="T11" fmla="*/ 22 h 850"/>
                  <a:gd name="T12" fmla="*/ 1019 w 1045"/>
                  <a:gd name="T13" fmla="*/ 128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5" h="850">
                    <a:moveTo>
                      <a:pt x="1019" y="128"/>
                    </a:moveTo>
                    <a:cubicBezTo>
                      <a:pt x="791" y="447"/>
                      <a:pt x="476" y="692"/>
                      <a:pt x="111" y="834"/>
                    </a:cubicBezTo>
                    <a:cubicBezTo>
                      <a:pt x="70" y="850"/>
                      <a:pt x="25" y="831"/>
                      <a:pt x="12" y="793"/>
                    </a:cubicBezTo>
                    <a:cubicBezTo>
                      <a:pt x="0" y="755"/>
                      <a:pt x="21" y="714"/>
                      <a:pt x="59" y="699"/>
                    </a:cubicBezTo>
                    <a:cubicBezTo>
                      <a:pt x="397" y="567"/>
                      <a:pt x="690" y="339"/>
                      <a:pt x="901" y="44"/>
                    </a:cubicBezTo>
                    <a:cubicBezTo>
                      <a:pt x="924" y="10"/>
                      <a:pt x="970" y="0"/>
                      <a:pt x="1003" y="22"/>
                    </a:cubicBezTo>
                    <a:cubicBezTo>
                      <a:pt x="1037" y="44"/>
                      <a:pt x="1045" y="92"/>
                      <a:pt x="1019" y="128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9" name="Freeform 17">
                <a:extLst>
                  <a:ext uri="{FF2B5EF4-FFF2-40B4-BE49-F238E27FC236}">
                    <a16:creationId xmlns:a16="http://schemas.microsoft.com/office/drawing/2014/main" id="{251AB2CC-64B5-43DA-B97F-97DD5DB0D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6" y="2906"/>
                <a:ext cx="218" cy="201"/>
              </a:xfrm>
              <a:custGeom>
                <a:avLst/>
                <a:gdLst>
                  <a:gd name="T0" fmla="*/ 0 w 218"/>
                  <a:gd name="T1" fmla="*/ 81 h 201"/>
                  <a:gd name="T2" fmla="*/ 155 w 218"/>
                  <a:gd name="T3" fmla="*/ 201 h 201"/>
                  <a:gd name="T4" fmla="*/ 218 w 218"/>
                  <a:gd name="T5" fmla="*/ 120 h 201"/>
                  <a:gd name="T6" fmla="*/ 63 w 218"/>
                  <a:gd name="T7" fmla="*/ 0 h 201"/>
                  <a:gd name="T8" fmla="*/ 0 w 218"/>
                  <a:gd name="T9" fmla="*/ 8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8" h="201">
                    <a:moveTo>
                      <a:pt x="0" y="81"/>
                    </a:moveTo>
                    <a:lnTo>
                      <a:pt x="155" y="201"/>
                    </a:lnTo>
                    <a:lnTo>
                      <a:pt x="218" y="120"/>
                    </a:lnTo>
                    <a:lnTo>
                      <a:pt x="63" y="0"/>
                    </a:lnTo>
                    <a:lnTo>
                      <a:pt x="0" y="81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0" name="Freeform 18">
                <a:extLst>
                  <a:ext uri="{FF2B5EF4-FFF2-40B4-BE49-F238E27FC236}">
                    <a16:creationId xmlns:a16="http://schemas.microsoft.com/office/drawing/2014/main" id="{71052E22-99A6-4D9D-BCD8-537C388BF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2" y="2909"/>
                <a:ext cx="324" cy="273"/>
              </a:xfrm>
              <a:custGeom>
                <a:avLst/>
                <a:gdLst>
                  <a:gd name="T0" fmla="*/ 10 w 592"/>
                  <a:gd name="T1" fmla="*/ 118 h 500"/>
                  <a:gd name="T2" fmla="*/ 495 w 592"/>
                  <a:gd name="T3" fmla="*/ 496 h 500"/>
                  <a:gd name="T4" fmla="*/ 575 w 592"/>
                  <a:gd name="T5" fmla="*/ 440 h 500"/>
                  <a:gd name="T6" fmla="*/ 563 w 592"/>
                  <a:gd name="T7" fmla="*/ 373 h 500"/>
                  <a:gd name="T8" fmla="*/ 113 w 592"/>
                  <a:gd name="T9" fmla="*/ 22 h 500"/>
                  <a:gd name="T10" fmla="*/ 45 w 592"/>
                  <a:gd name="T11" fmla="*/ 27 h 500"/>
                  <a:gd name="T12" fmla="*/ 10 w 592"/>
                  <a:gd name="T13" fmla="*/ 118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2" h="500">
                    <a:moveTo>
                      <a:pt x="10" y="118"/>
                    </a:moveTo>
                    <a:cubicBezTo>
                      <a:pt x="99" y="330"/>
                      <a:pt x="268" y="461"/>
                      <a:pt x="495" y="496"/>
                    </a:cubicBezTo>
                    <a:cubicBezTo>
                      <a:pt x="521" y="500"/>
                      <a:pt x="557" y="474"/>
                      <a:pt x="575" y="440"/>
                    </a:cubicBezTo>
                    <a:cubicBezTo>
                      <a:pt x="592" y="406"/>
                      <a:pt x="587" y="376"/>
                      <a:pt x="563" y="373"/>
                    </a:cubicBezTo>
                    <a:cubicBezTo>
                      <a:pt x="352" y="340"/>
                      <a:pt x="196" y="218"/>
                      <a:pt x="113" y="22"/>
                    </a:cubicBezTo>
                    <a:cubicBezTo>
                      <a:pt x="103" y="0"/>
                      <a:pt x="74" y="2"/>
                      <a:pt x="45" y="27"/>
                    </a:cubicBezTo>
                    <a:cubicBezTo>
                      <a:pt x="16" y="53"/>
                      <a:pt x="0" y="94"/>
                      <a:pt x="10" y="1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1" name="Freeform 19">
                <a:extLst>
                  <a:ext uri="{FF2B5EF4-FFF2-40B4-BE49-F238E27FC236}">
                    <a16:creationId xmlns:a16="http://schemas.microsoft.com/office/drawing/2014/main" id="{69D3E486-AC03-479B-B2DF-7FE35741E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0" y="2645"/>
                <a:ext cx="769" cy="161"/>
              </a:xfrm>
              <a:custGeom>
                <a:avLst/>
                <a:gdLst>
                  <a:gd name="T0" fmla="*/ 4 w 1406"/>
                  <a:gd name="T1" fmla="*/ 235 h 295"/>
                  <a:gd name="T2" fmla="*/ 4 w 1406"/>
                  <a:gd name="T3" fmla="*/ 235 h 295"/>
                  <a:gd name="T4" fmla="*/ 76 w 1406"/>
                  <a:gd name="T5" fmla="*/ 291 h 295"/>
                  <a:gd name="T6" fmla="*/ 1345 w 1406"/>
                  <a:gd name="T7" fmla="*/ 133 h 295"/>
                  <a:gd name="T8" fmla="*/ 1401 w 1406"/>
                  <a:gd name="T9" fmla="*/ 61 h 295"/>
                  <a:gd name="T10" fmla="*/ 1329 w 1406"/>
                  <a:gd name="T11" fmla="*/ 5 h 295"/>
                  <a:gd name="T12" fmla="*/ 60 w 1406"/>
                  <a:gd name="T13" fmla="*/ 163 h 295"/>
                  <a:gd name="T14" fmla="*/ 4 w 1406"/>
                  <a:gd name="T15" fmla="*/ 23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6" h="295">
                    <a:moveTo>
                      <a:pt x="4" y="235"/>
                    </a:moveTo>
                    <a:cubicBezTo>
                      <a:pt x="4" y="235"/>
                      <a:pt x="4" y="235"/>
                      <a:pt x="4" y="235"/>
                    </a:cubicBezTo>
                    <a:cubicBezTo>
                      <a:pt x="9" y="270"/>
                      <a:pt x="41" y="295"/>
                      <a:pt x="76" y="291"/>
                    </a:cubicBezTo>
                    <a:cubicBezTo>
                      <a:pt x="1345" y="133"/>
                      <a:pt x="1345" y="133"/>
                      <a:pt x="1345" y="133"/>
                    </a:cubicBezTo>
                    <a:cubicBezTo>
                      <a:pt x="1381" y="128"/>
                      <a:pt x="1406" y="96"/>
                      <a:pt x="1401" y="61"/>
                    </a:cubicBezTo>
                    <a:cubicBezTo>
                      <a:pt x="1397" y="25"/>
                      <a:pt x="1365" y="0"/>
                      <a:pt x="1329" y="5"/>
                    </a:cubicBezTo>
                    <a:cubicBezTo>
                      <a:pt x="60" y="163"/>
                      <a:pt x="60" y="163"/>
                      <a:pt x="60" y="163"/>
                    </a:cubicBezTo>
                    <a:cubicBezTo>
                      <a:pt x="25" y="167"/>
                      <a:pt x="0" y="200"/>
                      <a:pt x="4" y="235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2" name="Freeform 20">
                <a:extLst>
                  <a:ext uri="{FF2B5EF4-FFF2-40B4-BE49-F238E27FC236}">
                    <a16:creationId xmlns:a16="http://schemas.microsoft.com/office/drawing/2014/main" id="{073D37E2-0C61-4A3E-9391-9780E7D029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3" y="2342"/>
                <a:ext cx="162" cy="767"/>
              </a:xfrm>
              <a:custGeom>
                <a:avLst/>
                <a:gdLst>
                  <a:gd name="T0" fmla="*/ 235 w 295"/>
                  <a:gd name="T1" fmla="*/ 1401 h 1406"/>
                  <a:gd name="T2" fmla="*/ 235 w 295"/>
                  <a:gd name="T3" fmla="*/ 1401 h 1406"/>
                  <a:gd name="T4" fmla="*/ 291 w 295"/>
                  <a:gd name="T5" fmla="*/ 1329 h 1406"/>
                  <a:gd name="T6" fmla="*/ 133 w 295"/>
                  <a:gd name="T7" fmla="*/ 60 h 1406"/>
                  <a:gd name="T8" fmla="*/ 61 w 295"/>
                  <a:gd name="T9" fmla="*/ 4 h 1406"/>
                  <a:gd name="T10" fmla="*/ 5 w 295"/>
                  <a:gd name="T11" fmla="*/ 76 h 1406"/>
                  <a:gd name="T12" fmla="*/ 163 w 295"/>
                  <a:gd name="T13" fmla="*/ 1345 h 1406"/>
                  <a:gd name="T14" fmla="*/ 235 w 295"/>
                  <a:gd name="T15" fmla="*/ 1401 h 1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5" h="1406">
                    <a:moveTo>
                      <a:pt x="235" y="1401"/>
                    </a:moveTo>
                    <a:cubicBezTo>
                      <a:pt x="235" y="1401"/>
                      <a:pt x="235" y="1401"/>
                      <a:pt x="235" y="1401"/>
                    </a:cubicBezTo>
                    <a:cubicBezTo>
                      <a:pt x="270" y="1397"/>
                      <a:pt x="295" y="1365"/>
                      <a:pt x="291" y="1329"/>
                    </a:cubicBezTo>
                    <a:cubicBezTo>
                      <a:pt x="133" y="60"/>
                      <a:pt x="133" y="60"/>
                      <a:pt x="133" y="60"/>
                    </a:cubicBezTo>
                    <a:cubicBezTo>
                      <a:pt x="128" y="25"/>
                      <a:pt x="96" y="0"/>
                      <a:pt x="61" y="4"/>
                    </a:cubicBezTo>
                    <a:cubicBezTo>
                      <a:pt x="25" y="9"/>
                      <a:pt x="0" y="41"/>
                      <a:pt x="5" y="76"/>
                    </a:cubicBezTo>
                    <a:cubicBezTo>
                      <a:pt x="163" y="1345"/>
                      <a:pt x="163" y="1345"/>
                      <a:pt x="163" y="1345"/>
                    </a:cubicBezTo>
                    <a:cubicBezTo>
                      <a:pt x="167" y="1381"/>
                      <a:pt x="200" y="1406"/>
                      <a:pt x="235" y="1401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3" name="Freeform 21">
                <a:extLst>
                  <a:ext uri="{FF2B5EF4-FFF2-40B4-BE49-F238E27FC236}">
                    <a16:creationId xmlns:a16="http://schemas.microsoft.com/office/drawing/2014/main" id="{77E2B33F-78C7-4D0D-B788-60F5651B8C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4" y="2366"/>
                <a:ext cx="721" cy="719"/>
              </a:xfrm>
              <a:custGeom>
                <a:avLst/>
                <a:gdLst>
                  <a:gd name="T0" fmla="*/ 581 w 1316"/>
                  <a:gd name="T1" fmla="*/ 42 h 1316"/>
                  <a:gd name="T2" fmla="*/ 42 w 1316"/>
                  <a:gd name="T3" fmla="*/ 735 h 1316"/>
                  <a:gd name="T4" fmla="*/ 735 w 1316"/>
                  <a:gd name="T5" fmla="*/ 1273 h 1316"/>
                  <a:gd name="T6" fmla="*/ 1273 w 1316"/>
                  <a:gd name="T7" fmla="*/ 581 h 1316"/>
                  <a:gd name="T8" fmla="*/ 581 w 1316"/>
                  <a:gd name="T9" fmla="*/ 42 h 1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6" h="1316">
                    <a:moveTo>
                      <a:pt x="581" y="42"/>
                    </a:moveTo>
                    <a:cubicBezTo>
                      <a:pt x="241" y="85"/>
                      <a:pt x="0" y="395"/>
                      <a:pt x="42" y="735"/>
                    </a:cubicBezTo>
                    <a:cubicBezTo>
                      <a:pt x="85" y="1075"/>
                      <a:pt x="395" y="1316"/>
                      <a:pt x="735" y="1273"/>
                    </a:cubicBezTo>
                    <a:cubicBezTo>
                      <a:pt x="1075" y="1231"/>
                      <a:pt x="1316" y="921"/>
                      <a:pt x="1273" y="581"/>
                    </a:cubicBezTo>
                    <a:cubicBezTo>
                      <a:pt x="1231" y="241"/>
                      <a:pt x="921" y="0"/>
                      <a:pt x="581" y="42"/>
                    </a:cubicBezTo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4" name="Freeform 22">
                <a:extLst>
                  <a:ext uri="{FF2B5EF4-FFF2-40B4-BE49-F238E27FC236}">
                    <a16:creationId xmlns:a16="http://schemas.microsoft.com/office/drawing/2014/main" id="{ACAAD5FE-1AED-457C-92DE-1E2777B74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7" y="2776"/>
                <a:ext cx="572" cy="464"/>
              </a:xfrm>
              <a:custGeom>
                <a:avLst/>
                <a:gdLst>
                  <a:gd name="T0" fmla="*/ 26 w 1045"/>
                  <a:gd name="T1" fmla="*/ 128 h 850"/>
                  <a:gd name="T2" fmla="*/ 934 w 1045"/>
                  <a:gd name="T3" fmla="*/ 834 h 850"/>
                  <a:gd name="T4" fmla="*/ 1033 w 1045"/>
                  <a:gd name="T5" fmla="*/ 793 h 850"/>
                  <a:gd name="T6" fmla="*/ 986 w 1045"/>
                  <a:gd name="T7" fmla="*/ 699 h 850"/>
                  <a:gd name="T8" fmla="*/ 144 w 1045"/>
                  <a:gd name="T9" fmla="*/ 44 h 850"/>
                  <a:gd name="T10" fmla="*/ 42 w 1045"/>
                  <a:gd name="T11" fmla="*/ 22 h 850"/>
                  <a:gd name="T12" fmla="*/ 26 w 1045"/>
                  <a:gd name="T13" fmla="*/ 128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5" h="850">
                    <a:moveTo>
                      <a:pt x="26" y="128"/>
                    </a:moveTo>
                    <a:cubicBezTo>
                      <a:pt x="254" y="447"/>
                      <a:pt x="569" y="692"/>
                      <a:pt x="934" y="834"/>
                    </a:cubicBezTo>
                    <a:cubicBezTo>
                      <a:pt x="975" y="850"/>
                      <a:pt x="1020" y="831"/>
                      <a:pt x="1033" y="793"/>
                    </a:cubicBezTo>
                    <a:cubicBezTo>
                      <a:pt x="1045" y="755"/>
                      <a:pt x="1024" y="714"/>
                      <a:pt x="986" y="699"/>
                    </a:cubicBezTo>
                    <a:cubicBezTo>
                      <a:pt x="648" y="567"/>
                      <a:pt x="355" y="339"/>
                      <a:pt x="144" y="44"/>
                    </a:cubicBezTo>
                    <a:cubicBezTo>
                      <a:pt x="121" y="11"/>
                      <a:pt x="75" y="0"/>
                      <a:pt x="42" y="22"/>
                    </a:cubicBezTo>
                    <a:cubicBezTo>
                      <a:pt x="8" y="44"/>
                      <a:pt x="0" y="92"/>
                      <a:pt x="26" y="128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5" name="Freeform 23">
                <a:extLst>
                  <a:ext uri="{FF2B5EF4-FFF2-40B4-BE49-F238E27FC236}">
                    <a16:creationId xmlns:a16="http://schemas.microsoft.com/office/drawing/2014/main" id="{28972A08-BF74-497F-A67E-B1ED40ED2B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0" y="1228"/>
                <a:ext cx="158" cy="218"/>
              </a:xfrm>
              <a:custGeom>
                <a:avLst/>
                <a:gdLst>
                  <a:gd name="T0" fmla="*/ 0 w 158"/>
                  <a:gd name="T1" fmla="*/ 186 h 218"/>
                  <a:gd name="T2" fmla="*/ 60 w 158"/>
                  <a:gd name="T3" fmla="*/ 0 h 218"/>
                  <a:gd name="T4" fmla="*/ 158 w 158"/>
                  <a:gd name="T5" fmla="*/ 31 h 218"/>
                  <a:gd name="T6" fmla="*/ 98 w 158"/>
                  <a:gd name="T7" fmla="*/ 218 h 218"/>
                  <a:gd name="T8" fmla="*/ 0 w 158"/>
                  <a:gd name="T9" fmla="*/ 186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218">
                    <a:moveTo>
                      <a:pt x="0" y="186"/>
                    </a:moveTo>
                    <a:lnTo>
                      <a:pt x="60" y="0"/>
                    </a:lnTo>
                    <a:lnTo>
                      <a:pt x="158" y="31"/>
                    </a:lnTo>
                    <a:lnTo>
                      <a:pt x="98" y="218"/>
                    </a:lnTo>
                    <a:lnTo>
                      <a:pt x="0" y="186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6" name="Freeform 24">
                <a:extLst>
                  <a:ext uri="{FF2B5EF4-FFF2-40B4-BE49-F238E27FC236}">
                    <a16:creationId xmlns:a16="http://schemas.microsoft.com/office/drawing/2014/main" id="{62591276-352D-4C74-A3C4-7B5B8CD9D4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8" y="1140"/>
                <a:ext cx="206" cy="362"/>
              </a:xfrm>
              <a:custGeom>
                <a:avLst/>
                <a:gdLst>
                  <a:gd name="T0" fmla="*/ 45 w 378"/>
                  <a:gd name="T1" fmla="*/ 602 h 663"/>
                  <a:gd name="T2" fmla="*/ 235 w 378"/>
                  <a:gd name="T3" fmla="*/ 17 h 663"/>
                  <a:gd name="T4" fmla="*/ 332 w 378"/>
                  <a:gd name="T5" fmla="*/ 19 h 663"/>
                  <a:gd name="T6" fmla="*/ 360 w 378"/>
                  <a:gd name="T7" fmla="*/ 81 h 663"/>
                  <a:gd name="T8" fmla="*/ 184 w 378"/>
                  <a:gd name="T9" fmla="*/ 624 h 663"/>
                  <a:gd name="T10" fmla="*/ 124 w 378"/>
                  <a:gd name="T11" fmla="*/ 658 h 663"/>
                  <a:gd name="T12" fmla="*/ 45 w 378"/>
                  <a:gd name="T13" fmla="*/ 602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8" h="663">
                    <a:moveTo>
                      <a:pt x="45" y="602"/>
                    </a:moveTo>
                    <a:cubicBezTo>
                      <a:pt x="0" y="377"/>
                      <a:pt x="66" y="174"/>
                      <a:pt x="235" y="17"/>
                    </a:cubicBezTo>
                    <a:cubicBezTo>
                      <a:pt x="254" y="0"/>
                      <a:pt x="298" y="1"/>
                      <a:pt x="332" y="19"/>
                    </a:cubicBezTo>
                    <a:cubicBezTo>
                      <a:pt x="366" y="38"/>
                      <a:pt x="378" y="65"/>
                      <a:pt x="360" y="81"/>
                    </a:cubicBezTo>
                    <a:cubicBezTo>
                      <a:pt x="204" y="226"/>
                      <a:pt x="142" y="415"/>
                      <a:pt x="184" y="624"/>
                    </a:cubicBezTo>
                    <a:cubicBezTo>
                      <a:pt x="188" y="648"/>
                      <a:pt x="163" y="663"/>
                      <a:pt x="124" y="658"/>
                    </a:cubicBezTo>
                    <a:cubicBezTo>
                      <a:pt x="86" y="653"/>
                      <a:pt x="50" y="628"/>
                      <a:pt x="45" y="602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7" name="Freeform 25">
                <a:extLst>
                  <a:ext uri="{FF2B5EF4-FFF2-40B4-BE49-F238E27FC236}">
                    <a16:creationId xmlns:a16="http://schemas.microsoft.com/office/drawing/2014/main" id="{696011B5-2B14-4AD6-9005-775342EDA5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7" y="1248"/>
                <a:ext cx="704" cy="397"/>
              </a:xfrm>
              <a:custGeom>
                <a:avLst/>
                <a:gdLst>
                  <a:gd name="T0" fmla="*/ 16 w 1286"/>
                  <a:gd name="T1" fmla="*/ 684 h 728"/>
                  <a:gd name="T2" fmla="*/ 16 w 1286"/>
                  <a:gd name="T3" fmla="*/ 684 h 728"/>
                  <a:gd name="T4" fmla="*/ 44 w 1286"/>
                  <a:gd name="T5" fmla="*/ 597 h 728"/>
                  <a:gd name="T6" fmla="*/ 1183 w 1286"/>
                  <a:gd name="T7" fmla="*/ 16 h 728"/>
                  <a:gd name="T8" fmla="*/ 1270 w 1286"/>
                  <a:gd name="T9" fmla="*/ 45 h 728"/>
                  <a:gd name="T10" fmla="*/ 1242 w 1286"/>
                  <a:gd name="T11" fmla="*/ 131 h 728"/>
                  <a:gd name="T12" fmla="*/ 102 w 1286"/>
                  <a:gd name="T13" fmla="*/ 712 h 728"/>
                  <a:gd name="T14" fmla="*/ 16 w 1286"/>
                  <a:gd name="T15" fmla="*/ 684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6" h="728">
                    <a:moveTo>
                      <a:pt x="16" y="684"/>
                    </a:moveTo>
                    <a:cubicBezTo>
                      <a:pt x="16" y="684"/>
                      <a:pt x="16" y="684"/>
                      <a:pt x="16" y="684"/>
                    </a:cubicBezTo>
                    <a:cubicBezTo>
                      <a:pt x="0" y="652"/>
                      <a:pt x="12" y="613"/>
                      <a:pt x="44" y="597"/>
                    </a:cubicBezTo>
                    <a:cubicBezTo>
                      <a:pt x="1183" y="16"/>
                      <a:pt x="1183" y="16"/>
                      <a:pt x="1183" y="16"/>
                    </a:cubicBezTo>
                    <a:cubicBezTo>
                      <a:pt x="1215" y="0"/>
                      <a:pt x="1254" y="13"/>
                      <a:pt x="1270" y="45"/>
                    </a:cubicBezTo>
                    <a:cubicBezTo>
                      <a:pt x="1286" y="76"/>
                      <a:pt x="1274" y="115"/>
                      <a:pt x="1242" y="131"/>
                    </a:cubicBezTo>
                    <a:cubicBezTo>
                      <a:pt x="102" y="712"/>
                      <a:pt x="102" y="712"/>
                      <a:pt x="102" y="712"/>
                    </a:cubicBezTo>
                    <a:cubicBezTo>
                      <a:pt x="71" y="728"/>
                      <a:pt x="32" y="715"/>
                      <a:pt x="16" y="684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8" name="Freeform 26">
                <a:extLst>
                  <a:ext uri="{FF2B5EF4-FFF2-40B4-BE49-F238E27FC236}">
                    <a16:creationId xmlns:a16="http://schemas.microsoft.com/office/drawing/2014/main" id="{0077D620-D677-4B2A-A94F-E80706EF6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0" y="1096"/>
                <a:ext cx="398" cy="702"/>
              </a:xfrm>
              <a:custGeom>
                <a:avLst/>
                <a:gdLst>
                  <a:gd name="T0" fmla="*/ 44 w 728"/>
                  <a:gd name="T1" fmla="*/ 16 h 1286"/>
                  <a:gd name="T2" fmla="*/ 44 w 728"/>
                  <a:gd name="T3" fmla="*/ 16 h 1286"/>
                  <a:gd name="T4" fmla="*/ 131 w 728"/>
                  <a:gd name="T5" fmla="*/ 44 h 1286"/>
                  <a:gd name="T6" fmla="*/ 712 w 728"/>
                  <a:gd name="T7" fmla="*/ 1183 h 1286"/>
                  <a:gd name="T8" fmla="*/ 683 w 728"/>
                  <a:gd name="T9" fmla="*/ 1270 h 1286"/>
                  <a:gd name="T10" fmla="*/ 597 w 728"/>
                  <a:gd name="T11" fmla="*/ 1242 h 1286"/>
                  <a:gd name="T12" fmla="*/ 16 w 728"/>
                  <a:gd name="T13" fmla="*/ 103 h 1286"/>
                  <a:gd name="T14" fmla="*/ 44 w 728"/>
                  <a:gd name="T15" fmla="*/ 16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8" h="1286">
                    <a:moveTo>
                      <a:pt x="44" y="16"/>
                    </a:moveTo>
                    <a:cubicBezTo>
                      <a:pt x="44" y="16"/>
                      <a:pt x="44" y="16"/>
                      <a:pt x="44" y="16"/>
                    </a:cubicBezTo>
                    <a:cubicBezTo>
                      <a:pt x="76" y="0"/>
                      <a:pt x="115" y="12"/>
                      <a:pt x="131" y="44"/>
                    </a:cubicBezTo>
                    <a:cubicBezTo>
                      <a:pt x="712" y="1183"/>
                      <a:pt x="712" y="1183"/>
                      <a:pt x="712" y="1183"/>
                    </a:cubicBezTo>
                    <a:cubicBezTo>
                      <a:pt x="728" y="1215"/>
                      <a:pt x="715" y="1254"/>
                      <a:pt x="683" y="1270"/>
                    </a:cubicBezTo>
                    <a:cubicBezTo>
                      <a:pt x="652" y="1286"/>
                      <a:pt x="613" y="1274"/>
                      <a:pt x="597" y="1242"/>
                    </a:cubicBezTo>
                    <a:cubicBezTo>
                      <a:pt x="16" y="103"/>
                      <a:pt x="16" y="103"/>
                      <a:pt x="16" y="103"/>
                    </a:cubicBezTo>
                    <a:cubicBezTo>
                      <a:pt x="0" y="71"/>
                      <a:pt x="13" y="32"/>
                      <a:pt x="44" y="16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9" name="Freeform 27">
                <a:extLst>
                  <a:ext uri="{FF2B5EF4-FFF2-40B4-BE49-F238E27FC236}">
                    <a16:creationId xmlns:a16="http://schemas.microsoft.com/office/drawing/2014/main" id="{7C2F37B9-8682-4D33-BB67-ACCE4A7FA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1" y="1060"/>
                <a:ext cx="776" cy="773"/>
              </a:xfrm>
              <a:custGeom>
                <a:avLst/>
                <a:gdLst>
                  <a:gd name="T0" fmla="*/ 990 w 1416"/>
                  <a:gd name="T1" fmla="*/ 1261 h 1416"/>
                  <a:gd name="T2" fmla="*/ 155 w 1416"/>
                  <a:gd name="T3" fmla="*/ 990 h 1416"/>
                  <a:gd name="T4" fmla="*/ 426 w 1416"/>
                  <a:gd name="T5" fmla="*/ 155 h 1416"/>
                  <a:gd name="T6" fmla="*/ 1261 w 1416"/>
                  <a:gd name="T7" fmla="*/ 426 h 1416"/>
                  <a:gd name="T8" fmla="*/ 990 w 1416"/>
                  <a:gd name="T9" fmla="*/ 1261 h 1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6" h="1416">
                    <a:moveTo>
                      <a:pt x="990" y="1261"/>
                    </a:moveTo>
                    <a:cubicBezTo>
                      <a:pt x="684" y="1416"/>
                      <a:pt x="311" y="1295"/>
                      <a:pt x="155" y="990"/>
                    </a:cubicBezTo>
                    <a:cubicBezTo>
                      <a:pt x="0" y="684"/>
                      <a:pt x="121" y="311"/>
                      <a:pt x="426" y="155"/>
                    </a:cubicBezTo>
                    <a:cubicBezTo>
                      <a:pt x="731" y="0"/>
                      <a:pt x="1105" y="121"/>
                      <a:pt x="1261" y="426"/>
                    </a:cubicBezTo>
                    <a:cubicBezTo>
                      <a:pt x="1416" y="732"/>
                      <a:pt x="1295" y="1105"/>
                      <a:pt x="990" y="1261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0" name="Freeform 28">
                <a:extLst>
                  <a:ext uri="{FF2B5EF4-FFF2-40B4-BE49-F238E27FC236}">
                    <a16:creationId xmlns:a16="http://schemas.microsoft.com/office/drawing/2014/main" id="{5D8F620B-07BC-4998-ADD6-8BAA518F13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2" y="1001"/>
                <a:ext cx="273" cy="665"/>
              </a:xfrm>
              <a:custGeom>
                <a:avLst/>
                <a:gdLst>
                  <a:gd name="T0" fmla="*/ 1 w 499"/>
                  <a:gd name="T1" fmla="*/ 1139 h 1219"/>
                  <a:gd name="T2" fmla="*/ 357 w 499"/>
                  <a:gd name="T3" fmla="*/ 45 h 1219"/>
                  <a:gd name="T4" fmla="*/ 461 w 499"/>
                  <a:gd name="T5" fmla="*/ 24 h 1219"/>
                  <a:gd name="T6" fmla="*/ 476 w 499"/>
                  <a:gd name="T7" fmla="*/ 128 h 1219"/>
                  <a:gd name="T8" fmla="*/ 146 w 499"/>
                  <a:gd name="T9" fmla="*/ 1143 h 1219"/>
                  <a:gd name="T10" fmla="*/ 73 w 499"/>
                  <a:gd name="T11" fmla="*/ 1218 h 1219"/>
                  <a:gd name="T12" fmla="*/ 1 w 499"/>
                  <a:gd name="T13" fmla="*/ 1139 h 1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9" h="1219">
                    <a:moveTo>
                      <a:pt x="1" y="1139"/>
                    </a:moveTo>
                    <a:cubicBezTo>
                      <a:pt x="11" y="748"/>
                      <a:pt x="134" y="368"/>
                      <a:pt x="357" y="45"/>
                    </a:cubicBezTo>
                    <a:cubicBezTo>
                      <a:pt x="382" y="9"/>
                      <a:pt x="430" y="0"/>
                      <a:pt x="461" y="24"/>
                    </a:cubicBezTo>
                    <a:cubicBezTo>
                      <a:pt x="493" y="48"/>
                      <a:pt x="499" y="94"/>
                      <a:pt x="476" y="128"/>
                    </a:cubicBezTo>
                    <a:cubicBezTo>
                      <a:pt x="270" y="427"/>
                      <a:pt x="155" y="779"/>
                      <a:pt x="146" y="1143"/>
                    </a:cubicBezTo>
                    <a:cubicBezTo>
                      <a:pt x="145" y="1183"/>
                      <a:pt x="114" y="1217"/>
                      <a:pt x="73" y="1218"/>
                    </a:cubicBezTo>
                    <a:cubicBezTo>
                      <a:pt x="33" y="1219"/>
                      <a:pt x="0" y="1184"/>
                      <a:pt x="1" y="1139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1" name="Freeform 29">
                <a:extLst>
                  <a:ext uri="{FF2B5EF4-FFF2-40B4-BE49-F238E27FC236}">
                    <a16:creationId xmlns:a16="http://schemas.microsoft.com/office/drawing/2014/main" id="{CEF9B0F6-2B6B-43D7-A193-4C9EEFE0F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2" y="1238"/>
                <a:ext cx="158" cy="217"/>
              </a:xfrm>
              <a:custGeom>
                <a:avLst/>
                <a:gdLst>
                  <a:gd name="T0" fmla="*/ 98 w 158"/>
                  <a:gd name="T1" fmla="*/ 0 h 217"/>
                  <a:gd name="T2" fmla="*/ 158 w 158"/>
                  <a:gd name="T3" fmla="*/ 186 h 217"/>
                  <a:gd name="T4" fmla="*/ 60 w 158"/>
                  <a:gd name="T5" fmla="*/ 217 h 217"/>
                  <a:gd name="T6" fmla="*/ 0 w 158"/>
                  <a:gd name="T7" fmla="*/ 31 h 217"/>
                  <a:gd name="T8" fmla="*/ 98 w 158"/>
                  <a:gd name="T9" fmla="*/ 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217">
                    <a:moveTo>
                      <a:pt x="98" y="0"/>
                    </a:moveTo>
                    <a:lnTo>
                      <a:pt x="158" y="186"/>
                    </a:lnTo>
                    <a:lnTo>
                      <a:pt x="60" y="217"/>
                    </a:lnTo>
                    <a:lnTo>
                      <a:pt x="0" y="31"/>
                    </a:lnTo>
                    <a:lnTo>
                      <a:pt x="98" y="0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2" name="Freeform 30">
                <a:extLst>
                  <a:ext uri="{FF2B5EF4-FFF2-40B4-BE49-F238E27FC236}">
                    <a16:creationId xmlns:a16="http://schemas.microsoft.com/office/drawing/2014/main" id="{FD5A995C-96B2-44D6-8B7A-7E250EEA00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6" y="1149"/>
                <a:ext cx="206" cy="363"/>
              </a:xfrm>
              <a:custGeom>
                <a:avLst/>
                <a:gdLst>
                  <a:gd name="T0" fmla="*/ 142 w 377"/>
                  <a:gd name="T1" fmla="*/ 18 h 664"/>
                  <a:gd name="T2" fmla="*/ 333 w 377"/>
                  <a:gd name="T3" fmla="*/ 603 h 664"/>
                  <a:gd name="T4" fmla="*/ 253 w 377"/>
                  <a:gd name="T5" fmla="*/ 659 h 664"/>
                  <a:gd name="T6" fmla="*/ 194 w 377"/>
                  <a:gd name="T7" fmla="*/ 625 h 664"/>
                  <a:gd name="T8" fmla="*/ 17 w 377"/>
                  <a:gd name="T9" fmla="*/ 82 h 664"/>
                  <a:gd name="T10" fmla="*/ 45 w 377"/>
                  <a:gd name="T11" fmla="*/ 20 h 664"/>
                  <a:gd name="T12" fmla="*/ 142 w 377"/>
                  <a:gd name="T13" fmla="*/ 18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7" h="664">
                    <a:moveTo>
                      <a:pt x="142" y="18"/>
                    </a:moveTo>
                    <a:cubicBezTo>
                      <a:pt x="311" y="174"/>
                      <a:pt x="377" y="378"/>
                      <a:pt x="333" y="603"/>
                    </a:cubicBezTo>
                    <a:cubicBezTo>
                      <a:pt x="328" y="629"/>
                      <a:pt x="291" y="654"/>
                      <a:pt x="253" y="659"/>
                    </a:cubicBezTo>
                    <a:cubicBezTo>
                      <a:pt x="215" y="664"/>
                      <a:pt x="189" y="649"/>
                      <a:pt x="194" y="625"/>
                    </a:cubicBezTo>
                    <a:cubicBezTo>
                      <a:pt x="235" y="416"/>
                      <a:pt x="173" y="227"/>
                      <a:pt x="17" y="82"/>
                    </a:cubicBezTo>
                    <a:cubicBezTo>
                      <a:pt x="0" y="66"/>
                      <a:pt x="11" y="39"/>
                      <a:pt x="45" y="20"/>
                    </a:cubicBezTo>
                    <a:cubicBezTo>
                      <a:pt x="79" y="2"/>
                      <a:pt x="123" y="0"/>
                      <a:pt x="142" y="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3" name="Freeform 31">
                <a:extLst>
                  <a:ext uri="{FF2B5EF4-FFF2-40B4-BE49-F238E27FC236}">
                    <a16:creationId xmlns:a16="http://schemas.microsoft.com/office/drawing/2014/main" id="{09F50EE9-6A4E-429E-A0CA-74A14BD1A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2" y="1106"/>
                <a:ext cx="398" cy="702"/>
              </a:xfrm>
              <a:custGeom>
                <a:avLst/>
                <a:gdLst>
                  <a:gd name="T0" fmla="*/ 684 w 728"/>
                  <a:gd name="T1" fmla="*/ 16 h 1286"/>
                  <a:gd name="T2" fmla="*/ 684 w 728"/>
                  <a:gd name="T3" fmla="*/ 16 h 1286"/>
                  <a:gd name="T4" fmla="*/ 712 w 728"/>
                  <a:gd name="T5" fmla="*/ 102 h 1286"/>
                  <a:gd name="T6" fmla="*/ 131 w 728"/>
                  <a:gd name="T7" fmla="*/ 1242 h 1286"/>
                  <a:gd name="T8" fmla="*/ 45 w 728"/>
                  <a:gd name="T9" fmla="*/ 1270 h 1286"/>
                  <a:gd name="T10" fmla="*/ 17 w 728"/>
                  <a:gd name="T11" fmla="*/ 1183 h 1286"/>
                  <a:gd name="T12" fmla="*/ 597 w 728"/>
                  <a:gd name="T13" fmla="*/ 44 h 1286"/>
                  <a:gd name="T14" fmla="*/ 684 w 728"/>
                  <a:gd name="T15" fmla="*/ 16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8" h="1286">
                    <a:moveTo>
                      <a:pt x="684" y="16"/>
                    </a:moveTo>
                    <a:cubicBezTo>
                      <a:pt x="684" y="16"/>
                      <a:pt x="684" y="16"/>
                      <a:pt x="684" y="16"/>
                    </a:cubicBezTo>
                    <a:cubicBezTo>
                      <a:pt x="716" y="32"/>
                      <a:pt x="728" y="71"/>
                      <a:pt x="712" y="102"/>
                    </a:cubicBezTo>
                    <a:cubicBezTo>
                      <a:pt x="131" y="1242"/>
                      <a:pt x="131" y="1242"/>
                      <a:pt x="131" y="1242"/>
                    </a:cubicBezTo>
                    <a:cubicBezTo>
                      <a:pt x="115" y="1274"/>
                      <a:pt x="76" y="1286"/>
                      <a:pt x="45" y="1270"/>
                    </a:cubicBezTo>
                    <a:cubicBezTo>
                      <a:pt x="13" y="1254"/>
                      <a:pt x="0" y="1215"/>
                      <a:pt x="17" y="1183"/>
                    </a:cubicBezTo>
                    <a:cubicBezTo>
                      <a:pt x="597" y="44"/>
                      <a:pt x="597" y="44"/>
                      <a:pt x="597" y="44"/>
                    </a:cubicBezTo>
                    <a:cubicBezTo>
                      <a:pt x="613" y="12"/>
                      <a:pt x="652" y="0"/>
                      <a:pt x="684" y="16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4" name="Freeform 32">
                <a:extLst>
                  <a:ext uri="{FF2B5EF4-FFF2-40B4-BE49-F238E27FC236}">
                    <a16:creationId xmlns:a16="http://schemas.microsoft.com/office/drawing/2014/main" id="{A0E15427-AEF8-479D-B22E-64D82551E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9" y="1258"/>
                <a:ext cx="705" cy="397"/>
              </a:xfrm>
              <a:custGeom>
                <a:avLst/>
                <a:gdLst>
                  <a:gd name="T0" fmla="*/ 1270 w 1287"/>
                  <a:gd name="T1" fmla="*/ 683 h 728"/>
                  <a:gd name="T2" fmla="*/ 1270 w 1287"/>
                  <a:gd name="T3" fmla="*/ 683 h 728"/>
                  <a:gd name="T4" fmla="*/ 1184 w 1287"/>
                  <a:gd name="T5" fmla="*/ 712 h 728"/>
                  <a:gd name="T6" fmla="*/ 44 w 1287"/>
                  <a:gd name="T7" fmla="*/ 131 h 728"/>
                  <a:gd name="T8" fmla="*/ 16 w 1287"/>
                  <a:gd name="T9" fmla="*/ 44 h 728"/>
                  <a:gd name="T10" fmla="*/ 103 w 1287"/>
                  <a:gd name="T11" fmla="*/ 16 h 728"/>
                  <a:gd name="T12" fmla="*/ 1242 w 1287"/>
                  <a:gd name="T13" fmla="*/ 597 h 728"/>
                  <a:gd name="T14" fmla="*/ 1270 w 1287"/>
                  <a:gd name="T15" fmla="*/ 683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7" h="728">
                    <a:moveTo>
                      <a:pt x="1270" y="683"/>
                    </a:moveTo>
                    <a:cubicBezTo>
                      <a:pt x="1270" y="683"/>
                      <a:pt x="1270" y="683"/>
                      <a:pt x="1270" y="683"/>
                    </a:cubicBezTo>
                    <a:cubicBezTo>
                      <a:pt x="1254" y="715"/>
                      <a:pt x="1215" y="728"/>
                      <a:pt x="1184" y="712"/>
                    </a:cubicBezTo>
                    <a:cubicBezTo>
                      <a:pt x="44" y="131"/>
                      <a:pt x="44" y="131"/>
                      <a:pt x="44" y="131"/>
                    </a:cubicBezTo>
                    <a:cubicBezTo>
                      <a:pt x="13" y="115"/>
                      <a:pt x="0" y="76"/>
                      <a:pt x="16" y="44"/>
                    </a:cubicBezTo>
                    <a:cubicBezTo>
                      <a:pt x="32" y="13"/>
                      <a:pt x="71" y="0"/>
                      <a:pt x="103" y="16"/>
                    </a:cubicBezTo>
                    <a:cubicBezTo>
                      <a:pt x="1242" y="597"/>
                      <a:pt x="1242" y="597"/>
                      <a:pt x="1242" y="597"/>
                    </a:cubicBezTo>
                    <a:cubicBezTo>
                      <a:pt x="1274" y="613"/>
                      <a:pt x="1287" y="652"/>
                      <a:pt x="1270" y="683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5" name="Freeform 33">
                <a:extLst>
                  <a:ext uri="{FF2B5EF4-FFF2-40B4-BE49-F238E27FC236}">
                    <a16:creationId xmlns:a16="http://schemas.microsoft.com/office/drawing/2014/main" id="{DD7D2269-3E3E-4A12-B656-DCE50F870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3" y="1070"/>
                <a:ext cx="776" cy="773"/>
              </a:xfrm>
              <a:custGeom>
                <a:avLst/>
                <a:gdLst>
                  <a:gd name="T0" fmla="*/ 156 w 1417"/>
                  <a:gd name="T1" fmla="*/ 426 h 1416"/>
                  <a:gd name="T2" fmla="*/ 990 w 1417"/>
                  <a:gd name="T3" fmla="*/ 155 h 1416"/>
                  <a:gd name="T4" fmla="*/ 1261 w 1417"/>
                  <a:gd name="T5" fmla="*/ 990 h 1416"/>
                  <a:gd name="T6" fmla="*/ 427 w 1417"/>
                  <a:gd name="T7" fmla="*/ 1261 h 1416"/>
                  <a:gd name="T8" fmla="*/ 156 w 1417"/>
                  <a:gd name="T9" fmla="*/ 426 h 1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7" h="1416">
                    <a:moveTo>
                      <a:pt x="156" y="426"/>
                    </a:moveTo>
                    <a:cubicBezTo>
                      <a:pt x="311" y="121"/>
                      <a:pt x="685" y="0"/>
                      <a:pt x="990" y="155"/>
                    </a:cubicBezTo>
                    <a:cubicBezTo>
                      <a:pt x="1295" y="311"/>
                      <a:pt x="1417" y="684"/>
                      <a:pt x="1261" y="990"/>
                    </a:cubicBezTo>
                    <a:cubicBezTo>
                      <a:pt x="1106" y="1295"/>
                      <a:pt x="732" y="1416"/>
                      <a:pt x="427" y="1261"/>
                    </a:cubicBezTo>
                    <a:cubicBezTo>
                      <a:pt x="121" y="1105"/>
                      <a:pt x="0" y="732"/>
                      <a:pt x="156" y="426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6" name="Freeform 34">
                <a:extLst>
                  <a:ext uri="{FF2B5EF4-FFF2-40B4-BE49-F238E27FC236}">
                    <a16:creationId xmlns:a16="http://schemas.microsoft.com/office/drawing/2014/main" id="{9D19934C-953E-4C18-B8A8-6E27CA7141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5" y="1011"/>
                <a:ext cx="273" cy="665"/>
              </a:xfrm>
              <a:custGeom>
                <a:avLst/>
                <a:gdLst>
                  <a:gd name="T0" fmla="*/ 143 w 499"/>
                  <a:gd name="T1" fmla="*/ 45 h 1219"/>
                  <a:gd name="T2" fmla="*/ 498 w 499"/>
                  <a:gd name="T3" fmla="*/ 1139 h 1219"/>
                  <a:gd name="T4" fmla="*/ 426 w 499"/>
                  <a:gd name="T5" fmla="*/ 1218 h 1219"/>
                  <a:gd name="T6" fmla="*/ 353 w 499"/>
                  <a:gd name="T7" fmla="*/ 1142 h 1219"/>
                  <a:gd name="T8" fmla="*/ 23 w 499"/>
                  <a:gd name="T9" fmla="*/ 128 h 1219"/>
                  <a:gd name="T10" fmla="*/ 38 w 499"/>
                  <a:gd name="T11" fmla="*/ 24 h 1219"/>
                  <a:gd name="T12" fmla="*/ 143 w 499"/>
                  <a:gd name="T13" fmla="*/ 45 h 1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9" h="1219">
                    <a:moveTo>
                      <a:pt x="143" y="45"/>
                    </a:moveTo>
                    <a:cubicBezTo>
                      <a:pt x="365" y="367"/>
                      <a:pt x="488" y="748"/>
                      <a:pt x="498" y="1139"/>
                    </a:cubicBezTo>
                    <a:cubicBezTo>
                      <a:pt x="499" y="1183"/>
                      <a:pt x="466" y="1219"/>
                      <a:pt x="426" y="1218"/>
                    </a:cubicBezTo>
                    <a:cubicBezTo>
                      <a:pt x="386" y="1217"/>
                      <a:pt x="354" y="1183"/>
                      <a:pt x="353" y="1142"/>
                    </a:cubicBezTo>
                    <a:cubicBezTo>
                      <a:pt x="344" y="779"/>
                      <a:pt x="230" y="427"/>
                      <a:pt x="23" y="128"/>
                    </a:cubicBezTo>
                    <a:cubicBezTo>
                      <a:pt x="0" y="94"/>
                      <a:pt x="6" y="48"/>
                      <a:pt x="38" y="24"/>
                    </a:cubicBezTo>
                    <a:cubicBezTo>
                      <a:pt x="70" y="0"/>
                      <a:pt x="117" y="9"/>
                      <a:pt x="143" y="45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7" name="Freeform 35">
                <a:extLst>
                  <a:ext uri="{FF2B5EF4-FFF2-40B4-BE49-F238E27FC236}">
                    <a16:creationId xmlns:a16="http://schemas.microsoft.com/office/drawing/2014/main" id="{D12DF3EC-1EE8-4C86-903E-9E47050AC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9" y="1193"/>
                <a:ext cx="676" cy="576"/>
              </a:xfrm>
              <a:custGeom>
                <a:avLst/>
                <a:gdLst>
                  <a:gd name="T0" fmla="*/ 204 w 1235"/>
                  <a:gd name="T1" fmla="*/ 1054 h 1054"/>
                  <a:gd name="T2" fmla="*/ 0 w 1235"/>
                  <a:gd name="T3" fmla="*/ 425 h 1054"/>
                  <a:gd name="T4" fmla="*/ 955 w 1235"/>
                  <a:gd name="T5" fmla="*/ 114 h 1054"/>
                  <a:gd name="T6" fmla="*/ 1160 w 1235"/>
                  <a:gd name="T7" fmla="*/ 743 h 1054"/>
                  <a:gd name="T8" fmla="*/ 204 w 1235"/>
                  <a:gd name="T9" fmla="*/ 1054 h 1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5" h="1054">
                    <a:moveTo>
                      <a:pt x="204" y="1054"/>
                    </a:moveTo>
                    <a:cubicBezTo>
                      <a:pt x="0" y="425"/>
                      <a:pt x="0" y="425"/>
                      <a:pt x="0" y="425"/>
                    </a:cubicBezTo>
                    <a:cubicBezTo>
                      <a:pt x="0" y="425"/>
                      <a:pt x="732" y="0"/>
                      <a:pt x="955" y="114"/>
                    </a:cubicBezTo>
                    <a:cubicBezTo>
                      <a:pt x="1103" y="189"/>
                      <a:pt x="1235" y="596"/>
                      <a:pt x="1160" y="743"/>
                    </a:cubicBezTo>
                    <a:cubicBezTo>
                      <a:pt x="1046" y="967"/>
                      <a:pt x="204" y="1054"/>
                      <a:pt x="204" y="1054"/>
                    </a:cubicBezTo>
                    <a:close/>
                  </a:path>
                </a:pathLst>
              </a:custGeom>
              <a:solidFill>
                <a:srgbClr val="4E34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8" name="Freeform 36">
                <a:extLst>
                  <a:ext uri="{FF2B5EF4-FFF2-40B4-BE49-F238E27FC236}">
                    <a16:creationId xmlns:a16="http://schemas.microsoft.com/office/drawing/2014/main" id="{655EDDF6-D045-4C41-858B-A11CEB64A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9" y="1246"/>
                <a:ext cx="276" cy="472"/>
              </a:xfrm>
              <a:custGeom>
                <a:avLst/>
                <a:gdLst>
                  <a:gd name="T0" fmla="*/ 0 w 505"/>
                  <a:gd name="T1" fmla="*/ 864 h 864"/>
                  <a:gd name="T2" fmla="*/ 170 w 505"/>
                  <a:gd name="T3" fmla="*/ 356 h 864"/>
                  <a:gd name="T4" fmla="*/ 168 w 505"/>
                  <a:gd name="T5" fmla="*/ 0 h 864"/>
                  <a:gd name="T6" fmla="*/ 225 w 505"/>
                  <a:gd name="T7" fmla="*/ 17 h 864"/>
                  <a:gd name="T8" fmla="*/ 430 w 505"/>
                  <a:gd name="T9" fmla="*/ 646 h 864"/>
                  <a:gd name="T10" fmla="*/ 0 w 505"/>
                  <a:gd name="T11" fmla="*/ 864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5" h="864">
                    <a:moveTo>
                      <a:pt x="0" y="864"/>
                    </a:moveTo>
                    <a:cubicBezTo>
                      <a:pt x="127" y="738"/>
                      <a:pt x="247" y="507"/>
                      <a:pt x="170" y="356"/>
                    </a:cubicBezTo>
                    <a:cubicBezTo>
                      <a:pt x="87" y="195"/>
                      <a:pt x="139" y="56"/>
                      <a:pt x="168" y="0"/>
                    </a:cubicBezTo>
                    <a:cubicBezTo>
                      <a:pt x="189" y="3"/>
                      <a:pt x="209" y="9"/>
                      <a:pt x="225" y="17"/>
                    </a:cubicBezTo>
                    <a:cubicBezTo>
                      <a:pt x="373" y="92"/>
                      <a:pt x="505" y="499"/>
                      <a:pt x="430" y="646"/>
                    </a:cubicBezTo>
                    <a:cubicBezTo>
                      <a:pt x="381" y="743"/>
                      <a:pt x="195" y="814"/>
                      <a:pt x="0" y="864"/>
                    </a:cubicBezTo>
                    <a:close/>
                  </a:path>
                </a:pathLst>
              </a:custGeom>
              <a:solidFill>
                <a:srgbClr val="3E27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9" name="Freeform 37">
                <a:extLst>
                  <a:ext uri="{FF2B5EF4-FFF2-40B4-BE49-F238E27FC236}">
                    <a16:creationId xmlns:a16="http://schemas.microsoft.com/office/drawing/2014/main" id="{04E3E1FF-2D74-4BED-B6DD-9EB526D12A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8" y="1096"/>
                <a:ext cx="278" cy="570"/>
              </a:xfrm>
              <a:custGeom>
                <a:avLst/>
                <a:gdLst>
                  <a:gd name="T0" fmla="*/ 323 w 508"/>
                  <a:gd name="T1" fmla="*/ 1045 h 1045"/>
                  <a:gd name="T2" fmla="*/ 0 w 508"/>
                  <a:gd name="T3" fmla="*/ 53 h 1045"/>
                  <a:gd name="T4" fmla="*/ 78 w 508"/>
                  <a:gd name="T5" fmla="*/ 28 h 1045"/>
                  <a:gd name="T6" fmla="*/ 288 w 508"/>
                  <a:gd name="T7" fmla="*/ 135 h 1045"/>
                  <a:gd name="T8" fmla="*/ 478 w 508"/>
                  <a:gd name="T9" fmla="*/ 446 h 1045"/>
                  <a:gd name="T10" fmla="*/ 507 w 508"/>
                  <a:gd name="T11" fmla="*/ 810 h 1045"/>
                  <a:gd name="T12" fmla="*/ 400 w 508"/>
                  <a:gd name="T13" fmla="*/ 1020 h 1045"/>
                  <a:gd name="T14" fmla="*/ 323 w 508"/>
                  <a:gd name="T15" fmla="*/ 1045 h 10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8" h="1045">
                    <a:moveTo>
                      <a:pt x="323" y="1045"/>
                    </a:moveTo>
                    <a:cubicBezTo>
                      <a:pt x="0" y="53"/>
                      <a:pt x="0" y="53"/>
                      <a:pt x="0" y="53"/>
                    </a:cubicBezTo>
                    <a:cubicBezTo>
                      <a:pt x="78" y="28"/>
                      <a:pt x="78" y="28"/>
                      <a:pt x="78" y="28"/>
                    </a:cubicBezTo>
                    <a:cubicBezTo>
                      <a:pt x="165" y="0"/>
                      <a:pt x="252" y="88"/>
                      <a:pt x="288" y="135"/>
                    </a:cubicBezTo>
                    <a:cubicBezTo>
                      <a:pt x="342" y="208"/>
                      <a:pt x="478" y="446"/>
                      <a:pt x="478" y="446"/>
                    </a:cubicBezTo>
                    <a:cubicBezTo>
                      <a:pt x="478" y="446"/>
                      <a:pt x="508" y="719"/>
                      <a:pt x="507" y="810"/>
                    </a:cubicBezTo>
                    <a:cubicBezTo>
                      <a:pt x="506" y="869"/>
                      <a:pt x="488" y="991"/>
                      <a:pt x="400" y="1020"/>
                    </a:cubicBezTo>
                    <a:lnTo>
                      <a:pt x="323" y="1045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0" name="Freeform 38">
                <a:extLst>
                  <a:ext uri="{FF2B5EF4-FFF2-40B4-BE49-F238E27FC236}">
                    <a16:creationId xmlns:a16="http://schemas.microsoft.com/office/drawing/2014/main" id="{DFAF4CBC-13B9-4AFB-B985-9C838DAFC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1" y="1134"/>
                <a:ext cx="319" cy="502"/>
              </a:xfrm>
              <a:custGeom>
                <a:avLst/>
                <a:gdLst>
                  <a:gd name="T0" fmla="*/ 183 w 583"/>
                  <a:gd name="T1" fmla="*/ 762 h 918"/>
                  <a:gd name="T2" fmla="*/ 183 w 583"/>
                  <a:gd name="T3" fmla="*/ 606 h 918"/>
                  <a:gd name="T4" fmla="*/ 144 w 583"/>
                  <a:gd name="T5" fmla="*/ 487 h 918"/>
                  <a:gd name="T6" fmla="*/ 53 w 583"/>
                  <a:gd name="T7" fmla="*/ 361 h 918"/>
                  <a:gd name="T8" fmla="*/ 226 w 583"/>
                  <a:gd name="T9" fmla="*/ 51 h 918"/>
                  <a:gd name="T10" fmla="*/ 284 w 583"/>
                  <a:gd name="T11" fmla="*/ 0 h 918"/>
                  <a:gd name="T12" fmla="*/ 583 w 583"/>
                  <a:gd name="T13" fmla="*/ 918 h 918"/>
                  <a:gd name="T14" fmla="*/ 506 w 583"/>
                  <a:gd name="T15" fmla="*/ 911 h 918"/>
                  <a:gd name="T16" fmla="*/ 183 w 583"/>
                  <a:gd name="T17" fmla="*/ 762 h 9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3" h="918">
                    <a:moveTo>
                      <a:pt x="183" y="762"/>
                    </a:moveTo>
                    <a:cubicBezTo>
                      <a:pt x="180" y="730"/>
                      <a:pt x="182" y="660"/>
                      <a:pt x="183" y="606"/>
                    </a:cubicBezTo>
                    <a:cubicBezTo>
                      <a:pt x="185" y="563"/>
                      <a:pt x="171" y="521"/>
                      <a:pt x="144" y="487"/>
                    </a:cubicBezTo>
                    <a:cubicBezTo>
                      <a:pt x="112" y="445"/>
                      <a:pt x="69" y="389"/>
                      <a:pt x="53" y="361"/>
                    </a:cubicBezTo>
                    <a:cubicBezTo>
                      <a:pt x="0" y="270"/>
                      <a:pt x="147" y="120"/>
                      <a:pt x="226" y="51"/>
                    </a:cubicBezTo>
                    <a:cubicBezTo>
                      <a:pt x="284" y="0"/>
                      <a:pt x="284" y="0"/>
                      <a:pt x="284" y="0"/>
                    </a:cubicBezTo>
                    <a:cubicBezTo>
                      <a:pt x="583" y="918"/>
                      <a:pt x="583" y="918"/>
                      <a:pt x="583" y="918"/>
                    </a:cubicBezTo>
                    <a:cubicBezTo>
                      <a:pt x="506" y="911"/>
                      <a:pt x="506" y="911"/>
                      <a:pt x="506" y="911"/>
                    </a:cubicBezTo>
                    <a:cubicBezTo>
                      <a:pt x="401" y="902"/>
                      <a:pt x="194" y="867"/>
                      <a:pt x="183" y="762"/>
                    </a:cubicBez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1" name="Freeform 39">
                <a:extLst>
                  <a:ext uri="{FF2B5EF4-FFF2-40B4-BE49-F238E27FC236}">
                    <a16:creationId xmlns:a16="http://schemas.microsoft.com/office/drawing/2014/main" id="{1C89D9E9-38A6-4B58-B4A6-7E540FF95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" y="1182"/>
                <a:ext cx="676" cy="575"/>
              </a:xfrm>
              <a:custGeom>
                <a:avLst/>
                <a:gdLst>
                  <a:gd name="T0" fmla="*/ 1235 w 1235"/>
                  <a:gd name="T1" fmla="*/ 425 h 1054"/>
                  <a:gd name="T2" fmla="*/ 1031 w 1235"/>
                  <a:gd name="T3" fmla="*/ 1054 h 1054"/>
                  <a:gd name="T4" fmla="*/ 75 w 1235"/>
                  <a:gd name="T5" fmla="*/ 743 h 1054"/>
                  <a:gd name="T6" fmla="*/ 280 w 1235"/>
                  <a:gd name="T7" fmla="*/ 114 h 1054"/>
                  <a:gd name="T8" fmla="*/ 1235 w 1235"/>
                  <a:gd name="T9" fmla="*/ 425 h 1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5" h="1054">
                    <a:moveTo>
                      <a:pt x="1235" y="425"/>
                    </a:moveTo>
                    <a:cubicBezTo>
                      <a:pt x="1031" y="1054"/>
                      <a:pt x="1031" y="1054"/>
                      <a:pt x="1031" y="1054"/>
                    </a:cubicBezTo>
                    <a:cubicBezTo>
                      <a:pt x="1031" y="1054"/>
                      <a:pt x="189" y="967"/>
                      <a:pt x="75" y="743"/>
                    </a:cubicBezTo>
                    <a:cubicBezTo>
                      <a:pt x="0" y="596"/>
                      <a:pt x="132" y="189"/>
                      <a:pt x="280" y="114"/>
                    </a:cubicBezTo>
                    <a:cubicBezTo>
                      <a:pt x="503" y="0"/>
                      <a:pt x="1235" y="425"/>
                      <a:pt x="1235" y="425"/>
                    </a:cubicBezTo>
                    <a:close/>
                  </a:path>
                </a:pathLst>
              </a:custGeom>
              <a:solidFill>
                <a:srgbClr val="4A4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2" name="Freeform 40">
                <a:extLst>
                  <a:ext uri="{FF2B5EF4-FFF2-40B4-BE49-F238E27FC236}">
                    <a16:creationId xmlns:a16="http://schemas.microsoft.com/office/drawing/2014/main" id="{58CF7800-E88A-4D46-B3A6-8CFC6C7105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" y="1217"/>
                <a:ext cx="413" cy="397"/>
              </a:xfrm>
              <a:custGeom>
                <a:avLst/>
                <a:gdLst>
                  <a:gd name="T0" fmla="*/ 755 w 755"/>
                  <a:gd name="T1" fmla="*/ 125 h 726"/>
                  <a:gd name="T2" fmla="*/ 319 w 755"/>
                  <a:gd name="T3" fmla="*/ 437 h 726"/>
                  <a:gd name="T4" fmla="*/ 112 w 755"/>
                  <a:gd name="T5" fmla="*/ 726 h 726"/>
                  <a:gd name="T6" fmla="*/ 75 w 755"/>
                  <a:gd name="T7" fmla="*/ 678 h 726"/>
                  <a:gd name="T8" fmla="*/ 280 w 755"/>
                  <a:gd name="T9" fmla="*/ 49 h 726"/>
                  <a:gd name="T10" fmla="*/ 755 w 755"/>
                  <a:gd name="T11" fmla="*/ 125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55" h="726">
                    <a:moveTo>
                      <a:pt x="755" y="125"/>
                    </a:moveTo>
                    <a:cubicBezTo>
                      <a:pt x="579" y="153"/>
                      <a:pt x="345" y="269"/>
                      <a:pt x="319" y="437"/>
                    </a:cubicBezTo>
                    <a:cubicBezTo>
                      <a:pt x="291" y="616"/>
                      <a:pt x="168" y="698"/>
                      <a:pt x="112" y="726"/>
                    </a:cubicBezTo>
                    <a:cubicBezTo>
                      <a:pt x="96" y="711"/>
                      <a:pt x="83" y="695"/>
                      <a:pt x="75" y="678"/>
                    </a:cubicBezTo>
                    <a:cubicBezTo>
                      <a:pt x="0" y="531"/>
                      <a:pt x="132" y="124"/>
                      <a:pt x="280" y="49"/>
                    </a:cubicBezTo>
                    <a:cubicBezTo>
                      <a:pt x="376" y="0"/>
                      <a:pt x="568" y="51"/>
                      <a:pt x="755" y="125"/>
                    </a:cubicBezTo>
                    <a:close/>
                  </a:path>
                </a:pathLst>
              </a:custGeom>
              <a:solidFill>
                <a:srgbClr val="372F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3" name="Freeform 41">
                <a:extLst>
                  <a:ext uri="{FF2B5EF4-FFF2-40B4-BE49-F238E27FC236}">
                    <a16:creationId xmlns:a16="http://schemas.microsoft.com/office/drawing/2014/main" id="{F05E0716-859C-44C2-8CC1-59ED0A94C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3" y="1084"/>
                <a:ext cx="277" cy="571"/>
              </a:xfrm>
              <a:custGeom>
                <a:avLst/>
                <a:gdLst>
                  <a:gd name="T0" fmla="*/ 507 w 507"/>
                  <a:gd name="T1" fmla="*/ 53 h 1045"/>
                  <a:gd name="T2" fmla="*/ 185 w 507"/>
                  <a:gd name="T3" fmla="*/ 1045 h 1045"/>
                  <a:gd name="T4" fmla="*/ 108 w 507"/>
                  <a:gd name="T5" fmla="*/ 1020 h 1045"/>
                  <a:gd name="T6" fmla="*/ 1 w 507"/>
                  <a:gd name="T7" fmla="*/ 810 h 1045"/>
                  <a:gd name="T8" fmla="*/ 30 w 507"/>
                  <a:gd name="T9" fmla="*/ 446 h 1045"/>
                  <a:gd name="T10" fmla="*/ 220 w 507"/>
                  <a:gd name="T11" fmla="*/ 135 h 1045"/>
                  <a:gd name="T12" fmla="*/ 430 w 507"/>
                  <a:gd name="T13" fmla="*/ 28 h 1045"/>
                  <a:gd name="T14" fmla="*/ 507 w 507"/>
                  <a:gd name="T15" fmla="*/ 53 h 10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7" h="1045">
                    <a:moveTo>
                      <a:pt x="507" y="53"/>
                    </a:moveTo>
                    <a:cubicBezTo>
                      <a:pt x="185" y="1045"/>
                      <a:pt x="185" y="1045"/>
                      <a:pt x="185" y="1045"/>
                    </a:cubicBezTo>
                    <a:cubicBezTo>
                      <a:pt x="108" y="1020"/>
                      <a:pt x="108" y="1020"/>
                      <a:pt x="108" y="1020"/>
                    </a:cubicBezTo>
                    <a:cubicBezTo>
                      <a:pt x="20" y="991"/>
                      <a:pt x="2" y="869"/>
                      <a:pt x="1" y="810"/>
                    </a:cubicBezTo>
                    <a:cubicBezTo>
                      <a:pt x="0" y="719"/>
                      <a:pt x="30" y="446"/>
                      <a:pt x="30" y="446"/>
                    </a:cubicBezTo>
                    <a:cubicBezTo>
                      <a:pt x="30" y="446"/>
                      <a:pt x="166" y="208"/>
                      <a:pt x="220" y="135"/>
                    </a:cubicBezTo>
                    <a:cubicBezTo>
                      <a:pt x="255" y="88"/>
                      <a:pt x="342" y="0"/>
                      <a:pt x="430" y="28"/>
                    </a:cubicBezTo>
                    <a:lnTo>
                      <a:pt x="507" y="53"/>
                    </a:ln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4" name="Freeform 42">
                <a:extLst>
                  <a:ext uri="{FF2B5EF4-FFF2-40B4-BE49-F238E27FC236}">
                    <a16:creationId xmlns:a16="http://schemas.microsoft.com/office/drawing/2014/main" id="{C5EA4983-78FE-486E-B0B0-52A3345D6F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8" y="1124"/>
                <a:ext cx="319" cy="502"/>
              </a:xfrm>
              <a:custGeom>
                <a:avLst/>
                <a:gdLst>
                  <a:gd name="T0" fmla="*/ 530 w 583"/>
                  <a:gd name="T1" fmla="*/ 361 h 919"/>
                  <a:gd name="T2" fmla="*/ 439 w 583"/>
                  <a:gd name="T3" fmla="*/ 487 h 919"/>
                  <a:gd name="T4" fmla="*/ 400 w 583"/>
                  <a:gd name="T5" fmla="*/ 607 h 919"/>
                  <a:gd name="T6" fmla="*/ 400 w 583"/>
                  <a:gd name="T7" fmla="*/ 763 h 919"/>
                  <a:gd name="T8" fmla="*/ 78 w 583"/>
                  <a:gd name="T9" fmla="*/ 912 h 919"/>
                  <a:gd name="T10" fmla="*/ 0 w 583"/>
                  <a:gd name="T11" fmla="*/ 919 h 919"/>
                  <a:gd name="T12" fmla="*/ 299 w 583"/>
                  <a:gd name="T13" fmla="*/ 0 h 919"/>
                  <a:gd name="T14" fmla="*/ 357 w 583"/>
                  <a:gd name="T15" fmla="*/ 51 h 919"/>
                  <a:gd name="T16" fmla="*/ 530 w 583"/>
                  <a:gd name="T17" fmla="*/ 361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3" h="919">
                    <a:moveTo>
                      <a:pt x="530" y="361"/>
                    </a:moveTo>
                    <a:cubicBezTo>
                      <a:pt x="514" y="389"/>
                      <a:pt x="471" y="445"/>
                      <a:pt x="439" y="487"/>
                    </a:cubicBezTo>
                    <a:cubicBezTo>
                      <a:pt x="412" y="521"/>
                      <a:pt x="398" y="564"/>
                      <a:pt x="400" y="607"/>
                    </a:cubicBezTo>
                    <a:cubicBezTo>
                      <a:pt x="402" y="660"/>
                      <a:pt x="403" y="730"/>
                      <a:pt x="400" y="763"/>
                    </a:cubicBezTo>
                    <a:cubicBezTo>
                      <a:pt x="389" y="867"/>
                      <a:pt x="182" y="902"/>
                      <a:pt x="78" y="912"/>
                    </a:cubicBezTo>
                    <a:cubicBezTo>
                      <a:pt x="0" y="919"/>
                      <a:pt x="0" y="919"/>
                      <a:pt x="0" y="919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357" y="51"/>
                      <a:pt x="357" y="51"/>
                      <a:pt x="357" y="51"/>
                    </a:cubicBezTo>
                    <a:cubicBezTo>
                      <a:pt x="436" y="120"/>
                      <a:pt x="583" y="270"/>
                      <a:pt x="530" y="361"/>
                    </a:cubicBez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5" name="Freeform 43">
                <a:extLst>
                  <a:ext uri="{FF2B5EF4-FFF2-40B4-BE49-F238E27FC236}">
                    <a16:creationId xmlns:a16="http://schemas.microsoft.com/office/drawing/2014/main" id="{88A0CF3D-29DB-4F98-A884-0871A6CC5F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4" y="2268"/>
                <a:ext cx="632" cy="661"/>
              </a:xfrm>
              <a:custGeom>
                <a:avLst/>
                <a:gdLst>
                  <a:gd name="T0" fmla="*/ 1153 w 1155"/>
                  <a:gd name="T1" fmla="*/ 770 h 1210"/>
                  <a:gd name="T2" fmla="*/ 646 w 1155"/>
                  <a:gd name="T3" fmla="*/ 1196 h 1210"/>
                  <a:gd name="T4" fmla="*/ 439 w 1155"/>
                  <a:gd name="T5" fmla="*/ 1065 h 1210"/>
                  <a:gd name="T6" fmla="*/ 284 w 1155"/>
                  <a:gd name="T7" fmla="*/ 879 h 1210"/>
                  <a:gd name="T8" fmla="*/ 0 w 1155"/>
                  <a:gd name="T9" fmla="*/ 426 h 1210"/>
                  <a:gd name="T10" fmla="*/ 507 w 1155"/>
                  <a:gd name="T11" fmla="*/ 0 h 1210"/>
                  <a:gd name="T12" fmla="*/ 855 w 1155"/>
                  <a:gd name="T13" fmla="*/ 307 h 1210"/>
                  <a:gd name="T14" fmla="*/ 996 w 1155"/>
                  <a:gd name="T15" fmla="*/ 460 h 1210"/>
                  <a:gd name="T16" fmla="*/ 1147 w 1155"/>
                  <a:gd name="T17" fmla="*/ 711 h 1210"/>
                  <a:gd name="T18" fmla="*/ 1153 w 1155"/>
                  <a:gd name="T19" fmla="*/ 770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5" h="1210">
                    <a:moveTo>
                      <a:pt x="1153" y="770"/>
                    </a:moveTo>
                    <a:cubicBezTo>
                      <a:pt x="1139" y="935"/>
                      <a:pt x="811" y="1210"/>
                      <a:pt x="646" y="1196"/>
                    </a:cubicBezTo>
                    <a:cubicBezTo>
                      <a:pt x="584" y="1190"/>
                      <a:pt x="512" y="1139"/>
                      <a:pt x="439" y="1065"/>
                    </a:cubicBezTo>
                    <a:cubicBezTo>
                      <a:pt x="386" y="1012"/>
                      <a:pt x="334" y="947"/>
                      <a:pt x="284" y="879"/>
                    </a:cubicBezTo>
                    <a:cubicBezTo>
                      <a:pt x="128" y="667"/>
                      <a:pt x="0" y="426"/>
                      <a:pt x="0" y="426"/>
                    </a:cubicBezTo>
                    <a:cubicBezTo>
                      <a:pt x="507" y="0"/>
                      <a:pt x="507" y="0"/>
                      <a:pt x="507" y="0"/>
                    </a:cubicBezTo>
                    <a:cubicBezTo>
                      <a:pt x="507" y="0"/>
                      <a:pt x="686" y="139"/>
                      <a:pt x="855" y="307"/>
                    </a:cubicBezTo>
                    <a:cubicBezTo>
                      <a:pt x="904" y="357"/>
                      <a:pt x="953" y="408"/>
                      <a:pt x="996" y="460"/>
                    </a:cubicBezTo>
                    <a:cubicBezTo>
                      <a:pt x="1070" y="548"/>
                      <a:pt x="1129" y="637"/>
                      <a:pt x="1147" y="711"/>
                    </a:cubicBezTo>
                    <a:cubicBezTo>
                      <a:pt x="1153" y="732"/>
                      <a:pt x="1155" y="752"/>
                      <a:pt x="1153" y="770"/>
                    </a:cubicBez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6" name="Freeform 44">
                <a:extLst>
                  <a:ext uri="{FF2B5EF4-FFF2-40B4-BE49-F238E27FC236}">
                    <a16:creationId xmlns:a16="http://schemas.microsoft.com/office/drawing/2014/main" id="{CDBB5449-D19B-4035-9AB5-CF4F41C729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5" y="2520"/>
                <a:ext cx="391" cy="409"/>
              </a:xfrm>
              <a:custGeom>
                <a:avLst/>
                <a:gdLst>
                  <a:gd name="T0" fmla="*/ 714 w 716"/>
                  <a:gd name="T1" fmla="*/ 310 h 750"/>
                  <a:gd name="T2" fmla="*/ 207 w 716"/>
                  <a:gd name="T3" fmla="*/ 736 h 750"/>
                  <a:gd name="T4" fmla="*/ 0 w 716"/>
                  <a:gd name="T5" fmla="*/ 605 h 750"/>
                  <a:gd name="T6" fmla="*/ 371 w 716"/>
                  <a:gd name="T7" fmla="*/ 346 h 750"/>
                  <a:gd name="T8" fmla="*/ 557 w 716"/>
                  <a:gd name="T9" fmla="*/ 0 h 750"/>
                  <a:gd name="T10" fmla="*/ 708 w 716"/>
                  <a:gd name="T11" fmla="*/ 251 h 750"/>
                  <a:gd name="T12" fmla="*/ 714 w 716"/>
                  <a:gd name="T13" fmla="*/ 31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6" h="750">
                    <a:moveTo>
                      <a:pt x="714" y="310"/>
                    </a:moveTo>
                    <a:cubicBezTo>
                      <a:pt x="700" y="475"/>
                      <a:pt x="372" y="750"/>
                      <a:pt x="207" y="736"/>
                    </a:cubicBezTo>
                    <a:cubicBezTo>
                      <a:pt x="145" y="730"/>
                      <a:pt x="73" y="679"/>
                      <a:pt x="0" y="605"/>
                    </a:cubicBezTo>
                    <a:cubicBezTo>
                      <a:pt x="168" y="609"/>
                      <a:pt x="368" y="481"/>
                      <a:pt x="371" y="346"/>
                    </a:cubicBezTo>
                    <a:cubicBezTo>
                      <a:pt x="375" y="174"/>
                      <a:pt x="483" y="79"/>
                      <a:pt x="557" y="0"/>
                    </a:cubicBezTo>
                    <a:cubicBezTo>
                      <a:pt x="631" y="88"/>
                      <a:pt x="690" y="177"/>
                      <a:pt x="708" y="251"/>
                    </a:cubicBezTo>
                    <a:cubicBezTo>
                      <a:pt x="714" y="272"/>
                      <a:pt x="716" y="292"/>
                      <a:pt x="714" y="310"/>
                    </a:cubicBezTo>
                    <a:close/>
                  </a:path>
                </a:pathLst>
              </a:custGeom>
              <a:solidFill>
                <a:srgbClr val="EC40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7" name="Freeform 45">
                <a:extLst>
                  <a:ext uri="{FF2B5EF4-FFF2-40B4-BE49-F238E27FC236}">
                    <a16:creationId xmlns:a16="http://schemas.microsoft.com/office/drawing/2014/main" id="{35AE25BB-1973-4B47-B8E9-E4715CE4E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2" y="2695"/>
                <a:ext cx="499" cy="438"/>
              </a:xfrm>
              <a:custGeom>
                <a:avLst/>
                <a:gdLst>
                  <a:gd name="T0" fmla="*/ 0 w 910"/>
                  <a:gd name="T1" fmla="*/ 670 h 803"/>
                  <a:gd name="T2" fmla="*/ 799 w 910"/>
                  <a:gd name="T3" fmla="*/ 0 h 803"/>
                  <a:gd name="T4" fmla="*/ 851 w 910"/>
                  <a:gd name="T5" fmla="*/ 62 h 803"/>
                  <a:gd name="T6" fmla="*/ 831 w 910"/>
                  <a:gd name="T7" fmla="*/ 297 h 803"/>
                  <a:gd name="T8" fmla="*/ 614 w 910"/>
                  <a:gd name="T9" fmla="*/ 590 h 803"/>
                  <a:gd name="T10" fmla="*/ 287 w 910"/>
                  <a:gd name="T11" fmla="*/ 753 h 803"/>
                  <a:gd name="T12" fmla="*/ 53 w 910"/>
                  <a:gd name="T13" fmla="*/ 732 h 803"/>
                  <a:gd name="T14" fmla="*/ 0 w 910"/>
                  <a:gd name="T15" fmla="*/ 670 h 8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0" h="803">
                    <a:moveTo>
                      <a:pt x="0" y="670"/>
                    </a:moveTo>
                    <a:cubicBezTo>
                      <a:pt x="799" y="0"/>
                      <a:pt x="799" y="0"/>
                      <a:pt x="799" y="0"/>
                    </a:cubicBezTo>
                    <a:cubicBezTo>
                      <a:pt x="851" y="62"/>
                      <a:pt x="851" y="62"/>
                      <a:pt x="851" y="62"/>
                    </a:cubicBezTo>
                    <a:cubicBezTo>
                      <a:pt x="910" y="133"/>
                      <a:pt x="861" y="246"/>
                      <a:pt x="831" y="297"/>
                    </a:cubicBezTo>
                    <a:cubicBezTo>
                      <a:pt x="784" y="375"/>
                      <a:pt x="614" y="590"/>
                      <a:pt x="614" y="590"/>
                    </a:cubicBezTo>
                    <a:cubicBezTo>
                      <a:pt x="614" y="590"/>
                      <a:pt x="372" y="720"/>
                      <a:pt x="287" y="753"/>
                    </a:cubicBezTo>
                    <a:cubicBezTo>
                      <a:pt x="232" y="774"/>
                      <a:pt x="112" y="803"/>
                      <a:pt x="53" y="732"/>
                    </a:cubicBezTo>
                    <a:lnTo>
                      <a:pt x="0" y="670"/>
                    </a:ln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8" name="Freeform 46">
                <a:extLst>
                  <a:ext uri="{FF2B5EF4-FFF2-40B4-BE49-F238E27FC236}">
                    <a16:creationId xmlns:a16="http://schemas.microsoft.com/office/drawing/2014/main" id="{0607F2B9-52D5-46E4-B79A-412D7CFB54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" y="2651"/>
                <a:ext cx="459" cy="428"/>
              </a:xfrm>
              <a:custGeom>
                <a:avLst/>
                <a:gdLst>
                  <a:gd name="T0" fmla="*/ 92 w 837"/>
                  <a:gd name="T1" fmla="*/ 354 h 783"/>
                  <a:gd name="T2" fmla="*/ 237 w 837"/>
                  <a:gd name="T3" fmla="*/ 296 h 783"/>
                  <a:gd name="T4" fmla="*/ 333 w 837"/>
                  <a:gd name="T5" fmla="*/ 215 h 783"/>
                  <a:gd name="T6" fmla="*/ 416 w 837"/>
                  <a:gd name="T7" fmla="*/ 83 h 783"/>
                  <a:gd name="T8" fmla="*/ 768 w 837"/>
                  <a:gd name="T9" fmla="*/ 127 h 783"/>
                  <a:gd name="T10" fmla="*/ 837 w 837"/>
                  <a:gd name="T11" fmla="*/ 162 h 783"/>
                  <a:gd name="T12" fmla="*/ 97 w 837"/>
                  <a:gd name="T13" fmla="*/ 783 h 783"/>
                  <a:gd name="T14" fmla="*/ 75 w 837"/>
                  <a:gd name="T15" fmla="*/ 709 h 783"/>
                  <a:gd name="T16" fmla="*/ 92 w 837"/>
                  <a:gd name="T17" fmla="*/ 354 h 7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37" h="783">
                    <a:moveTo>
                      <a:pt x="92" y="354"/>
                    </a:moveTo>
                    <a:cubicBezTo>
                      <a:pt x="121" y="339"/>
                      <a:pt x="187" y="314"/>
                      <a:pt x="237" y="296"/>
                    </a:cubicBezTo>
                    <a:cubicBezTo>
                      <a:pt x="277" y="281"/>
                      <a:pt x="311" y="252"/>
                      <a:pt x="333" y="215"/>
                    </a:cubicBezTo>
                    <a:cubicBezTo>
                      <a:pt x="360" y="169"/>
                      <a:pt x="396" y="109"/>
                      <a:pt x="416" y="83"/>
                    </a:cubicBezTo>
                    <a:cubicBezTo>
                      <a:pt x="480" y="0"/>
                      <a:pt x="674" y="80"/>
                      <a:pt x="768" y="127"/>
                    </a:cubicBezTo>
                    <a:cubicBezTo>
                      <a:pt x="837" y="162"/>
                      <a:pt x="837" y="162"/>
                      <a:pt x="837" y="162"/>
                    </a:cubicBezTo>
                    <a:cubicBezTo>
                      <a:pt x="97" y="783"/>
                      <a:pt x="97" y="783"/>
                      <a:pt x="97" y="783"/>
                    </a:cubicBezTo>
                    <a:cubicBezTo>
                      <a:pt x="75" y="709"/>
                      <a:pt x="75" y="709"/>
                      <a:pt x="75" y="709"/>
                    </a:cubicBezTo>
                    <a:cubicBezTo>
                      <a:pt x="45" y="608"/>
                      <a:pt x="0" y="403"/>
                      <a:pt x="92" y="354"/>
                    </a:cubicBez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9" name="Freeform 47">
                <a:extLst>
                  <a:ext uri="{FF2B5EF4-FFF2-40B4-BE49-F238E27FC236}">
                    <a16:creationId xmlns:a16="http://schemas.microsoft.com/office/drawing/2014/main" id="{F5BD1795-2483-49C4-B803-BF4627B2C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2" y="2240"/>
                <a:ext cx="709" cy="722"/>
              </a:xfrm>
              <a:custGeom>
                <a:avLst/>
                <a:gdLst>
                  <a:gd name="T0" fmla="*/ 772 w 1295"/>
                  <a:gd name="T1" fmla="*/ 0 h 1324"/>
                  <a:gd name="T2" fmla="*/ 987 w 1295"/>
                  <a:gd name="T3" fmla="*/ 181 h 1324"/>
                  <a:gd name="T4" fmla="*/ 474 w 1295"/>
                  <a:gd name="T5" fmla="*/ 832 h 1324"/>
                  <a:gd name="T6" fmla="*/ 369 w 1295"/>
                  <a:gd name="T7" fmla="*/ 1007 h 1324"/>
                  <a:gd name="T8" fmla="*/ 506 w 1295"/>
                  <a:gd name="T9" fmla="*/ 879 h 1324"/>
                  <a:gd name="T10" fmla="*/ 1058 w 1295"/>
                  <a:gd name="T11" fmla="*/ 241 h 1324"/>
                  <a:gd name="T12" fmla="*/ 1295 w 1295"/>
                  <a:gd name="T13" fmla="*/ 440 h 1324"/>
                  <a:gd name="T14" fmla="*/ 657 w 1295"/>
                  <a:gd name="T15" fmla="*/ 1323 h 1324"/>
                  <a:gd name="T16" fmla="*/ 12 w 1295"/>
                  <a:gd name="T17" fmla="*/ 782 h 1324"/>
                  <a:gd name="T18" fmla="*/ 772 w 1295"/>
                  <a:gd name="T19" fmla="*/ 0 h 1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95" h="1324">
                    <a:moveTo>
                      <a:pt x="772" y="0"/>
                    </a:moveTo>
                    <a:cubicBezTo>
                      <a:pt x="987" y="181"/>
                      <a:pt x="987" y="181"/>
                      <a:pt x="987" y="181"/>
                    </a:cubicBezTo>
                    <a:cubicBezTo>
                      <a:pt x="987" y="181"/>
                      <a:pt x="651" y="589"/>
                      <a:pt x="474" y="832"/>
                    </a:cubicBezTo>
                    <a:cubicBezTo>
                      <a:pt x="404" y="928"/>
                      <a:pt x="358" y="998"/>
                      <a:pt x="369" y="1007"/>
                    </a:cubicBezTo>
                    <a:cubicBezTo>
                      <a:pt x="377" y="1013"/>
                      <a:pt x="431" y="960"/>
                      <a:pt x="506" y="879"/>
                    </a:cubicBezTo>
                    <a:cubicBezTo>
                      <a:pt x="708" y="660"/>
                      <a:pt x="1058" y="241"/>
                      <a:pt x="1058" y="241"/>
                    </a:cubicBezTo>
                    <a:cubicBezTo>
                      <a:pt x="1295" y="440"/>
                      <a:pt x="1295" y="440"/>
                      <a:pt x="1295" y="440"/>
                    </a:cubicBezTo>
                    <a:cubicBezTo>
                      <a:pt x="1295" y="440"/>
                      <a:pt x="743" y="1324"/>
                      <a:pt x="657" y="1323"/>
                    </a:cubicBezTo>
                    <a:cubicBezTo>
                      <a:pt x="469" y="1322"/>
                      <a:pt x="32" y="961"/>
                      <a:pt x="12" y="782"/>
                    </a:cubicBezTo>
                    <a:cubicBezTo>
                      <a:pt x="0" y="675"/>
                      <a:pt x="772" y="0"/>
                      <a:pt x="772" y="0"/>
                    </a:cubicBezTo>
                  </a:path>
                </a:pathLst>
              </a:custGeom>
              <a:solidFill>
                <a:srgbClr val="213C4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0" name="Freeform 48">
                <a:extLst>
                  <a:ext uri="{FF2B5EF4-FFF2-40B4-BE49-F238E27FC236}">
                    <a16:creationId xmlns:a16="http://schemas.microsoft.com/office/drawing/2014/main" id="{263482B7-8058-45E6-8794-89CD4192F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5" y="2460"/>
                <a:ext cx="430" cy="502"/>
              </a:xfrm>
              <a:custGeom>
                <a:avLst/>
                <a:gdLst>
                  <a:gd name="T0" fmla="*/ 326 w 785"/>
                  <a:gd name="T1" fmla="*/ 0 h 919"/>
                  <a:gd name="T2" fmla="*/ 516 w 785"/>
                  <a:gd name="T3" fmla="*/ 363 h 919"/>
                  <a:gd name="T4" fmla="*/ 468 w 785"/>
                  <a:gd name="T5" fmla="*/ 427 h 919"/>
                  <a:gd name="T6" fmla="*/ 363 w 785"/>
                  <a:gd name="T7" fmla="*/ 603 h 919"/>
                  <a:gd name="T8" fmla="*/ 500 w 785"/>
                  <a:gd name="T9" fmla="*/ 475 h 919"/>
                  <a:gd name="T10" fmla="*/ 549 w 785"/>
                  <a:gd name="T11" fmla="*/ 421 h 919"/>
                  <a:gd name="T12" fmla="*/ 785 w 785"/>
                  <a:gd name="T13" fmla="*/ 784 h 919"/>
                  <a:gd name="T14" fmla="*/ 651 w 785"/>
                  <a:gd name="T15" fmla="*/ 919 h 919"/>
                  <a:gd name="T16" fmla="*/ 6 w 785"/>
                  <a:gd name="T17" fmla="*/ 378 h 919"/>
                  <a:gd name="T18" fmla="*/ 326 w 785"/>
                  <a:gd name="T19" fmla="*/ 0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5" h="919">
                    <a:moveTo>
                      <a:pt x="326" y="0"/>
                    </a:moveTo>
                    <a:cubicBezTo>
                      <a:pt x="384" y="118"/>
                      <a:pt x="449" y="243"/>
                      <a:pt x="516" y="363"/>
                    </a:cubicBezTo>
                    <a:cubicBezTo>
                      <a:pt x="499" y="385"/>
                      <a:pt x="483" y="407"/>
                      <a:pt x="468" y="427"/>
                    </a:cubicBezTo>
                    <a:cubicBezTo>
                      <a:pt x="398" y="524"/>
                      <a:pt x="352" y="594"/>
                      <a:pt x="363" y="603"/>
                    </a:cubicBezTo>
                    <a:cubicBezTo>
                      <a:pt x="371" y="609"/>
                      <a:pt x="425" y="556"/>
                      <a:pt x="500" y="475"/>
                    </a:cubicBezTo>
                    <a:cubicBezTo>
                      <a:pt x="516" y="458"/>
                      <a:pt x="532" y="440"/>
                      <a:pt x="549" y="421"/>
                    </a:cubicBezTo>
                    <a:cubicBezTo>
                      <a:pt x="629" y="560"/>
                      <a:pt x="710" y="689"/>
                      <a:pt x="785" y="784"/>
                    </a:cubicBezTo>
                    <a:cubicBezTo>
                      <a:pt x="722" y="866"/>
                      <a:pt x="672" y="919"/>
                      <a:pt x="651" y="919"/>
                    </a:cubicBezTo>
                    <a:cubicBezTo>
                      <a:pt x="463" y="918"/>
                      <a:pt x="26" y="557"/>
                      <a:pt x="6" y="378"/>
                    </a:cubicBezTo>
                    <a:cubicBezTo>
                      <a:pt x="0" y="330"/>
                      <a:pt x="155" y="166"/>
                      <a:pt x="326" y="0"/>
                    </a:cubicBezTo>
                    <a:close/>
                  </a:path>
                </a:pathLst>
              </a:custGeom>
              <a:solidFill>
                <a:srgbClr val="1B33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1" name="Freeform 49">
                <a:extLst>
                  <a:ext uri="{FF2B5EF4-FFF2-40B4-BE49-F238E27FC236}">
                    <a16:creationId xmlns:a16="http://schemas.microsoft.com/office/drawing/2014/main" id="{EE5AAC3D-3209-4B7B-A086-4B4B2BA22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2" y="2627"/>
                <a:ext cx="614" cy="548"/>
              </a:xfrm>
              <a:custGeom>
                <a:avLst/>
                <a:gdLst>
                  <a:gd name="T0" fmla="*/ 176 w 1122"/>
                  <a:gd name="T1" fmla="*/ 0 h 1004"/>
                  <a:gd name="T2" fmla="*/ 1122 w 1122"/>
                  <a:gd name="T3" fmla="*/ 793 h 1004"/>
                  <a:gd name="T4" fmla="*/ 1021 w 1122"/>
                  <a:gd name="T5" fmla="*/ 914 h 1004"/>
                  <a:gd name="T6" fmla="*/ 410 w 1122"/>
                  <a:gd name="T7" fmla="*/ 682 h 1004"/>
                  <a:gd name="T8" fmla="*/ 75 w 1122"/>
                  <a:gd name="T9" fmla="*/ 120 h 1004"/>
                  <a:gd name="T10" fmla="*/ 176 w 1122"/>
                  <a:gd name="T11" fmla="*/ 0 h 1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22" h="1004">
                    <a:moveTo>
                      <a:pt x="176" y="0"/>
                    </a:moveTo>
                    <a:cubicBezTo>
                      <a:pt x="1122" y="793"/>
                      <a:pt x="1122" y="793"/>
                      <a:pt x="1122" y="793"/>
                    </a:cubicBezTo>
                    <a:cubicBezTo>
                      <a:pt x="1021" y="914"/>
                      <a:pt x="1021" y="914"/>
                      <a:pt x="1021" y="914"/>
                    </a:cubicBezTo>
                    <a:cubicBezTo>
                      <a:pt x="946" y="1004"/>
                      <a:pt x="699" y="924"/>
                      <a:pt x="410" y="682"/>
                    </a:cubicBezTo>
                    <a:cubicBezTo>
                      <a:pt x="105" y="426"/>
                      <a:pt x="0" y="210"/>
                      <a:pt x="75" y="120"/>
                    </a:cubicBezTo>
                    <a:cubicBezTo>
                      <a:pt x="92" y="100"/>
                      <a:pt x="176" y="0"/>
                      <a:pt x="176" y="0"/>
                    </a:cubicBezTo>
                    <a:close/>
                  </a:path>
                </a:pathLst>
              </a:custGeom>
              <a:solidFill>
                <a:srgbClr val="4470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2" name="Freeform 50">
                <a:extLst>
                  <a:ext uri="{FF2B5EF4-FFF2-40B4-BE49-F238E27FC236}">
                    <a16:creationId xmlns:a16="http://schemas.microsoft.com/office/drawing/2014/main" id="{1F56ABCF-2BC2-41A6-8E90-EB4A758B57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9" y="2610"/>
                <a:ext cx="490" cy="441"/>
              </a:xfrm>
              <a:custGeom>
                <a:avLst/>
                <a:gdLst>
                  <a:gd name="T0" fmla="*/ 420 w 896"/>
                  <a:gd name="T1" fmla="*/ 86 h 808"/>
                  <a:gd name="T2" fmla="*/ 783 w 896"/>
                  <a:gd name="T3" fmla="*/ 390 h 808"/>
                  <a:gd name="T4" fmla="*/ 859 w 896"/>
                  <a:gd name="T5" fmla="*/ 651 h 808"/>
                  <a:gd name="T6" fmla="*/ 830 w 896"/>
                  <a:gd name="T7" fmla="*/ 808 h 808"/>
                  <a:gd name="T8" fmla="*/ 0 w 896"/>
                  <a:gd name="T9" fmla="*/ 111 h 808"/>
                  <a:gd name="T10" fmla="*/ 150 w 896"/>
                  <a:gd name="T11" fmla="*/ 56 h 808"/>
                  <a:gd name="T12" fmla="*/ 420 w 896"/>
                  <a:gd name="T13" fmla="*/ 86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96" h="808">
                    <a:moveTo>
                      <a:pt x="420" y="86"/>
                    </a:moveTo>
                    <a:cubicBezTo>
                      <a:pt x="512" y="160"/>
                      <a:pt x="693" y="313"/>
                      <a:pt x="783" y="390"/>
                    </a:cubicBezTo>
                    <a:cubicBezTo>
                      <a:pt x="838" y="439"/>
                      <a:pt x="896" y="541"/>
                      <a:pt x="859" y="651"/>
                    </a:cubicBezTo>
                    <a:cubicBezTo>
                      <a:pt x="830" y="808"/>
                      <a:pt x="830" y="808"/>
                      <a:pt x="830" y="808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252" y="0"/>
                      <a:pt x="362" y="39"/>
                      <a:pt x="420" y="86"/>
                    </a:cubicBezTo>
                    <a:close/>
                  </a:path>
                </a:pathLst>
              </a:custGeom>
              <a:solidFill>
                <a:srgbClr val="4470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3" name="Freeform 51">
                <a:extLst>
                  <a:ext uri="{FF2B5EF4-FFF2-40B4-BE49-F238E27FC236}">
                    <a16:creationId xmlns:a16="http://schemas.microsoft.com/office/drawing/2014/main" id="{7E7A7239-7E27-4D36-9211-068044E882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4" y="2684"/>
                <a:ext cx="407" cy="405"/>
              </a:xfrm>
              <a:custGeom>
                <a:avLst/>
                <a:gdLst>
                  <a:gd name="T0" fmla="*/ 126 w 743"/>
                  <a:gd name="T1" fmla="*/ 179 h 741"/>
                  <a:gd name="T2" fmla="*/ 599 w 743"/>
                  <a:gd name="T3" fmla="*/ 114 h 741"/>
                  <a:gd name="T4" fmla="*/ 617 w 743"/>
                  <a:gd name="T5" fmla="*/ 591 h 741"/>
                  <a:gd name="T6" fmla="*/ 172 w 743"/>
                  <a:gd name="T7" fmla="*/ 623 h 741"/>
                  <a:gd name="T8" fmla="*/ 126 w 743"/>
                  <a:gd name="T9" fmla="*/ 179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3" h="741">
                    <a:moveTo>
                      <a:pt x="126" y="179"/>
                    </a:moveTo>
                    <a:cubicBezTo>
                      <a:pt x="251" y="29"/>
                      <a:pt x="463" y="0"/>
                      <a:pt x="599" y="114"/>
                    </a:cubicBezTo>
                    <a:cubicBezTo>
                      <a:pt x="735" y="228"/>
                      <a:pt x="743" y="442"/>
                      <a:pt x="617" y="591"/>
                    </a:cubicBezTo>
                    <a:cubicBezTo>
                      <a:pt x="491" y="741"/>
                      <a:pt x="307" y="737"/>
                      <a:pt x="172" y="623"/>
                    </a:cubicBezTo>
                    <a:cubicBezTo>
                      <a:pt x="36" y="509"/>
                      <a:pt x="0" y="329"/>
                      <a:pt x="126" y="179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" name="Freeform 52">
                <a:extLst>
                  <a:ext uri="{FF2B5EF4-FFF2-40B4-BE49-F238E27FC236}">
                    <a16:creationId xmlns:a16="http://schemas.microsoft.com/office/drawing/2014/main" id="{B158B3FC-FF73-4F0B-B547-E7B5ADB0A1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9" y="2723"/>
                <a:ext cx="442" cy="405"/>
              </a:xfrm>
              <a:custGeom>
                <a:avLst/>
                <a:gdLst>
                  <a:gd name="T0" fmla="*/ 142 w 806"/>
                  <a:gd name="T1" fmla="*/ 134 h 741"/>
                  <a:gd name="T2" fmla="*/ 365 w 806"/>
                  <a:gd name="T3" fmla="*/ 4 h 741"/>
                  <a:gd name="T4" fmla="*/ 457 w 806"/>
                  <a:gd name="T5" fmla="*/ 57 h 741"/>
                  <a:gd name="T6" fmla="*/ 637 w 806"/>
                  <a:gd name="T7" fmla="*/ 74 h 741"/>
                  <a:gd name="T8" fmla="*/ 664 w 806"/>
                  <a:gd name="T9" fmla="*/ 572 h 741"/>
                  <a:gd name="T10" fmla="*/ 223 w 806"/>
                  <a:gd name="T11" fmla="*/ 568 h 741"/>
                  <a:gd name="T12" fmla="*/ 142 w 806"/>
                  <a:gd name="T13" fmla="*/ 134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6" h="741">
                    <a:moveTo>
                      <a:pt x="142" y="134"/>
                    </a:moveTo>
                    <a:cubicBezTo>
                      <a:pt x="208" y="54"/>
                      <a:pt x="292" y="0"/>
                      <a:pt x="365" y="4"/>
                    </a:cubicBezTo>
                    <a:cubicBezTo>
                      <a:pt x="400" y="6"/>
                      <a:pt x="419" y="49"/>
                      <a:pt x="457" y="57"/>
                    </a:cubicBezTo>
                    <a:cubicBezTo>
                      <a:pt x="510" y="69"/>
                      <a:pt x="552" y="4"/>
                      <a:pt x="637" y="74"/>
                    </a:cubicBezTo>
                    <a:cubicBezTo>
                      <a:pt x="783" y="194"/>
                      <a:pt x="806" y="403"/>
                      <a:pt x="664" y="572"/>
                    </a:cubicBezTo>
                    <a:cubicBezTo>
                      <a:pt x="522" y="741"/>
                      <a:pt x="367" y="689"/>
                      <a:pt x="223" y="568"/>
                    </a:cubicBezTo>
                    <a:cubicBezTo>
                      <a:pt x="78" y="447"/>
                      <a:pt x="0" y="303"/>
                      <a:pt x="142" y="134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" name="Freeform 53">
                <a:extLst>
                  <a:ext uri="{FF2B5EF4-FFF2-40B4-BE49-F238E27FC236}">
                    <a16:creationId xmlns:a16="http://schemas.microsoft.com/office/drawing/2014/main" id="{16413F5E-70EB-47F8-8FC2-807885A30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5" y="2743"/>
                <a:ext cx="374" cy="361"/>
              </a:xfrm>
              <a:custGeom>
                <a:avLst/>
                <a:gdLst>
                  <a:gd name="T0" fmla="*/ 127 w 684"/>
                  <a:gd name="T1" fmla="*/ 177 h 661"/>
                  <a:gd name="T2" fmla="*/ 314 w 684"/>
                  <a:gd name="T3" fmla="*/ 49 h 661"/>
                  <a:gd name="T4" fmla="*/ 390 w 684"/>
                  <a:gd name="T5" fmla="*/ 69 h 661"/>
                  <a:gd name="T6" fmla="*/ 533 w 684"/>
                  <a:gd name="T7" fmla="*/ 62 h 661"/>
                  <a:gd name="T8" fmla="*/ 557 w 684"/>
                  <a:gd name="T9" fmla="*/ 510 h 661"/>
                  <a:gd name="T10" fmla="*/ 161 w 684"/>
                  <a:gd name="T11" fmla="*/ 506 h 661"/>
                  <a:gd name="T12" fmla="*/ 127 w 684"/>
                  <a:gd name="T13" fmla="*/ 177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4" h="661">
                    <a:moveTo>
                      <a:pt x="127" y="177"/>
                    </a:moveTo>
                    <a:cubicBezTo>
                      <a:pt x="187" y="105"/>
                      <a:pt x="248" y="45"/>
                      <a:pt x="314" y="49"/>
                    </a:cubicBezTo>
                    <a:cubicBezTo>
                      <a:pt x="345" y="51"/>
                      <a:pt x="356" y="62"/>
                      <a:pt x="390" y="69"/>
                    </a:cubicBezTo>
                    <a:cubicBezTo>
                      <a:pt x="437" y="79"/>
                      <a:pt x="456" y="0"/>
                      <a:pt x="533" y="62"/>
                    </a:cubicBezTo>
                    <a:cubicBezTo>
                      <a:pt x="663" y="170"/>
                      <a:pt x="684" y="358"/>
                      <a:pt x="557" y="510"/>
                    </a:cubicBezTo>
                    <a:cubicBezTo>
                      <a:pt x="430" y="661"/>
                      <a:pt x="290" y="614"/>
                      <a:pt x="161" y="506"/>
                    </a:cubicBezTo>
                    <a:cubicBezTo>
                      <a:pt x="31" y="397"/>
                      <a:pt x="0" y="328"/>
                      <a:pt x="127" y="177"/>
                    </a:cubicBezTo>
                    <a:close/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" name="Freeform 54">
                <a:extLst>
                  <a:ext uri="{FF2B5EF4-FFF2-40B4-BE49-F238E27FC236}">
                    <a16:creationId xmlns:a16="http://schemas.microsoft.com/office/drawing/2014/main" id="{E75F928F-EF38-4B9F-AB97-0B873C8BDA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" y="2713"/>
                <a:ext cx="81" cy="80"/>
              </a:xfrm>
              <a:custGeom>
                <a:avLst/>
                <a:gdLst>
                  <a:gd name="T0" fmla="*/ 141 w 147"/>
                  <a:gd name="T1" fmla="*/ 61 h 147"/>
                  <a:gd name="T2" fmla="*/ 126 w 147"/>
                  <a:gd name="T3" fmla="*/ 147 h 147"/>
                  <a:gd name="T4" fmla="*/ 0 w 147"/>
                  <a:gd name="T5" fmla="*/ 41 h 147"/>
                  <a:gd name="T6" fmla="*/ 82 w 147"/>
                  <a:gd name="T7" fmla="*/ 11 h 147"/>
                  <a:gd name="T8" fmla="*/ 141 w 147"/>
                  <a:gd name="T9" fmla="*/ 61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7" h="147">
                    <a:moveTo>
                      <a:pt x="141" y="61"/>
                    </a:moveTo>
                    <a:cubicBezTo>
                      <a:pt x="126" y="147"/>
                      <a:pt x="126" y="147"/>
                      <a:pt x="126" y="147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114" y="0"/>
                      <a:pt x="147" y="27"/>
                      <a:pt x="141" y="61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" name="Freeform 55">
                <a:extLst>
                  <a:ext uri="{FF2B5EF4-FFF2-40B4-BE49-F238E27FC236}">
                    <a16:creationId xmlns:a16="http://schemas.microsoft.com/office/drawing/2014/main" id="{0ACBDDBE-62B5-4CC6-966D-5C280ABF8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4" y="483"/>
                <a:ext cx="539" cy="661"/>
              </a:xfrm>
              <a:custGeom>
                <a:avLst/>
                <a:gdLst>
                  <a:gd name="T0" fmla="*/ 829 w 986"/>
                  <a:gd name="T1" fmla="*/ 1211 h 1211"/>
                  <a:gd name="T2" fmla="*/ 547 w 986"/>
                  <a:gd name="T3" fmla="*/ 1211 h 1211"/>
                  <a:gd name="T4" fmla="*/ 522 w 986"/>
                  <a:gd name="T5" fmla="*/ 383 h 1211"/>
                  <a:gd name="T6" fmla="*/ 490 w 986"/>
                  <a:gd name="T7" fmla="*/ 181 h 1211"/>
                  <a:gd name="T8" fmla="*/ 467 w 986"/>
                  <a:gd name="T9" fmla="*/ 367 h 1211"/>
                  <a:gd name="T10" fmla="*/ 454 w 986"/>
                  <a:gd name="T11" fmla="*/ 1211 h 1211"/>
                  <a:gd name="T12" fmla="*/ 145 w 986"/>
                  <a:gd name="T13" fmla="*/ 1211 h 1211"/>
                  <a:gd name="T14" fmla="*/ 66 w 986"/>
                  <a:gd name="T15" fmla="*/ 124 h 1211"/>
                  <a:gd name="T16" fmla="*/ 908 w 986"/>
                  <a:gd name="T17" fmla="*/ 124 h 1211"/>
                  <a:gd name="T18" fmla="*/ 829 w 986"/>
                  <a:gd name="T19" fmla="*/ 1211 h 1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86" h="1211">
                    <a:moveTo>
                      <a:pt x="829" y="1211"/>
                    </a:moveTo>
                    <a:cubicBezTo>
                      <a:pt x="547" y="1211"/>
                      <a:pt x="547" y="1211"/>
                      <a:pt x="547" y="1211"/>
                    </a:cubicBezTo>
                    <a:cubicBezTo>
                      <a:pt x="547" y="1211"/>
                      <a:pt x="543" y="683"/>
                      <a:pt x="522" y="383"/>
                    </a:cubicBezTo>
                    <a:cubicBezTo>
                      <a:pt x="514" y="264"/>
                      <a:pt x="504" y="181"/>
                      <a:pt x="490" y="181"/>
                    </a:cubicBezTo>
                    <a:cubicBezTo>
                      <a:pt x="480" y="181"/>
                      <a:pt x="472" y="257"/>
                      <a:pt x="467" y="367"/>
                    </a:cubicBezTo>
                    <a:cubicBezTo>
                      <a:pt x="453" y="664"/>
                      <a:pt x="454" y="1211"/>
                      <a:pt x="454" y="1211"/>
                    </a:cubicBezTo>
                    <a:cubicBezTo>
                      <a:pt x="145" y="1211"/>
                      <a:pt x="145" y="1211"/>
                      <a:pt x="145" y="1211"/>
                    </a:cubicBezTo>
                    <a:cubicBezTo>
                      <a:pt x="145" y="1211"/>
                      <a:pt x="0" y="178"/>
                      <a:pt x="66" y="124"/>
                    </a:cubicBezTo>
                    <a:cubicBezTo>
                      <a:pt x="210" y="4"/>
                      <a:pt x="777" y="0"/>
                      <a:pt x="908" y="124"/>
                    </a:cubicBezTo>
                    <a:cubicBezTo>
                      <a:pt x="986" y="198"/>
                      <a:pt x="829" y="1211"/>
                      <a:pt x="829" y="1211"/>
                    </a:cubicBezTo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" name="Freeform 56">
                <a:extLst>
                  <a:ext uri="{FF2B5EF4-FFF2-40B4-BE49-F238E27FC236}">
                    <a16:creationId xmlns:a16="http://schemas.microsoft.com/office/drawing/2014/main" id="{3E45DEE8-5703-4681-8B7A-92708FAFC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9" y="483"/>
                <a:ext cx="491" cy="338"/>
              </a:xfrm>
              <a:custGeom>
                <a:avLst/>
                <a:gdLst>
                  <a:gd name="T0" fmla="*/ 860 w 897"/>
                  <a:gd name="T1" fmla="*/ 619 h 619"/>
                  <a:gd name="T2" fmla="*/ 481 w 897"/>
                  <a:gd name="T3" fmla="*/ 463 h 619"/>
                  <a:gd name="T4" fmla="*/ 476 w 897"/>
                  <a:gd name="T5" fmla="*/ 383 h 619"/>
                  <a:gd name="T6" fmla="*/ 444 w 897"/>
                  <a:gd name="T7" fmla="*/ 181 h 619"/>
                  <a:gd name="T8" fmla="*/ 421 w 897"/>
                  <a:gd name="T9" fmla="*/ 368 h 619"/>
                  <a:gd name="T10" fmla="*/ 418 w 897"/>
                  <a:gd name="T11" fmla="*/ 440 h 619"/>
                  <a:gd name="T12" fmla="*/ 4 w 897"/>
                  <a:gd name="T13" fmla="*/ 313 h 619"/>
                  <a:gd name="T14" fmla="*/ 20 w 897"/>
                  <a:gd name="T15" fmla="*/ 124 h 619"/>
                  <a:gd name="T16" fmla="*/ 862 w 897"/>
                  <a:gd name="T17" fmla="*/ 124 h 619"/>
                  <a:gd name="T18" fmla="*/ 860 w 897"/>
                  <a:gd name="T19" fmla="*/ 619 h 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97" h="619">
                    <a:moveTo>
                      <a:pt x="860" y="619"/>
                    </a:moveTo>
                    <a:cubicBezTo>
                      <a:pt x="739" y="566"/>
                      <a:pt x="609" y="512"/>
                      <a:pt x="481" y="463"/>
                    </a:cubicBezTo>
                    <a:cubicBezTo>
                      <a:pt x="480" y="435"/>
                      <a:pt x="478" y="408"/>
                      <a:pt x="476" y="383"/>
                    </a:cubicBezTo>
                    <a:cubicBezTo>
                      <a:pt x="468" y="264"/>
                      <a:pt x="458" y="181"/>
                      <a:pt x="444" y="181"/>
                    </a:cubicBezTo>
                    <a:cubicBezTo>
                      <a:pt x="434" y="181"/>
                      <a:pt x="427" y="257"/>
                      <a:pt x="421" y="368"/>
                    </a:cubicBezTo>
                    <a:cubicBezTo>
                      <a:pt x="420" y="390"/>
                      <a:pt x="419" y="414"/>
                      <a:pt x="418" y="440"/>
                    </a:cubicBezTo>
                    <a:cubicBezTo>
                      <a:pt x="268" y="384"/>
                      <a:pt x="123" y="338"/>
                      <a:pt x="4" y="313"/>
                    </a:cubicBezTo>
                    <a:cubicBezTo>
                      <a:pt x="0" y="210"/>
                      <a:pt x="4" y="137"/>
                      <a:pt x="20" y="124"/>
                    </a:cubicBezTo>
                    <a:cubicBezTo>
                      <a:pt x="164" y="4"/>
                      <a:pt x="732" y="0"/>
                      <a:pt x="862" y="124"/>
                    </a:cubicBezTo>
                    <a:cubicBezTo>
                      <a:pt x="897" y="157"/>
                      <a:pt x="885" y="382"/>
                      <a:pt x="860" y="619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" name="Freeform 57">
                <a:extLst>
                  <a:ext uri="{FF2B5EF4-FFF2-40B4-BE49-F238E27FC236}">
                    <a16:creationId xmlns:a16="http://schemas.microsoft.com/office/drawing/2014/main" id="{CA8A355B-9D21-439E-970A-3C7BF16F38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4" y="307"/>
                <a:ext cx="677" cy="203"/>
              </a:xfrm>
              <a:custGeom>
                <a:avLst/>
                <a:gdLst>
                  <a:gd name="T0" fmla="*/ 1236 w 1236"/>
                  <a:gd name="T1" fmla="*/ 372 h 372"/>
                  <a:gd name="T2" fmla="*/ 0 w 1236"/>
                  <a:gd name="T3" fmla="*/ 372 h 372"/>
                  <a:gd name="T4" fmla="*/ 0 w 1236"/>
                  <a:gd name="T5" fmla="*/ 215 h 372"/>
                  <a:gd name="T6" fmla="*/ 618 w 1236"/>
                  <a:gd name="T7" fmla="*/ 0 h 372"/>
                  <a:gd name="T8" fmla="*/ 1236 w 1236"/>
                  <a:gd name="T9" fmla="*/ 215 h 372"/>
                  <a:gd name="T10" fmla="*/ 1236 w 1236"/>
                  <a:gd name="T11" fmla="*/ 372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36" h="372">
                    <a:moveTo>
                      <a:pt x="1236" y="372"/>
                    </a:moveTo>
                    <a:cubicBezTo>
                      <a:pt x="0" y="372"/>
                      <a:pt x="0" y="372"/>
                      <a:pt x="0" y="372"/>
                    </a:cubicBezTo>
                    <a:cubicBezTo>
                      <a:pt x="0" y="215"/>
                      <a:pt x="0" y="215"/>
                      <a:pt x="0" y="215"/>
                    </a:cubicBezTo>
                    <a:cubicBezTo>
                      <a:pt x="0" y="98"/>
                      <a:pt x="241" y="0"/>
                      <a:pt x="618" y="0"/>
                    </a:cubicBezTo>
                    <a:cubicBezTo>
                      <a:pt x="1016" y="0"/>
                      <a:pt x="1236" y="98"/>
                      <a:pt x="1236" y="215"/>
                    </a:cubicBezTo>
                    <a:cubicBezTo>
                      <a:pt x="1236" y="241"/>
                      <a:pt x="1236" y="372"/>
                      <a:pt x="1236" y="372"/>
                    </a:cubicBez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" name="Freeform 58">
                <a:extLst>
                  <a:ext uri="{FF2B5EF4-FFF2-40B4-BE49-F238E27FC236}">
                    <a16:creationId xmlns:a16="http://schemas.microsoft.com/office/drawing/2014/main" id="{DC4A0D5B-0F11-490A-9B0A-FDDD55100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457"/>
                <a:ext cx="594" cy="159"/>
              </a:xfrm>
              <a:custGeom>
                <a:avLst/>
                <a:gdLst>
                  <a:gd name="T0" fmla="*/ 779 w 1084"/>
                  <a:gd name="T1" fmla="*/ 290 h 292"/>
                  <a:gd name="T2" fmla="*/ 305 w 1084"/>
                  <a:gd name="T3" fmla="*/ 290 h 292"/>
                  <a:gd name="T4" fmla="*/ 79 w 1084"/>
                  <a:gd name="T5" fmla="*/ 139 h 292"/>
                  <a:gd name="T6" fmla="*/ 0 w 1084"/>
                  <a:gd name="T7" fmla="*/ 0 h 292"/>
                  <a:gd name="T8" fmla="*/ 1084 w 1084"/>
                  <a:gd name="T9" fmla="*/ 0 h 292"/>
                  <a:gd name="T10" fmla="*/ 1004 w 1084"/>
                  <a:gd name="T11" fmla="*/ 139 h 292"/>
                  <a:gd name="T12" fmla="*/ 779 w 1084"/>
                  <a:gd name="T13" fmla="*/ 290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4" h="292">
                    <a:moveTo>
                      <a:pt x="779" y="290"/>
                    </a:moveTo>
                    <a:cubicBezTo>
                      <a:pt x="660" y="292"/>
                      <a:pt x="423" y="292"/>
                      <a:pt x="305" y="290"/>
                    </a:cubicBezTo>
                    <a:cubicBezTo>
                      <a:pt x="231" y="289"/>
                      <a:pt x="121" y="248"/>
                      <a:pt x="79" y="13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84" y="0"/>
                      <a:pt x="1084" y="0"/>
                      <a:pt x="1084" y="0"/>
                    </a:cubicBezTo>
                    <a:cubicBezTo>
                      <a:pt x="1004" y="139"/>
                      <a:pt x="1004" y="139"/>
                      <a:pt x="1004" y="139"/>
                    </a:cubicBezTo>
                    <a:cubicBezTo>
                      <a:pt x="962" y="248"/>
                      <a:pt x="852" y="289"/>
                      <a:pt x="779" y="290"/>
                    </a:cubicBez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" name="Oval 59">
                <a:extLst>
                  <a:ext uri="{FF2B5EF4-FFF2-40B4-BE49-F238E27FC236}">
                    <a16:creationId xmlns:a16="http://schemas.microsoft.com/office/drawing/2014/main" id="{5CDC4DDA-8AAE-415B-9754-A891090942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4" y="276"/>
                <a:ext cx="351" cy="363"/>
              </a:xfrm>
              <a:prstGeom prst="ellipse">
                <a:avLst/>
              </a:pr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" name="Freeform 60">
                <a:extLst>
                  <a:ext uri="{FF2B5EF4-FFF2-40B4-BE49-F238E27FC236}">
                    <a16:creationId xmlns:a16="http://schemas.microsoft.com/office/drawing/2014/main" id="{4B8D1EE1-05D8-4061-86E9-A3E4EBF86C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0" y="616"/>
                <a:ext cx="60" cy="64"/>
              </a:xfrm>
              <a:custGeom>
                <a:avLst/>
                <a:gdLst>
                  <a:gd name="T0" fmla="*/ 29 w 109"/>
                  <a:gd name="T1" fmla="*/ 87 h 117"/>
                  <a:gd name="T2" fmla="*/ 0 w 109"/>
                  <a:gd name="T3" fmla="*/ 0 h 117"/>
                  <a:gd name="T4" fmla="*/ 109 w 109"/>
                  <a:gd name="T5" fmla="*/ 0 h 117"/>
                  <a:gd name="T6" fmla="*/ 80 w 109"/>
                  <a:gd name="T7" fmla="*/ 87 h 117"/>
                  <a:gd name="T8" fmla="*/ 29 w 109"/>
                  <a:gd name="T9" fmla="*/ 8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117">
                    <a:moveTo>
                      <a:pt x="29" y="87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80" y="87"/>
                      <a:pt x="80" y="87"/>
                      <a:pt x="80" y="87"/>
                    </a:cubicBezTo>
                    <a:cubicBezTo>
                      <a:pt x="69" y="117"/>
                      <a:pt x="40" y="117"/>
                      <a:pt x="29" y="87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" name="Freeform 61">
                <a:extLst>
                  <a:ext uri="{FF2B5EF4-FFF2-40B4-BE49-F238E27FC236}">
                    <a16:creationId xmlns:a16="http://schemas.microsoft.com/office/drawing/2014/main" id="{E0D4A6BA-7474-4B01-8437-09FEB68DE2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265"/>
                <a:ext cx="373" cy="369"/>
              </a:xfrm>
              <a:custGeom>
                <a:avLst/>
                <a:gdLst>
                  <a:gd name="T0" fmla="*/ 682 w 682"/>
                  <a:gd name="T1" fmla="*/ 280 h 676"/>
                  <a:gd name="T2" fmla="*/ 341 w 682"/>
                  <a:gd name="T3" fmla="*/ 0 h 676"/>
                  <a:gd name="T4" fmla="*/ 0 w 682"/>
                  <a:gd name="T5" fmla="*/ 280 h 676"/>
                  <a:gd name="T6" fmla="*/ 219 w 682"/>
                  <a:gd name="T7" fmla="*/ 610 h 676"/>
                  <a:gd name="T8" fmla="*/ 219 w 682"/>
                  <a:gd name="T9" fmla="*/ 610 h 676"/>
                  <a:gd name="T10" fmla="*/ 222 w 682"/>
                  <a:gd name="T11" fmla="*/ 611 h 676"/>
                  <a:gd name="T12" fmla="*/ 224 w 682"/>
                  <a:gd name="T13" fmla="*/ 612 h 676"/>
                  <a:gd name="T14" fmla="*/ 270 w 682"/>
                  <a:gd name="T15" fmla="*/ 676 h 676"/>
                  <a:gd name="T16" fmla="*/ 389 w 682"/>
                  <a:gd name="T17" fmla="*/ 623 h 676"/>
                  <a:gd name="T18" fmla="*/ 391 w 682"/>
                  <a:gd name="T19" fmla="*/ 623 h 676"/>
                  <a:gd name="T20" fmla="*/ 374 w 682"/>
                  <a:gd name="T21" fmla="*/ 652 h 676"/>
                  <a:gd name="T22" fmla="*/ 473 w 682"/>
                  <a:gd name="T23" fmla="*/ 599 h 676"/>
                  <a:gd name="T24" fmla="*/ 473 w 682"/>
                  <a:gd name="T25" fmla="*/ 627 h 676"/>
                  <a:gd name="T26" fmla="*/ 628 w 682"/>
                  <a:gd name="T27" fmla="*/ 489 h 676"/>
                  <a:gd name="T28" fmla="*/ 627 w 682"/>
                  <a:gd name="T29" fmla="*/ 489 h 676"/>
                  <a:gd name="T30" fmla="*/ 682 w 682"/>
                  <a:gd name="T31" fmla="*/ 280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82" h="676">
                    <a:moveTo>
                      <a:pt x="682" y="280"/>
                    </a:moveTo>
                    <a:cubicBezTo>
                      <a:pt x="682" y="59"/>
                      <a:pt x="530" y="0"/>
                      <a:pt x="341" y="0"/>
                    </a:cubicBezTo>
                    <a:cubicBezTo>
                      <a:pt x="153" y="0"/>
                      <a:pt x="0" y="59"/>
                      <a:pt x="0" y="280"/>
                    </a:cubicBezTo>
                    <a:cubicBezTo>
                      <a:pt x="0" y="450"/>
                      <a:pt x="91" y="566"/>
                      <a:pt x="219" y="610"/>
                    </a:cubicBezTo>
                    <a:cubicBezTo>
                      <a:pt x="219" y="610"/>
                      <a:pt x="219" y="610"/>
                      <a:pt x="219" y="610"/>
                    </a:cubicBezTo>
                    <a:cubicBezTo>
                      <a:pt x="219" y="610"/>
                      <a:pt x="220" y="610"/>
                      <a:pt x="222" y="611"/>
                    </a:cubicBezTo>
                    <a:cubicBezTo>
                      <a:pt x="223" y="611"/>
                      <a:pt x="224" y="611"/>
                      <a:pt x="224" y="612"/>
                    </a:cubicBezTo>
                    <a:cubicBezTo>
                      <a:pt x="243" y="618"/>
                      <a:pt x="303" y="642"/>
                      <a:pt x="270" y="676"/>
                    </a:cubicBezTo>
                    <a:cubicBezTo>
                      <a:pt x="389" y="623"/>
                      <a:pt x="389" y="623"/>
                      <a:pt x="389" y="623"/>
                    </a:cubicBezTo>
                    <a:cubicBezTo>
                      <a:pt x="390" y="623"/>
                      <a:pt x="390" y="623"/>
                      <a:pt x="391" y="623"/>
                    </a:cubicBezTo>
                    <a:cubicBezTo>
                      <a:pt x="392" y="624"/>
                      <a:pt x="396" y="629"/>
                      <a:pt x="374" y="652"/>
                    </a:cubicBezTo>
                    <a:cubicBezTo>
                      <a:pt x="407" y="656"/>
                      <a:pt x="473" y="599"/>
                      <a:pt x="473" y="599"/>
                    </a:cubicBezTo>
                    <a:cubicBezTo>
                      <a:pt x="473" y="599"/>
                      <a:pt x="483" y="608"/>
                      <a:pt x="473" y="627"/>
                    </a:cubicBezTo>
                    <a:cubicBezTo>
                      <a:pt x="541" y="602"/>
                      <a:pt x="628" y="489"/>
                      <a:pt x="628" y="489"/>
                    </a:cubicBezTo>
                    <a:cubicBezTo>
                      <a:pt x="627" y="489"/>
                      <a:pt x="627" y="489"/>
                      <a:pt x="627" y="489"/>
                    </a:cubicBezTo>
                    <a:cubicBezTo>
                      <a:pt x="664" y="439"/>
                      <a:pt x="682" y="362"/>
                      <a:pt x="682" y="280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" name="Freeform 62">
                <a:extLst>
                  <a:ext uri="{FF2B5EF4-FFF2-40B4-BE49-F238E27FC236}">
                    <a16:creationId xmlns:a16="http://schemas.microsoft.com/office/drawing/2014/main" id="{37BBF909-DFAC-47A1-92AB-4DA38E887F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5" y="287"/>
                <a:ext cx="321" cy="332"/>
              </a:xfrm>
              <a:custGeom>
                <a:avLst/>
                <a:gdLst>
                  <a:gd name="T0" fmla="*/ 580 w 585"/>
                  <a:gd name="T1" fmla="*/ 240 h 608"/>
                  <a:gd name="T2" fmla="*/ 300 w 585"/>
                  <a:gd name="T3" fmla="*/ 0 h 608"/>
                  <a:gd name="T4" fmla="*/ 0 w 585"/>
                  <a:gd name="T5" fmla="*/ 247 h 608"/>
                  <a:gd name="T6" fmla="*/ 193 w 585"/>
                  <a:gd name="T7" fmla="*/ 538 h 608"/>
                  <a:gd name="T8" fmla="*/ 193 w 585"/>
                  <a:gd name="T9" fmla="*/ 538 h 608"/>
                  <a:gd name="T10" fmla="*/ 195 w 585"/>
                  <a:gd name="T11" fmla="*/ 538 h 608"/>
                  <a:gd name="T12" fmla="*/ 197 w 585"/>
                  <a:gd name="T13" fmla="*/ 539 h 608"/>
                  <a:gd name="T14" fmla="*/ 255 w 585"/>
                  <a:gd name="T15" fmla="*/ 608 h 608"/>
                  <a:gd name="T16" fmla="*/ 377 w 585"/>
                  <a:gd name="T17" fmla="*/ 550 h 608"/>
                  <a:gd name="T18" fmla="*/ 364 w 585"/>
                  <a:gd name="T19" fmla="*/ 575 h 608"/>
                  <a:gd name="T20" fmla="*/ 451 w 585"/>
                  <a:gd name="T21" fmla="*/ 528 h 608"/>
                  <a:gd name="T22" fmla="*/ 451 w 585"/>
                  <a:gd name="T23" fmla="*/ 553 h 608"/>
                  <a:gd name="T24" fmla="*/ 580 w 585"/>
                  <a:gd name="T25" fmla="*/ 24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5" h="608">
                    <a:moveTo>
                      <a:pt x="580" y="240"/>
                    </a:moveTo>
                    <a:cubicBezTo>
                      <a:pt x="580" y="46"/>
                      <a:pt x="466" y="0"/>
                      <a:pt x="300" y="0"/>
                    </a:cubicBezTo>
                    <a:cubicBezTo>
                      <a:pt x="134" y="0"/>
                      <a:pt x="0" y="52"/>
                      <a:pt x="0" y="247"/>
                    </a:cubicBezTo>
                    <a:cubicBezTo>
                      <a:pt x="0" y="397"/>
                      <a:pt x="80" y="499"/>
                      <a:pt x="193" y="538"/>
                    </a:cubicBezTo>
                    <a:cubicBezTo>
                      <a:pt x="193" y="538"/>
                      <a:pt x="193" y="538"/>
                      <a:pt x="193" y="538"/>
                    </a:cubicBezTo>
                    <a:cubicBezTo>
                      <a:pt x="193" y="538"/>
                      <a:pt x="194" y="538"/>
                      <a:pt x="195" y="538"/>
                    </a:cubicBezTo>
                    <a:cubicBezTo>
                      <a:pt x="196" y="539"/>
                      <a:pt x="197" y="539"/>
                      <a:pt x="197" y="539"/>
                    </a:cubicBezTo>
                    <a:cubicBezTo>
                      <a:pt x="214" y="545"/>
                      <a:pt x="284" y="578"/>
                      <a:pt x="255" y="608"/>
                    </a:cubicBezTo>
                    <a:cubicBezTo>
                      <a:pt x="377" y="550"/>
                      <a:pt x="377" y="550"/>
                      <a:pt x="377" y="550"/>
                    </a:cubicBezTo>
                    <a:cubicBezTo>
                      <a:pt x="378" y="549"/>
                      <a:pt x="384" y="554"/>
                      <a:pt x="364" y="575"/>
                    </a:cubicBezTo>
                    <a:cubicBezTo>
                      <a:pt x="393" y="578"/>
                      <a:pt x="451" y="528"/>
                      <a:pt x="451" y="528"/>
                    </a:cubicBezTo>
                    <a:cubicBezTo>
                      <a:pt x="451" y="528"/>
                      <a:pt x="460" y="536"/>
                      <a:pt x="451" y="553"/>
                    </a:cubicBezTo>
                    <a:cubicBezTo>
                      <a:pt x="585" y="493"/>
                      <a:pt x="580" y="313"/>
                      <a:pt x="580" y="240"/>
                    </a:cubicBezTo>
                    <a:close/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5" name="Oval 63">
                <a:extLst>
                  <a:ext uri="{FF2B5EF4-FFF2-40B4-BE49-F238E27FC236}">
                    <a16:creationId xmlns:a16="http://schemas.microsoft.com/office/drawing/2014/main" id="{188D2966-B231-47E6-83EA-4D27EE129C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7" y="801"/>
                <a:ext cx="2066" cy="2060"/>
              </a:xfrm>
              <a:prstGeom prst="ellipse">
                <a:avLst/>
              </a:prstGeom>
              <a:solidFill>
                <a:srgbClr val="BF9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6" name="Freeform 64">
                <a:extLst>
                  <a:ext uri="{FF2B5EF4-FFF2-40B4-BE49-F238E27FC236}">
                    <a16:creationId xmlns:a16="http://schemas.microsoft.com/office/drawing/2014/main" id="{FEA5E51C-5F1F-42EF-899C-89BC399171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1" y="1900"/>
                <a:ext cx="164" cy="226"/>
              </a:xfrm>
              <a:custGeom>
                <a:avLst/>
                <a:gdLst>
                  <a:gd name="T0" fmla="*/ 57 w 299"/>
                  <a:gd name="T1" fmla="*/ 19 h 414"/>
                  <a:gd name="T2" fmla="*/ 57 w 299"/>
                  <a:gd name="T3" fmla="*/ 19 h 414"/>
                  <a:gd name="T4" fmla="*/ 163 w 299"/>
                  <a:gd name="T5" fmla="*/ 57 h 414"/>
                  <a:gd name="T6" fmla="*/ 299 w 299"/>
                  <a:gd name="T7" fmla="*/ 346 h 414"/>
                  <a:gd name="T8" fmla="*/ 154 w 299"/>
                  <a:gd name="T9" fmla="*/ 414 h 414"/>
                  <a:gd name="T10" fmla="*/ 18 w 299"/>
                  <a:gd name="T11" fmla="*/ 125 h 414"/>
                  <a:gd name="T12" fmla="*/ 57 w 299"/>
                  <a:gd name="T13" fmla="*/ 19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9" h="414">
                    <a:moveTo>
                      <a:pt x="57" y="19"/>
                    </a:moveTo>
                    <a:cubicBezTo>
                      <a:pt x="57" y="19"/>
                      <a:pt x="57" y="19"/>
                      <a:pt x="57" y="19"/>
                    </a:cubicBezTo>
                    <a:cubicBezTo>
                      <a:pt x="97" y="0"/>
                      <a:pt x="145" y="17"/>
                      <a:pt x="163" y="57"/>
                    </a:cubicBezTo>
                    <a:cubicBezTo>
                      <a:pt x="299" y="346"/>
                      <a:pt x="299" y="346"/>
                      <a:pt x="299" y="346"/>
                    </a:cubicBezTo>
                    <a:cubicBezTo>
                      <a:pt x="154" y="414"/>
                      <a:pt x="154" y="414"/>
                      <a:pt x="154" y="414"/>
                    </a:cubicBezTo>
                    <a:cubicBezTo>
                      <a:pt x="18" y="125"/>
                      <a:pt x="18" y="125"/>
                      <a:pt x="18" y="125"/>
                    </a:cubicBezTo>
                    <a:cubicBezTo>
                      <a:pt x="0" y="85"/>
                      <a:pt x="17" y="37"/>
                      <a:pt x="57" y="1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7" name="Freeform 65">
                <a:extLst>
                  <a:ext uri="{FF2B5EF4-FFF2-40B4-BE49-F238E27FC236}">
                    <a16:creationId xmlns:a16="http://schemas.microsoft.com/office/drawing/2014/main" id="{D8AA0FF3-A2EA-4F2E-9F53-D1719123F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063"/>
                <a:ext cx="74" cy="51"/>
              </a:xfrm>
              <a:custGeom>
                <a:avLst/>
                <a:gdLst>
                  <a:gd name="T0" fmla="*/ 0 w 74"/>
                  <a:gd name="T1" fmla="*/ 30 h 51"/>
                  <a:gd name="T2" fmla="*/ 64 w 74"/>
                  <a:gd name="T3" fmla="*/ 0 h 51"/>
                  <a:gd name="T4" fmla="*/ 74 w 74"/>
                  <a:gd name="T5" fmla="*/ 21 h 51"/>
                  <a:gd name="T6" fmla="*/ 11 w 74"/>
                  <a:gd name="T7" fmla="*/ 51 h 51"/>
                  <a:gd name="T8" fmla="*/ 0 w 74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51">
                    <a:moveTo>
                      <a:pt x="0" y="30"/>
                    </a:moveTo>
                    <a:lnTo>
                      <a:pt x="64" y="0"/>
                    </a:lnTo>
                    <a:lnTo>
                      <a:pt x="74" y="21"/>
                    </a:lnTo>
                    <a:lnTo>
                      <a:pt x="11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BCAA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8" name="Freeform 66">
                <a:extLst>
                  <a:ext uri="{FF2B5EF4-FFF2-40B4-BE49-F238E27FC236}">
                    <a16:creationId xmlns:a16="http://schemas.microsoft.com/office/drawing/2014/main" id="{D550EDB7-E310-4FB2-9BFF-750F190654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8" y="2038"/>
                <a:ext cx="73" cy="50"/>
              </a:xfrm>
              <a:custGeom>
                <a:avLst/>
                <a:gdLst>
                  <a:gd name="T0" fmla="*/ 0 w 73"/>
                  <a:gd name="T1" fmla="*/ 30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3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30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188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9" name="Freeform 67">
                <a:extLst>
                  <a:ext uri="{FF2B5EF4-FFF2-40B4-BE49-F238E27FC236}">
                    <a16:creationId xmlns:a16="http://schemas.microsoft.com/office/drawing/2014/main" id="{A866751A-FCA4-4826-B6B7-D0B1FB4F8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6" y="2012"/>
                <a:ext cx="73" cy="51"/>
              </a:xfrm>
              <a:custGeom>
                <a:avLst/>
                <a:gdLst>
                  <a:gd name="T0" fmla="*/ 0 w 73"/>
                  <a:gd name="T1" fmla="*/ 30 h 51"/>
                  <a:gd name="T2" fmla="*/ 63 w 73"/>
                  <a:gd name="T3" fmla="*/ 0 h 51"/>
                  <a:gd name="T4" fmla="*/ 73 w 73"/>
                  <a:gd name="T5" fmla="*/ 22 h 51"/>
                  <a:gd name="T6" fmla="*/ 10 w 73"/>
                  <a:gd name="T7" fmla="*/ 51 h 51"/>
                  <a:gd name="T8" fmla="*/ 0 w 73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1">
                    <a:moveTo>
                      <a:pt x="0" y="30"/>
                    </a:moveTo>
                    <a:lnTo>
                      <a:pt x="63" y="0"/>
                    </a:lnTo>
                    <a:lnTo>
                      <a:pt x="73" y="22"/>
                    </a:lnTo>
                    <a:lnTo>
                      <a:pt x="10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0" name="Freeform 68">
                <a:extLst>
                  <a:ext uri="{FF2B5EF4-FFF2-40B4-BE49-F238E27FC236}">
                    <a16:creationId xmlns:a16="http://schemas.microsoft.com/office/drawing/2014/main" id="{63E9E06C-CEEA-4FB3-8304-6D15523FB3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987"/>
                <a:ext cx="73" cy="51"/>
              </a:xfrm>
              <a:custGeom>
                <a:avLst/>
                <a:gdLst>
                  <a:gd name="T0" fmla="*/ 0 w 73"/>
                  <a:gd name="T1" fmla="*/ 30 h 51"/>
                  <a:gd name="T2" fmla="*/ 63 w 73"/>
                  <a:gd name="T3" fmla="*/ 0 h 51"/>
                  <a:gd name="T4" fmla="*/ 73 w 73"/>
                  <a:gd name="T5" fmla="*/ 22 h 51"/>
                  <a:gd name="T6" fmla="*/ 10 w 73"/>
                  <a:gd name="T7" fmla="*/ 51 h 51"/>
                  <a:gd name="T8" fmla="*/ 0 w 73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1">
                    <a:moveTo>
                      <a:pt x="0" y="30"/>
                    </a:moveTo>
                    <a:lnTo>
                      <a:pt x="63" y="0"/>
                    </a:lnTo>
                    <a:lnTo>
                      <a:pt x="73" y="22"/>
                    </a:lnTo>
                    <a:lnTo>
                      <a:pt x="10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1" name="Freeform 69">
                <a:extLst>
                  <a:ext uri="{FF2B5EF4-FFF2-40B4-BE49-F238E27FC236}">
                    <a16:creationId xmlns:a16="http://schemas.microsoft.com/office/drawing/2014/main" id="{3F5AB45A-6330-446D-A414-83F8338606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2" y="1962"/>
                <a:ext cx="73" cy="50"/>
              </a:xfrm>
              <a:custGeom>
                <a:avLst/>
                <a:gdLst>
                  <a:gd name="T0" fmla="*/ 0 w 73"/>
                  <a:gd name="T1" fmla="*/ 29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2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29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6D4C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2" name="Freeform 70">
                <a:extLst>
                  <a:ext uri="{FF2B5EF4-FFF2-40B4-BE49-F238E27FC236}">
                    <a16:creationId xmlns:a16="http://schemas.microsoft.com/office/drawing/2014/main" id="{4EA31756-E02D-44B9-B25A-CB91A1EACD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" y="1937"/>
                <a:ext cx="73" cy="50"/>
              </a:xfrm>
              <a:custGeom>
                <a:avLst/>
                <a:gdLst>
                  <a:gd name="T0" fmla="*/ 0 w 73"/>
                  <a:gd name="T1" fmla="*/ 29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2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29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5D4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" name="Freeform 71">
                <a:extLst>
                  <a:ext uri="{FF2B5EF4-FFF2-40B4-BE49-F238E27FC236}">
                    <a16:creationId xmlns:a16="http://schemas.microsoft.com/office/drawing/2014/main" id="{BB3C6AE9-E14B-4FA2-817A-AD687EB49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3" y="1922"/>
                <a:ext cx="18" cy="18"/>
              </a:xfrm>
              <a:custGeom>
                <a:avLst/>
                <a:gdLst>
                  <a:gd name="T0" fmla="*/ 3 w 34"/>
                  <a:gd name="T1" fmla="*/ 23 h 34"/>
                  <a:gd name="T2" fmla="*/ 10 w 34"/>
                  <a:gd name="T3" fmla="*/ 3 h 34"/>
                  <a:gd name="T4" fmla="*/ 30 w 34"/>
                  <a:gd name="T5" fmla="*/ 10 h 34"/>
                  <a:gd name="T6" fmla="*/ 23 w 34"/>
                  <a:gd name="T7" fmla="*/ 30 h 34"/>
                  <a:gd name="T8" fmla="*/ 3 w 34"/>
                  <a:gd name="T9" fmla="*/ 2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3" y="23"/>
                    </a:moveTo>
                    <a:cubicBezTo>
                      <a:pt x="0" y="16"/>
                      <a:pt x="3" y="7"/>
                      <a:pt x="10" y="3"/>
                    </a:cubicBezTo>
                    <a:cubicBezTo>
                      <a:pt x="18" y="0"/>
                      <a:pt x="27" y="3"/>
                      <a:pt x="30" y="10"/>
                    </a:cubicBezTo>
                    <a:cubicBezTo>
                      <a:pt x="34" y="18"/>
                      <a:pt x="30" y="27"/>
                      <a:pt x="23" y="30"/>
                    </a:cubicBezTo>
                    <a:cubicBezTo>
                      <a:pt x="16" y="34"/>
                      <a:pt x="7" y="30"/>
                      <a:pt x="3" y="23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" name="Freeform 72">
                <a:extLst>
                  <a:ext uri="{FF2B5EF4-FFF2-40B4-BE49-F238E27FC236}">
                    <a16:creationId xmlns:a16="http://schemas.microsoft.com/office/drawing/2014/main" id="{6E07BE48-2D8D-415B-AE55-211D5AE4C3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3" y="1898"/>
                <a:ext cx="189" cy="215"/>
              </a:xfrm>
              <a:custGeom>
                <a:avLst/>
                <a:gdLst>
                  <a:gd name="T0" fmla="*/ 43 w 345"/>
                  <a:gd name="T1" fmla="*/ 26 h 394"/>
                  <a:gd name="T2" fmla="*/ 43 w 345"/>
                  <a:gd name="T3" fmla="*/ 26 h 394"/>
                  <a:gd name="T4" fmla="*/ 155 w 345"/>
                  <a:gd name="T5" fmla="*/ 42 h 394"/>
                  <a:gd name="T6" fmla="*/ 345 w 345"/>
                  <a:gd name="T7" fmla="*/ 298 h 394"/>
                  <a:gd name="T8" fmla="*/ 216 w 345"/>
                  <a:gd name="T9" fmla="*/ 394 h 394"/>
                  <a:gd name="T10" fmla="*/ 26 w 345"/>
                  <a:gd name="T11" fmla="*/ 138 h 394"/>
                  <a:gd name="T12" fmla="*/ 43 w 345"/>
                  <a:gd name="T13" fmla="*/ 26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5" h="394">
                    <a:moveTo>
                      <a:pt x="43" y="26"/>
                    </a:moveTo>
                    <a:cubicBezTo>
                      <a:pt x="43" y="26"/>
                      <a:pt x="43" y="26"/>
                      <a:pt x="43" y="26"/>
                    </a:cubicBezTo>
                    <a:cubicBezTo>
                      <a:pt x="78" y="0"/>
                      <a:pt x="128" y="7"/>
                      <a:pt x="155" y="42"/>
                    </a:cubicBezTo>
                    <a:cubicBezTo>
                      <a:pt x="345" y="298"/>
                      <a:pt x="345" y="298"/>
                      <a:pt x="345" y="298"/>
                    </a:cubicBezTo>
                    <a:cubicBezTo>
                      <a:pt x="216" y="394"/>
                      <a:pt x="216" y="394"/>
                      <a:pt x="216" y="394"/>
                    </a:cubicBezTo>
                    <a:cubicBezTo>
                      <a:pt x="26" y="138"/>
                      <a:pt x="26" y="138"/>
                      <a:pt x="26" y="138"/>
                    </a:cubicBezTo>
                    <a:cubicBezTo>
                      <a:pt x="0" y="103"/>
                      <a:pt x="7" y="52"/>
                      <a:pt x="43" y="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5" name="Freeform 73">
                <a:extLst>
                  <a:ext uri="{FF2B5EF4-FFF2-40B4-BE49-F238E27FC236}">
                    <a16:creationId xmlns:a16="http://schemas.microsoft.com/office/drawing/2014/main" id="{FDABCC91-CD3E-4CD6-B37E-A65595047B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9" y="2040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EF9A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6" name="Freeform 74">
                <a:extLst>
                  <a:ext uri="{FF2B5EF4-FFF2-40B4-BE49-F238E27FC236}">
                    <a16:creationId xmlns:a16="http://schemas.microsoft.com/office/drawing/2014/main" id="{9DC5DF73-1C1E-4DDB-BE34-3BA17DC6CB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" y="2017"/>
                <a:ext cx="69" cy="61"/>
              </a:xfrm>
              <a:custGeom>
                <a:avLst/>
                <a:gdLst>
                  <a:gd name="T0" fmla="*/ 0 w 69"/>
                  <a:gd name="T1" fmla="*/ 42 h 61"/>
                  <a:gd name="T2" fmla="*/ 55 w 69"/>
                  <a:gd name="T3" fmla="*/ 0 h 61"/>
                  <a:gd name="T4" fmla="*/ 69 w 69"/>
                  <a:gd name="T5" fmla="*/ 19 h 61"/>
                  <a:gd name="T6" fmla="*/ 13 w 69"/>
                  <a:gd name="T7" fmla="*/ 61 h 61"/>
                  <a:gd name="T8" fmla="*/ 0 w 69"/>
                  <a:gd name="T9" fmla="*/ 42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61">
                    <a:moveTo>
                      <a:pt x="0" y="42"/>
                    </a:moveTo>
                    <a:lnTo>
                      <a:pt x="55" y="0"/>
                    </a:lnTo>
                    <a:lnTo>
                      <a:pt x="69" y="19"/>
                    </a:lnTo>
                    <a:lnTo>
                      <a:pt x="13" y="61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E5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7" name="Freeform 75">
                <a:extLst>
                  <a:ext uri="{FF2B5EF4-FFF2-40B4-BE49-F238E27FC236}">
                    <a16:creationId xmlns:a16="http://schemas.microsoft.com/office/drawing/2014/main" id="{3D82EA04-162C-4821-AB9B-17ABD55BB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1995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5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5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EF53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8" name="Freeform 76">
                <a:extLst>
                  <a:ext uri="{FF2B5EF4-FFF2-40B4-BE49-F238E27FC236}">
                    <a16:creationId xmlns:a16="http://schemas.microsoft.com/office/drawing/2014/main" id="{28CC8D1F-AE39-450F-A7E5-476B29403E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9" y="1973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8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8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9" name="Freeform 77">
                <a:extLst>
                  <a:ext uri="{FF2B5EF4-FFF2-40B4-BE49-F238E27FC236}">
                    <a16:creationId xmlns:a16="http://schemas.microsoft.com/office/drawing/2014/main" id="{88A4E00F-B1F9-4E35-926C-56F4E1AA82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1950"/>
                <a:ext cx="70" cy="60"/>
              </a:xfrm>
              <a:custGeom>
                <a:avLst/>
                <a:gdLst>
                  <a:gd name="T0" fmla="*/ 0 w 70"/>
                  <a:gd name="T1" fmla="*/ 42 h 60"/>
                  <a:gd name="T2" fmla="*/ 56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2"/>
                    </a:moveTo>
                    <a:lnTo>
                      <a:pt x="56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E539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0" name="Freeform 78">
                <a:extLst>
                  <a:ext uri="{FF2B5EF4-FFF2-40B4-BE49-F238E27FC236}">
                    <a16:creationId xmlns:a16="http://schemas.microsoft.com/office/drawing/2014/main" id="{58396785-982C-4C73-8D52-781635E9E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5" y="1928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8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8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D3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1" name="Freeform 79">
                <a:extLst>
                  <a:ext uri="{FF2B5EF4-FFF2-40B4-BE49-F238E27FC236}">
                    <a16:creationId xmlns:a16="http://schemas.microsoft.com/office/drawing/2014/main" id="{6F7B70CB-6D3D-4E85-96E0-14A37BD6C2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1"/>
                <a:ext cx="18" cy="18"/>
              </a:xfrm>
              <a:custGeom>
                <a:avLst/>
                <a:gdLst>
                  <a:gd name="T0" fmla="*/ 5 w 34"/>
                  <a:gd name="T1" fmla="*/ 26 h 33"/>
                  <a:gd name="T2" fmla="*/ 8 w 34"/>
                  <a:gd name="T3" fmla="*/ 5 h 33"/>
                  <a:gd name="T4" fmla="*/ 29 w 34"/>
                  <a:gd name="T5" fmla="*/ 8 h 33"/>
                  <a:gd name="T6" fmla="*/ 26 w 34"/>
                  <a:gd name="T7" fmla="*/ 29 h 33"/>
                  <a:gd name="T8" fmla="*/ 5 w 34"/>
                  <a:gd name="T9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3">
                    <a:moveTo>
                      <a:pt x="5" y="26"/>
                    </a:moveTo>
                    <a:cubicBezTo>
                      <a:pt x="0" y="19"/>
                      <a:pt x="1" y="10"/>
                      <a:pt x="8" y="5"/>
                    </a:cubicBezTo>
                    <a:cubicBezTo>
                      <a:pt x="15" y="0"/>
                      <a:pt x="24" y="1"/>
                      <a:pt x="29" y="8"/>
                    </a:cubicBezTo>
                    <a:cubicBezTo>
                      <a:pt x="34" y="14"/>
                      <a:pt x="32" y="24"/>
                      <a:pt x="26" y="29"/>
                    </a:cubicBezTo>
                    <a:cubicBezTo>
                      <a:pt x="19" y="33"/>
                      <a:pt x="10" y="32"/>
                      <a:pt x="5" y="26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2" name="Freeform 80">
                <a:extLst>
                  <a:ext uri="{FF2B5EF4-FFF2-40B4-BE49-F238E27FC236}">
                    <a16:creationId xmlns:a16="http://schemas.microsoft.com/office/drawing/2014/main" id="{E22FA0C5-3AAF-496E-A5BF-274A3139C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2" y="1898"/>
                <a:ext cx="207" cy="198"/>
              </a:xfrm>
              <a:custGeom>
                <a:avLst/>
                <a:gdLst>
                  <a:gd name="T0" fmla="*/ 30 w 378"/>
                  <a:gd name="T1" fmla="*/ 35 h 363"/>
                  <a:gd name="T2" fmla="*/ 30 w 378"/>
                  <a:gd name="T3" fmla="*/ 35 h 363"/>
                  <a:gd name="T4" fmla="*/ 143 w 378"/>
                  <a:gd name="T5" fmla="*/ 30 h 363"/>
                  <a:gd name="T6" fmla="*/ 378 w 378"/>
                  <a:gd name="T7" fmla="*/ 245 h 363"/>
                  <a:gd name="T8" fmla="*/ 270 w 378"/>
                  <a:gd name="T9" fmla="*/ 363 h 363"/>
                  <a:gd name="T10" fmla="*/ 35 w 378"/>
                  <a:gd name="T11" fmla="*/ 149 h 363"/>
                  <a:gd name="T12" fmla="*/ 30 w 378"/>
                  <a:gd name="T13" fmla="*/ 3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8" h="363">
                    <a:moveTo>
                      <a:pt x="30" y="35"/>
                    </a:moveTo>
                    <a:cubicBezTo>
                      <a:pt x="30" y="35"/>
                      <a:pt x="30" y="35"/>
                      <a:pt x="30" y="35"/>
                    </a:cubicBezTo>
                    <a:cubicBezTo>
                      <a:pt x="59" y="3"/>
                      <a:pt x="110" y="0"/>
                      <a:pt x="143" y="30"/>
                    </a:cubicBezTo>
                    <a:cubicBezTo>
                      <a:pt x="378" y="245"/>
                      <a:pt x="378" y="245"/>
                      <a:pt x="378" y="245"/>
                    </a:cubicBezTo>
                    <a:cubicBezTo>
                      <a:pt x="270" y="363"/>
                      <a:pt x="270" y="363"/>
                      <a:pt x="270" y="363"/>
                    </a:cubicBezTo>
                    <a:cubicBezTo>
                      <a:pt x="35" y="149"/>
                      <a:pt x="35" y="149"/>
                      <a:pt x="35" y="149"/>
                    </a:cubicBezTo>
                    <a:cubicBezTo>
                      <a:pt x="2" y="119"/>
                      <a:pt x="0" y="68"/>
                      <a:pt x="30" y="3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3" name="Freeform 81">
                <a:extLst>
                  <a:ext uri="{FF2B5EF4-FFF2-40B4-BE49-F238E27FC236}">
                    <a16:creationId xmlns:a16="http://schemas.microsoft.com/office/drawing/2014/main" id="{A181CF10-6A52-4615-B0D7-5F2147E3E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017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6 w 64"/>
                  <a:gd name="T3" fmla="*/ 0 h 67"/>
                  <a:gd name="T4" fmla="*/ 64 w 64"/>
                  <a:gd name="T5" fmla="*/ 16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6" y="0"/>
                    </a:lnTo>
                    <a:lnTo>
                      <a:pt x="64" y="16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CC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4" name="Freeform 82">
                <a:extLst>
                  <a:ext uri="{FF2B5EF4-FFF2-40B4-BE49-F238E27FC236}">
                    <a16:creationId xmlns:a16="http://schemas.microsoft.com/office/drawing/2014/main" id="{FF8EF73D-DC8B-46DE-8BCF-BB2D4177A4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1" y="1998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5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5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B7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5" name="Freeform 83">
                <a:extLst>
                  <a:ext uri="{FF2B5EF4-FFF2-40B4-BE49-F238E27FC236}">
                    <a16:creationId xmlns:a16="http://schemas.microsoft.com/office/drawing/2014/main" id="{8C6327A9-F585-4F3E-BD25-8FCB73694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0" y="1979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6 h 67"/>
                  <a:gd name="T6" fmla="*/ 18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8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A7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6" name="Freeform 84">
                <a:extLst>
                  <a:ext uri="{FF2B5EF4-FFF2-40B4-BE49-F238E27FC236}">
                    <a16:creationId xmlns:a16="http://schemas.microsoft.com/office/drawing/2014/main" id="{0D4F97B8-E9AD-40CA-A233-BF051AE1A9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0" y="1960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6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9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7" name="Freeform 85">
                <a:extLst>
                  <a:ext uri="{FF2B5EF4-FFF2-40B4-BE49-F238E27FC236}">
                    <a16:creationId xmlns:a16="http://schemas.microsoft.com/office/drawing/2014/main" id="{69B176E8-5DD5-467E-A131-1001F7D25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1941"/>
                <a:ext cx="64" cy="68"/>
              </a:xfrm>
              <a:custGeom>
                <a:avLst/>
                <a:gdLst>
                  <a:gd name="T0" fmla="*/ 0 w 64"/>
                  <a:gd name="T1" fmla="*/ 52 h 68"/>
                  <a:gd name="T2" fmla="*/ 47 w 64"/>
                  <a:gd name="T3" fmla="*/ 0 h 68"/>
                  <a:gd name="T4" fmla="*/ 64 w 64"/>
                  <a:gd name="T5" fmla="*/ 16 h 68"/>
                  <a:gd name="T6" fmla="*/ 17 w 64"/>
                  <a:gd name="T7" fmla="*/ 68 h 68"/>
                  <a:gd name="T8" fmla="*/ 0 w 64"/>
                  <a:gd name="T9" fmla="*/ 52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8">
                    <a:moveTo>
                      <a:pt x="0" y="52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7" y="68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F57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8" name="Freeform 86">
                <a:extLst>
                  <a:ext uri="{FF2B5EF4-FFF2-40B4-BE49-F238E27FC236}">
                    <a16:creationId xmlns:a16="http://schemas.microsoft.com/office/drawing/2014/main" id="{C1E6594C-5BC3-466A-9C50-BD976E134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8" y="1922"/>
                <a:ext cx="65" cy="67"/>
              </a:xfrm>
              <a:custGeom>
                <a:avLst/>
                <a:gdLst>
                  <a:gd name="T0" fmla="*/ 0 w 65"/>
                  <a:gd name="T1" fmla="*/ 52 h 67"/>
                  <a:gd name="T2" fmla="*/ 47 w 65"/>
                  <a:gd name="T3" fmla="*/ 0 h 67"/>
                  <a:gd name="T4" fmla="*/ 65 w 65"/>
                  <a:gd name="T5" fmla="*/ 16 h 67"/>
                  <a:gd name="T6" fmla="*/ 17 w 65"/>
                  <a:gd name="T7" fmla="*/ 67 h 67"/>
                  <a:gd name="T8" fmla="*/ 0 w 65"/>
                  <a:gd name="T9" fmla="*/ 5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67">
                    <a:moveTo>
                      <a:pt x="0" y="52"/>
                    </a:moveTo>
                    <a:lnTo>
                      <a:pt x="47" y="0"/>
                    </a:lnTo>
                    <a:lnTo>
                      <a:pt x="65" y="16"/>
                    </a:lnTo>
                    <a:lnTo>
                      <a:pt x="17" y="67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EF6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9" name="Freeform 87">
                <a:extLst>
                  <a:ext uri="{FF2B5EF4-FFF2-40B4-BE49-F238E27FC236}">
                    <a16:creationId xmlns:a16="http://schemas.microsoft.com/office/drawing/2014/main" id="{BC081AAF-A0D6-4602-AAD2-C7AF38959A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8"/>
              </a:xfrm>
              <a:custGeom>
                <a:avLst/>
                <a:gdLst>
                  <a:gd name="T0" fmla="*/ 7 w 33"/>
                  <a:gd name="T1" fmla="*/ 28 h 33"/>
                  <a:gd name="T2" fmla="*/ 6 w 33"/>
                  <a:gd name="T3" fmla="*/ 7 h 33"/>
                  <a:gd name="T4" fmla="*/ 27 w 33"/>
                  <a:gd name="T5" fmla="*/ 6 h 33"/>
                  <a:gd name="T6" fmla="*/ 28 w 33"/>
                  <a:gd name="T7" fmla="*/ 27 h 33"/>
                  <a:gd name="T8" fmla="*/ 7 w 33"/>
                  <a:gd name="T9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3">
                    <a:moveTo>
                      <a:pt x="7" y="28"/>
                    </a:moveTo>
                    <a:cubicBezTo>
                      <a:pt x="1" y="22"/>
                      <a:pt x="0" y="13"/>
                      <a:pt x="6" y="7"/>
                    </a:cubicBezTo>
                    <a:cubicBezTo>
                      <a:pt x="11" y="1"/>
                      <a:pt x="21" y="0"/>
                      <a:pt x="27" y="6"/>
                    </a:cubicBezTo>
                    <a:cubicBezTo>
                      <a:pt x="33" y="11"/>
                      <a:pt x="33" y="21"/>
                      <a:pt x="28" y="27"/>
                    </a:cubicBezTo>
                    <a:cubicBezTo>
                      <a:pt x="22" y="33"/>
                      <a:pt x="13" y="33"/>
                      <a:pt x="7" y="28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0" name="Freeform 88">
                <a:extLst>
                  <a:ext uri="{FF2B5EF4-FFF2-40B4-BE49-F238E27FC236}">
                    <a16:creationId xmlns:a16="http://schemas.microsoft.com/office/drawing/2014/main" id="{D4484202-5762-4E9C-BA21-297799D03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8" y="1892"/>
                <a:ext cx="221" cy="179"/>
              </a:xfrm>
              <a:custGeom>
                <a:avLst/>
                <a:gdLst>
                  <a:gd name="T0" fmla="*/ 23 w 404"/>
                  <a:gd name="T1" fmla="*/ 49 h 328"/>
                  <a:gd name="T2" fmla="*/ 23 w 404"/>
                  <a:gd name="T3" fmla="*/ 49 h 328"/>
                  <a:gd name="T4" fmla="*/ 134 w 404"/>
                  <a:gd name="T5" fmla="*/ 23 h 328"/>
                  <a:gd name="T6" fmla="*/ 404 w 404"/>
                  <a:gd name="T7" fmla="*/ 192 h 328"/>
                  <a:gd name="T8" fmla="*/ 319 w 404"/>
                  <a:gd name="T9" fmla="*/ 328 h 328"/>
                  <a:gd name="T10" fmla="*/ 49 w 404"/>
                  <a:gd name="T11" fmla="*/ 159 h 328"/>
                  <a:gd name="T12" fmla="*/ 23 w 404"/>
                  <a:gd name="T13" fmla="*/ 4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4" h="328">
                    <a:moveTo>
                      <a:pt x="23" y="49"/>
                    </a:moveTo>
                    <a:cubicBezTo>
                      <a:pt x="23" y="49"/>
                      <a:pt x="23" y="49"/>
                      <a:pt x="23" y="49"/>
                    </a:cubicBezTo>
                    <a:cubicBezTo>
                      <a:pt x="47" y="11"/>
                      <a:pt x="96" y="0"/>
                      <a:pt x="134" y="23"/>
                    </a:cubicBezTo>
                    <a:cubicBezTo>
                      <a:pt x="404" y="192"/>
                      <a:pt x="404" y="192"/>
                      <a:pt x="404" y="192"/>
                    </a:cubicBezTo>
                    <a:cubicBezTo>
                      <a:pt x="319" y="328"/>
                      <a:pt x="319" y="328"/>
                      <a:pt x="319" y="328"/>
                    </a:cubicBezTo>
                    <a:cubicBezTo>
                      <a:pt x="49" y="159"/>
                      <a:pt x="49" y="159"/>
                      <a:pt x="49" y="159"/>
                    </a:cubicBezTo>
                    <a:cubicBezTo>
                      <a:pt x="11" y="136"/>
                      <a:pt x="0" y="86"/>
                      <a:pt x="23" y="4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1" name="Freeform 89">
                <a:extLst>
                  <a:ext uri="{FF2B5EF4-FFF2-40B4-BE49-F238E27FC236}">
                    <a16:creationId xmlns:a16="http://schemas.microsoft.com/office/drawing/2014/main" id="{2BC3A16C-5427-43FA-A41E-F1669D3C2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" y="1987"/>
                <a:ext cx="57" cy="71"/>
              </a:xfrm>
              <a:custGeom>
                <a:avLst/>
                <a:gdLst>
                  <a:gd name="T0" fmla="*/ 0 w 57"/>
                  <a:gd name="T1" fmla="*/ 59 h 71"/>
                  <a:gd name="T2" fmla="*/ 38 w 57"/>
                  <a:gd name="T3" fmla="*/ 0 h 71"/>
                  <a:gd name="T4" fmla="*/ 57 w 57"/>
                  <a:gd name="T5" fmla="*/ 13 h 71"/>
                  <a:gd name="T6" fmla="*/ 21 w 57"/>
                  <a:gd name="T7" fmla="*/ 71 h 71"/>
                  <a:gd name="T8" fmla="*/ 0 w 57"/>
                  <a:gd name="T9" fmla="*/ 5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9"/>
                    </a:moveTo>
                    <a:lnTo>
                      <a:pt x="38" y="0"/>
                    </a:lnTo>
                    <a:lnTo>
                      <a:pt x="57" y="13"/>
                    </a:lnTo>
                    <a:lnTo>
                      <a:pt x="21" y="71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FFF1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2" name="Freeform 90">
                <a:extLst>
                  <a:ext uri="{FF2B5EF4-FFF2-40B4-BE49-F238E27FC236}">
                    <a16:creationId xmlns:a16="http://schemas.microsoft.com/office/drawing/2014/main" id="{C6AD274A-BEF3-4F88-B231-B79A9995DD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" y="1973"/>
                <a:ext cx="57" cy="71"/>
              </a:xfrm>
              <a:custGeom>
                <a:avLst/>
                <a:gdLst>
                  <a:gd name="T0" fmla="*/ 0 w 57"/>
                  <a:gd name="T1" fmla="*/ 58 h 71"/>
                  <a:gd name="T2" fmla="*/ 36 w 57"/>
                  <a:gd name="T3" fmla="*/ 0 h 71"/>
                  <a:gd name="T4" fmla="*/ 57 w 57"/>
                  <a:gd name="T5" fmla="*/ 12 h 71"/>
                  <a:gd name="T6" fmla="*/ 19 w 57"/>
                  <a:gd name="T7" fmla="*/ 71 h 71"/>
                  <a:gd name="T8" fmla="*/ 0 w 57"/>
                  <a:gd name="T9" fmla="*/ 5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8"/>
                    </a:moveTo>
                    <a:lnTo>
                      <a:pt x="36" y="0"/>
                    </a:lnTo>
                    <a:lnTo>
                      <a:pt x="57" y="12"/>
                    </a:lnTo>
                    <a:lnTo>
                      <a:pt x="19" y="71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FFEE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3" name="Freeform 91">
                <a:extLst>
                  <a:ext uri="{FF2B5EF4-FFF2-40B4-BE49-F238E27FC236}">
                    <a16:creationId xmlns:a16="http://schemas.microsoft.com/office/drawing/2014/main" id="{53031A32-B1F0-4AED-B628-BDAE850E2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2" y="1957"/>
                <a:ext cx="57" cy="72"/>
              </a:xfrm>
              <a:custGeom>
                <a:avLst/>
                <a:gdLst>
                  <a:gd name="T0" fmla="*/ 0 w 57"/>
                  <a:gd name="T1" fmla="*/ 59 h 72"/>
                  <a:gd name="T2" fmla="*/ 37 w 57"/>
                  <a:gd name="T3" fmla="*/ 0 h 72"/>
                  <a:gd name="T4" fmla="*/ 57 w 57"/>
                  <a:gd name="T5" fmla="*/ 13 h 72"/>
                  <a:gd name="T6" fmla="*/ 20 w 57"/>
                  <a:gd name="T7" fmla="*/ 72 h 72"/>
                  <a:gd name="T8" fmla="*/ 0 w 57"/>
                  <a:gd name="T9" fmla="*/ 5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2">
                    <a:moveTo>
                      <a:pt x="0" y="59"/>
                    </a:moveTo>
                    <a:lnTo>
                      <a:pt x="37" y="0"/>
                    </a:lnTo>
                    <a:lnTo>
                      <a:pt x="57" y="13"/>
                    </a:lnTo>
                    <a:lnTo>
                      <a:pt x="20" y="72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4" name="Freeform 92">
                <a:extLst>
                  <a:ext uri="{FF2B5EF4-FFF2-40B4-BE49-F238E27FC236}">
                    <a16:creationId xmlns:a16="http://schemas.microsoft.com/office/drawing/2014/main" id="{08E38D7B-919C-4434-8D49-DA594F595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8" y="1943"/>
                <a:ext cx="57" cy="71"/>
              </a:xfrm>
              <a:custGeom>
                <a:avLst/>
                <a:gdLst>
                  <a:gd name="T0" fmla="*/ 0 w 57"/>
                  <a:gd name="T1" fmla="*/ 58 h 71"/>
                  <a:gd name="T2" fmla="*/ 37 w 57"/>
                  <a:gd name="T3" fmla="*/ 0 h 71"/>
                  <a:gd name="T4" fmla="*/ 57 w 57"/>
                  <a:gd name="T5" fmla="*/ 12 h 71"/>
                  <a:gd name="T6" fmla="*/ 20 w 57"/>
                  <a:gd name="T7" fmla="*/ 71 h 71"/>
                  <a:gd name="T8" fmla="*/ 0 w 57"/>
                  <a:gd name="T9" fmla="*/ 5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8"/>
                    </a:moveTo>
                    <a:lnTo>
                      <a:pt x="37" y="0"/>
                    </a:lnTo>
                    <a:lnTo>
                      <a:pt x="57" y="12"/>
                    </a:lnTo>
                    <a:lnTo>
                      <a:pt x="20" y="71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FDD8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" name="Freeform 93">
                <a:extLst>
                  <a:ext uri="{FF2B5EF4-FFF2-40B4-BE49-F238E27FC236}">
                    <a16:creationId xmlns:a16="http://schemas.microsoft.com/office/drawing/2014/main" id="{E05E122E-6F56-4413-A8F4-2AFE148E9D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5" y="1928"/>
                <a:ext cx="57" cy="71"/>
              </a:xfrm>
              <a:custGeom>
                <a:avLst/>
                <a:gdLst>
                  <a:gd name="T0" fmla="*/ 0 w 57"/>
                  <a:gd name="T1" fmla="*/ 59 h 71"/>
                  <a:gd name="T2" fmla="*/ 36 w 57"/>
                  <a:gd name="T3" fmla="*/ 0 h 71"/>
                  <a:gd name="T4" fmla="*/ 57 w 57"/>
                  <a:gd name="T5" fmla="*/ 12 h 71"/>
                  <a:gd name="T6" fmla="*/ 19 w 57"/>
                  <a:gd name="T7" fmla="*/ 71 h 71"/>
                  <a:gd name="T8" fmla="*/ 0 w 57"/>
                  <a:gd name="T9" fmla="*/ 5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9"/>
                    </a:moveTo>
                    <a:lnTo>
                      <a:pt x="36" y="0"/>
                    </a:lnTo>
                    <a:lnTo>
                      <a:pt x="57" y="12"/>
                    </a:lnTo>
                    <a:lnTo>
                      <a:pt x="19" y="71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" name="Freeform 94">
                <a:extLst>
                  <a:ext uri="{FF2B5EF4-FFF2-40B4-BE49-F238E27FC236}">
                    <a16:creationId xmlns:a16="http://schemas.microsoft.com/office/drawing/2014/main" id="{6656C0CE-DFC8-43BF-BE91-0F45A3C2B0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" y="1913"/>
                <a:ext cx="56" cy="72"/>
              </a:xfrm>
              <a:custGeom>
                <a:avLst/>
                <a:gdLst>
                  <a:gd name="T0" fmla="*/ 0 w 56"/>
                  <a:gd name="T1" fmla="*/ 59 h 72"/>
                  <a:gd name="T2" fmla="*/ 37 w 56"/>
                  <a:gd name="T3" fmla="*/ 0 h 72"/>
                  <a:gd name="T4" fmla="*/ 56 w 56"/>
                  <a:gd name="T5" fmla="*/ 13 h 72"/>
                  <a:gd name="T6" fmla="*/ 20 w 56"/>
                  <a:gd name="T7" fmla="*/ 72 h 72"/>
                  <a:gd name="T8" fmla="*/ 0 w 56"/>
                  <a:gd name="T9" fmla="*/ 5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72">
                    <a:moveTo>
                      <a:pt x="0" y="59"/>
                    </a:moveTo>
                    <a:lnTo>
                      <a:pt x="37" y="0"/>
                    </a:lnTo>
                    <a:lnTo>
                      <a:pt x="56" y="13"/>
                    </a:lnTo>
                    <a:lnTo>
                      <a:pt x="20" y="72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7" name="Freeform 95">
                <a:extLst>
                  <a:ext uri="{FF2B5EF4-FFF2-40B4-BE49-F238E27FC236}">
                    <a16:creationId xmlns:a16="http://schemas.microsoft.com/office/drawing/2014/main" id="{D587F3E1-7E71-4AA6-955A-1E01FFF4A8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1"/>
                <a:ext cx="18" cy="19"/>
              </a:xfrm>
              <a:custGeom>
                <a:avLst/>
                <a:gdLst>
                  <a:gd name="T0" fmla="*/ 9 w 34"/>
                  <a:gd name="T1" fmla="*/ 29 h 34"/>
                  <a:gd name="T2" fmla="*/ 4 w 34"/>
                  <a:gd name="T3" fmla="*/ 9 h 34"/>
                  <a:gd name="T4" fmla="*/ 25 w 34"/>
                  <a:gd name="T5" fmla="*/ 4 h 34"/>
                  <a:gd name="T6" fmla="*/ 30 w 34"/>
                  <a:gd name="T7" fmla="*/ 25 h 34"/>
                  <a:gd name="T8" fmla="*/ 9 w 34"/>
                  <a:gd name="T9" fmla="*/ 2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9" y="29"/>
                    </a:moveTo>
                    <a:cubicBezTo>
                      <a:pt x="2" y="25"/>
                      <a:pt x="0" y="16"/>
                      <a:pt x="4" y="9"/>
                    </a:cubicBezTo>
                    <a:cubicBezTo>
                      <a:pt x="9" y="2"/>
                      <a:pt x="18" y="0"/>
                      <a:pt x="25" y="4"/>
                    </a:cubicBezTo>
                    <a:cubicBezTo>
                      <a:pt x="32" y="9"/>
                      <a:pt x="34" y="18"/>
                      <a:pt x="30" y="25"/>
                    </a:cubicBezTo>
                    <a:cubicBezTo>
                      <a:pt x="25" y="32"/>
                      <a:pt x="16" y="34"/>
                      <a:pt x="9" y="29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8" name="Freeform 96">
                <a:extLst>
                  <a:ext uri="{FF2B5EF4-FFF2-40B4-BE49-F238E27FC236}">
                    <a16:creationId xmlns:a16="http://schemas.microsoft.com/office/drawing/2014/main" id="{65D28321-5E42-4B38-9631-98D7F74CC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" y="1891"/>
                <a:ext cx="229" cy="149"/>
              </a:xfrm>
              <a:custGeom>
                <a:avLst/>
                <a:gdLst>
                  <a:gd name="T0" fmla="*/ 15 w 418"/>
                  <a:gd name="T1" fmla="*/ 63 h 272"/>
                  <a:gd name="T2" fmla="*/ 15 w 418"/>
                  <a:gd name="T3" fmla="*/ 63 h 272"/>
                  <a:gd name="T4" fmla="*/ 117 w 418"/>
                  <a:gd name="T5" fmla="*/ 15 h 272"/>
                  <a:gd name="T6" fmla="*/ 418 w 418"/>
                  <a:gd name="T7" fmla="*/ 121 h 272"/>
                  <a:gd name="T8" fmla="*/ 364 w 418"/>
                  <a:gd name="T9" fmla="*/ 272 h 272"/>
                  <a:gd name="T10" fmla="*/ 64 w 418"/>
                  <a:gd name="T11" fmla="*/ 166 h 272"/>
                  <a:gd name="T12" fmla="*/ 15 w 418"/>
                  <a:gd name="T13" fmla="*/ 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8" h="272">
                    <a:moveTo>
                      <a:pt x="15" y="63"/>
                    </a:moveTo>
                    <a:cubicBezTo>
                      <a:pt x="15" y="63"/>
                      <a:pt x="15" y="63"/>
                      <a:pt x="15" y="63"/>
                    </a:cubicBezTo>
                    <a:cubicBezTo>
                      <a:pt x="30" y="22"/>
                      <a:pt x="76" y="0"/>
                      <a:pt x="117" y="15"/>
                    </a:cubicBezTo>
                    <a:cubicBezTo>
                      <a:pt x="418" y="121"/>
                      <a:pt x="418" y="121"/>
                      <a:pt x="418" y="121"/>
                    </a:cubicBezTo>
                    <a:cubicBezTo>
                      <a:pt x="364" y="272"/>
                      <a:pt x="364" y="272"/>
                      <a:pt x="364" y="272"/>
                    </a:cubicBezTo>
                    <a:cubicBezTo>
                      <a:pt x="64" y="166"/>
                      <a:pt x="64" y="166"/>
                      <a:pt x="64" y="166"/>
                    </a:cubicBezTo>
                    <a:cubicBezTo>
                      <a:pt x="22" y="151"/>
                      <a:pt x="0" y="105"/>
                      <a:pt x="15" y="6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9" name="Freeform 97">
                <a:extLst>
                  <a:ext uri="{FF2B5EF4-FFF2-40B4-BE49-F238E27FC236}">
                    <a16:creationId xmlns:a16="http://schemas.microsoft.com/office/drawing/2014/main" id="{565565E1-DA7C-4C7C-81BE-3897131B68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955"/>
                <a:ext cx="45" cy="73"/>
              </a:xfrm>
              <a:custGeom>
                <a:avLst/>
                <a:gdLst>
                  <a:gd name="T0" fmla="*/ 0 w 45"/>
                  <a:gd name="T1" fmla="*/ 66 h 73"/>
                  <a:gd name="T2" fmla="*/ 23 w 45"/>
                  <a:gd name="T3" fmla="*/ 0 h 73"/>
                  <a:gd name="T4" fmla="*/ 45 w 45"/>
                  <a:gd name="T5" fmla="*/ 8 h 73"/>
                  <a:gd name="T6" fmla="*/ 22 w 45"/>
                  <a:gd name="T7" fmla="*/ 73 h 73"/>
                  <a:gd name="T8" fmla="*/ 0 w 45"/>
                  <a:gd name="T9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6"/>
                    </a:moveTo>
                    <a:lnTo>
                      <a:pt x="23" y="0"/>
                    </a:lnTo>
                    <a:lnTo>
                      <a:pt x="45" y="8"/>
                    </a:lnTo>
                    <a:lnTo>
                      <a:pt x="22" y="73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E6EE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0" name="Freeform 98">
                <a:extLst>
                  <a:ext uri="{FF2B5EF4-FFF2-40B4-BE49-F238E27FC236}">
                    <a16:creationId xmlns:a16="http://schemas.microsoft.com/office/drawing/2014/main" id="{A726B54A-F4F4-4DA4-8282-724AC687F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0" y="1946"/>
                <a:ext cx="45" cy="73"/>
              </a:xfrm>
              <a:custGeom>
                <a:avLst/>
                <a:gdLst>
                  <a:gd name="T0" fmla="*/ 0 w 45"/>
                  <a:gd name="T1" fmla="*/ 65 h 73"/>
                  <a:gd name="T2" fmla="*/ 24 w 45"/>
                  <a:gd name="T3" fmla="*/ 0 h 73"/>
                  <a:gd name="T4" fmla="*/ 45 w 45"/>
                  <a:gd name="T5" fmla="*/ 7 h 73"/>
                  <a:gd name="T6" fmla="*/ 22 w 45"/>
                  <a:gd name="T7" fmla="*/ 73 h 73"/>
                  <a:gd name="T8" fmla="*/ 0 w 45"/>
                  <a:gd name="T9" fmla="*/ 6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5"/>
                    </a:moveTo>
                    <a:lnTo>
                      <a:pt x="24" y="0"/>
                    </a:lnTo>
                    <a:lnTo>
                      <a:pt x="45" y="7"/>
                    </a:lnTo>
                    <a:lnTo>
                      <a:pt x="22" y="73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DCE77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1" name="Freeform 99">
                <a:extLst>
                  <a:ext uri="{FF2B5EF4-FFF2-40B4-BE49-F238E27FC236}">
                    <a16:creationId xmlns:a16="http://schemas.microsoft.com/office/drawing/2014/main" id="{F69E95FD-011E-4FC5-B499-6C359ED9E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4" y="1937"/>
                <a:ext cx="45" cy="73"/>
              </a:xfrm>
              <a:custGeom>
                <a:avLst/>
                <a:gdLst>
                  <a:gd name="T0" fmla="*/ 0 w 45"/>
                  <a:gd name="T1" fmla="*/ 64 h 73"/>
                  <a:gd name="T2" fmla="*/ 23 w 45"/>
                  <a:gd name="T3" fmla="*/ 0 h 73"/>
                  <a:gd name="T4" fmla="*/ 45 w 45"/>
                  <a:gd name="T5" fmla="*/ 7 h 73"/>
                  <a:gd name="T6" fmla="*/ 22 w 45"/>
                  <a:gd name="T7" fmla="*/ 73 h 73"/>
                  <a:gd name="T8" fmla="*/ 0 w 45"/>
                  <a:gd name="T9" fmla="*/ 6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4"/>
                    </a:moveTo>
                    <a:lnTo>
                      <a:pt x="23" y="0"/>
                    </a:lnTo>
                    <a:lnTo>
                      <a:pt x="45" y="7"/>
                    </a:lnTo>
                    <a:lnTo>
                      <a:pt x="22" y="73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2" name="Freeform 100">
                <a:extLst>
                  <a:ext uri="{FF2B5EF4-FFF2-40B4-BE49-F238E27FC236}">
                    <a16:creationId xmlns:a16="http://schemas.microsoft.com/office/drawing/2014/main" id="{3320A667-29D2-4325-9627-6DD64612C1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7" y="1927"/>
                <a:ext cx="46" cy="73"/>
              </a:xfrm>
              <a:custGeom>
                <a:avLst/>
                <a:gdLst>
                  <a:gd name="T0" fmla="*/ 0 w 46"/>
                  <a:gd name="T1" fmla="*/ 65 h 73"/>
                  <a:gd name="T2" fmla="*/ 23 w 46"/>
                  <a:gd name="T3" fmla="*/ 0 h 73"/>
                  <a:gd name="T4" fmla="*/ 46 w 46"/>
                  <a:gd name="T5" fmla="*/ 8 h 73"/>
                  <a:gd name="T6" fmla="*/ 22 w 46"/>
                  <a:gd name="T7" fmla="*/ 73 h 73"/>
                  <a:gd name="T8" fmla="*/ 0 w 46"/>
                  <a:gd name="T9" fmla="*/ 6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0" y="65"/>
                    </a:moveTo>
                    <a:lnTo>
                      <a:pt x="23" y="0"/>
                    </a:lnTo>
                    <a:lnTo>
                      <a:pt x="46" y="8"/>
                    </a:lnTo>
                    <a:lnTo>
                      <a:pt x="22" y="73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CDDC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3" name="Freeform 101">
                <a:extLst>
                  <a:ext uri="{FF2B5EF4-FFF2-40B4-BE49-F238E27FC236}">
                    <a16:creationId xmlns:a16="http://schemas.microsoft.com/office/drawing/2014/main" id="{9F976ACC-0A27-4728-8AB9-92F1DC017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1" y="1917"/>
                <a:ext cx="45" cy="74"/>
              </a:xfrm>
              <a:custGeom>
                <a:avLst/>
                <a:gdLst>
                  <a:gd name="T0" fmla="*/ 0 w 45"/>
                  <a:gd name="T1" fmla="*/ 66 h 74"/>
                  <a:gd name="T2" fmla="*/ 23 w 45"/>
                  <a:gd name="T3" fmla="*/ 0 h 74"/>
                  <a:gd name="T4" fmla="*/ 45 w 45"/>
                  <a:gd name="T5" fmla="*/ 9 h 74"/>
                  <a:gd name="T6" fmla="*/ 22 w 45"/>
                  <a:gd name="T7" fmla="*/ 74 h 74"/>
                  <a:gd name="T8" fmla="*/ 0 w 45"/>
                  <a:gd name="T9" fmla="*/ 6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4">
                    <a:moveTo>
                      <a:pt x="0" y="66"/>
                    </a:moveTo>
                    <a:lnTo>
                      <a:pt x="23" y="0"/>
                    </a:lnTo>
                    <a:lnTo>
                      <a:pt x="45" y="9"/>
                    </a:lnTo>
                    <a:lnTo>
                      <a:pt x="22" y="74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C0CA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4" name="Freeform 102">
                <a:extLst>
                  <a:ext uri="{FF2B5EF4-FFF2-40B4-BE49-F238E27FC236}">
                    <a16:creationId xmlns:a16="http://schemas.microsoft.com/office/drawing/2014/main" id="{5E758009-E188-468F-8DF0-D50F294FC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908"/>
                <a:ext cx="46" cy="73"/>
              </a:xfrm>
              <a:custGeom>
                <a:avLst/>
                <a:gdLst>
                  <a:gd name="T0" fmla="*/ 0 w 46"/>
                  <a:gd name="T1" fmla="*/ 66 h 73"/>
                  <a:gd name="T2" fmla="*/ 24 w 46"/>
                  <a:gd name="T3" fmla="*/ 0 h 73"/>
                  <a:gd name="T4" fmla="*/ 46 w 46"/>
                  <a:gd name="T5" fmla="*/ 8 h 73"/>
                  <a:gd name="T6" fmla="*/ 23 w 46"/>
                  <a:gd name="T7" fmla="*/ 73 h 73"/>
                  <a:gd name="T8" fmla="*/ 0 w 46"/>
                  <a:gd name="T9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0" y="66"/>
                    </a:moveTo>
                    <a:lnTo>
                      <a:pt x="24" y="0"/>
                    </a:lnTo>
                    <a:lnTo>
                      <a:pt x="46" y="8"/>
                    </a:lnTo>
                    <a:lnTo>
                      <a:pt x="23" y="73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AFB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5" name="Freeform 103">
                <a:extLst>
                  <a:ext uri="{FF2B5EF4-FFF2-40B4-BE49-F238E27FC236}">
                    <a16:creationId xmlns:a16="http://schemas.microsoft.com/office/drawing/2014/main" id="{80356FB1-D90D-4EF3-84A4-00B7FE1863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9"/>
              </a:xfrm>
              <a:custGeom>
                <a:avLst/>
                <a:gdLst>
                  <a:gd name="T0" fmla="*/ 12 w 33"/>
                  <a:gd name="T1" fmla="*/ 30 h 33"/>
                  <a:gd name="T2" fmla="*/ 2 w 33"/>
                  <a:gd name="T3" fmla="*/ 11 h 33"/>
                  <a:gd name="T4" fmla="*/ 21 w 33"/>
                  <a:gd name="T5" fmla="*/ 2 h 33"/>
                  <a:gd name="T6" fmla="*/ 31 w 33"/>
                  <a:gd name="T7" fmla="*/ 21 h 33"/>
                  <a:gd name="T8" fmla="*/ 12 w 33"/>
                  <a:gd name="T9" fmla="*/ 3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3">
                    <a:moveTo>
                      <a:pt x="12" y="30"/>
                    </a:moveTo>
                    <a:cubicBezTo>
                      <a:pt x="4" y="28"/>
                      <a:pt x="0" y="19"/>
                      <a:pt x="2" y="11"/>
                    </a:cubicBezTo>
                    <a:cubicBezTo>
                      <a:pt x="5" y="4"/>
                      <a:pt x="14" y="0"/>
                      <a:pt x="21" y="2"/>
                    </a:cubicBezTo>
                    <a:cubicBezTo>
                      <a:pt x="29" y="5"/>
                      <a:pt x="33" y="14"/>
                      <a:pt x="31" y="21"/>
                    </a:cubicBezTo>
                    <a:cubicBezTo>
                      <a:pt x="28" y="29"/>
                      <a:pt x="19" y="33"/>
                      <a:pt x="12" y="30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6" name="Freeform 104">
                <a:extLst>
                  <a:ext uri="{FF2B5EF4-FFF2-40B4-BE49-F238E27FC236}">
                    <a16:creationId xmlns:a16="http://schemas.microsoft.com/office/drawing/2014/main" id="{F288D20D-0249-4BB9-B795-C0BCBCC03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" y="1887"/>
                <a:ext cx="225" cy="107"/>
              </a:xfrm>
              <a:custGeom>
                <a:avLst/>
                <a:gdLst>
                  <a:gd name="T0" fmla="*/ 5 w 410"/>
                  <a:gd name="T1" fmla="*/ 76 h 196"/>
                  <a:gd name="T2" fmla="*/ 5 w 410"/>
                  <a:gd name="T3" fmla="*/ 76 h 196"/>
                  <a:gd name="T4" fmla="*/ 93 w 410"/>
                  <a:gd name="T5" fmla="*/ 4 h 196"/>
                  <a:gd name="T6" fmla="*/ 410 w 410"/>
                  <a:gd name="T7" fmla="*/ 37 h 196"/>
                  <a:gd name="T8" fmla="*/ 393 w 410"/>
                  <a:gd name="T9" fmla="*/ 196 h 196"/>
                  <a:gd name="T10" fmla="*/ 76 w 410"/>
                  <a:gd name="T11" fmla="*/ 164 h 196"/>
                  <a:gd name="T12" fmla="*/ 5 w 410"/>
                  <a:gd name="T13" fmla="*/ 7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0" h="196">
                    <a:moveTo>
                      <a:pt x="5" y="76"/>
                    </a:moveTo>
                    <a:cubicBezTo>
                      <a:pt x="5" y="76"/>
                      <a:pt x="5" y="76"/>
                      <a:pt x="5" y="76"/>
                    </a:cubicBezTo>
                    <a:cubicBezTo>
                      <a:pt x="9" y="32"/>
                      <a:pt x="49" y="0"/>
                      <a:pt x="93" y="4"/>
                    </a:cubicBezTo>
                    <a:cubicBezTo>
                      <a:pt x="410" y="37"/>
                      <a:pt x="410" y="37"/>
                      <a:pt x="410" y="37"/>
                    </a:cubicBezTo>
                    <a:cubicBezTo>
                      <a:pt x="393" y="196"/>
                      <a:pt x="393" y="196"/>
                      <a:pt x="393" y="196"/>
                    </a:cubicBezTo>
                    <a:cubicBezTo>
                      <a:pt x="76" y="164"/>
                      <a:pt x="76" y="164"/>
                      <a:pt x="76" y="164"/>
                    </a:cubicBezTo>
                    <a:cubicBezTo>
                      <a:pt x="32" y="159"/>
                      <a:pt x="0" y="120"/>
                      <a:pt x="5" y="7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7" name="Freeform 105">
                <a:extLst>
                  <a:ext uri="{FF2B5EF4-FFF2-40B4-BE49-F238E27FC236}">
                    <a16:creationId xmlns:a16="http://schemas.microsoft.com/office/drawing/2014/main" id="{297A74DF-660D-472E-8098-462149FDFB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8" y="1912"/>
                <a:ext cx="31" cy="72"/>
              </a:xfrm>
              <a:custGeom>
                <a:avLst/>
                <a:gdLst>
                  <a:gd name="T0" fmla="*/ 0 w 31"/>
                  <a:gd name="T1" fmla="*/ 70 h 72"/>
                  <a:gd name="T2" fmla="*/ 7 w 31"/>
                  <a:gd name="T3" fmla="*/ 0 h 72"/>
                  <a:gd name="T4" fmla="*/ 31 w 31"/>
                  <a:gd name="T5" fmla="*/ 3 h 72"/>
                  <a:gd name="T6" fmla="*/ 24 w 31"/>
                  <a:gd name="T7" fmla="*/ 72 h 72"/>
                  <a:gd name="T8" fmla="*/ 0 w 31"/>
                  <a:gd name="T9" fmla="*/ 7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0" y="70"/>
                    </a:moveTo>
                    <a:lnTo>
                      <a:pt x="7" y="0"/>
                    </a:lnTo>
                    <a:lnTo>
                      <a:pt x="31" y="3"/>
                    </a:lnTo>
                    <a:lnTo>
                      <a:pt x="24" y="72"/>
                    </a:lnTo>
                    <a:lnTo>
                      <a:pt x="0" y="70"/>
                    </a:lnTo>
                    <a:close/>
                  </a:path>
                </a:pathLst>
              </a:custGeom>
              <a:solidFill>
                <a:srgbClr val="C5E1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8" name="Freeform 106">
                <a:extLst>
                  <a:ext uri="{FF2B5EF4-FFF2-40B4-BE49-F238E27FC236}">
                    <a16:creationId xmlns:a16="http://schemas.microsoft.com/office/drawing/2014/main" id="{4D6225FE-D55C-40DC-A38A-94CD4D9AB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" y="1910"/>
                <a:ext cx="31" cy="71"/>
              </a:xfrm>
              <a:custGeom>
                <a:avLst/>
                <a:gdLst>
                  <a:gd name="T0" fmla="*/ 0 w 31"/>
                  <a:gd name="T1" fmla="*/ 69 h 71"/>
                  <a:gd name="T2" fmla="*/ 7 w 31"/>
                  <a:gd name="T3" fmla="*/ 0 h 71"/>
                  <a:gd name="T4" fmla="*/ 31 w 31"/>
                  <a:gd name="T5" fmla="*/ 2 h 71"/>
                  <a:gd name="T6" fmla="*/ 24 w 31"/>
                  <a:gd name="T7" fmla="*/ 71 h 71"/>
                  <a:gd name="T8" fmla="*/ 0 w 31"/>
                  <a:gd name="T9" fmla="*/ 6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0" y="69"/>
                    </a:moveTo>
                    <a:lnTo>
                      <a:pt x="7" y="0"/>
                    </a:lnTo>
                    <a:lnTo>
                      <a:pt x="31" y="2"/>
                    </a:lnTo>
                    <a:lnTo>
                      <a:pt x="24" y="71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AED5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9" name="Freeform 107">
                <a:extLst>
                  <a:ext uri="{FF2B5EF4-FFF2-40B4-BE49-F238E27FC236}">
                    <a16:creationId xmlns:a16="http://schemas.microsoft.com/office/drawing/2014/main" id="{184F0614-A5A6-4C2A-A30B-2ECD9DD132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2" y="1907"/>
                <a:ext cx="31" cy="72"/>
              </a:xfrm>
              <a:custGeom>
                <a:avLst/>
                <a:gdLst>
                  <a:gd name="T0" fmla="*/ 0 w 31"/>
                  <a:gd name="T1" fmla="*/ 69 h 72"/>
                  <a:gd name="T2" fmla="*/ 7 w 31"/>
                  <a:gd name="T3" fmla="*/ 0 h 72"/>
                  <a:gd name="T4" fmla="*/ 31 w 31"/>
                  <a:gd name="T5" fmla="*/ 2 h 72"/>
                  <a:gd name="T6" fmla="*/ 24 w 31"/>
                  <a:gd name="T7" fmla="*/ 72 h 72"/>
                  <a:gd name="T8" fmla="*/ 0 w 31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0" y="69"/>
                    </a:moveTo>
                    <a:lnTo>
                      <a:pt x="7" y="0"/>
                    </a:lnTo>
                    <a:lnTo>
                      <a:pt x="31" y="2"/>
                    </a:lnTo>
                    <a:lnTo>
                      <a:pt x="24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9CCC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0" name="Freeform 108">
                <a:extLst>
                  <a:ext uri="{FF2B5EF4-FFF2-40B4-BE49-F238E27FC236}">
                    <a16:creationId xmlns:a16="http://schemas.microsoft.com/office/drawing/2014/main" id="{885973B0-D7BC-41B3-95B0-E0B3F35A58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1904"/>
                <a:ext cx="31" cy="71"/>
              </a:xfrm>
              <a:custGeom>
                <a:avLst/>
                <a:gdLst>
                  <a:gd name="T0" fmla="*/ 0 w 31"/>
                  <a:gd name="T1" fmla="*/ 69 h 71"/>
                  <a:gd name="T2" fmla="*/ 8 w 31"/>
                  <a:gd name="T3" fmla="*/ 0 h 71"/>
                  <a:gd name="T4" fmla="*/ 31 w 31"/>
                  <a:gd name="T5" fmla="*/ 2 h 71"/>
                  <a:gd name="T6" fmla="*/ 24 w 31"/>
                  <a:gd name="T7" fmla="*/ 71 h 71"/>
                  <a:gd name="T8" fmla="*/ 0 w 31"/>
                  <a:gd name="T9" fmla="*/ 6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0" y="69"/>
                    </a:moveTo>
                    <a:lnTo>
                      <a:pt x="8" y="0"/>
                    </a:lnTo>
                    <a:lnTo>
                      <a:pt x="31" y="2"/>
                    </a:lnTo>
                    <a:lnTo>
                      <a:pt x="24" y="71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1" name="Freeform 109">
                <a:extLst>
                  <a:ext uri="{FF2B5EF4-FFF2-40B4-BE49-F238E27FC236}">
                    <a16:creationId xmlns:a16="http://schemas.microsoft.com/office/drawing/2014/main" id="{E952FAAE-79ED-4F86-A93C-3626A2032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1901"/>
                <a:ext cx="30" cy="72"/>
              </a:xfrm>
              <a:custGeom>
                <a:avLst/>
                <a:gdLst>
                  <a:gd name="T0" fmla="*/ 0 w 30"/>
                  <a:gd name="T1" fmla="*/ 69 h 72"/>
                  <a:gd name="T2" fmla="*/ 7 w 30"/>
                  <a:gd name="T3" fmla="*/ 0 h 72"/>
                  <a:gd name="T4" fmla="*/ 30 w 30"/>
                  <a:gd name="T5" fmla="*/ 3 h 72"/>
                  <a:gd name="T6" fmla="*/ 23 w 30"/>
                  <a:gd name="T7" fmla="*/ 72 h 72"/>
                  <a:gd name="T8" fmla="*/ 0 w 30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72">
                    <a:moveTo>
                      <a:pt x="0" y="69"/>
                    </a:moveTo>
                    <a:lnTo>
                      <a:pt x="7" y="0"/>
                    </a:lnTo>
                    <a:lnTo>
                      <a:pt x="30" y="3"/>
                    </a:lnTo>
                    <a:lnTo>
                      <a:pt x="23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7CB3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2" name="Freeform 110">
                <a:extLst>
                  <a:ext uri="{FF2B5EF4-FFF2-40B4-BE49-F238E27FC236}">
                    <a16:creationId xmlns:a16="http://schemas.microsoft.com/office/drawing/2014/main" id="{FBF8D14E-A43B-49E7-8676-A560D1259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9" y="1898"/>
                <a:ext cx="30" cy="72"/>
              </a:xfrm>
              <a:custGeom>
                <a:avLst/>
                <a:gdLst>
                  <a:gd name="T0" fmla="*/ 0 w 30"/>
                  <a:gd name="T1" fmla="*/ 69 h 72"/>
                  <a:gd name="T2" fmla="*/ 7 w 30"/>
                  <a:gd name="T3" fmla="*/ 0 h 72"/>
                  <a:gd name="T4" fmla="*/ 30 w 30"/>
                  <a:gd name="T5" fmla="*/ 2 h 72"/>
                  <a:gd name="T6" fmla="*/ 23 w 30"/>
                  <a:gd name="T7" fmla="*/ 72 h 72"/>
                  <a:gd name="T8" fmla="*/ 0 w 30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72">
                    <a:moveTo>
                      <a:pt x="0" y="69"/>
                    </a:moveTo>
                    <a:lnTo>
                      <a:pt x="7" y="0"/>
                    </a:lnTo>
                    <a:lnTo>
                      <a:pt x="30" y="2"/>
                    </a:lnTo>
                    <a:lnTo>
                      <a:pt x="23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689F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3" name="Freeform 111">
                <a:extLst>
                  <a:ext uri="{FF2B5EF4-FFF2-40B4-BE49-F238E27FC236}">
                    <a16:creationId xmlns:a16="http://schemas.microsoft.com/office/drawing/2014/main" id="{194F6BEB-A6F3-4204-A3E7-28D0AB2875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2"/>
                <a:ext cx="17" cy="17"/>
              </a:xfrm>
              <a:custGeom>
                <a:avLst/>
                <a:gdLst>
                  <a:gd name="T0" fmla="*/ 14 w 31"/>
                  <a:gd name="T1" fmla="*/ 31 h 32"/>
                  <a:gd name="T2" fmla="*/ 1 w 31"/>
                  <a:gd name="T3" fmla="*/ 14 h 32"/>
                  <a:gd name="T4" fmla="*/ 17 w 31"/>
                  <a:gd name="T5" fmla="*/ 1 h 32"/>
                  <a:gd name="T6" fmla="*/ 30 w 31"/>
                  <a:gd name="T7" fmla="*/ 17 h 32"/>
                  <a:gd name="T8" fmla="*/ 14 w 31"/>
                  <a:gd name="T9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2">
                    <a:moveTo>
                      <a:pt x="14" y="31"/>
                    </a:moveTo>
                    <a:cubicBezTo>
                      <a:pt x="6" y="30"/>
                      <a:pt x="0" y="23"/>
                      <a:pt x="1" y="14"/>
                    </a:cubicBezTo>
                    <a:cubicBezTo>
                      <a:pt x="2" y="6"/>
                      <a:pt x="9" y="0"/>
                      <a:pt x="17" y="1"/>
                    </a:cubicBezTo>
                    <a:cubicBezTo>
                      <a:pt x="25" y="2"/>
                      <a:pt x="31" y="9"/>
                      <a:pt x="30" y="17"/>
                    </a:cubicBezTo>
                    <a:cubicBezTo>
                      <a:pt x="30" y="26"/>
                      <a:pt x="22" y="32"/>
                      <a:pt x="14" y="31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4" name="Freeform 112">
                <a:extLst>
                  <a:ext uri="{FF2B5EF4-FFF2-40B4-BE49-F238E27FC236}">
                    <a16:creationId xmlns:a16="http://schemas.microsoft.com/office/drawing/2014/main" id="{E6A7D0A3-C279-46E0-A2AD-A201233ACE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" y="1866"/>
                <a:ext cx="224" cy="109"/>
              </a:xfrm>
              <a:custGeom>
                <a:avLst/>
                <a:gdLst>
                  <a:gd name="T0" fmla="*/ 5 w 410"/>
                  <a:gd name="T1" fmla="*/ 124 h 200"/>
                  <a:gd name="T2" fmla="*/ 5 w 410"/>
                  <a:gd name="T3" fmla="*/ 124 h 200"/>
                  <a:gd name="T4" fmla="*/ 75 w 410"/>
                  <a:gd name="T5" fmla="*/ 35 h 200"/>
                  <a:gd name="T6" fmla="*/ 392 w 410"/>
                  <a:gd name="T7" fmla="*/ 0 h 200"/>
                  <a:gd name="T8" fmla="*/ 410 w 410"/>
                  <a:gd name="T9" fmla="*/ 159 h 200"/>
                  <a:gd name="T10" fmla="*/ 93 w 410"/>
                  <a:gd name="T11" fmla="*/ 195 h 200"/>
                  <a:gd name="T12" fmla="*/ 5 w 410"/>
                  <a:gd name="T13" fmla="*/ 124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0" h="200">
                    <a:moveTo>
                      <a:pt x="5" y="124"/>
                    </a:moveTo>
                    <a:cubicBezTo>
                      <a:pt x="5" y="124"/>
                      <a:pt x="5" y="124"/>
                      <a:pt x="5" y="124"/>
                    </a:cubicBezTo>
                    <a:cubicBezTo>
                      <a:pt x="0" y="80"/>
                      <a:pt x="31" y="40"/>
                      <a:pt x="75" y="35"/>
                    </a:cubicBezTo>
                    <a:cubicBezTo>
                      <a:pt x="392" y="0"/>
                      <a:pt x="392" y="0"/>
                      <a:pt x="392" y="0"/>
                    </a:cubicBezTo>
                    <a:cubicBezTo>
                      <a:pt x="410" y="159"/>
                      <a:pt x="410" y="159"/>
                      <a:pt x="410" y="159"/>
                    </a:cubicBezTo>
                    <a:cubicBezTo>
                      <a:pt x="93" y="195"/>
                      <a:pt x="93" y="195"/>
                      <a:pt x="93" y="195"/>
                    </a:cubicBezTo>
                    <a:cubicBezTo>
                      <a:pt x="49" y="200"/>
                      <a:pt x="10" y="168"/>
                      <a:pt x="5" y="1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5" name="Freeform 113">
                <a:extLst>
                  <a:ext uri="{FF2B5EF4-FFF2-40B4-BE49-F238E27FC236}">
                    <a16:creationId xmlns:a16="http://schemas.microsoft.com/office/drawing/2014/main" id="{D9EB15A7-C8BC-498E-B5AC-BF1CB4446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7" y="1876"/>
                <a:ext cx="31" cy="71"/>
              </a:xfrm>
              <a:custGeom>
                <a:avLst/>
                <a:gdLst>
                  <a:gd name="T0" fmla="*/ 8 w 31"/>
                  <a:gd name="T1" fmla="*/ 71 h 71"/>
                  <a:gd name="T2" fmla="*/ 0 w 31"/>
                  <a:gd name="T3" fmla="*/ 3 h 71"/>
                  <a:gd name="T4" fmla="*/ 23 w 31"/>
                  <a:gd name="T5" fmla="*/ 0 h 71"/>
                  <a:gd name="T6" fmla="*/ 31 w 31"/>
                  <a:gd name="T7" fmla="*/ 69 h 71"/>
                  <a:gd name="T8" fmla="*/ 8 w 31"/>
                  <a:gd name="T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8" y="71"/>
                    </a:moveTo>
                    <a:lnTo>
                      <a:pt x="0" y="3"/>
                    </a:lnTo>
                    <a:lnTo>
                      <a:pt x="23" y="0"/>
                    </a:lnTo>
                    <a:lnTo>
                      <a:pt x="31" y="69"/>
                    </a:lnTo>
                    <a:lnTo>
                      <a:pt x="8" y="71"/>
                    </a:lnTo>
                    <a:close/>
                  </a:path>
                </a:pathLst>
              </a:custGeom>
              <a:solidFill>
                <a:srgbClr val="80CB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6" name="Freeform 114">
                <a:extLst>
                  <a:ext uri="{FF2B5EF4-FFF2-40B4-BE49-F238E27FC236}">
                    <a16:creationId xmlns:a16="http://schemas.microsoft.com/office/drawing/2014/main" id="{FC3880F6-7A19-4FBC-80C9-497368FF86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9" y="1879"/>
                <a:ext cx="31" cy="72"/>
              </a:xfrm>
              <a:custGeom>
                <a:avLst/>
                <a:gdLst>
                  <a:gd name="T0" fmla="*/ 8 w 31"/>
                  <a:gd name="T1" fmla="*/ 72 h 72"/>
                  <a:gd name="T2" fmla="*/ 0 w 31"/>
                  <a:gd name="T3" fmla="*/ 3 h 72"/>
                  <a:gd name="T4" fmla="*/ 23 w 31"/>
                  <a:gd name="T5" fmla="*/ 0 h 72"/>
                  <a:gd name="T6" fmla="*/ 31 w 31"/>
                  <a:gd name="T7" fmla="*/ 69 h 72"/>
                  <a:gd name="T8" fmla="*/ 8 w 31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8" y="72"/>
                    </a:moveTo>
                    <a:lnTo>
                      <a:pt x="0" y="3"/>
                    </a:lnTo>
                    <a:lnTo>
                      <a:pt x="23" y="0"/>
                    </a:lnTo>
                    <a:lnTo>
                      <a:pt x="31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4DB6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7" name="Freeform 115">
                <a:extLst>
                  <a:ext uri="{FF2B5EF4-FFF2-40B4-BE49-F238E27FC236}">
                    <a16:creationId xmlns:a16="http://schemas.microsoft.com/office/drawing/2014/main" id="{8995C09D-66A0-4A50-A710-B881A9354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" y="1882"/>
                <a:ext cx="31" cy="72"/>
              </a:xfrm>
              <a:custGeom>
                <a:avLst/>
                <a:gdLst>
                  <a:gd name="T0" fmla="*/ 8 w 31"/>
                  <a:gd name="T1" fmla="*/ 72 h 72"/>
                  <a:gd name="T2" fmla="*/ 0 w 31"/>
                  <a:gd name="T3" fmla="*/ 3 h 72"/>
                  <a:gd name="T4" fmla="*/ 24 w 31"/>
                  <a:gd name="T5" fmla="*/ 0 h 72"/>
                  <a:gd name="T6" fmla="*/ 31 w 31"/>
                  <a:gd name="T7" fmla="*/ 69 h 72"/>
                  <a:gd name="T8" fmla="*/ 8 w 31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1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26A6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8" name="Freeform 116">
                <a:extLst>
                  <a:ext uri="{FF2B5EF4-FFF2-40B4-BE49-F238E27FC236}">
                    <a16:creationId xmlns:a16="http://schemas.microsoft.com/office/drawing/2014/main" id="{02E1561F-A0A1-4AD5-A216-6818D5F3E4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3" y="1885"/>
                <a:ext cx="32" cy="72"/>
              </a:xfrm>
              <a:custGeom>
                <a:avLst/>
                <a:gdLst>
                  <a:gd name="T0" fmla="*/ 8 w 32"/>
                  <a:gd name="T1" fmla="*/ 72 h 72"/>
                  <a:gd name="T2" fmla="*/ 0 w 32"/>
                  <a:gd name="T3" fmla="*/ 3 h 72"/>
                  <a:gd name="T4" fmla="*/ 24 w 32"/>
                  <a:gd name="T5" fmla="*/ 0 h 72"/>
                  <a:gd name="T6" fmla="*/ 32 w 32"/>
                  <a:gd name="T7" fmla="*/ 70 h 72"/>
                  <a:gd name="T8" fmla="*/ 8 w 32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2" y="70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0096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9" name="Freeform 117">
                <a:extLst>
                  <a:ext uri="{FF2B5EF4-FFF2-40B4-BE49-F238E27FC236}">
                    <a16:creationId xmlns:a16="http://schemas.microsoft.com/office/drawing/2014/main" id="{5C290804-0A41-4923-BFD7-F8C5E6004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5" y="1888"/>
                <a:ext cx="32" cy="72"/>
              </a:xfrm>
              <a:custGeom>
                <a:avLst/>
                <a:gdLst>
                  <a:gd name="T0" fmla="*/ 8 w 32"/>
                  <a:gd name="T1" fmla="*/ 72 h 72"/>
                  <a:gd name="T2" fmla="*/ 0 w 32"/>
                  <a:gd name="T3" fmla="*/ 3 h 72"/>
                  <a:gd name="T4" fmla="*/ 24 w 32"/>
                  <a:gd name="T5" fmla="*/ 0 h 72"/>
                  <a:gd name="T6" fmla="*/ 32 w 32"/>
                  <a:gd name="T7" fmla="*/ 69 h 72"/>
                  <a:gd name="T8" fmla="*/ 8 w 32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2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0089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0" name="Freeform 118">
                <a:extLst>
                  <a:ext uri="{FF2B5EF4-FFF2-40B4-BE49-F238E27FC236}">
                    <a16:creationId xmlns:a16="http://schemas.microsoft.com/office/drawing/2014/main" id="{FA5CDC67-A3F0-4D12-AEF7-61F0B5829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7" y="1892"/>
                <a:ext cx="32" cy="71"/>
              </a:xfrm>
              <a:custGeom>
                <a:avLst/>
                <a:gdLst>
                  <a:gd name="T0" fmla="*/ 8 w 32"/>
                  <a:gd name="T1" fmla="*/ 71 h 71"/>
                  <a:gd name="T2" fmla="*/ 0 w 32"/>
                  <a:gd name="T3" fmla="*/ 2 h 71"/>
                  <a:gd name="T4" fmla="*/ 24 w 32"/>
                  <a:gd name="T5" fmla="*/ 0 h 71"/>
                  <a:gd name="T6" fmla="*/ 32 w 32"/>
                  <a:gd name="T7" fmla="*/ 69 h 71"/>
                  <a:gd name="T8" fmla="*/ 8 w 32"/>
                  <a:gd name="T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1">
                    <a:moveTo>
                      <a:pt x="8" y="71"/>
                    </a:moveTo>
                    <a:lnTo>
                      <a:pt x="0" y="2"/>
                    </a:lnTo>
                    <a:lnTo>
                      <a:pt x="24" y="0"/>
                    </a:lnTo>
                    <a:lnTo>
                      <a:pt x="32" y="69"/>
                    </a:lnTo>
                    <a:lnTo>
                      <a:pt x="8" y="71"/>
                    </a:lnTo>
                    <a:close/>
                  </a:path>
                </a:pathLst>
              </a:custGeom>
              <a:solidFill>
                <a:srgbClr val="0079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1" name="Freeform 119">
                <a:extLst>
                  <a:ext uri="{FF2B5EF4-FFF2-40B4-BE49-F238E27FC236}">
                    <a16:creationId xmlns:a16="http://schemas.microsoft.com/office/drawing/2014/main" id="{1F040C92-6377-4ECA-B87E-2652886FAE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3"/>
                <a:ext cx="17" cy="17"/>
              </a:xfrm>
              <a:custGeom>
                <a:avLst/>
                <a:gdLst>
                  <a:gd name="T0" fmla="*/ 17 w 31"/>
                  <a:gd name="T1" fmla="*/ 30 h 31"/>
                  <a:gd name="T2" fmla="*/ 0 w 31"/>
                  <a:gd name="T3" fmla="*/ 17 h 31"/>
                  <a:gd name="T4" fmla="*/ 14 w 31"/>
                  <a:gd name="T5" fmla="*/ 1 h 31"/>
                  <a:gd name="T6" fmla="*/ 30 w 31"/>
                  <a:gd name="T7" fmla="*/ 14 h 31"/>
                  <a:gd name="T8" fmla="*/ 17 w 31"/>
                  <a:gd name="T9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1">
                    <a:moveTo>
                      <a:pt x="17" y="30"/>
                    </a:moveTo>
                    <a:cubicBezTo>
                      <a:pt x="9" y="31"/>
                      <a:pt x="1" y="25"/>
                      <a:pt x="0" y="17"/>
                    </a:cubicBezTo>
                    <a:cubicBezTo>
                      <a:pt x="0" y="9"/>
                      <a:pt x="5" y="1"/>
                      <a:pt x="14" y="1"/>
                    </a:cubicBezTo>
                    <a:cubicBezTo>
                      <a:pt x="22" y="0"/>
                      <a:pt x="29" y="5"/>
                      <a:pt x="30" y="14"/>
                    </a:cubicBezTo>
                    <a:cubicBezTo>
                      <a:pt x="31" y="22"/>
                      <a:pt x="25" y="29"/>
                      <a:pt x="17" y="30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2" name="Freeform 120">
                <a:extLst>
                  <a:ext uri="{FF2B5EF4-FFF2-40B4-BE49-F238E27FC236}">
                    <a16:creationId xmlns:a16="http://schemas.microsoft.com/office/drawing/2014/main" id="{7868BCA3-300A-48B0-AACE-433A61A35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" y="1825"/>
                <a:ext cx="228" cy="151"/>
              </a:xfrm>
              <a:custGeom>
                <a:avLst/>
                <a:gdLst>
                  <a:gd name="T0" fmla="*/ 15 w 417"/>
                  <a:gd name="T1" fmla="*/ 213 h 276"/>
                  <a:gd name="T2" fmla="*/ 15 w 417"/>
                  <a:gd name="T3" fmla="*/ 213 h 276"/>
                  <a:gd name="T4" fmla="*/ 62 w 417"/>
                  <a:gd name="T5" fmla="*/ 110 h 276"/>
                  <a:gd name="T6" fmla="*/ 361 w 417"/>
                  <a:gd name="T7" fmla="*/ 0 h 276"/>
                  <a:gd name="T8" fmla="*/ 417 w 417"/>
                  <a:gd name="T9" fmla="*/ 150 h 276"/>
                  <a:gd name="T10" fmla="*/ 118 w 417"/>
                  <a:gd name="T11" fmla="*/ 260 h 276"/>
                  <a:gd name="T12" fmla="*/ 15 w 417"/>
                  <a:gd name="T13" fmla="*/ 213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7" h="276">
                    <a:moveTo>
                      <a:pt x="15" y="213"/>
                    </a:moveTo>
                    <a:cubicBezTo>
                      <a:pt x="15" y="213"/>
                      <a:pt x="15" y="213"/>
                      <a:pt x="15" y="213"/>
                    </a:cubicBezTo>
                    <a:cubicBezTo>
                      <a:pt x="0" y="171"/>
                      <a:pt x="21" y="125"/>
                      <a:pt x="62" y="110"/>
                    </a:cubicBezTo>
                    <a:cubicBezTo>
                      <a:pt x="361" y="0"/>
                      <a:pt x="361" y="0"/>
                      <a:pt x="361" y="0"/>
                    </a:cubicBezTo>
                    <a:cubicBezTo>
                      <a:pt x="417" y="150"/>
                      <a:pt x="417" y="150"/>
                      <a:pt x="417" y="150"/>
                    </a:cubicBezTo>
                    <a:cubicBezTo>
                      <a:pt x="118" y="260"/>
                      <a:pt x="118" y="260"/>
                      <a:pt x="118" y="260"/>
                    </a:cubicBezTo>
                    <a:cubicBezTo>
                      <a:pt x="76" y="276"/>
                      <a:pt x="30" y="254"/>
                      <a:pt x="15" y="2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3" name="Freeform 121">
                <a:extLst>
                  <a:ext uri="{FF2B5EF4-FFF2-40B4-BE49-F238E27FC236}">
                    <a16:creationId xmlns:a16="http://schemas.microsoft.com/office/drawing/2014/main" id="{BDD2F821-504A-4880-94B5-0D04B3F1A4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5" y="1837"/>
                <a:ext cx="47" cy="73"/>
              </a:xfrm>
              <a:custGeom>
                <a:avLst/>
                <a:gdLst>
                  <a:gd name="T0" fmla="*/ 24 w 47"/>
                  <a:gd name="T1" fmla="*/ 73 h 73"/>
                  <a:gd name="T2" fmla="*/ 0 w 47"/>
                  <a:gd name="T3" fmla="*/ 8 h 73"/>
                  <a:gd name="T4" fmla="*/ 23 w 47"/>
                  <a:gd name="T5" fmla="*/ 0 h 73"/>
                  <a:gd name="T6" fmla="*/ 47 w 47"/>
                  <a:gd name="T7" fmla="*/ 65 h 73"/>
                  <a:gd name="T8" fmla="*/ 24 w 47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3">
                    <a:moveTo>
                      <a:pt x="24" y="73"/>
                    </a:moveTo>
                    <a:lnTo>
                      <a:pt x="0" y="8"/>
                    </a:lnTo>
                    <a:lnTo>
                      <a:pt x="23" y="0"/>
                    </a:lnTo>
                    <a:lnTo>
                      <a:pt x="47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81D4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4" name="Freeform 122">
                <a:extLst>
                  <a:ext uri="{FF2B5EF4-FFF2-40B4-BE49-F238E27FC236}">
                    <a16:creationId xmlns:a16="http://schemas.microsoft.com/office/drawing/2014/main" id="{74E1474D-72B8-4E21-99E0-C0EA235A4C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1846"/>
                <a:ext cx="46" cy="74"/>
              </a:xfrm>
              <a:custGeom>
                <a:avLst/>
                <a:gdLst>
                  <a:gd name="T0" fmla="*/ 24 w 46"/>
                  <a:gd name="T1" fmla="*/ 74 h 74"/>
                  <a:gd name="T2" fmla="*/ 0 w 46"/>
                  <a:gd name="T3" fmla="*/ 8 h 74"/>
                  <a:gd name="T4" fmla="*/ 22 w 46"/>
                  <a:gd name="T5" fmla="*/ 0 h 74"/>
                  <a:gd name="T6" fmla="*/ 46 w 46"/>
                  <a:gd name="T7" fmla="*/ 65 h 74"/>
                  <a:gd name="T8" fmla="*/ 24 w 46"/>
                  <a:gd name="T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4">
                    <a:moveTo>
                      <a:pt x="24" y="74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4"/>
                    </a:lnTo>
                    <a:close/>
                  </a:path>
                </a:pathLst>
              </a:custGeom>
              <a:solidFill>
                <a:srgbClr val="4FC3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5" name="Freeform 123">
                <a:extLst>
                  <a:ext uri="{FF2B5EF4-FFF2-40B4-BE49-F238E27FC236}">
                    <a16:creationId xmlns:a16="http://schemas.microsoft.com/office/drawing/2014/main" id="{B46B7594-62AF-4D46-B95E-6CEC97D81D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3" y="1856"/>
                <a:ext cx="46" cy="73"/>
              </a:xfrm>
              <a:custGeom>
                <a:avLst/>
                <a:gdLst>
                  <a:gd name="T0" fmla="*/ 24 w 46"/>
                  <a:gd name="T1" fmla="*/ 73 h 73"/>
                  <a:gd name="T2" fmla="*/ 0 w 46"/>
                  <a:gd name="T3" fmla="*/ 8 h 73"/>
                  <a:gd name="T4" fmla="*/ 22 w 46"/>
                  <a:gd name="T5" fmla="*/ 0 h 73"/>
                  <a:gd name="T6" fmla="*/ 46 w 46"/>
                  <a:gd name="T7" fmla="*/ 65 h 73"/>
                  <a:gd name="T8" fmla="*/ 24 w 46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24" y="73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29B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6" name="Freeform 124">
                <a:extLst>
                  <a:ext uri="{FF2B5EF4-FFF2-40B4-BE49-F238E27FC236}">
                    <a16:creationId xmlns:a16="http://schemas.microsoft.com/office/drawing/2014/main" id="{E36BE161-1C98-4A65-9E28-29C9BF2FD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6" y="1866"/>
                <a:ext cx="47" cy="73"/>
              </a:xfrm>
              <a:custGeom>
                <a:avLst/>
                <a:gdLst>
                  <a:gd name="T0" fmla="*/ 24 w 47"/>
                  <a:gd name="T1" fmla="*/ 73 h 73"/>
                  <a:gd name="T2" fmla="*/ 0 w 47"/>
                  <a:gd name="T3" fmla="*/ 8 h 73"/>
                  <a:gd name="T4" fmla="*/ 23 w 47"/>
                  <a:gd name="T5" fmla="*/ 0 h 73"/>
                  <a:gd name="T6" fmla="*/ 47 w 47"/>
                  <a:gd name="T7" fmla="*/ 64 h 73"/>
                  <a:gd name="T8" fmla="*/ 24 w 47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3">
                    <a:moveTo>
                      <a:pt x="24" y="73"/>
                    </a:moveTo>
                    <a:lnTo>
                      <a:pt x="0" y="8"/>
                    </a:lnTo>
                    <a:lnTo>
                      <a:pt x="23" y="0"/>
                    </a:lnTo>
                    <a:lnTo>
                      <a:pt x="47" y="64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03A9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7" name="Freeform 125">
                <a:extLst>
                  <a:ext uri="{FF2B5EF4-FFF2-40B4-BE49-F238E27FC236}">
                    <a16:creationId xmlns:a16="http://schemas.microsoft.com/office/drawing/2014/main" id="{FFD2CA59-B02F-40A9-BF67-2DE923216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0" y="1875"/>
                <a:ext cx="47" cy="74"/>
              </a:xfrm>
              <a:custGeom>
                <a:avLst/>
                <a:gdLst>
                  <a:gd name="T0" fmla="*/ 24 w 47"/>
                  <a:gd name="T1" fmla="*/ 74 h 74"/>
                  <a:gd name="T2" fmla="*/ 0 w 47"/>
                  <a:gd name="T3" fmla="*/ 9 h 74"/>
                  <a:gd name="T4" fmla="*/ 22 w 47"/>
                  <a:gd name="T5" fmla="*/ 0 h 74"/>
                  <a:gd name="T6" fmla="*/ 47 w 47"/>
                  <a:gd name="T7" fmla="*/ 65 h 74"/>
                  <a:gd name="T8" fmla="*/ 24 w 47"/>
                  <a:gd name="T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4">
                    <a:moveTo>
                      <a:pt x="24" y="74"/>
                    </a:moveTo>
                    <a:lnTo>
                      <a:pt x="0" y="9"/>
                    </a:lnTo>
                    <a:lnTo>
                      <a:pt x="22" y="0"/>
                    </a:lnTo>
                    <a:lnTo>
                      <a:pt x="47" y="65"/>
                    </a:lnTo>
                    <a:lnTo>
                      <a:pt x="24" y="74"/>
                    </a:lnTo>
                    <a:close/>
                  </a:path>
                </a:pathLst>
              </a:custGeom>
              <a:solidFill>
                <a:srgbClr val="039B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8" name="Freeform 126">
                <a:extLst>
                  <a:ext uri="{FF2B5EF4-FFF2-40B4-BE49-F238E27FC236}">
                    <a16:creationId xmlns:a16="http://schemas.microsoft.com/office/drawing/2014/main" id="{1D05BC67-9929-44B7-83A6-5BA3D2873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885"/>
                <a:ext cx="46" cy="73"/>
              </a:xfrm>
              <a:custGeom>
                <a:avLst/>
                <a:gdLst>
                  <a:gd name="T0" fmla="*/ 24 w 46"/>
                  <a:gd name="T1" fmla="*/ 73 h 73"/>
                  <a:gd name="T2" fmla="*/ 0 w 46"/>
                  <a:gd name="T3" fmla="*/ 8 h 73"/>
                  <a:gd name="T4" fmla="*/ 22 w 46"/>
                  <a:gd name="T5" fmla="*/ 0 h 73"/>
                  <a:gd name="T6" fmla="*/ 46 w 46"/>
                  <a:gd name="T7" fmla="*/ 65 h 73"/>
                  <a:gd name="T8" fmla="*/ 24 w 46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24" y="73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0288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9" name="Freeform 127">
                <a:extLst>
                  <a:ext uri="{FF2B5EF4-FFF2-40B4-BE49-F238E27FC236}">
                    <a16:creationId xmlns:a16="http://schemas.microsoft.com/office/drawing/2014/main" id="{F6B8E404-D271-410F-9E05-9DAF97083D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9"/>
              </a:xfrm>
              <a:custGeom>
                <a:avLst/>
                <a:gdLst>
                  <a:gd name="T0" fmla="*/ 22 w 33"/>
                  <a:gd name="T1" fmla="*/ 31 h 34"/>
                  <a:gd name="T2" fmla="*/ 2 w 33"/>
                  <a:gd name="T3" fmla="*/ 22 h 34"/>
                  <a:gd name="T4" fmla="*/ 11 w 33"/>
                  <a:gd name="T5" fmla="*/ 3 h 34"/>
                  <a:gd name="T6" fmla="*/ 30 w 33"/>
                  <a:gd name="T7" fmla="*/ 12 h 34"/>
                  <a:gd name="T8" fmla="*/ 22 w 33"/>
                  <a:gd name="T9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4">
                    <a:moveTo>
                      <a:pt x="22" y="31"/>
                    </a:moveTo>
                    <a:cubicBezTo>
                      <a:pt x="14" y="34"/>
                      <a:pt x="5" y="30"/>
                      <a:pt x="2" y="22"/>
                    </a:cubicBezTo>
                    <a:cubicBezTo>
                      <a:pt x="0" y="15"/>
                      <a:pt x="4" y="6"/>
                      <a:pt x="11" y="3"/>
                    </a:cubicBezTo>
                    <a:cubicBezTo>
                      <a:pt x="19" y="0"/>
                      <a:pt x="28" y="4"/>
                      <a:pt x="30" y="12"/>
                    </a:cubicBezTo>
                    <a:cubicBezTo>
                      <a:pt x="33" y="20"/>
                      <a:pt x="29" y="28"/>
                      <a:pt x="22" y="31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0" name="Freeform 128">
                <a:extLst>
                  <a:ext uri="{FF2B5EF4-FFF2-40B4-BE49-F238E27FC236}">
                    <a16:creationId xmlns:a16="http://schemas.microsoft.com/office/drawing/2014/main" id="{9ED94142-CE4D-400D-BF8C-381737330E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14"/>
                <a:ext cx="492" cy="389"/>
              </a:xfrm>
              <a:custGeom>
                <a:avLst/>
                <a:gdLst>
                  <a:gd name="T0" fmla="*/ 729 w 900"/>
                  <a:gd name="T1" fmla="*/ 705 h 711"/>
                  <a:gd name="T2" fmla="*/ 34 w 900"/>
                  <a:gd name="T3" fmla="*/ 519 h 711"/>
                  <a:gd name="T4" fmla="*/ 6 w 900"/>
                  <a:gd name="T5" fmla="*/ 471 h 711"/>
                  <a:gd name="T6" fmla="*/ 123 w 900"/>
                  <a:gd name="T7" fmla="*/ 34 h 711"/>
                  <a:gd name="T8" fmla="*/ 172 w 900"/>
                  <a:gd name="T9" fmla="*/ 6 h 711"/>
                  <a:gd name="T10" fmla="*/ 866 w 900"/>
                  <a:gd name="T11" fmla="*/ 192 h 711"/>
                  <a:gd name="T12" fmla="*/ 894 w 900"/>
                  <a:gd name="T13" fmla="*/ 240 h 711"/>
                  <a:gd name="T14" fmla="*/ 777 w 900"/>
                  <a:gd name="T15" fmla="*/ 677 h 711"/>
                  <a:gd name="T16" fmla="*/ 729 w 900"/>
                  <a:gd name="T17" fmla="*/ 705 h 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0" h="711">
                    <a:moveTo>
                      <a:pt x="729" y="705"/>
                    </a:moveTo>
                    <a:cubicBezTo>
                      <a:pt x="34" y="519"/>
                      <a:pt x="34" y="519"/>
                      <a:pt x="34" y="519"/>
                    </a:cubicBezTo>
                    <a:cubicBezTo>
                      <a:pt x="13" y="514"/>
                      <a:pt x="0" y="492"/>
                      <a:pt x="6" y="471"/>
                    </a:cubicBezTo>
                    <a:cubicBezTo>
                      <a:pt x="123" y="34"/>
                      <a:pt x="123" y="34"/>
                      <a:pt x="123" y="34"/>
                    </a:cubicBezTo>
                    <a:cubicBezTo>
                      <a:pt x="129" y="12"/>
                      <a:pt x="151" y="0"/>
                      <a:pt x="172" y="6"/>
                    </a:cubicBezTo>
                    <a:cubicBezTo>
                      <a:pt x="866" y="192"/>
                      <a:pt x="866" y="192"/>
                      <a:pt x="866" y="192"/>
                    </a:cubicBezTo>
                    <a:cubicBezTo>
                      <a:pt x="888" y="197"/>
                      <a:pt x="900" y="219"/>
                      <a:pt x="894" y="240"/>
                    </a:cubicBezTo>
                    <a:cubicBezTo>
                      <a:pt x="777" y="677"/>
                      <a:pt x="777" y="677"/>
                      <a:pt x="777" y="677"/>
                    </a:cubicBezTo>
                    <a:cubicBezTo>
                      <a:pt x="772" y="698"/>
                      <a:pt x="750" y="711"/>
                      <a:pt x="729" y="705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1" name="Freeform 129">
                <a:extLst>
                  <a:ext uri="{FF2B5EF4-FFF2-40B4-BE49-F238E27FC236}">
                    <a16:creationId xmlns:a16="http://schemas.microsoft.com/office/drawing/2014/main" id="{929AA544-EC89-400D-A01F-6076D4388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2239"/>
                <a:ext cx="253" cy="299"/>
              </a:xfrm>
              <a:custGeom>
                <a:avLst/>
                <a:gdLst>
                  <a:gd name="T0" fmla="*/ 462 w 462"/>
                  <a:gd name="T1" fmla="*/ 87 h 548"/>
                  <a:gd name="T2" fmla="*/ 152 w 462"/>
                  <a:gd name="T3" fmla="*/ 5 h 548"/>
                  <a:gd name="T4" fmla="*/ 111 w 462"/>
                  <a:gd name="T5" fmla="*/ 28 h 548"/>
                  <a:gd name="T6" fmla="*/ 5 w 462"/>
                  <a:gd name="T7" fmla="*/ 424 h 548"/>
                  <a:gd name="T8" fmla="*/ 29 w 462"/>
                  <a:gd name="T9" fmla="*/ 465 h 548"/>
                  <a:gd name="T10" fmla="*/ 338 w 462"/>
                  <a:gd name="T11" fmla="*/ 548 h 548"/>
                  <a:gd name="T12" fmla="*/ 462 w 462"/>
                  <a:gd name="T13" fmla="*/ 87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8">
                    <a:moveTo>
                      <a:pt x="462" y="87"/>
                    </a:moveTo>
                    <a:cubicBezTo>
                      <a:pt x="152" y="5"/>
                      <a:pt x="152" y="5"/>
                      <a:pt x="152" y="5"/>
                    </a:cubicBezTo>
                    <a:cubicBezTo>
                      <a:pt x="134" y="0"/>
                      <a:pt x="116" y="10"/>
                      <a:pt x="111" y="28"/>
                    </a:cubicBezTo>
                    <a:cubicBezTo>
                      <a:pt x="5" y="424"/>
                      <a:pt x="5" y="424"/>
                      <a:pt x="5" y="424"/>
                    </a:cubicBezTo>
                    <a:cubicBezTo>
                      <a:pt x="0" y="442"/>
                      <a:pt x="11" y="461"/>
                      <a:pt x="29" y="465"/>
                    </a:cubicBezTo>
                    <a:cubicBezTo>
                      <a:pt x="338" y="548"/>
                      <a:pt x="338" y="548"/>
                      <a:pt x="338" y="548"/>
                    </a:cubicBezTo>
                    <a:cubicBezTo>
                      <a:pt x="462" y="87"/>
                      <a:pt x="462" y="87"/>
                      <a:pt x="462" y="87"/>
                    </a:cubicBezTo>
                  </a:path>
                </a:pathLst>
              </a:custGeom>
              <a:solidFill>
                <a:srgbClr val="454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2" name="Freeform 130">
                <a:extLst>
                  <a:ext uri="{FF2B5EF4-FFF2-40B4-BE49-F238E27FC236}">
                    <a16:creationId xmlns:a16="http://schemas.microsoft.com/office/drawing/2014/main" id="{D781287F-E95B-4B89-B4CC-A35700D4BA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4" y="2289"/>
                <a:ext cx="253" cy="299"/>
              </a:xfrm>
              <a:custGeom>
                <a:avLst/>
                <a:gdLst>
                  <a:gd name="T0" fmla="*/ 124 w 462"/>
                  <a:gd name="T1" fmla="*/ 0 h 549"/>
                  <a:gd name="T2" fmla="*/ 0 w 462"/>
                  <a:gd name="T3" fmla="*/ 461 h 549"/>
                  <a:gd name="T4" fmla="*/ 310 w 462"/>
                  <a:gd name="T5" fmla="*/ 544 h 549"/>
                  <a:gd name="T6" fmla="*/ 351 w 462"/>
                  <a:gd name="T7" fmla="*/ 520 h 549"/>
                  <a:gd name="T8" fmla="*/ 457 w 462"/>
                  <a:gd name="T9" fmla="*/ 124 h 549"/>
                  <a:gd name="T10" fmla="*/ 434 w 462"/>
                  <a:gd name="T11" fmla="*/ 83 h 549"/>
                  <a:gd name="T12" fmla="*/ 124 w 462"/>
                  <a:gd name="T13" fmla="*/ 0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9">
                    <a:moveTo>
                      <a:pt x="124" y="0"/>
                    </a:moveTo>
                    <a:cubicBezTo>
                      <a:pt x="0" y="461"/>
                      <a:pt x="0" y="461"/>
                      <a:pt x="0" y="461"/>
                    </a:cubicBezTo>
                    <a:cubicBezTo>
                      <a:pt x="310" y="544"/>
                      <a:pt x="310" y="544"/>
                      <a:pt x="310" y="544"/>
                    </a:cubicBezTo>
                    <a:cubicBezTo>
                      <a:pt x="328" y="549"/>
                      <a:pt x="346" y="538"/>
                      <a:pt x="351" y="520"/>
                    </a:cubicBezTo>
                    <a:cubicBezTo>
                      <a:pt x="457" y="124"/>
                      <a:pt x="457" y="124"/>
                      <a:pt x="457" y="124"/>
                    </a:cubicBezTo>
                    <a:cubicBezTo>
                      <a:pt x="462" y="106"/>
                      <a:pt x="451" y="88"/>
                      <a:pt x="434" y="83"/>
                    </a:cubicBezTo>
                    <a:cubicBezTo>
                      <a:pt x="124" y="0"/>
                      <a:pt x="124" y="0"/>
                      <a:pt x="124" y="0"/>
                    </a:cubicBezTo>
                  </a:path>
                </a:pathLst>
              </a:custGeom>
              <a:solidFill>
                <a:srgbClr val="454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3" name="Freeform 131">
                <a:extLst>
                  <a:ext uri="{FF2B5EF4-FFF2-40B4-BE49-F238E27FC236}">
                    <a16:creationId xmlns:a16="http://schemas.microsoft.com/office/drawing/2014/main" id="{3A7A8ECC-86C1-4AB3-A109-4BEB37B6E4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9" y="2234"/>
                <a:ext cx="252" cy="299"/>
              </a:xfrm>
              <a:custGeom>
                <a:avLst/>
                <a:gdLst>
                  <a:gd name="T0" fmla="*/ 461 w 461"/>
                  <a:gd name="T1" fmla="*/ 87 h 548"/>
                  <a:gd name="T2" fmla="*/ 152 w 461"/>
                  <a:gd name="T3" fmla="*/ 4 h 548"/>
                  <a:gd name="T4" fmla="*/ 111 w 461"/>
                  <a:gd name="T5" fmla="*/ 28 h 548"/>
                  <a:gd name="T6" fmla="*/ 5 w 461"/>
                  <a:gd name="T7" fmla="*/ 424 h 548"/>
                  <a:gd name="T8" fmla="*/ 28 w 461"/>
                  <a:gd name="T9" fmla="*/ 465 h 548"/>
                  <a:gd name="T10" fmla="*/ 338 w 461"/>
                  <a:gd name="T11" fmla="*/ 548 h 548"/>
                  <a:gd name="T12" fmla="*/ 461 w 461"/>
                  <a:gd name="T13" fmla="*/ 87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1" h="548">
                    <a:moveTo>
                      <a:pt x="461" y="87"/>
                    </a:moveTo>
                    <a:cubicBezTo>
                      <a:pt x="152" y="4"/>
                      <a:pt x="152" y="4"/>
                      <a:pt x="152" y="4"/>
                    </a:cubicBezTo>
                    <a:cubicBezTo>
                      <a:pt x="134" y="0"/>
                      <a:pt x="115" y="10"/>
                      <a:pt x="111" y="28"/>
                    </a:cubicBezTo>
                    <a:cubicBezTo>
                      <a:pt x="5" y="424"/>
                      <a:pt x="5" y="424"/>
                      <a:pt x="5" y="424"/>
                    </a:cubicBezTo>
                    <a:cubicBezTo>
                      <a:pt x="0" y="442"/>
                      <a:pt x="10" y="460"/>
                      <a:pt x="28" y="465"/>
                    </a:cubicBezTo>
                    <a:cubicBezTo>
                      <a:pt x="338" y="548"/>
                      <a:pt x="338" y="548"/>
                      <a:pt x="338" y="548"/>
                    </a:cubicBezTo>
                    <a:cubicBezTo>
                      <a:pt x="461" y="87"/>
                      <a:pt x="461" y="87"/>
                      <a:pt x="461" y="87"/>
                    </a:cubicBezTo>
                  </a:path>
                </a:pathLst>
              </a:cu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4" name="Freeform 132">
                <a:extLst>
                  <a:ext uri="{FF2B5EF4-FFF2-40B4-BE49-F238E27FC236}">
                    <a16:creationId xmlns:a16="http://schemas.microsoft.com/office/drawing/2014/main" id="{0E2781FA-0F5E-4D2B-9452-AA49BBBDE9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1" y="2284"/>
                <a:ext cx="253" cy="299"/>
              </a:xfrm>
              <a:custGeom>
                <a:avLst/>
                <a:gdLst>
                  <a:gd name="T0" fmla="*/ 123 w 462"/>
                  <a:gd name="T1" fmla="*/ 0 h 548"/>
                  <a:gd name="T2" fmla="*/ 0 w 462"/>
                  <a:gd name="T3" fmla="*/ 461 h 548"/>
                  <a:gd name="T4" fmla="*/ 310 w 462"/>
                  <a:gd name="T5" fmla="*/ 544 h 548"/>
                  <a:gd name="T6" fmla="*/ 351 w 462"/>
                  <a:gd name="T7" fmla="*/ 520 h 548"/>
                  <a:gd name="T8" fmla="*/ 457 w 462"/>
                  <a:gd name="T9" fmla="*/ 124 h 548"/>
                  <a:gd name="T10" fmla="*/ 433 w 462"/>
                  <a:gd name="T11" fmla="*/ 83 h 548"/>
                  <a:gd name="T12" fmla="*/ 123 w 462"/>
                  <a:gd name="T13" fmla="*/ 0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8">
                    <a:moveTo>
                      <a:pt x="123" y="0"/>
                    </a:moveTo>
                    <a:cubicBezTo>
                      <a:pt x="0" y="461"/>
                      <a:pt x="0" y="461"/>
                      <a:pt x="0" y="461"/>
                    </a:cubicBezTo>
                    <a:cubicBezTo>
                      <a:pt x="310" y="544"/>
                      <a:pt x="310" y="544"/>
                      <a:pt x="310" y="544"/>
                    </a:cubicBezTo>
                    <a:cubicBezTo>
                      <a:pt x="328" y="548"/>
                      <a:pt x="346" y="538"/>
                      <a:pt x="351" y="520"/>
                    </a:cubicBezTo>
                    <a:cubicBezTo>
                      <a:pt x="457" y="124"/>
                      <a:pt x="457" y="124"/>
                      <a:pt x="457" y="124"/>
                    </a:cubicBezTo>
                    <a:cubicBezTo>
                      <a:pt x="462" y="106"/>
                      <a:pt x="451" y="88"/>
                      <a:pt x="433" y="83"/>
                    </a:cubicBezTo>
                    <a:cubicBezTo>
                      <a:pt x="123" y="0"/>
                      <a:pt x="123" y="0"/>
                      <a:pt x="123" y="0"/>
                    </a:cubicBezTo>
                  </a:path>
                </a:pathLst>
              </a:cu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5" name="Freeform 133">
                <a:extLst>
                  <a:ext uri="{FF2B5EF4-FFF2-40B4-BE49-F238E27FC236}">
                    <a16:creationId xmlns:a16="http://schemas.microsoft.com/office/drawing/2014/main" id="{F75E5D12-B8DA-4CA5-BD74-245710789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2281"/>
                <a:ext cx="249" cy="252"/>
              </a:xfrm>
              <a:custGeom>
                <a:avLst/>
                <a:gdLst>
                  <a:gd name="T0" fmla="*/ 451 w 455"/>
                  <a:gd name="T1" fmla="*/ 0 h 462"/>
                  <a:gd name="T2" fmla="*/ 329 w 455"/>
                  <a:gd name="T3" fmla="*/ 457 h 462"/>
                  <a:gd name="T4" fmla="*/ 19 w 455"/>
                  <a:gd name="T5" fmla="*/ 374 h 462"/>
                  <a:gd name="T6" fmla="*/ 0 w 455"/>
                  <a:gd name="T7" fmla="*/ 361 h 462"/>
                  <a:gd name="T8" fmla="*/ 22 w 455"/>
                  <a:gd name="T9" fmla="*/ 379 h 462"/>
                  <a:gd name="T10" fmla="*/ 332 w 455"/>
                  <a:gd name="T11" fmla="*/ 462 h 462"/>
                  <a:gd name="T12" fmla="*/ 455 w 455"/>
                  <a:gd name="T13" fmla="*/ 1 h 462"/>
                  <a:gd name="T14" fmla="*/ 451 w 455"/>
                  <a:gd name="T15" fmla="*/ 0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5" h="462">
                    <a:moveTo>
                      <a:pt x="451" y="0"/>
                    </a:moveTo>
                    <a:cubicBezTo>
                      <a:pt x="329" y="457"/>
                      <a:pt x="329" y="457"/>
                      <a:pt x="329" y="457"/>
                    </a:cubicBezTo>
                    <a:cubicBezTo>
                      <a:pt x="19" y="374"/>
                      <a:pt x="19" y="374"/>
                      <a:pt x="19" y="374"/>
                    </a:cubicBezTo>
                    <a:cubicBezTo>
                      <a:pt x="11" y="372"/>
                      <a:pt x="5" y="367"/>
                      <a:pt x="0" y="361"/>
                    </a:cubicBezTo>
                    <a:cubicBezTo>
                      <a:pt x="4" y="369"/>
                      <a:pt x="12" y="376"/>
                      <a:pt x="22" y="379"/>
                    </a:cubicBezTo>
                    <a:cubicBezTo>
                      <a:pt x="332" y="462"/>
                      <a:pt x="332" y="462"/>
                      <a:pt x="332" y="462"/>
                    </a:cubicBezTo>
                    <a:cubicBezTo>
                      <a:pt x="455" y="1"/>
                      <a:pt x="455" y="1"/>
                      <a:pt x="455" y="1"/>
                    </a:cubicBezTo>
                    <a:cubicBezTo>
                      <a:pt x="451" y="0"/>
                      <a:pt x="451" y="0"/>
                      <a:pt x="451" y="0"/>
                    </a:cubicBezTo>
                  </a:path>
                </a:pathLst>
              </a:custGeom>
              <a:solidFill>
                <a:srgbClr val="D6D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6" name="Freeform 134">
                <a:extLst>
                  <a:ext uri="{FF2B5EF4-FFF2-40B4-BE49-F238E27FC236}">
                    <a16:creationId xmlns:a16="http://schemas.microsoft.com/office/drawing/2014/main" id="{6F6C67F7-A486-4D39-9157-733A17DD2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1" y="2336"/>
                <a:ext cx="252" cy="247"/>
              </a:xfrm>
              <a:custGeom>
                <a:avLst/>
                <a:gdLst>
                  <a:gd name="T0" fmla="*/ 452 w 460"/>
                  <a:gd name="T1" fmla="*/ 0 h 452"/>
                  <a:gd name="T2" fmla="*/ 454 w 460"/>
                  <a:gd name="T3" fmla="*/ 22 h 452"/>
                  <a:gd name="T4" fmla="*/ 348 w 460"/>
                  <a:gd name="T5" fmla="*/ 418 h 452"/>
                  <a:gd name="T6" fmla="*/ 307 w 460"/>
                  <a:gd name="T7" fmla="*/ 442 h 452"/>
                  <a:gd name="T8" fmla="*/ 1 w 460"/>
                  <a:gd name="T9" fmla="*/ 360 h 452"/>
                  <a:gd name="T10" fmla="*/ 0 w 460"/>
                  <a:gd name="T11" fmla="*/ 365 h 452"/>
                  <a:gd name="T12" fmla="*/ 310 w 460"/>
                  <a:gd name="T13" fmla="*/ 448 h 452"/>
                  <a:gd name="T14" fmla="*/ 351 w 460"/>
                  <a:gd name="T15" fmla="*/ 424 h 452"/>
                  <a:gd name="T16" fmla="*/ 457 w 460"/>
                  <a:gd name="T17" fmla="*/ 28 h 452"/>
                  <a:gd name="T18" fmla="*/ 452 w 460"/>
                  <a:gd name="T19" fmla="*/ 0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0" h="452">
                    <a:moveTo>
                      <a:pt x="452" y="0"/>
                    </a:moveTo>
                    <a:cubicBezTo>
                      <a:pt x="455" y="7"/>
                      <a:pt x="456" y="15"/>
                      <a:pt x="454" y="22"/>
                    </a:cubicBezTo>
                    <a:cubicBezTo>
                      <a:pt x="348" y="418"/>
                      <a:pt x="348" y="418"/>
                      <a:pt x="348" y="418"/>
                    </a:cubicBezTo>
                    <a:cubicBezTo>
                      <a:pt x="343" y="436"/>
                      <a:pt x="324" y="447"/>
                      <a:pt x="307" y="442"/>
                    </a:cubicBezTo>
                    <a:cubicBezTo>
                      <a:pt x="1" y="360"/>
                      <a:pt x="1" y="360"/>
                      <a:pt x="1" y="360"/>
                    </a:cubicBezTo>
                    <a:cubicBezTo>
                      <a:pt x="0" y="365"/>
                      <a:pt x="0" y="365"/>
                      <a:pt x="0" y="365"/>
                    </a:cubicBezTo>
                    <a:cubicBezTo>
                      <a:pt x="310" y="448"/>
                      <a:pt x="310" y="448"/>
                      <a:pt x="310" y="448"/>
                    </a:cubicBezTo>
                    <a:cubicBezTo>
                      <a:pt x="328" y="452"/>
                      <a:pt x="346" y="442"/>
                      <a:pt x="351" y="424"/>
                    </a:cubicBezTo>
                    <a:cubicBezTo>
                      <a:pt x="457" y="28"/>
                      <a:pt x="457" y="28"/>
                      <a:pt x="457" y="28"/>
                    </a:cubicBezTo>
                    <a:cubicBezTo>
                      <a:pt x="460" y="18"/>
                      <a:pt x="457" y="8"/>
                      <a:pt x="452" y="0"/>
                    </a:cubicBezTo>
                    <a:close/>
                  </a:path>
                </a:pathLst>
              </a:custGeom>
              <a:solidFill>
                <a:srgbClr val="D6D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7" name="Freeform 135">
                <a:extLst>
                  <a:ext uri="{FF2B5EF4-FFF2-40B4-BE49-F238E27FC236}">
                    <a16:creationId xmlns:a16="http://schemas.microsoft.com/office/drawing/2014/main" id="{D0557176-3D17-4324-8754-7AA2CAF2B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8" y="2301"/>
                <a:ext cx="10" cy="9"/>
              </a:xfrm>
              <a:custGeom>
                <a:avLst/>
                <a:gdLst>
                  <a:gd name="T0" fmla="*/ 16 w 17"/>
                  <a:gd name="T1" fmla="*/ 10 h 16"/>
                  <a:gd name="T2" fmla="*/ 6 w 17"/>
                  <a:gd name="T3" fmla="*/ 15 h 16"/>
                  <a:gd name="T4" fmla="*/ 1 w 17"/>
                  <a:gd name="T5" fmla="*/ 6 h 16"/>
                  <a:gd name="T6" fmla="*/ 10 w 17"/>
                  <a:gd name="T7" fmla="*/ 1 h 16"/>
                  <a:gd name="T8" fmla="*/ 16 w 17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6">
                    <a:moveTo>
                      <a:pt x="16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7" y="6"/>
                      <a:pt x="16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8" name="Freeform 136">
                <a:extLst>
                  <a:ext uri="{FF2B5EF4-FFF2-40B4-BE49-F238E27FC236}">
                    <a16:creationId xmlns:a16="http://schemas.microsoft.com/office/drawing/2014/main" id="{452F5131-FBC4-431E-9881-F2D0BAAC8F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8" y="2341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5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9" name="Freeform 137">
                <a:extLst>
                  <a:ext uri="{FF2B5EF4-FFF2-40B4-BE49-F238E27FC236}">
                    <a16:creationId xmlns:a16="http://schemas.microsoft.com/office/drawing/2014/main" id="{9E0AA0F9-CDB4-44C5-92CE-983366CB74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7" y="2380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6 w 17"/>
                  <a:gd name="T3" fmla="*/ 16 h 17"/>
                  <a:gd name="T4" fmla="*/ 1 w 17"/>
                  <a:gd name="T5" fmla="*/ 7 h 17"/>
                  <a:gd name="T6" fmla="*/ 10 w 17"/>
                  <a:gd name="T7" fmla="*/ 2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0" y="17"/>
                      <a:pt x="6" y="16"/>
                    </a:cubicBezTo>
                    <a:cubicBezTo>
                      <a:pt x="2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2"/>
                    </a:cubicBezTo>
                    <a:cubicBezTo>
                      <a:pt x="14" y="3"/>
                      <a:pt x="17" y="7"/>
                      <a:pt x="16" y="11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0" name="Freeform 138">
                <a:extLst>
                  <a:ext uri="{FF2B5EF4-FFF2-40B4-BE49-F238E27FC236}">
                    <a16:creationId xmlns:a16="http://schemas.microsoft.com/office/drawing/2014/main" id="{B069C2DA-3D81-4ECD-9BBA-D3606A29E9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5" y="2499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1" name="Freeform 139">
                <a:extLst>
                  <a:ext uri="{FF2B5EF4-FFF2-40B4-BE49-F238E27FC236}">
                    <a16:creationId xmlns:a16="http://schemas.microsoft.com/office/drawing/2014/main" id="{C16E0FBA-C5A8-4B0F-ACB6-ED184B66D4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" y="2459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1 w 17"/>
                  <a:gd name="T7" fmla="*/ 2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7" y="0"/>
                      <a:pt x="11" y="2"/>
                    </a:cubicBezTo>
                    <a:cubicBezTo>
                      <a:pt x="15" y="3"/>
                      <a:pt x="17" y="7"/>
                      <a:pt x="16" y="11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2" name="Freeform 140">
                <a:extLst>
                  <a:ext uri="{FF2B5EF4-FFF2-40B4-BE49-F238E27FC236}">
                    <a16:creationId xmlns:a16="http://schemas.microsoft.com/office/drawing/2014/main" id="{9D8FFD49-F164-47E9-A903-62A9498860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6" y="2420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3" name="Freeform 141">
                <a:extLst>
                  <a:ext uri="{FF2B5EF4-FFF2-40B4-BE49-F238E27FC236}">
                    <a16:creationId xmlns:a16="http://schemas.microsoft.com/office/drawing/2014/main" id="{7196D28A-6498-4F67-A11F-9F5BF76DCA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8" y="2309"/>
                <a:ext cx="10" cy="9"/>
              </a:xfrm>
              <a:custGeom>
                <a:avLst/>
                <a:gdLst>
                  <a:gd name="T0" fmla="*/ 16 w 17"/>
                  <a:gd name="T1" fmla="*/ 11 h 17"/>
                  <a:gd name="T2" fmla="*/ 6 w 17"/>
                  <a:gd name="T3" fmla="*/ 16 h 17"/>
                  <a:gd name="T4" fmla="*/ 1 w 17"/>
                  <a:gd name="T5" fmla="*/ 7 h 17"/>
                  <a:gd name="T6" fmla="*/ 10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0" y="17"/>
                      <a:pt x="6" y="16"/>
                    </a:cubicBezTo>
                    <a:cubicBezTo>
                      <a:pt x="2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1"/>
                    </a:cubicBezTo>
                    <a:cubicBezTo>
                      <a:pt x="14" y="2"/>
                      <a:pt x="17" y="7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4" name="Freeform 142">
                <a:extLst>
                  <a:ext uri="{FF2B5EF4-FFF2-40B4-BE49-F238E27FC236}">
                    <a16:creationId xmlns:a16="http://schemas.microsoft.com/office/drawing/2014/main" id="{DFEEF809-7DE3-4CF5-9B6A-CA52D021E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" y="2349"/>
                <a:ext cx="9" cy="8"/>
              </a:xfrm>
              <a:custGeom>
                <a:avLst/>
                <a:gdLst>
                  <a:gd name="T0" fmla="*/ 15 w 16"/>
                  <a:gd name="T1" fmla="*/ 10 h 16"/>
                  <a:gd name="T2" fmla="*/ 6 w 16"/>
                  <a:gd name="T3" fmla="*/ 15 h 16"/>
                  <a:gd name="T4" fmla="*/ 1 w 16"/>
                  <a:gd name="T5" fmla="*/ 6 h 16"/>
                  <a:gd name="T6" fmla="*/ 10 w 16"/>
                  <a:gd name="T7" fmla="*/ 1 h 16"/>
                  <a:gd name="T8" fmla="*/ 15 w 16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5" name="Freeform 143">
                <a:extLst>
                  <a:ext uri="{FF2B5EF4-FFF2-40B4-BE49-F238E27FC236}">
                    <a16:creationId xmlns:a16="http://schemas.microsoft.com/office/drawing/2014/main" id="{27271D7D-6C8C-4898-B62F-50227D4D2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" y="2388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0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1"/>
                    </a:cubicBezTo>
                    <a:cubicBezTo>
                      <a:pt x="14" y="2"/>
                      <a:pt x="17" y="7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6" name="Freeform 144">
                <a:extLst>
                  <a:ext uri="{FF2B5EF4-FFF2-40B4-BE49-F238E27FC236}">
                    <a16:creationId xmlns:a16="http://schemas.microsoft.com/office/drawing/2014/main" id="{A01E69B0-9E9D-4800-A071-94D724630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507"/>
                <a:ext cx="10" cy="9"/>
              </a:xfrm>
              <a:custGeom>
                <a:avLst/>
                <a:gdLst>
                  <a:gd name="T0" fmla="*/ 15 w 17"/>
                  <a:gd name="T1" fmla="*/ 10 h 16"/>
                  <a:gd name="T2" fmla="*/ 6 w 17"/>
                  <a:gd name="T3" fmla="*/ 15 h 16"/>
                  <a:gd name="T4" fmla="*/ 1 w 17"/>
                  <a:gd name="T5" fmla="*/ 6 h 16"/>
                  <a:gd name="T6" fmla="*/ 10 w 17"/>
                  <a:gd name="T7" fmla="*/ 1 h 16"/>
                  <a:gd name="T8" fmla="*/ 15 w 17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7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7" name="Freeform 145">
                <a:extLst>
                  <a:ext uri="{FF2B5EF4-FFF2-40B4-BE49-F238E27FC236}">
                    <a16:creationId xmlns:a16="http://schemas.microsoft.com/office/drawing/2014/main" id="{97C5AAC5-A058-45DE-BE4F-788BFB4F9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" y="2467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1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7" y="0"/>
                      <a:pt x="11" y="1"/>
                    </a:cubicBezTo>
                    <a:cubicBezTo>
                      <a:pt x="15" y="2"/>
                      <a:pt x="17" y="6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8" name="Freeform 146">
                <a:extLst>
                  <a:ext uri="{FF2B5EF4-FFF2-40B4-BE49-F238E27FC236}">
                    <a16:creationId xmlns:a16="http://schemas.microsoft.com/office/drawing/2014/main" id="{3FCABD4D-5EC9-47E5-B42A-32719E9DF6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28"/>
                <a:ext cx="8" cy="9"/>
              </a:xfrm>
              <a:custGeom>
                <a:avLst/>
                <a:gdLst>
                  <a:gd name="T0" fmla="*/ 15 w 16"/>
                  <a:gd name="T1" fmla="*/ 10 h 16"/>
                  <a:gd name="T2" fmla="*/ 6 w 16"/>
                  <a:gd name="T3" fmla="*/ 15 h 16"/>
                  <a:gd name="T4" fmla="*/ 1 w 16"/>
                  <a:gd name="T5" fmla="*/ 6 h 16"/>
                  <a:gd name="T6" fmla="*/ 10 w 16"/>
                  <a:gd name="T7" fmla="*/ 1 h 16"/>
                  <a:gd name="T8" fmla="*/ 15 w 16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9" name="Freeform 147">
                <a:extLst>
                  <a:ext uri="{FF2B5EF4-FFF2-40B4-BE49-F238E27FC236}">
                    <a16:creationId xmlns:a16="http://schemas.microsoft.com/office/drawing/2014/main" id="{CC954639-0540-4E3E-B78E-901088D35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304"/>
                <a:ext cx="30" cy="11"/>
              </a:xfrm>
              <a:custGeom>
                <a:avLst/>
                <a:gdLst>
                  <a:gd name="T0" fmla="*/ 55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5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5" y="18"/>
                    </a:moveTo>
                    <a:cubicBezTo>
                      <a:pt x="55" y="19"/>
                      <a:pt x="54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2"/>
                      <a:pt x="1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5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0" name="Freeform 148">
                <a:extLst>
                  <a:ext uri="{FF2B5EF4-FFF2-40B4-BE49-F238E27FC236}">
                    <a16:creationId xmlns:a16="http://schemas.microsoft.com/office/drawing/2014/main" id="{C26C0854-DBE7-47BD-BECE-0B8C3B447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304"/>
                <a:ext cx="30" cy="9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4 w 55"/>
                  <a:gd name="T5" fmla="*/ 15 h 16"/>
                  <a:gd name="T6" fmla="*/ 55 w 55"/>
                  <a:gd name="T7" fmla="*/ 16 h 16"/>
                  <a:gd name="T8" fmla="*/ 53 w 55"/>
                  <a:gd name="T9" fmla="*/ 13 h 16"/>
                  <a:gd name="T10" fmla="*/ 5 w 55"/>
                  <a:gd name="T11" fmla="*/ 0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4" y="15"/>
                      <a:pt x="55" y="15"/>
                      <a:pt x="55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4"/>
                      <a:pt x="0" y="6"/>
                      <a:pt x="1" y="7"/>
                    </a:cubicBezTo>
                    <a:cubicBezTo>
                      <a:pt x="1" y="6"/>
                      <a:pt x="1" y="5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1" name="Freeform 149">
                <a:extLst>
                  <a:ext uri="{FF2B5EF4-FFF2-40B4-BE49-F238E27FC236}">
                    <a16:creationId xmlns:a16="http://schemas.microsoft.com/office/drawing/2014/main" id="{2BC59B2B-7C53-4333-94D6-E061631EBE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8" y="2308"/>
                <a:ext cx="4" cy="5"/>
              </a:xfrm>
              <a:custGeom>
                <a:avLst/>
                <a:gdLst>
                  <a:gd name="T0" fmla="*/ 0 w 4"/>
                  <a:gd name="T1" fmla="*/ 4 h 5"/>
                  <a:gd name="T2" fmla="*/ 0 w 4"/>
                  <a:gd name="T3" fmla="*/ 4 h 5"/>
                  <a:gd name="T4" fmla="*/ 3 w 4"/>
                  <a:gd name="T5" fmla="*/ 5 h 5"/>
                  <a:gd name="T6" fmla="*/ 3 w 4"/>
                  <a:gd name="T7" fmla="*/ 5 h 5"/>
                  <a:gd name="T8" fmla="*/ 0 w 4"/>
                  <a:gd name="T9" fmla="*/ 4 h 5"/>
                  <a:gd name="T10" fmla="*/ 1 w 4"/>
                  <a:gd name="T11" fmla="*/ 0 h 5"/>
                  <a:gd name="T12" fmla="*/ 1 w 4"/>
                  <a:gd name="T13" fmla="*/ 0 h 5"/>
                  <a:gd name="T14" fmla="*/ 4 w 4"/>
                  <a:gd name="T15" fmla="*/ 0 h 5"/>
                  <a:gd name="T16" fmla="*/ 4 w 4"/>
                  <a:gd name="T17" fmla="*/ 0 h 5"/>
                  <a:gd name="T18" fmla="*/ 1 w 4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5">
                    <a:moveTo>
                      <a:pt x="0" y="4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4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2" name="Freeform 150">
                <a:extLst>
                  <a:ext uri="{FF2B5EF4-FFF2-40B4-BE49-F238E27FC236}">
                    <a16:creationId xmlns:a16="http://schemas.microsoft.com/office/drawing/2014/main" id="{D98D57EF-CC79-4C01-8AFC-BEFECF1552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8" y="2308"/>
                <a:ext cx="4" cy="5"/>
              </a:xfrm>
              <a:custGeom>
                <a:avLst/>
                <a:gdLst>
                  <a:gd name="T0" fmla="*/ 0 w 4"/>
                  <a:gd name="T1" fmla="*/ 4 h 5"/>
                  <a:gd name="T2" fmla="*/ 0 w 4"/>
                  <a:gd name="T3" fmla="*/ 4 h 5"/>
                  <a:gd name="T4" fmla="*/ 3 w 4"/>
                  <a:gd name="T5" fmla="*/ 5 h 5"/>
                  <a:gd name="T6" fmla="*/ 3 w 4"/>
                  <a:gd name="T7" fmla="*/ 5 h 5"/>
                  <a:gd name="T8" fmla="*/ 0 w 4"/>
                  <a:gd name="T9" fmla="*/ 4 h 5"/>
                  <a:gd name="T10" fmla="*/ 1 w 4"/>
                  <a:gd name="T11" fmla="*/ 0 h 5"/>
                  <a:gd name="T12" fmla="*/ 1 w 4"/>
                  <a:gd name="T13" fmla="*/ 0 h 5"/>
                  <a:gd name="T14" fmla="*/ 4 w 4"/>
                  <a:gd name="T15" fmla="*/ 0 h 5"/>
                  <a:gd name="T16" fmla="*/ 4 w 4"/>
                  <a:gd name="T17" fmla="*/ 0 h 5"/>
                  <a:gd name="T18" fmla="*/ 1 w 4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5">
                    <a:moveTo>
                      <a:pt x="0" y="4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4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3" name="Freeform 151">
                <a:extLst>
                  <a:ext uri="{FF2B5EF4-FFF2-40B4-BE49-F238E27FC236}">
                    <a16:creationId xmlns:a16="http://schemas.microsoft.com/office/drawing/2014/main" id="{98D45B23-5FC9-4F77-B8F1-64A0C4AFC4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7" y="2307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1 w 2"/>
                  <a:gd name="T5" fmla="*/ 5 h 5"/>
                  <a:gd name="T6" fmla="*/ 1 w 2"/>
                  <a:gd name="T7" fmla="*/ 5 h 5"/>
                  <a:gd name="T8" fmla="*/ 0 w 2"/>
                  <a:gd name="T9" fmla="*/ 5 h 5"/>
                  <a:gd name="T10" fmla="*/ 2 w 2"/>
                  <a:gd name="T11" fmla="*/ 0 h 5"/>
                  <a:gd name="T12" fmla="*/ 2 w 2"/>
                  <a:gd name="T13" fmla="*/ 0 h 5"/>
                  <a:gd name="T14" fmla="*/ 2 w 2"/>
                  <a:gd name="T15" fmla="*/ 1 h 5"/>
                  <a:gd name="T16" fmla="*/ 2 w 2"/>
                  <a:gd name="T17" fmla="*/ 1 h 5"/>
                  <a:gd name="T18" fmla="*/ 2 w 2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5"/>
                    </a:lnTo>
                    <a:close/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4" name="Freeform 152">
                <a:extLst>
                  <a:ext uri="{FF2B5EF4-FFF2-40B4-BE49-F238E27FC236}">
                    <a16:creationId xmlns:a16="http://schemas.microsoft.com/office/drawing/2014/main" id="{0450F220-CED6-442A-A883-5442B54462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7" y="2307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1 w 2"/>
                  <a:gd name="T5" fmla="*/ 5 h 5"/>
                  <a:gd name="T6" fmla="*/ 1 w 2"/>
                  <a:gd name="T7" fmla="*/ 5 h 5"/>
                  <a:gd name="T8" fmla="*/ 0 w 2"/>
                  <a:gd name="T9" fmla="*/ 5 h 5"/>
                  <a:gd name="T10" fmla="*/ 2 w 2"/>
                  <a:gd name="T11" fmla="*/ 0 h 5"/>
                  <a:gd name="T12" fmla="*/ 2 w 2"/>
                  <a:gd name="T13" fmla="*/ 0 h 5"/>
                  <a:gd name="T14" fmla="*/ 2 w 2"/>
                  <a:gd name="T15" fmla="*/ 1 h 5"/>
                  <a:gd name="T16" fmla="*/ 2 w 2"/>
                  <a:gd name="T17" fmla="*/ 1 h 5"/>
                  <a:gd name="T18" fmla="*/ 2 w 2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5"/>
                    </a:lnTo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5" name="Freeform 153">
                <a:extLst>
                  <a:ext uri="{FF2B5EF4-FFF2-40B4-BE49-F238E27FC236}">
                    <a16:creationId xmlns:a16="http://schemas.microsoft.com/office/drawing/2014/main" id="{DE3EECDF-EAA2-4843-A36C-3CFE2712A6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1" y="2308"/>
                <a:ext cx="9" cy="7"/>
              </a:xfrm>
              <a:custGeom>
                <a:avLst/>
                <a:gdLst>
                  <a:gd name="T0" fmla="*/ 0 w 9"/>
                  <a:gd name="T1" fmla="*/ 5 h 7"/>
                  <a:gd name="T2" fmla="*/ 0 w 9"/>
                  <a:gd name="T3" fmla="*/ 5 h 7"/>
                  <a:gd name="T4" fmla="*/ 8 w 9"/>
                  <a:gd name="T5" fmla="*/ 7 h 7"/>
                  <a:gd name="T6" fmla="*/ 8 w 9"/>
                  <a:gd name="T7" fmla="*/ 7 h 7"/>
                  <a:gd name="T8" fmla="*/ 0 w 9"/>
                  <a:gd name="T9" fmla="*/ 5 h 7"/>
                  <a:gd name="T10" fmla="*/ 1 w 9"/>
                  <a:gd name="T11" fmla="*/ 0 h 7"/>
                  <a:gd name="T12" fmla="*/ 1 w 9"/>
                  <a:gd name="T13" fmla="*/ 0 h 7"/>
                  <a:gd name="T14" fmla="*/ 9 w 9"/>
                  <a:gd name="T15" fmla="*/ 2 h 7"/>
                  <a:gd name="T16" fmla="*/ 9 w 9"/>
                  <a:gd name="T17" fmla="*/ 2 h 7"/>
                  <a:gd name="T18" fmla="*/ 1 w 9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7">
                    <a:moveTo>
                      <a:pt x="0" y="5"/>
                    </a:moveTo>
                    <a:lnTo>
                      <a:pt x="0" y="5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0" y="5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6" name="Freeform 154">
                <a:extLst>
                  <a:ext uri="{FF2B5EF4-FFF2-40B4-BE49-F238E27FC236}">
                    <a16:creationId xmlns:a16="http://schemas.microsoft.com/office/drawing/2014/main" id="{9C8545D3-C945-41A6-AD9D-1F2E09C0BE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1" y="2308"/>
                <a:ext cx="9" cy="7"/>
              </a:xfrm>
              <a:custGeom>
                <a:avLst/>
                <a:gdLst>
                  <a:gd name="T0" fmla="*/ 0 w 9"/>
                  <a:gd name="T1" fmla="*/ 5 h 7"/>
                  <a:gd name="T2" fmla="*/ 0 w 9"/>
                  <a:gd name="T3" fmla="*/ 5 h 7"/>
                  <a:gd name="T4" fmla="*/ 8 w 9"/>
                  <a:gd name="T5" fmla="*/ 7 h 7"/>
                  <a:gd name="T6" fmla="*/ 8 w 9"/>
                  <a:gd name="T7" fmla="*/ 7 h 7"/>
                  <a:gd name="T8" fmla="*/ 0 w 9"/>
                  <a:gd name="T9" fmla="*/ 5 h 7"/>
                  <a:gd name="T10" fmla="*/ 1 w 9"/>
                  <a:gd name="T11" fmla="*/ 0 h 7"/>
                  <a:gd name="T12" fmla="*/ 1 w 9"/>
                  <a:gd name="T13" fmla="*/ 0 h 7"/>
                  <a:gd name="T14" fmla="*/ 9 w 9"/>
                  <a:gd name="T15" fmla="*/ 2 h 7"/>
                  <a:gd name="T16" fmla="*/ 9 w 9"/>
                  <a:gd name="T17" fmla="*/ 2 h 7"/>
                  <a:gd name="T18" fmla="*/ 1 w 9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7">
                    <a:moveTo>
                      <a:pt x="0" y="5"/>
                    </a:moveTo>
                    <a:lnTo>
                      <a:pt x="0" y="5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0" y="5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7" name="Freeform 155">
                <a:extLst>
                  <a:ext uri="{FF2B5EF4-FFF2-40B4-BE49-F238E27FC236}">
                    <a16:creationId xmlns:a16="http://schemas.microsoft.com/office/drawing/2014/main" id="{6425F98C-AD42-4627-81DE-7706010C0D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9" y="2310"/>
                <a:ext cx="4" cy="5"/>
              </a:xfrm>
              <a:custGeom>
                <a:avLst/>
                <a:gdLst>
                  <a:gd name="T0" fmla="*/ 0 w 7"/>
                  <a:gd name="T1" fmla="*/ 8 h 8"/>
                  <a:gd name="T2" fmla="*/ 0 w 7"/>
                  <a:gd name="T3" fmla="*/ 8 h 8"/>
                  <a:gd name="T4" fmla="*/ 3 w 7"/>
                  <a:gd name="T5" fmla="*/ 8 h 8"/>
                  <a:gd name="T6" fmla="*/ 0 w 7"/>
                  <a:gd name="T7" fmla="*/ 8 h 8"/>
                  <a:gd name="T8" fmla="*/ 2 w 7"/>
                  <a:gd name="T9" fmla="*/ 0 h 8"/>
                  <a:gd name="T10" fmla="*/ 2 w 7"/>
                  <a:gd name="T11" fmla="*/ 0 h 8"/>
                  <a:gd name="T12" fmla="*/ 5 w 7"/>
                  <a:gd name="T13" fmla="*/ 1 h 8"/>
                  <a:gd name="T14" fmla="*/ 7 w 7"/>
                  <a:gd name="T15" fmla="*/ 5 h 8"/>
                  <a:gd name="T16" fmla="*/ 5 w 7"/>
                  <a:gd name="T17" fmla="*/ 1 h 8"/>
                  <a:gd name="T18" fmla="*/ 2 w 7"/>
                  <a:gd name="T1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8">
                    <a:moveTo>
                      <a:pt x="0" y="8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0" y="8"/>
                      <a:pt x="0" y="8"/>
                      <a:pt x="0" y="8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3"/>
                      <a:pt x="7" y="5"/>
                    </a:cubicBezTo>
                    <a:cubicBezTo>
                      <a:pt x="7" y="3"/>
                      <a:pt x="6" y="1"/>
                      <a:pt x="5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8" name="Freeform 156">
                <a:extLst>
                  <a:ext uri="{FF2B5EF4-FFF2-40B4-BE49-F238E27FC236}">
                    <a16:creationId xmlns:a16="http://schemas.microsoft.com/office/drawing/2014/main" id="{F479153C-B8B0-456C-A4A1-AC7710D500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7" y="2307"/>
                <a:ext cx="16" cy="8"/>
              </a:xfrm>
              <a:custGeom>
                <a:avLst/>
                <a:gdLst>
                  <a:gd name="T0" fmla="*/ 2 w 28"/>
                  <a:gd name="T1" fmla="*/ 0 h 14"/>
                  <a:gd name="T2" fmla="*/ 2 w 28"/>
                  <a:gd name="T3" fmla="*/ 0 h 14"/>
                  <a:gd name="T4" fmla="*/ 26 w 28"/>
                  <a:gd name="T5" fmla="*/ 7 h 14"/>
                  <a:gd name="T6" fmla="*/ 28 w 28"/>
                  <a:gd name="T7" fmla="*/ 10 h 14"/>
                  <a:gd name="T8" fmla="*/ 27 w 28"/>
                  <a:gd name="T9" fmla="*/ 9 h 14"/>
                  <a:gd name="T10" fmla="*/ 1 w 28"/>
                  <a:gd name="T11" fmla="*/ 2 h 14"/>
                  <a:gd name="T12" fmla="*/ 0 w 28"/>
                  <a:gd name="T13" fmla="*/ 8 h 14"/>
                  <a:gd name="T14" fmla="*/ 1 w 28"/>
                  <a:gd name="T15" fmla="*/ 8 h 14"/>
                  <a:gd name="T16" fmla="*/ 6 w 28"/>
                  <a:gd name="T17" fmla="*/ 10 h 14"/>
                  <a:gd name="T18" fmla="*/ 21 w 28"/>
                  <a:gd name="T19" fmla="*/ 14 h 14"/>
                  <a:gd name="T20" fmla="*/ 24 w 28"/>
                  <a:gd name="T21" fmla="*/ 14 h 14"/>
                  <a:gd name="T22" fmla="*/ 25 w 28"/>
                  <a:gd name="T23" fmla="*/ 14 h 14"/>
                  <a:gd name="T24" fmla="*/ 27 w 28"/>
                  <a:gd name="T25" fmla="*/ 14 h 14"/>
                  <a:gd name="T26" fmla="*/ 28 w 28"/>
                  <a:gd name="T27" fmla="*/ 12 h 14"/>
                  <a:gd name="T28" fmla="*/ 28 w 28"/>
                  <a:gd name="T29" fmla="*/ 11 h 14"/>
                  <a:gd name="T30" fmla="*/ 26 w 28"/>
                  <a:gd name="T31" fmla="*/ 7 h 14"/>
                  <a:gd name="T32" fmla="*/ 23 w 28"/>
                  <a:gd name="T33" fmla="*/ 6 h 14"/>
                  <a:gd name="T34" fmla="*/ 8 w 28"/>
                  <a:gd name="T35" fmla="*/ 2 h 14"/>
                  <a:gd name="T36" fmla="*/ 3 w 28"/>
                  <a:gd name="T37" fmla="*/ 1 h 14"/>
                  <a:gd name="T38" fmla="*/ 2 w 28"/>
                  <a:gd name="T3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8" y="10"/>
                    </a:cubicBezTo>
                    <a:cubicBezTo>
                      <a:pt x="28" y="9"/>
                      <a:pt x="27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4" y="14"/>
                      <a:pt x="25" y="14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7" y="13"/>
                      <a:pt x="28" y="13"/>
                      <a:pt x="28" y="12"/>
                    </a:cubicBezTo>
                    <a:cubicBezTo>
                      <a:pt x="28" y="11"/>
                      <a:pt x="28" y="11"/>
                      <a:pt x="28" y="11"/>
                    </a:cubicBezTo>
                    <a:cubicBezTo>
                      <a:pt x="28" y="9"/>
                      <a:pt x="27" y="7"/>
                      <a:pt x="26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9" name="Freeform 157">
                <a:extLst>
                  <a:ext uri="{FF2B5EF4-FFF2-40B4-BE49-F238E27FC236}">
                    <a16:creationId xmlns:a16="http://schemas.microsoft.com/office/drawing/2014/main" id="{7E76D4A4-D9D7-44B7-92E8-78E614674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" y="2307"/>
                <a:ext cx="15" cy="6"/>
              </a:xfrm>
              <a:custGeom>
                <a:avLst/>
                <a:gdLst>
                  <a:gd name="T0" fmla="*/ 1 w 27"/>
                  <a:gd name="T1" fmla="*/ 0 h 10"/>
                  <a:gd name="T2" fmla="*/ 0 w 27"/>
                  <a:gd name="T3" fmla="*/ 2 h 10"/>
                  <a:gd name="T4" fmla="*/ 26 w 27"/>
                  <a:gd name="T5" fmla="*/ 9 h 10"/>
                  <a:gd name="T6" fmla="*/ 27 w 27"/>
                  <a:gd name="T7" fmla="*/ 10 h 10"/>
                  <a:gd name="T8" fmla="*/ 25 w 27"/>
                  <a:gd name="T9" fmla="*/ 7 h 10"/>
                  <a:gd name="T10" fmla="*/ 1 w 27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6" y="9"/>
                      <a:pt x="27" y="9"/>
                      <a:pt x="27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0" name="Freeform 158">
                <a:extLst>
                  <a:ext uri="{FF2B5EF4-FFF2-40B4-BE49-F238E27FC236}">
                    <a16:creationId xmlns:a16="http://schemas.microsoft.com/office/drawing/2014/main" id="{8742E592-4BCA-4A17-9791-2169AF1370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343"/>
                <a:ext cx="30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1 h 21"/>
                  <a:gd name="T6" fmla="*/ 4 w 56"/>
                  <a:gd name="T7" fmla="*/ 8 h 21"/>
                  <a:gd name="T8" fmla="*/ 1 w 56"/>
                  <a:gd name="T9" fmla="*/ 3 h 21"/>
                  <a:gd name="T10" fmla="*/ 3 w 56"/>
                  <a:gd name="T11" fmla="*/ 1 h 21"/>
                  <a:gd name="T12" fmla="*/ 6 w 56"/>
                  <a:gd name="T13" fmla="*/ 1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6" y="19"/>
                      <a:pt x="55" y="20"/>
                      <a:pt x="54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3" y="1"/>
                      <a:pt x="5" y="0"/>
                      <a:pt x="6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1" name="Freeform 159">
                <a:extLst>
                  <a:ext uri="{FF2B5EF4-FFF2-40B4-BE49-F238E27FC236}">
                    <a16:creationId xmlns:a16="http://schemas.microsoft.com/office/drawing/2014/main" id="{40DCCC97-2150-4B81-BC4C-9C1D92B79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343"/>
                <a:ext cx="30" cy="9"/>
              </a:xfrm>
              <a:custGeom>
                <a:avLst/>
                <a:gdLst>
                  <a:gd name="T0" fmla="*/ 2 w 56"/>
                  <a:gd name="T1" fmla="*/ 5 h 16"/>
                  <a:gd name="T2" fmla="*/ 7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6 w 56"/>
                  <a:gd name="T11" fmla="*/ 1 h 16"/>
                  <a:gd name="T12" fmla="*/ 1 w 56"/>
                  <a:gd name="T13" fmla="*/ 3 h 16"/>
                  <a:gd name="T14" fmla="*/ 2 w 56"/>
                  <a:gd name="T15" fmla="*/ 7 h 16"/>
                  <a:gd name="T16" fmla="*/ 2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2" y="5"/>
                    </a:moveTo>
                    <a:cubicBezTo>
                      <a:pt x="2" y="3"/>
                      <a:pt x="5" y="2"/>
                      <a:pt x="7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6"/>
                      <a:pt x="56" y="16"/>
                    </a:cubicBezTo>
                    <a:cubicBezTo>
                      <a:pt x="56" y="15"/>
                      <a:pt x="55" y="14"/>
                      <a:pt x="53" y="13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3" y="0"/>
                      <a:pt x="1" y="1"/>
                      <a:pt x="1" y="3"/>
                    </a:cubicBezTo>
                    <a:cubicBezTo>
                      <a:pt x="0" y="5"/>
                      <a:pt x="1" y="6"/>
                      <a:pt x="2" y="7"/>
                    </a:cubicBezTo>
                    <a:cubicBezTo>
                      <a:pt x="2" y="6"/>
                      <a:pt x="2" y="6"/>
                      <a:pt x="2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2" name="Freeform 160">
                <a:extLst>
                  <a:ext uri="{FF2B5EF4-FFF2-40B4-BE49-F238E27FC236}">
                    <a16:creationId xmlns:a16="http://schemas.microsoft.com/office/drawing/2014/main" id="{BC381D31-BB2C-486B-BC91-11F164C30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6" y="2347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6 h 14"/>
                  <a:gd name="T6" fmla="*/ 29 w 29"/>
                  <a:gd name="T7" fmla="*/ 9 h 14"/>
                  <a:gd name="T8" fmla="*/ 27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3 h 14"/>
                  <a:gd name="T20" fmla="*/ 29 w 29"/>
                  <a:gd name="T21" fmla="*/ 11 h 14"/>
                  <a:gd name="T22" fmla="*/ 29 w 29"/>
                  <a:gd name="T23" fmla="*/ 10 h 14"/>
                  <a:gd name="T24" fmla="*/ 26 w 29"/>
                  <a:gd name="T25" fmla="*/ 6 h 14"/>
                  <a:gd name="T26" fmla="*/ 26 w 29"/>
                  <a:gd name="T27" fmla="*/ 6 h 14"/>
                  <a:gd name="T28" fmla="*/ 2 w 29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8" y="9"/>
                      <a:pt x="28" y="8"/>
                      <a:pt x="27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6" y="6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3" name="Freeform 161">
                <a:extLst>
                  <a:ext uri="{FF2B5EF4-FFF2-40B4-BE49-F238E27FC236}">
                    <a16:creationId xmlns:a16="http://schemas.microsoft.com/office/drawing/2014/main" id="{B9EEC40D-6233-447A-AAF5-352FAD9B6D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8" y="2347"/>
                <a:ext cx="14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5 w 27"/>
                  <a:gd name="T5" fmla="*/ 8 h 9"/>
                  <a:gd name="T6" fmla="*/ 27 w 27"/>
                  <a:gd name="T7" fmla="*/ 9 h 9"/>
                  <a:gd name="T8" fmla="*/ 24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6" y="8"/>
                      <a:pt x="26" y="9"/>
                      <a:pt x="27" y="9"/>
                    </a:cubicBezTo>
                    <a:cubicBezTo>
                      <a:pt x="27" y="8"/>
                      <a:pt x="26" y="7"/>
                      <a:pt x="24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4" name="Freeform 162">
                <a:extLst>
                  <a:ext uri="{FF2B5EF4-FFF2-40B4-BE49-F238E27FC236}">
                    <a16:creationId xmlns:a16="http://schemas.microsoft.com/office/drawing/2014/main" id="{6830D058-1AB9-4E67-BA08-CCC59DB7B3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1" y="2383"/>
                <a:ext cx="31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5" y="19"/>
                      <a:pt x="55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2"/>
                      <a:pt x="1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5" name="Freeform 163">
                <a:extLst>
                  <a:ext uri="{FF2B5EF4-FFF2-40B4-BE49-F238E27FC236}">
                    <a16:creationId xmlns:a16="http://schemas.microsoft.com/office/drawing/2014/main" id="{5CE19905-0BA7-421D-ADCD-AF08BA4BE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1" y="2383"/>
                <a:ext cx="31" cy="9"/>
              </a:xfrm>
              <a:custGeom>
                <a:avLst/>
                <a:gdLst>
                  <a:gd name="T0" fmla="*/ 1 w 56"/>
                  <a:gd name="T1" fmla="*/ 5 h 16"/>
                  <a:gd name="T2" fmla="*/ 6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5 w 56"/>
                  <a:gd name="T11" fmla="*/ 0 h 16"/>
                  <a:gd name="T12" fmla="*/ 0 w 56"/>
                  <a:gd name="T13" fmla="*/ 3 h 16"/>
                  <a:gd name="T14" fmla="*/ 1 w 56"/>
                  <a:gd name="T15" fmla="*/ 7 h 16"/>
                  <a:gd name="T16" fmla="*/ 1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1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5"/>
                      <a:pt x="56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4"/>
                      <a:pt x="0" y="6"/>
                      <a:pt x="1" y="7"/>
                    </a:cubicBezTo>
                    <a:cubicBezTo>
                      <a:pt x="1" y="6"/>
                      <a:pt x="1" y="5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6" name="Freeform 164">
                <a:extLst>
                  <a:ext uri="{FF2B5EF4-FFF2-40B4-BE49-F238E27FC236}">
                    <a16:creationId xmlns:a16="http://schemas.microsoft.com/office/drawing/2014/main" id="{C2BAE547-43FC-4487-89FF-B405A59833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2386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7 h 14"/>
                  <a:gd name="T6" fmla="*/ 29 w 29"/>
                  <a:gd name="T7" fmla="*/ 10 h 14"/>
                  <a:gd name="T8" fmla="*/ 27 w 29"/>
                  <a:gd name="T9" fmla="*/ 9 h 14"/>
                  <a:gd name="T10" fmla="*/ 1 w 29"/>
                  <a:gd name="T11" fmla="*/ 2 h 14"/>
                  <a:gd name="T12" fmla="*/ 0 w 29"/>
                  <a:gd name="T13" fmla="*/ 8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4 h 14"/>
                  <a:gd name="T20" fmla="*/ 29 w 29"/>
                  <a:gd name="T21" fmla="*/ 12 h 14"/>
                  <a:gd name="T22" fmla="*/ 29 w 29"/>
                  <a:gd name="T23" fmla="*/ 11 h 14"/>
                  <a:gd name="T24" fmla="*/ 26 w 29"/>
                  <a:gd name="T25" fmla="*/ 7 h 14"/>
                  <a:gd name="T26" fmla="*/ 23 w 29"/>
                  <a:gd name="T27" fmla="*/ 6 h 14"/>
                  <a:gd name="T28" fmla="*/ 8 w 29"/>
                  <a:gd name="T29" fmla="*/ 2 h 14"/>
                  <a:gd name="T30" fmla="*/ 3 w 29"/>
                  <a:gd name="T31" fmla="*/ 1 h 14"/>
                  <a:gd name="T32" fmla="*/ 2 w 29"/>
                  <a:gd name="T3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9" y="10"/>
                    </a:cubicBezTo>
                    <a:cubicBezTo>
                      <a:pt x="28" y="9"/>
                      <a:pt x="28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4" y="14"/>
                      <a:pt x="25" y="14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8" y="13"/>
                      <a:pt x="28" y="13"/>
                      <a:pt x="29" y="12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29" y="9"/>
                      <a:pt x="27" y="7"/>
                      <a:pt x="26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7" name="Freeform 165">
                <a:extLst>
                  <a:ext uri="{FF2B5EF4-FFF2-40B4-BE49-F238E27FC236}">
                    <a16:creationId xmlns:a16="http://schemas.microsoft.com/office/drawing/2014/main" id="{1809A618-FA26-4719-9D0A-9DFA53CEE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386"/>
                <a:ext cx="15" cy="6"/>
              </a:xfrm>
              <a:custGeom>
                <a:avLst/>
                <a:gdLst>
                  <a:gd name="T0" fmla="*/ 1 w 28"/>
                  <a:gd name="T1" fmla="*/ 0 h 10"/>
                  <a:gd name="T2" fmla="*/ 0 w 28"/>
                  <a:gd name="T3" fmla="*/ 2 h 10"/>
                  <a:gd name="T4" fmla="*/ 26 w 28"/>
                  <a:gd name="T5" fmla="*/ 9 h 10"/>
                  <a:gd name="T6" fmla="*/ 28 w 28"/>
                  <a:gd name="T7" fmla="*/ 10 h 10"/>
                  <a:gd name="T8" fmla="*/ 25 w 28"/>
                  <a:gd name="T9" fmla="*/ 7 h 10"/>
                  <a:gd name="T10" fmla="*/ 1 w 28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7" y="9"/>
                      <a:pt x="27" y="9"/>
                      <a:pt x="28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8" name="Freeform 166">
                <a:extLst>
                  <a:ext uri="{FF2B5EF4-FFF2-40B4-BE49-F238E27FC236}">
                    <a16:creationId xmlns:a16="http://schemas.microsoft.com/office/drawing/2014/main" id="{23982B3B-1B3D-4412-8750-F73C1A69C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0" y="2422"/>
                <a:ext cx="32" cy="12"/>
              </a:xfrm>
              <a:custGeom>
                <a:avLst/>
                <a:gdLst>
                  <a:gd name="T0" fmla="*/ 56 w 57"/>
                  <a:gd name="T1" fmla="*/ 18 h 21"/>
                  <a:gd name="T2" fmla="*/ 54 w 57"/>
                  <a:gd name="T3" fmla="*/ 20 h 21"/>
                  <a:gd name="T4" fmla="*/ 51 w 57"/>
                  <a:gd name="T5" fmla="*/ 21 h 21"/>
                  <a:gd name="T6" fmla="*/ 4 w 57"/>
                  <a:gd name="T7" fmla="*/ 8 h 21"/>
                  <a:gd name="T8" fmla="*/ 1 w 57"/>
                  <a:gd name="T9" fmla="*/ 3 h 21"/>
                  <a:gd name="T10" fmla="*/ 3 w 57"/>
                  <a:gd name="T11" fmla="*/ 1 h 21"/>
                  <a:gd name="T12" fmla="*/ 6 w 57"/>
                  <a:gd name="T13" fmla="*/ 1 h 21"/>
                  <a:gd name="T14" fmla="*/ 53 w 57"/>
                  <a:gd name="T15" fmla="*/ 13 h 21"/>
                  <a:gd name="T16" fmla="*/ 56 w 57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21">
                    <a:moveTo>
                      <a:pt x="56" y="18"/>
                    </a:moveTo>
                    <a:cubicBezTo>
                      <a:pt x="56" y="19"/>
                      <a:pt x="55" y="20"/>
                      <a:pt x="54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4" y="0"/>
                      <a:pt x="5" y="0"/>
                      <a:pt x="6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7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9" name="Freeform 167">
                <a:extLst>
                  <a:ext uri="{FF2B5EF4-FFF2-40B4-BE49-F238E27FC236}">
                    <a16:creationId xmlns:a16="http://schemas.microsoft.com/office/drawing/2014/main" id="{E7343D37-7A14-4E9D-855E-2D443C1780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1" y="2422"/>
                <a:ext cx="30" cy="9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3 w 55"/>
                  <a:gd name="T5" fmla="*/ 15 h 16"/>
                  <a:gd name="T6" fmla="*/ 55 w 55"/>
                  <a:gd name="T7" fmla="*/ 16 h 16"/>
                  <a:gd name="T8" fmla="*/ 52 w 55"/>
                  <a:gd name="T9" fmla="*/ 13 h 16"/>
                  <a:gd name="T10" fmla="*/ 5 w 55"/>
                  <a:gd name="T11" fmla="*/ 1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2"/>
                      <a:pt x="6" y="2"/>
                    </a:cubicBezTo>
                    <a:cubicBezTo>
                      <a:pt x="53" y="15"/>
                      <a:pt x="53" y="15"/>
                      <a:pt x="53" y="15"/>
                    </a:cubicBezTo>
                    <a:cubicBezTo>
                      <a:pt x="54" y="15"/>
                      <a:pt x="55" y="16"/>
                      <a:pt x="55" y="16"/>
                    </a:cubicBezTo>
                    <a:cubicBezTo>
                      <a:pt x="55" y="15"/>
                      <a:pt x="54" y="14"/>
                      <a:pt x="52" y="1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5"/>
                      <a:pt x="0" y="6"/>
                      <a:pt x="1" y="7"/>
                    </a:cubicBezTo>
                    <a:cubicBezTo>
                      <a:pt x="1" y="6"/>
                      <a:pt x="1" y="6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0" name="Freeform 168">
                <a:extLst>
                  <a:ext uri="{FF2B5EF4-FFF2-40B4-BE49-F238E27FC236}">
                    <a16:creationId xmlns:a16="http://schemas.microsoft.com/office/drawing/2014/main" id="{316F303C-645D-4CEE-A5C6-6661B5FB2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7" y="2426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0 w 3"/>
                  <a:gd name="T3" fmla="*/ 0 h 1"/>
                  <a:gd name="T4" fmla="*/ 3 w 3"/>
                  <a:gd name="T5" fmla="*/ 1 h 1"/>
                  <a:gd name="T6" fmla="*/ 3 w 3"/>
                  <a:gd name="T7" fmla="*/ 1 h 1"/>
                  <a:gd name="T8" fmla="*/ 0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1" name="Freeform 169">
                <a:extLst>
                  <a:ext uri="{FF2B5EF4-FFF2-40B4-BE49-F238E27FC236}">
                    <a16:creationId xmlns:a16="http://schemas.microsoft.com/office/drawing/2014/main" id="{31FC8C7F-961A-47EB-AA9C-4B8ECF3042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7" y="2426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0 w 3"/>
                  <a:gd name="T3" fmla="*/ 0 h 1"/>
                  <a:gd name="T4" fmla="*/ 3 w 3"/>
                  <a:gd name="T5" fmla="*/ 1 h 1"/>
                  <a:gd name="T6" fmla="*/ 3 w 3"/>
                  <a:gd name="T7" fmla="*/ 1 h 1"/>
                  <a:gd name="T8" fmla="*/ 0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2" name="Rectangle 170">
                <a:extLst>
                  <a:ext uri="{FF2B5EF4-FFF2-40B4-BE49-F238E27FC236}">
                    <a16:creationId xmlns:a16="http://schemas.microsoft.com/office/drawing/2014/main" id="{23066A20-55C9-43C7-920C-CADE039018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26"/>
                <a:ext cx="1" cy="1"/>
              </a:xfrm>
              <a:prstGeom prst="rect">
                <a:avLst/>
              </a:pr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3" name="Rectangle 171">
                <a:extLst>
                  <a:ext uri="{FF2B5EF4-FFF2-40B4-BE49-F238E27FC236}">
                    <a16:creationId xmlns:a16="http://schemas.microsoft.com/office/drawing/2014/main" id="{7B5D0D3B-97EB-4F4C-9DA6-518F0D7B12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26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4" name="Freeform 172">
                <a:extLst>
                  <a:ext uri="{FF2B5EF4-FFF2-40B4-BE49-F238E27FC236}">
                    <a16:creationId xmlns:a16="http://schemas.microsoft.com/office/drawing/2014/main" id="{B4047AE1-C7DF-4872-ADAF-95DEB8E62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0" y="2427"/>
                <a:ext cx="8" cy="3"/>
              </a:xfrm>
              <a:custGeom>
                <a:avLst/>
                <a:gdLst>
                  <a:gd name="T0" fmla="*/ 0 w 8"/>
                  <a:gd name="T1" fmla="*/ 0 h 3"/>
                  <a:gd name="T2" fmla="*/ 0 w 8"/>
                  <a:gd name="T3" fmla="*/ 0 h 3"/>
                  <a:gd name="T4" fmla="*/ 8 w 8"/>
                  <a:gd name="T5" fmla="*/ 3 h 3"/>
                  <a:gd name="T6" fmla="*/ 8 w 8"/>
                  <a:gd name="T7" fmla="*/ 3 h 3"/>
                  <a:gd name="T8" fmla="*/ 0 w 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0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5" name="Freeform 173">
                <a:extLst>
                  <a:ext uri="{FF2B5EF4-FFF2-40B4-BE49-F238E27FC236}">
                    <a16:creationId xmlns:a16="http://schemas.microsoft.com/office/drawing/2014/main" id="{B28F1AA0-22EE-401E-A8B5-4DFC0D6D9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0" y="2427"/>
                <a:ext cx="8" cy="3"/>
              </a:xfrm>
              <a:custGeom>
                <a:avLst/>
                <a:gdLst>
                  <a:gd name="T0" fmla="*/ 0 w 8"/>
                  <a:gd name="T1" fmla="*/ 0 h 3"/>
                  <a:gd name="T2" fmla="*/ 0 w 8"/>
                  <a:gd name="T3" fmla="*/ 0 h 3"/>
                  <a:gd name="T4" fmla="*/ 8 w 8"/>
                  <a:gd name="T5" fmla="*/ 3 h 3"/>
                  <a:gd name="T6" fmla="*/ 8 w 8"/>
                  <a:gd name="T7" fmla="*/ 3 h 3"/>
                  <a:gd name="T8" fmla="*/ 0 w 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0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6" name="Freeform 174">
                <a:extLst>
                  <a:ext uri="{FF2B5EF4-FFF2-40B4-BE49-F238E27FC236}">
                    <a16:creationId xmlns:a16="http://schemas.microsoft.com/office/drawing/2014/main" id="{867118F8-407F-4A06-B3EF-CBAFBD95B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8" y="2430"/>
                <a:ext cx="3" cy="2"/>
              </a:xfrm>
              <a:custGeom>
                <a:avLst/>
                <a:gdLst>
                  <a:gd name="T0" fmla="*/ 0 w 5"/>
                  <a:gd name="T1" fmla="*/ 0 h 4"/>
                  <a:gd name="T2" fmla="*/ 0 w 5"/>
                  <a:gd name="T3" fmla="*/ 0 h 4"/>
                  <a:gd name="T4" fmla="*/ 2 w 5"/>
                  <a:gd name="T5" fmla="*/ 0 h 4"/>
                  <a:gd name="T6" fmla="*/ 5 w 5"/>
                  <a:gd name="T7" fmla="*/ 4 h 4"/>
                  <a:gd name="T8" fmla="*/ 2 w 5"/>
                  <a:gd name="T9" fmla="*/ 0 h 4"/>
                  <a:gd name="T10" fmla="*/ 0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4" y="1"/>
                      <a:pt x="5" y="2"/>
                      <a:pt x="5" y="4"/>
                    </a:cubicBezTo>
                    <a:cubicBezTo>
                      <a:pt x="5" y="2"/>
                      <a:pt x="4" y="1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7" name="Rectangle 175">
                <a:extLst>
                  <a:ext uri="{FF2B5EF4-FFF2-40B4-BE49-F238E27FC236}">
                    <a16:creationId xmlns:a16="http://schemas.microsoft.com/office/drawing/2014/main" id="{3FC1DF01-18E7-4481-9EEA-5F78628D7B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31"/>
                <a:ext cx="3" cy="1"/>
              </a:xfrm>
              <a:prstGeom prst="rect">
                <a:avLst/>
              </a:pr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8" name="Rectangle 176">
                <a:extLst>
                  <a:ext uri="{FF2B5EF4-FFF2-40B4-BE49-F238E27FC236}">
                    <a16:creationId xmlns:a16="http://schemas.microsoft.com/office/drawing/2014/main" id="{617C6F6D-305F-430D-B04F-8AF59DFB2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31"/>
                <a:ext cx="3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9" name="Freeform 177">
                <a:extLst>
                  <a:ext uri="{FF2B5EF4-FFF2-40B4-BE49-F238E27FC236}">
                    <a16:creationId xmlns:a16="http://schemas.microsoft.com/office/drawing/2014/main" id="{E9312015-5D1A-4B6E-A2A4-819DB9D14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30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1 w 1"/>
                  <a:gd name="T7" fmla="*/ 1 h 1"/>
                  <a:gd name="T8" fmla="*/ 0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0" name="Freeform 178">
                <a:extLst>
                  <a:ext uri="{FF2B5EF4-FFF2-40B4-BE49-F238E27FC236}">
                    <a16:creationId xmlns:a16="http://schemas.microsoft.com/office/drawing/2014/main" id="{F3098728-8FAC-4346-89D8-56E5EB3AA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30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1 w 1"/>
                  <a:gd name="T7" fmla="*/ 1 h 1"/>
                  <a:gd name="T8" fmla="*/ 0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1" name="Freeform 179">
                <a:extLst>
                  <a:ext uri="{FF2B5EF4-FFF2-40B4-BE49-F238E27FC236}">
                    <a16:creationId xmlns:a16="http://schemas.microsoft.com/office/drawing/2014/main" id="{D0522D0F-ACCC-4D6F-B1F3-FAB35CD83E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9" y="2431"/>
                <a:ext cx="8" cy="2"/>
              </a:xfrm>
              <a:custGeom>
                <a:avLst/>
                <a:gdLst>
                  <a:gd name="T0" fmla="*/ 0 w 8"/>
                  <a:gd name="T1" fmla="*/ 0 h 2"/>
                  <a:gd name="T2" fmla="*/ 0 w 8"/>
                  <a:gd name="T3" fmla="*/ 0 h 2"/>
                  <a:gd name="T4" fmla="*/ 8 w 8"/>
                  <a:gd name="T5" fmla="*/ 2 h 2"/>
                  <a:gd name="T6" fmla="*/ 8 w 8"/>
                  <a:gd name="T7" fmla="*/ 2 h 2"/>
                  <a:gd name="T8" fmla="*/ 0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2" name="Freeform 180">
                <a:extLst>
                  <a:ext uri="{FF2B5EF4-FFF2-40B4-BE49-F238E27FC236}">
                    <a16:creationId xmlns:a16="http://schemas.microsoft.com/office/drawing/2014/main" id="{4A447CD6-9986-4BD0-A919-97073D05F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9" y="2431"/>
                <a:ext cx="8" cy="2"/>
              </a:xfrm>
              <a:custGeom>
                <a:avLst/>
                <a:gdLst>
                  <a:gd name="T0" fmla="*/ 0 w 8"/>
                  <a:gd name="T1" fmla="*/ 0 h 2"/>
                  <a:gd name="T2" fmla="*/ 0 w 8"/>
                  <a:gd name="T3" fmla="*/ 0 h 2"/>
                  <a:gd name="T4" fmla="*/ 8 w 8"/>
                  <a:gd name="T5" fmla="*/ 2 h 2"/>
                  <a:gd name="T6" fmla="*/ 8 w 8"/>
                  <a:gd name="T7" fmla="*/ 2 h 2"/>
                  <a:gd name="T8" fmla="*/ 0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3" name="Freeform 181">
                <a:extLst>
                  <a:ext uri="{FF2B5EF4-FFF2-40B4-BE49-F238E27FC236}">
                    <a16:creationId xmlns:a16="http://schemas.microsoft.com/office/drawing/2014/main" id="{80A35623-76FD-4FFA-95FE-67F7A90C7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33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4" name="Freeform 182">
                <a:extLst>
                  <a:ext uri="{FF2B5EF4-FFF2-40B4-BE49-F238E27FC236}">
                    <a16:creationId xmlns:a16="http://schemas.microsoft.com/office/drawing/2014/main" id="{5D31CC78-95CE-4EE2-9124-3313730A82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33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5" name="Freeform 183">
                <a:extLst>
                  <a:ext uri="{FF2B5EF4-FFF2-40B4-BE49-F238E27FC236}">
                    <a16:creationId xmlns:a16="http://schemas.microsoft.com/office/drawing/2014/main" id="{1CBDB465-0962-4CC8-B6E1-8682E3C955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26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6 h 14"/>
                  <a:gd name="T6" fmla="*/ 29 w 29"/>
                  <a:gd name="T7" fmla="*/ 9 h 14"/>
                  <a:gd name="T8" fmla="*/ 27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1 w 29"/>
                  <a:gd name="T15" fmla="*/ 8 h 14"/>
                  <a:gd name="T16" fmla="*/ 7 w 29"/>
                  <a:gd name="T17" fmla="*/ 9 h 14"/>
                  <a:gd name="T18" fmla="*/ 22 w 29"/>
                  <a:gd name="T19" fmla="*/ 13 h 14"/>
                  <a:gd name="T20" fmla="*/ 24 w 29"/>
                  <a:gd name="T21" fmla="*/ 14 h 14"/>
                  <a:gd name="T22" fmla="*/ 25 w 29"/>
                  <a:gd name="T23" fmla="*/ 14 h 14"/>
                  <a:gd name="T24" fmla="*/ 27 w 29"/>
                  <a:gd name="T25" fmla="*/ 13 h 14"/>
                  <a:gd name="T26" fmla="*/ 29 w 29"/>
                  <a:gd name="T27" fmla="*/ 11 h 14"/>
                  <a:gd name="T28" fmla="*/ 29 w 29"/>
                  <a:gd name="T29" fmla="*/ 10 h 14"/>
                  <a:gd name="T30" fmla="*/ 26 w 29"/>
                  <a:gd name="T31" fmla="*/ 6 h 14"/>
                  <a:gd name="T32" fmla="*/ 24 w 29"/>
                  <a:gd name="T33" fmla="*/ 6 h 14"/>
                  <a:gd name="T34" fmla="*/ 9 w 29"/>
                  <a:gd name="T35" fmla="*/ 2 h 14"/>
                  <a:gd name="T36" fmla="*/ 3 w 29"/>
                  <a:gd name="T37" fmla="*/ 0 h 14"/>
                  <a:gd name="T38" fmla="*/ 2 w 29"/>
                  <a:gd name="T3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9" y="9"/>
                      <a:pt x="28" y="8"/>
                      <a:pt x="27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6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6" name="Freeform 184">
                <a:extLst>
                  <a:ext uri="{FF2B5EF4-FFF2-40B4-BE49-F238E27FC236}">
                    <a16:creationId xmlns:a16="http://schemas.microsoft.com/office/drawing/2014/main" id="{EF13A941-8D7E-42BF-A9D7-47B026796F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" y="2426"/>
                <a:ext cx="15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5 w 27"/>
                  <a:gd name="T5" fmla="*/ 8 h 9"/>
                  <a:gd name="T6" fmla="*/ 27 w 27"/>
                  <a:gd name="T7" fmla="*/ 9 h 9"/>
                  <a:gd name="T8" fmla="*/ 24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6" y="8"/>
                      <a:pt x="27" y="9"/>
                      <a:pt x="27" y="9"/>
                    </a:cubicBezTo>
                    <a:cubicBezTo>
                      <a:pt x="27" y="8"/>
                      <a:pt x="26" y="7"/>
                      <a:pt x="24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7" name="Freeform 185">
                <a:extLst>
                  <a:ext uri="{FF2B5EF4-FFF2-40B4-BE49-F238E27FC236}">
                    <a16:creationId xmlns:a16="http://schemas.microsoft.com/office/drawing/2014/main" id="{37C08602-DE69-44C1-8266-AD4B46677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0" y="2462"/>
                <a:ext cx="31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1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5" y="19"/>
                      <a:pt x="55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8" name="Freeform 186">
                <a:extLst>
                  <a:ext uri="{FF2B5EF4-FFF2-40B4-BE49-F238E27FC236}">
                    <a16:creationId xmlns:a16="http://schemas.microsoft.com/office/drawing/2014/main" id="{44D72623-B546-4F70-B3AD-64351C4B4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0" y="2462"/>
                <a:ext cx="31" cy="9"/>
              </a:xfrm>
              <a:custGeom>
                <a:avLst/>
                <a:gdLst>
                  <a:gd name="T0" fmla="*/ 2 w 56"/>
                  <a:gd name="T1" fmla="*/ 5 h 16"/>
                  <a:gd name="T2" fmla="*/ 6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5 w 56"/>
                  <a:gd name="T11" fmla="*/ 0 h 16"/>
                  <a:gd name="T12" fmla="*/ 1 w 56"/>
                  <a:gd name="T13" fmla="*/ 3 h 16"/>
                  <a:gd name="T14" fmla="*/ 2 w 56"/>
                  <a:gd name="T15" fmla="*/ 7 h 16"/>
                  <a:gd name="T16" fmla="*/ 2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2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5"/>
                      <a:pt x="56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1" y="3"/>
                    </a:cubicBezTo>
                    <a:cubicBezTo>
                      <a:pt x="0" y="4"/>
                      <a:pt x="1" y="6"/>
                      <a:pt x="2" y="7"/>
                    </a:cubicBezTo>
                    <a:cubicBezTo>
                      <a:pt x="1" y="6"/>
                      <a:pt x="1" y="5"/>
                      <a:pt x="2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9" name="Freeform 187">
                <a:extLst>
                  <a:ext uri="{FF2B5EF4-FFF2-40B4-BE49-F238E27FC236}">
                    <a16:creationId xmlns:a16="http://schemas.microsoft.com/office/drawing/2014/main" id="{3EC875B0-F179-48A2-9CEF-7726801476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466"/>
                <a:ext cx="16" cy="7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7 h 14"/>
                  <a:gd name="T6" fmla="*/ 29 w 29"/>
                  <a:gd name="T7" fmla="*/ 10 h 14"/>
                  <a:gd name="T8" fmla="*/ 27 w 29"/>
                  <a:gd name="T9" fmla="*/ 9 h 14"/>
                  <a:gd name="T10" fmla="*/ 1 w 29"/>
                  <a:gd name="T11" fmla="*/ 2 h 14"/>
                  <a:gd name="T12" fmla="*/ 0 w 29"/>
                  <a:gd name="T13" fmla="*/ 8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4 h 14"/>
                  <a:gd name="T20" fmla="*/ 29 w 29"/>
                  <a:gd name="T21" fmla="*/ 12 h 14"/>
                  <a:gd name="T22" fmla="*/ 29 w 29"/>
                  <a:gd name="T23" fmla="*/ 11 h 14"/>
                  <a:gd name="T24" fmla="*/ 26 w 29"/>
                  <a:gd name="T25" fmla="*/ 7 h 14"/>
                  <a:gd name="T26" fmla="*/ 26 w 29"/>
                  <a:gd name="T27" fmla="*/ 7 h 14"/>
                  <a:gd name="T28" fmla="*/ 2 w 29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9" y="10"/>
                    </a:cubicBezTo>
                    <a:cubicBezTo>
                      <a:pt x="28" y="9"/>
                      <a:pt x="28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5" y="14"/>
                      <a:pt x="25" y="14"/>
                    </a:cubicBezTo>
                    <a:cubicBezTo>
                      <a:pt x="26" y="14"/>
                      <a:pt x="26" y="14"/>
                      <a:pt x="27" y="14"/>
                    </a:cubicBezTo>
                    <a:cubicBezTo>
                      <a:pt x="28" y="13"/>
                      <a:pt x="28" y="13"/>
                      <a:pt x="29" y="12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29" y="9"/>
                      <a:pt x="28" y="7"/>
                      <a:pt x="26" y="7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0" name="Freeform 188">
                <a:extLst>
                  <a:ext uri="{FF2B5EF4-FFF2-40B4-BE49-F238E27FC236}">
                    <a16:creationId xmlns:a16="http://schemas.microsoft.com/office/drawing/2014/main" id="{D7B93DA0-EC89-44A1-BCBB-162569C69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466"/>
                <a:ext cx="16" cy="5"/>
              </a:xfrm>
              <a:custGeom>
                <a:avLst/>
                <a:gdLst>
                  <a:gd name="T0" fmla="*/ 1 w 28"/>
                  <a:gd name="T1" fmla="*/ 0 h 10"/>
                  <a:gd name="T2" fmla="*/ 0 w 28"/>
                  <a:gd name="T3" fmla="*/ 2 h 10"/>
                  <a:gd name="T4" fmla="*/ 26 w 28"/>
                  <a:gd name="T5" fmla="*/ 9 h 10"/>
                  <a:gd name="T6" fmla="*/ 28 w 28"/>
                  <a:gd name="T7" fmla="*/ 10 h 10"/>
                  <a:gd name="T8" fmla="*/ 25 w 28"/>
                  <a:gd name="T9" fmla="*/ 7 h 10"/>
                  <a:gd name="T10" fmla="*/ 1 w 28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7" y="9"/>
                      <a:pt x="27" y="9"/>
                      <a:pt x="28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1" name="Freeform 189">
                <a:extLst>
                  <a:ext uri="{FF2B5EF4-FFF2-40B4-BE49-F238E27FC236}">
                    <a16:creationId xmlns:a16="http://schemas.microsoft.com/office/drawing/2014/main" id="{7FFBEA9A-5CED-41B9-9113-30219B5A4F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" y="2502"/>
                <a:ext cx="30" cy="11"/>
              </a:xfrm>
              <a:custGeom>
                <a:avLst/>
                <a:gdLst>
                  <a:gd name="T0" fmla="*/ 55 w 56"/>
                  <a:gd name="T1" fmla="*/ 18 h 21"/>
                  <a:gd name="T2" fmla="*/ 53 w 56"/>
                  <a:gd name="T3" fmla="*/ 20 h 21"/>
                  <a:gd name="T4" fmla="*/ 51 w 56"/>
                  <a:gd name="T5" fmla="*/ 21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1 h 21"/>
                  <a:gd name="T12" fmla="*/ 5 w 56"/>
                  <a:gd name="T13" fmla="*/ 1 h 21"/>
                  <a:gd name="T14" fmla="*/ 53 w 56"/>
                  <a:gd name="T15" fmla="*/ 13 h 21"/>
                  <a:gd name="T16" fmla="*/ 55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5" y="18"/>
                    </a:moveTo>
                    <a:cubicBezTo>
                      <a:pt x="55" y="19"/>
                      <a:pt x="54" y="20"/>
                      <a:pt x="53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2"/>
                      <a:pt x="1" y="1"/>
                      <a:pt x="2" y="1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6" y="16"/>
                      <a:pt x="55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2" name="Freeform 190">
                <a:extLst>
                  <a:ext uri="{FF2B5EF4-FFF2-40B4-BE49-F238E27FC236}">
                    <a16:creationId xmlns:a16="http://schemas.microsoft.com/office/drawing/2014/main" id="{9C1D49C4-082D-4B81-A8FF-3DCF987A6E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" y="2502"/>
                <a:ext cx="30" cy="8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4 w 55"/>
                  <a:gd name="T5" fmla="*/ 15 h 16"/>
                  <a:gd name="T6" fmla="*/ 55 w 55"/>
                  <a:gd name="T7" fmla="*/ 16 h 16"/>
                  <a:gd name="T8" fmla="*/ 53 w 55"/>
                  <a:gd name="T9" fmla="*/ 13 h 16"/>
                  <a:gd name="T10" fmla="*/ 5 w 55"/>
                  <a:gd name="T11" fmla="*/ 1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2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4" y="15"/>
                      <a:pt x="55" y="16"/>
                      <a:pt x="55" y="16"/>
                    </a:cubicBezTo>
                    <a:cubicBezTo>
                      <a:pt x="55" y="15"/>
                      <a:pt x="54" y="14"/>
                      <a:pt x="53" y="1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5"/>
                      <a:pt x="0" y="6"/>
                      <a:pt x="1" y="7"/>
                    </a:cubicBezTo>
                    <a:cubicBezTo>
                      <a:pt x="1" y="6"/>
                      <a:pt x="1" y="6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3" name="Freeform 191">
                <a:extLst>
                  <a:ext uri="{FF2B5EF4-FFF2-40B4-BE49-F238E27FC236}">
                    <a16:creationId xmlns:a16="http://schemas.microsoft.com/office/drawing/2014/main" id="{49629C6D-DD11-4CDB-B4CB-D5AE74EF47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4" y="2505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7 w 29"/>
                  <a:gd name="T5" fmla="*/ 6 h 14"/>
                  <a:gd name="T6" fmla="*/ 29 w 29"/>
                  <a:gd name="T7" fmla="*/ 9 h 14"/>
                  <a:gd name="T8" fmla="*/ 28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25 w 29"/>
                  <a:gd name="T15" fmla="*/ 14 h 14"/>
                  <a:gd name="T16" fmla="*/ 26 w 29"/>
                  <a:gd name="T17" fmla="*/ 14 h 14"/>
                  <a:gd name="T18" fmla="*/ 27 w 29"/>
                  <a:gd name="T19" fmla="*/ 13 h 14"/>
                  <a:gd name="T20" fmla="*/ 29 w 29"/>
                  <a:gd name="T21" fmla="*/ 11 h 14"/>
                  <a:gd name="T22" fmla="*/ 29 w 29"/>
                  <a:gd name="T23" fmla="*/ 10 h 14"/>
                  <a:gd name="T24" fmla="*/ 27 w 29"/>
                  <a:gd name="T25" fmla="*/ 6 h 14"/>
                  <a:gd name="T26" fmla="*/ 24 w 29"/>
                  <a:gd name="T27" fmla="*/ 6 h 14"/>
                  <a:gd name="T28" fmla="*/ 9 w 29"/>
                  <a:gd name="T29" fmla="*/ 2 h 14"/>
                  <a:gd name="T30" fmla="*/ 3 w 29"/>
                  <a:gd name="T31" fmla="*/ 0 h 14"/>
                  <a:gd name="T32" fmla="*/ 2 w 29"/>
                  <a:gd name="T3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9" y="9"/>
                      <a:pt x="28" y="8"/>
                      <a:pt x="28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5" y="14"/>
                      <a:pt x="25" y="14"/>
                      <a:pt x="26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7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4" name="Freeform 192">
                <a:extLst>
                  <a:ext uri="{FF2B5EF4-FFF2-40B4-BE49-F238E27FC236}">
                    <a16:creationId xmlns:a16="http://schemas.microsoft.com/office/drawing/2014/main" id="{0F1F4AFA-E954-4505-A904-BD5A49F1F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5" y="2505"/>
                <a:ext cx="15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6 w 27"/>
                  <a:gd name="T5" fmla="*/ 8 h 9"/>
                  <a:gd name="T6" fmla="*/ 27 w 27"/>
                  <a:gd name="T7" fmla="*/ 9 h 9"/>
                  <a:gd name="T8" fmla="*/ 25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6" y="8"/>
                      <a:pt x="27" y="9"/>
                      <a:pt x="27" y="9"/>
                    </a:cubicBezTo>
                    <a:cubicBezTo>
                      <a:pt x="27" y="8"/>
                      <a:pt x="26" y="7"/>
                      <a:pt x="25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5" name="Freeform 193">
                <a:extLst>
                  <a:ext uri="{FF2B5EF4-FFF2-40B4-BE49-F238E27FC236}">
                    <a16:creationId xmlns:a16="http://schemas.microsoft.com/office/drawing/2014/main" id="{C94BCCFC-6E1E-42B6-AA08-634FC5DE0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0" y="2362"/>
                <a:ext cx="20" cy="32"/>
              </a:xfrm>
              <a:custGeom>
                <a:avLst/>
                <a:gdLst>
                  <a:gd name="T0" fmla="*/ 13 w 20"/>
                  <a:gd name="T1" fmla="*/ 32 h 32"/>
                  <a:gd name="T2" fmla="*/ 0 w 20"/>
                  <a:gd name="T3" fmla="*/ 28 h 32"/>
                  <a:gd name="T4" fmla="*/ 7 w 20"/>
                  <a:gd name="T5" fmla="*/ 0 h 32"/>
                  <a:gd name="T6" fmla="*/ 20 w 20"/>
                  <a:gd name="T7" fmla="*/ 4 h 32"/>
                  <a:gd name="T8" fmla="*/ 13 w 20"/>
                  <a:gd name="T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2">
                    <a:moveTo>
                      <a:pt x="13" y="32"/>
                    </a:moveTo>
                    <a:lnTo>
                      <a:pt x="0" y="28"/>
                    </a:lnTo>
                    <a:lnTo>
                      <a:pt x="7" y="0"/>
                    </a:lnTo>
                    <a:lnTo>
                      <a:pt x="20" y="4"/>
                    </a:lnTo>
                    <a:lnTo>
                      <a:pt x="13" y="32"/>
                    </a:lnTo>
                    <a:close/>
                  </a:path>
                </a:pathLst>
              </a:custGeom>
              <a:solidFill>
                <a:srgbClr val="EF53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6" name="Freeform 194">
                <a:extLst>
                  <a:ext uri="{FF2B5EF4-FFF2-40B4-BE49-F238E27FC236}">
                    <a16:creationId xmlns:a16="http://schemas.microsoft.com/office/drawing/2014/main" id="{A4201B50-FE4A-4494-9B00-A0ADE304C2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9" y="2404"/>
                <a:ext cx="20" cy="32"/>
              </a:xfrm>
              <a:custGeom>
                <a:avLst/>
                <a:gdLst>
                  <a:gd name="T0" fmla="*/ 12 w 20"/>
                  <a:gd name="T1" fmla="*/ 32 h 32"/>
                  <a:gd name="T2" fmla="*/ 0 w 20"/>
                  <a:gd name="T3" fmla="*/ 28 h 32"/>
                  <a:gd name="T4" fmla="*/ 7 w 20"/>
                  <a:gd name="T5" fmla="*/ 0 h 32"/>
                  <a:gd name="T6" fmla="*/ 20 w 20"/>
                  <a:gd name="T7" fmla="*/ 3 h 32"/>
                  <a:gd name="T8" fmla="*/ 12 w 20"/>
                  <a:gd name="T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2">
                    <a:moveTo>
                      <a:pt x="12" y="32"/>
                    </a:moveTo>
                    <a:lnTo>
                      <a:pt x="0" y="28"/>
                    </a:lnTo>
                    <a:lnTo>
                      <a:pt x="7" y="0"/>
                    </a:lnTo>
                    <a:lnTo>
                      <a:pt x="20" y="3"/>
                    </a:lnTo>
                    <a:lnTo>
                      <a:pt x="12" y="32"/>
                    </a:lnTo>
                    <a:close/>
                  </a:path>
                </a:pathLst>
              </a:custGeom>
              <a:solidFill>
                <a:srgbClr val="8FDC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7" name="Freeform 195">
                <a:extLst>
                  <a:ext uri="{FF2B5EF4-FFF2-40B4-BE49-F238E27FC236}">
                    <a16:creationId xmlns:a16="http://schemas.microsoft.com/office/drawing/2014/main" id="{040EC471-B18B-4524-856E-E917E25575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" y="2387"/>
                <a:ext cx="25" cy="33"/>
              </a:xfrm>
              <a:custGeom>
                <a:avLst/>
                <a:gdLst>
                  <a:gd name="T0" fmla="*/ 17 w 25"/>
                  <a:gd name="T1" fmla="*/ 33 h 33"/>
                  <a:gd name="T2" fmla="*/ 0 w 25"/>
                  <a:gd name="T3" fmla="*/ 28 h 33"/>
                  <a:gd name="T4" fmla="*/ 8 w 25"/>
                  <a:gd name="T5" fmla="*/ 0 h 33"/>
                  <a:gd name="T6" fmla="*/ 25 w 25"/>
                  <a:gd name="T7" fmla="*/ 5 h 33"/>
                  <a:gd name="T8" fmla="*/ 17 w 25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33">
                    <a:moveTo>
                      <a:pt x="17" y="33"/>
                    </a:moveTo>
                    <a:lnTo>
                      <a:pt x="0" y="28"/>
                    </a:lnTo>
                    <a:lnTo>
                      <a:pt x="8" y="0"/>
                    </a:lnTo>
                    <a:lnTo>
                      <a:pt x="25" y="5"/>
                    </a:lnTo>
                    <a:lnTo>
                      <a:pt x="17" y="33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8" name="Freeform 196">
                <a:extLst>
                  <a:ext uri="{FF2B5EF4-FFF2-40B4-BE49-F238E27FC236}">
                    <a16:creationId xmlns:a16="http://schemas.microsoft.com/office/drawing/2014/main" id="{760A5B0F-2515-4410-8688-3BBF8312B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" y="2263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9" name="Freeform 197">
                <a:extLst>
                  <a:ext uri="{FF2B5EF4-FFF2-40B4-BE49-F238E27FC236}">
                    <a16:creationId xmlns:a16="http://schemas.microsoft.com/office/drawing/2014/main" id="{136B7A02-33E1-42E4-8FAE-B8B576DAF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" y="2276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0" name="Freeform 198">
                <a:extLst>
                  <a:ext uri="{FF2B5EF4-FFF2-40B4-BE49-F238E27FC236}">
                    <a16:creationId xmlns:a16="http://schemas.microsoft.com/office/drawing/2014/main" id="{A038D938-5D4E-4058-A4E1-504C0D303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5" y="2288"/>
                <a:ext cx="138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1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1" name="Freeform 199">
                <a:extLst>
                  <a:ext uri="{FF2B5EF4-FFF2-40B4-BE49-F238E27FC236}">
                    <a16:creationId xmlns:a16="http://schemas.microsoft.com/office/drawing/2014/main" id="{1B9D715A-EC9F-4B8A-A0B6-B52A154E0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2" y="2301"/>
                <a:ext cx="138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8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2" name="Freeform 200">
                <a:extLst>
                  <a:ext uri="{FF2B5EF4-FFF2-40B4-BE49-F238E27FC236}">
                    <a16:creationId xmlns:a16="http://schemas.microsoft.com/office/drawing/2014/main" id="{C42C2F4D-5A74-4676-AF9F-674E374861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313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8"/>
                      <a:pt x="253" y="68"/>
                      <a:pt x="253" y="68"/>
                    </a:cubicBezTo>
                    <a:cubicBezTo>
                      <a:pt x="252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3" name="Freeform 201">
                <a:extLst>
                  <a:ext uri="{FF2B5EF4-FFF2-40B4-BE49-F238E27FC236}">
                    <a16:creationId xmlns:a16="http://schemas.microsoft.com/office/drawing/2014/main" id="{86647506-B47B-4A12-93DA-D479FB3C2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5" y="2326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8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4" name="Freeform 202">
                <a:extLst>
                  <a:ext uri="{FF2B5EF4-FFF2-40B4-BE49-F238E27FC236}">
                    <a16:creationId xmlns:a16="http://schemas.microsoft.com/office/drawing/2014/main" id="{60B9C95F-56D4-4BDB-A109-729A91631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2" y="2338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8 h 69"/>
                  <a:gd name="T10" fmla="*/ 252 w 252"/>
                  <a:gd name="T11" fmla="*/ 69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2" y="68"/>
                      <a:pt x="252" y="69"/>
                    </a:cubicBezTo>
                    <a:cubicBezTo>
                      <a:pt x="252" y="69"/>
                      <a:pt x="252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5" name="Freeform 203">
                <a:extLst>
                  <a:ext uri="{FF2B5EF4-FFF2-40B4-BE49-F238E27FC236}">
                    <a16:creationId xmlns:a16="http://schemas.microsoft.com/office/drawing/2014/main" id="{72742FF2-CC75-48D5-A901-04594EB81E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51"/>
                <a:ext cx="137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1 w 252"/>
                  <a:gd name="T9" fmla="*/ 68 h 69"/>
                  <a:gd name="T10" fmla="*/ 252 w 252"/>
                  <a:gd name="T11" fmla="*/ 69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51" y="68"/>
                      <a:pt x="251" y="68"/>
                      <a:pt x="251" y="68"/>
                    </a:cubicBezTo>
                    <a:cubicBezTo>
                      <a:pt x="252" y="68"/>
                      <a:pt x="252" y="68"/>
                      <a:pt x="252" y="69"/>
                    </a:cubicBezTo>
                    <a:cubicBezTo>
                      <a:pt x="252" y="69"/>
                      <a:pt x="251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6" name="Freeform 204">
                <a:extLst>
                  <a:ext uri="{FF2B5EF4-FFF2-40B4-BE49-F238E27FC236}">
                    <a16:creationId xmlns:a16="http://schemas.microsoft.com/office/drawing/2014/main" id="{A1917ECF-7CD9-45B8-B9AC-361BBE00F3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5" y="2363"/>
                <a:ext cx="138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1 w 253"/>
                  <a:gd name="T5" fmla="*/ 1 h 69"/>
                  <a:gd name="T6" fmla="*/ 1 w 253"/>
                  <a:gd name="T7" fmla="*/ 1 h 69"/>
                  <a:gd name="T8" fmla="*/ 252 w 253"/>
                  <a:gd name="T9" fmla="*/ 68 h 69"/>
                  <a:gd name="T10" fmla="*/ 253 w 253"/>
                  <a:gd name="T11" fmla="*/ 69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1"/>
                      <a:pt x="1" y="0"/>
                      <a:pt x="1" y="1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3" y="68"/>
                      <a:pt x="253" y="68"/>
                      <a:pt x="253" y="69"/>
                    </a:cubicBezTo>
                    <a:cubicBezTo>
                      <a:pt x="253" y="69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" name="Group 406">
              <a:extLst>
                <a:ext uri="{FF2B5EF4-FFF2-40B4-BE49-F238E27FC236}">
                  <a16:creationId xmlns:a16="http://schemas.microsoft.com/office/drawing/2014/main" id="{53EA9CB8-50DC-473C-99CE-8AFCCA8D6E4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08950" y="1360488"/>
              <a:ext cx="2019300" cy="2759075"/>
              <a:chOff x="5108" y="857"/>
              <a:chExt cx="1272" cy="1738"/>
            </a:xfrm>
          </p:grpSpPr>
          <p:sp>
            <p:nvSpPr>
              <p:cNvPr id="367" name="Freeform 206">
                <a:extLst>
                  <a:ext uri="{FF2B5EF4-FFF2-40B4-BE49-F238E27FC236}">
                    <a16:creationId xmlns:a16="http://schemas.microsoft.com/office/drawing/2014/main" id="{4798BC5C-9BB4-4BEF-B74B-D74DC9D7C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1" y="2376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1 h 69"/>
                  <a:gd name="T8" fmla="*/ 252 w 253"/>
                  <a:gd name="T9" fmla="*/ 68 h 69"/>
                  <a:gd name="T10" fmla="*/ 253 w 253"/>
                  <a:gd name="T11" fmla="*/ 69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3" y="68"/>
                      <a:pt x="253" y="69"/>
                    </a:cubicBezTo>
                    <a:cubicBezTo>
                      <a:pt x="253" y="69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207">
                <a:extLst>
                  <a:ext uri="{FF2B5EF4-FFF2-40B4-BE49-F238E27FC236}">
                    <a16:creationId xmlns:a16="http://schemas.microsoft.com/office/drawing/2014/main" id="{A0EB452C-429D-43A4-BF61-139972950A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8" y="2389"/>
                <a:ext cx="139" cy="37"/>
              </a:xfrm>
              <a:custGeom>
                <a:avLst/>
                <a:gdLst>
                  <a:gd name="T0" fmla="*/ 252 w 253"/>
                  <a:gd name="T1" fmla="*/ 68 h 68"/>
                  <a:gd name="T2" fmla="*/ 1 w 253"/>
                  <a:gd name="T3" fmla="*/ 1 h 68"/>
                  <a:gd name="T4" fmla="*/ 0 w 253"/>
                  <a:gd name="T5" fmla="*/ 0 h 68"/>
                  <a:gd name="T6" fmla="*/ 1 w 253"/>
                  <a:gd name="T7" fmla="*/ 0 h 68"/>
                  <a:gd name="T8" fmla="*/ 252 w 253"/>
                  <a:gd name="T9" fmla="*/ 67 h 68"/>
                  <a:gd name="T10" fmla="*/ 252 w 253"/>
                  <a:gd name="T11" fmla="*/ 68 h 68"/>
                  <a:gd name="T12" fmla="*/ 252 w 253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8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7"/>
                      <a:pt x="252" y="68"/>
                    </a:cubicBezTo>
                    <a:cubicBezTo>
                      <a:pt x="252" y="68"/>
                      <a:pt x="252" y="68"/>
                      <a:pt x="252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208">
                <a:extLst>
                  <a:ext uri="{FF2B5EF4-FFF2-40B4-BE49-F238E27FC236}">
                    <a16:creationId xmlns:a16="http://schemas.microsoft.com/office/drawing/2014/main" id="{2ABE8BC9-3174-430E-89B0-0F09902AA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5" y="2402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1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2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8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209">
                <a:extLst>
                  <a:ext uri="{FF2B5EF4-FFF2-40B4-BE49-F238E27FC236}">
                    <a16:creationId xmlns:a16="http://schemas.microsoft.com/office/drawing/2014/main" id="{8C8B4ACF-C1DB-4164-9EF5-BA6B276939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2" y="2414"/>
                <a:ext cx="138" cy="38"/>
              </a:xfrm>
              <a:custGeom>
                <a:avLst/>
                <a:gdLst>
                  <a:gd name="T0" fmla="*/ 251 w 252"/>
                  <a:gd name="T1" fmla="*/ 68 h 69"/>
                  <a:gd name="T2" fmla="*/ 0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9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210">
                <a:extLst>
                  <a:ext uri="{FF2B5EF4-FFF2-40B4-BE49-F238E27FC236}">
                    <a16:creationId xmlns:a16="http://schemas.microsoft.com/office/drawing/2014/main" id="{95729F69-4135-42E8-84F4-D115D9BD5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8" y="2427"/>
                <a:ext cx="138" cy="37"/>
              </a:xfrm>
              <a:custGeom>
                <a:avLst/>
                <a:gdLst>
                  <a:gd name="T0" fmla="*/ 251 w 252"/>
                  <a:gd name="T1" fmla="*/ 68 h 69"/>
                  <a:gd name="T2" fmla="*/ 0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1 w 252"/>
                  <a:gd name="T9" fmla="*/ 67 h 69"/>
                  <a:gd name="T10" fmla="*/ 252 w 252"/>
                  <a:gd name="T11" fmla="*/ 68 h 69"/>
                  <a:gd name="T12" fmla="*/ 251 w 252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8"/>
                      <a:pt x="251" y="69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211">
                <a:extLst>
                  <a:ext uri="{FF2B5EF4-FFF2-40B4-BE49-F238E27FC236}">
                    <a16:creationId xmlns:a16="http://schemas.microsoft.com/office/drawing/2014/main" id="{B35A6572-A9D5-42F2-B142-EB51E9581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" y="2439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8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212">
                <a:extLst>
                  <a:ext uri="{FF2B5EF4-FFF2-40B4-BE49-F238E27FC236}">
                    <a16:creationId xmlns:a16="http://schemas.microsoft.com/office/drawing/2014/main" id="{724AF34D-A7CA-4631-A3DE-D64054DA3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1" y="2452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3" y="68"/>
                    </a:cubicBezTo>
                    <a:cubicBezTo>
                      <a:pt x="252" y="68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213">
                <a:extLst>
                  <a:ext uri="{FF2B5EF4-FFF2-40B4-BE49-F238E27FC236}">
                    <a16:creationId xmlns:a16="http://schemas.microsoft.com/office/drawing/2014/main" id="{929E761E-EEA1-43E0-8A22-F8E3A7D36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8" y="2464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1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214">
                <a:extLst>
                  <a:ext uri="{FF2B5EF4-FFF2-40B4-BE49-F238E27FC236}">
                    <a16:creationId xmlns:a16="http://schemas.microsoft.com/office/drawing/2014/main" id="{961B78A1-2549-45D1-8A96-69A74B297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8" y="2339"/>
                <a:ext cx="47" cy="14"/>
              </a:xfrm>
              <a:custGeom>
                <a:avLst/>
                <a:gdLst>
                  <a:gd name="T0" fmla="*/ 83 w 85"/>
                  <a:gd name="T1" fmla="*/ 24 h 24"/>
                  <a:gd name="T2" fmla="*/ 0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2 h 24"/>
                  <a:gd name="T10" fmla="*/ 84 w 85"/>
                  <a:gd name="T11" fmla="*/ 23 h 24"/>
                  <a:gd name="T12" fmla="*/ 83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3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84" y="22"/>
                      <a:pt x="84" y="22"/>
                      <a:pt x="84" y="22"/>
                    </a:cubicBezTo>
                    <a:cubicBezTo>
                      <a:pt x="84" y="23"/>
                      <a:pt x="85" y="23"/>
                      <a:pt x="84" y="23"/>
                    </a:cubicBezTo>
                    <a:cubicBezTo>
                      <a:pt x="84" y="24"/>
                      <a:pt x="84" y="24"/>
                      <a:pt x="83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Freeform 215">
                <a:extLst>
                  <a:ext uri="{FF2B5EF4-FFF2-40B4-BE49-F238E27FC236}">
                    <a16:creationId xmlns:a16="http://schemas.microsoft.com/office/drawing/2014/main" id="{F71F5D83-F820-4831-971A-332CBD4782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" y="2352"/>
                <a:ext cx="46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1 w 85"/>
                  <a:gd name="T5" fmla="*/ 1 h 24"/>
                  <a:gd name="T6" fmla="*/ 1 w 85"/>
                  <a:gd name="T7" fmla="*/ 0 h 24"/>
                  <a:gd name="T8" fmla="*/ 85 w 85"/>
                  <a:gd name="T9" fmla="*/ 22 h 24"/>
                  <a:gd name="T10" fmla="*/ 85 w 85"/>
                  <a:gd name="T11" fmla="*/ 23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85" y="22"/>
                      <a:pt x="85" y="22"/>
                      <a:pt x="85" y="22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4"/>
                      <a:pt x="85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Freeform 216">
                <a:extLst>
                  <a:ext uri="{FF2B5EF4-FFF2-40B4-BE49-F238E27FC236}">
                    <a16:creationId xmlns:a16="http://schemas.microsoft.com/office/drawing/2014/main" id="{D85BCA8D-A4C0-45BE-8163-CD5B7F2CCD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" y="2365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5 w 85"/>
                  <a:gd name="T9" fmla="*/ 23 h 24"/>
                  <a:gd name="T10" fmla="*/ 85 w 85"/>
                  <a:gd name="T11" fmla="*/ 23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4"/>
                      <a:pt x="85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8" name="Freeform 217">
                <a:extLst>
                  <a:ext uri="{FF2B5EF4-FFF2-40B4-BE49-F238E27FC236}">
                    <a16:creationId xmlns:a16="http://schemas.microsoft.com/office/drawing/2014/main" id="{B6A3291E-0158-4ED9-9B71-A1C0A37DC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8" y="2377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5" y="23"/>
                      <a:pt x="85" y="23"/>
                      <a:pt x="85" y="24"/>
                    </a:cubicBezTo>
                    <a:cubicBezTo>
                      <a:pt x="85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Freeform 218">
                <a:extLst>
                  <a:ext uri="{FF2B5EF4-FFF2-40B4-BE49-F238E27FC236}">
                    <a16:creationId xmlns:a16="http://schemas.microsoft.com/office/drawing/2014/main" id="{1E7A9B52-08CC-4676-BC25-BED9AA389F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" y="2390"/>
                <a:ext cx="46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5" y="23"/>
                      <a:pt x="85" y="23"/>
                      <a:pt x="85" y="24"/>
                    </a:cubicBezTo>
                    <a:cubicBezTo>
                      <a:pt x="85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Freeform 219">
                <a:extLst>
                  <a:ext uri="{FF2B5EF4-FFF2-40B4-BE49-F238E27FC236}">
                    <a16:creationId xmlns:a16="http://schemas.microsoft.com/office/drawing/2014/main" id="{7A375989-39E0-48AF-98E8-BD16A064E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1" y="2402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0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4" y="23"/>
                      <a:pt x="85" y="23"/>
                      <a:pt x="85" y="24"/>
                    </a:cubicBezTo>
                    <a:cubicBezTo>
                      <a:pt x="84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Freeform 220">
                <a:extLst>
                  <a:ext uri="{FF2B5EF4-FFF2-40B4-BE49-F238E27FC236}">
                    <a16:creationId xmlns:a16="http://schemas.microsoft.com/office/drawing/2014/main" id="{4D436458-25E7-4C60-B0D1-74FC0A19F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15"/>
                <a:ext cx="46" cy="13"/>
              </a:xfrm>
              <a:custGeom>
                <a:avLst/>
                <a:gdLst>
                  <a:gd name="T0" fmla="*/ 83 w 84"/>
                  <a:gd name="T1" fmla="*/ 24 h 24"/>
                  <a:gd name="T2" fmla="*/ 0 w 84"/>
                  <a:gd name="T3" fmla="*/ 2 h 24"/>
                  <a:gd name="T4" fmla="*/ 0 w 84"/>
                  <a:gd name="T5" fmla="*/ 1 h 24"/>
                  <a:gd name="T6" fmla="*/ 1 w 84"/>
                  <a:gd name="T7" fmla="*/ 0 h 24"/>
                  <a:gd name="T8" fmla="*/ 84 w 84"/>
                  <a:gd name="T9" fmla="*/ 23 h 24"/>
                  <a:gd name="T10" fmla="*/ 84 w 84"/>
                  <a:gd name="T11" fmla="*/ 24 h 24"/>
                  <a:gd name="T12" fmla="*/ 83 w 84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24">
                    <a:moveTo>
                      <a:pt x="83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4" y="23"/>
                      <a:pt x="84" y="23"/>
                      <a:pt x="84" y="24"/>
                    </a:cubicBezTo>
                    <a:cubicBezTo>
                      <a:pt x="84" y="24"/>
                      <a:pt x="84" y="24"/>
                      <a:pt x="83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Freeform 221">
                <a:extLst>
                  <a:ext uri="{FF2B5EF4-FFF2-40B4-BE49-F238E27FC236}">
                    <a16:creationId xmlns:a16="http://schemas.microsoft.com/office/drawing/2014/main" id="{2E21A502-C4FF-4D97-8827-90BAF8BCC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3" y="2403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0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2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8"/>
                      <a:pt x="251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Freeform 222">
                <a:extLst>
                  <a:ext uri="{FF2B5EF4-FFF2-40B4-BE49-F238E27FC236}">
                    <a16:creationId xmlns:a16="http://schemas.microsoft.com/office/drawing/2014/main" id="{A4140B52-F92F-4B4A-8EFE-AF18F4E24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0" y="2416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0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1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1" y="68"/>
                      <a:pt x="251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Freeform 223">
                <a:extLst>
                  <a:ext uri="{FF2B5EF4-FFF2-40B4-BE49-F238E27FC236}">
                    <a16:creationId xmlns:a16="http://schemas.microsoft.com/office/drawing/2014/main" id="{3138074F-679D-4718-A5C3-37FFE83E42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6" y="2428"/>
                <a:ext cx="138" cy="38"/>
              </a:xfrm>
              <a:custGeom>
                <a:avLst/>
                <a:gdLst>
                  <a:gd name="T0" fmla="*/ 252 w 253"/>
                  <a:gd name="T1" fmla="*/ 68 h 69"/>
                  <a:gd name="T2" fmla="*/ 1 w 253"/>
                  <a:gd name="T3" fmla="*/ 1 h 69"/>
                  <a:gd name="T4" fmla="*/ 1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7"/>
                      <a:pt x="253" y="68"/>
                    </a:cubicBezTo>
                    <a:cubicBezTo>
                      <a:pt x="253" y="68"/>
                      <a:pt x="252" y="69"/>
                      <a:pt x="252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Freeform 224">
                <a:extLst>
                  <a:ext uri="{FF2B5EF4-FFF2-40B4-BE49-F238E27FC236}">
                    <a16:creationId xmlns:a16="http://schemas.microsoft.com/office/drawing/2014/main" id="{52A93AF8-AC8B-4347-97FD-C2D1A5EAB7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2" y="2441"/>
                <a:ext cx="139" cy="38"/>
              </a:xfrm>
              <a:custGeom>
                <a:avLst/>
                <a:gdLst>
                  <a:gd name="T0" fmla="*/ 252 w 253"/>
                  <a:gd name="T1" fmla="*/ 68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8"/>
                      <a:pt x="252" y="69"/>
                      <a:pt x="252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Freeform 225">
                <a:extLst>
                  <a:ext uri="{FF2B5EF4-FFF2-40B4-BE49-F238E27FC236}">
                    <a16:creationId xmlns:a16="http://schemas.microsoft.com/office/drawing/2014/main" id="{4D9DEC18-B19B-4FAF-B9F3-3383055F13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9" y="2454"/>
                <a:ext cx="139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2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2" y="68"/>
                    </a:cubicBezTo>
                    <a:cubicBezTo>
                      <a:pt x="252" y="68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Freeform 226">
                <a:extLst>
                  <a:ext uri="{FF2B5EF4-FFF2-40B4-BE49-F238E27FC236}">
                    <a16:creationId xmlns:a16="http://schemas.microsoft.com/office/drawing/2014/main" id="{971BE79F-923D-4A4D-A416-053168D78A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6" y="2466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8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Freeform 227">
                <a:extLst>
                  <a:ext uri="{FF2B5EF4-FFF2-40B4-BE49-F238E27FC236}">
                    <a16:creationId xmlns:a16="http://schemas.microsoft.com/office/drawing/2014/main" id="{494E53A7-3C3F-4CDC-BD0B-DA2147628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479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1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Freeform 228">
                <a:extLst>
                  <a:ext uri="{FF2B5EF4-FFF2-40B4-BE49-F238E27FC236}">
                    <a16:creationId xmlns:a16="http://schemas.microsoft.com/office/drawing/2014/main" id="{78080B31-D1DB-46E4-883D-13E1FA5F22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9" y="2491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1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1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Freeform 229">
                <a:extLst>
                  <a:ext uri="{FF2B5EF4-FFF2-40B4-BE49-F238E27FC236}">
                    <a16:creationId xmlns:a16="http://schemas.microsoft.com/office/drawing/2014/main" id="{C6491041-D199-46E5-82B5-55AF5BABF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2504"/>
                <a:ext cx="138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Freeform 230">
                <a:extLst>
                  <a:ext uri="{FF2B5EF4-FFF2-40B4-BE49-F238E27FC236}">
                    <a16:creationId xmlns:a16="http://schemas.microsoft.com/office/drawing/2014/main" id="{5ADE6041-EDAB-41C0-B9E2-699796B8C0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516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3" y="68"/>
                    </a:cubicBezTo>
                    <a:cubicBezTo>
                      <a:pt x="252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Freeform 231">
                <a:extLst>
                  <a:ext uri="{FF2B5EF4-FFF2-40B4-BE49-F238E27FC236}">
                    <a16:creationId xmlns:a16="http://schemas.microsoft.com/office/drawing/2014/main" id="{89D26C9E-77DB-439C-A41A-D935B7734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9" y="2314"/>
                <a:ext cx="22" cy="79"/>
              </a:xfrm>
              <a:custGeom>
                <a:avLst/>
                <a:gdLst>
                  <a:gd name="T0" fmla="*/ 1 w 41"/>
                  <a:gd name="T1" fmla="*/ 146 h 146"/>
                  <a:gd name="T2" fmla="*/ 1 w 41"/>
                  <a:gd name="T3" fmla="*/ 145 h 146"/>
                  <a:gd name="T4" fmla="*/ 39 w 41"/>
                  <a:gd name="T5" fmla="*/ 0 h 146"/>
                  <a:gd name="T6" fmla="*/ 40 w 41"/>
                  <a:gd name="T7" fmla="*/ 0 h 146"/>
                  <a:gd name="T8" fmla="*/ 41 w 41"/>
                  <a:gd name="T9" fmla="*/ 1 h 146"/>
                  <a:gd name="T10" fmla="*/ 2 w 41"/>
                  <a:gd name="T11" fmla="*/ 146 h 146"/>
                  <a:gd name="T12" fmla="*/ 1 w 41"/>
                  <a:gd name="T13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146">
                    <a:moveTo>
                      <a:pt x="1" y="146"/>
                    </a:moveTo>
                    <a:cubicBezTo>
                      <a:pt x="1" y="146"/>
                      <a:pt x="0" y="146"/>
                      <a:pt x="1" y="14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40" y="0"/>
                      <a:pt x="40" y="0"/>
                    </a:cubicBezTo>
                    <a:cubicBezTo>
                      <a:pt x="41" y="0"/>
                      <a:pt x="41" y="0"/>
                      <a:pt x="41" y="1"/>
                    </a:cubicBezTo>
                    <a:cubicBezTo>
                      <a:pt x="2" y="146"/>
                      <a:pt x="2" y="146"/>
                      <a:pt x="2" y="146"/>
                    </a:cubicBezTo>
                    <a:cubicBezTo>
                      <a:pt x="2" y="146"/>
                      <a:pt x="1" y="146"/>
                      <a:pt x="1" y="146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Freeform 232">
                <a:extLst>
                  <a:ext uri="{FF2B5EF4-FFF2-40B4-BE49-F238E27FC236}">
                    <a16:creationId xmlns:a16="http://schemas.microsoft.com/office/drawing/2014/main" id="{14C0270B-D41F-4ACE-8E23-9E39D785C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6" y="2387"/>
                <a:ext cx="81" cy="23"/>
              </a:xfrm>
              <a:custGeom>
                <a:avLst/>
                <a:gdLst>
                  <a:gd name="T0" fmla="*/ 146 w 148"/>
                  <a:gd name="T1" fmla="*/ 41 h 41"/>
                  <a:gd name="T2" fmla="*/ 1 w 148"/>
                  <a:gd name="T3" fmla="*/ 2 h 41"/>
                  <a:gd name="T4" fmla="*/ 0 w 148"/>
                  <a:gd name="T5" fmla="*/ 1 h 41"/>
                  <a:gd name="T6" fmla="*/ 1 w 148"/>
                  <a:gd name="T7" fmla="*/ 0 h 41"/>
                  <a:gd name="T8" fmla="*/ 147 w 148"/>
                  <a:gd name="T9" fmla="*/ 39 h 41"/>
                  <a:gd name="T10" fmla="*/ 147 w 148"/>
                  <a:gd name="T11" fmla="*/ 40 h 41"/>
                  <a:gd name="T12" fmla="*/ 146 w 148"/>
                  <a:gd name="T13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" h="41">
                    <a:moveTo>
                      <a:pt x="146" y="41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47" y="39"/>
                      <a:pt x="147" y="39"/>
                      <a:pt x="147" y="39"/>
                    </a:cubicBezTo>
                    <a:cubicBezTo>
                      <a:pt x="147" y="39"/>
                      <a:pt x="148" y="40"/>
                      <a:pt x="147" y="40"/>
                    </a:cubicBezTo>
                    <a:cubicBezTo>
                      <a:pt x="147" y="41"/>
                      <a:pt x="147" y="41"/>
                      <a:pt x="146" y="41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Freeform 233">
                <a:extLst>
                  <a:ext uri="{FF2B5EF4-FFF2-40B4-BE49-F238E27FC236}">
                    <a16:creationId xmlns:a16="http://schemas.microsoft.com/office/drawing/2014/main" id="{B3A106E9-D298-477B-9D94-C48936C46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0" y="2334"/>
                <a:ext cx="87" cy="52"/>
              </a:xfrm>
              <a:custGeom>
                <a:avLst/>
                <a:gdLst>
                  <a:gd name="T0" fmla="*/ 0 w 87"/>
                  <a:gd name="T1" fmla="*/ 47 h 52"/>
                  <a:gd name="T2" fmla="*/ 0 w 87"/>
                  <a:gd name="T3" fmla="*/ 47 h 52"/>
                  <a:gd name="T4" fmla="*/ 0 w 87"/>
                  <a:gd name="T5" fmla="*/ 47 h 52"/>
                  <a:gd name="T6" fmla="*/ 21 w 87"/>
                  <a:gd name="T7" fmla="*/ 27 h 52"/>
                  <a:gd name="T8" fmla="*/ 21 w 87"/>
                  <a:gd name="T9" fmla="*/ 27 h 52"/>
                  <a:gd name="T10" fmla="*/ 22 w 87"/>
                  <a:gd name="T11" fmla="*/ 27 h 52"/>
                  <a:gd name="T12" fmla="*/ 28 w 87"/>
                  <a:gd name="T13" fmla="*/ 35 h 52"/>
                  <a:gd name="T14" fmla="*/ 43 w 87"/>
                  <a:gd name="T15" fmla="*/ 15 h 52"/>
                  <a:gd name="T16" fmla="*/ 43 w 87"/>
                  <a:gd name="T17" fmla="*/ 15 h 52"/>
                  <a:gd name="T18" fmla="*/ 43 w 87"/>
                  <a:gd name="T19" fmla="*/ 15 h 52"/>
                  <a:gd name="T20" fmla="*/ 43 w 87"/>
                  <a:gd name="T21" fmla="*/ 15 h 52"/>
                  <a:gd name="T22" fmla="*/ 46 w 87"/>
                  <a:gd name="T23" fmla="*/ 50 h 52"/>
                  <a:gd name="T24" fmla="*/ 56 w 87"/>
                  <a:gd name="T25" fmla="*/ 31 h 52"/>
                  <a:gd name="T26" fmla="*/ 57 w 87"/>
                  <a:gd name="T27" fmla="*/ 30 h 52"/>
                  <a:gd name="T28" fmla="*/ 57 w 87"/>
                  <a:gd name="T29" fmla="*/ 31 h 52"/>
                  <a:gd name="T30" fmla="*/ 60 w 87"/>
                  <a:gd name="T31" fmla="*/ 39 h 52"/>
                  <a:gd name="T32" fmla="*/ 70 w 87"/>
                  <a:gd name="T33" fmla="*/ 17 h 52"/>
                  <a:gd name="T34" fmla="*/ 70 w 87"/>
                  <a:gd name="T35" fmla="*/ 17 h 52"/>
                  <a:gd name="T36" fmla="*/ 70 w 87"/>
                  <a:gd name="T37" fmla="*/ 17 h 52"/>
                  <a:gd name="T38" fmla="*/ 73 w 87"/>
                  <a:gd name="T39" fmla="*/ 22 h 52"/>
                  <a:gd name="T40" fmla="*/ 86 w 87"/>
                  <a:gd name="T41" fmla="*/ 0 h 52"/>
                  <a:gd name="T42" fmla="*/ 87 w 87"/>
                  <a:gd name="T43" fmla="*/ 0 h 52"/>
                  <a:gd name="T44" fmla="*/ 87 w 87"/>
                  <a:gd name="T45" fmla="*/ 1 h 52"/>
                  <a:gd name="T46" fmla="*/ 73 w 87"/>
                  <a:gd name="T47" fmla="*/ 23 h 52"/>
                  <a:gd name="T48" fmla="*/ 73 w 87"/>
                  <a:gd name="T49" fmla="*/ 23 h 52"/>
                  <a:gd name="T50" fmla="*/ 72 w 87"/>
                  <a:gd name="T51" fmla="*/ 23 h 52"/>
                  <a:gd name="T52" fmla="*/ 70 w 87"/>
                  <a:gd name="T53" fmla="*/ 19 h 52"/>
                  <a:gd name="T54" fmla="*/ 60 w 87"/>
                  <a:gd name="T55" fmla="*/ 40 h 52"/>
                  <a:gd name="T56" fmla="*/ 60 w 87"/>
                  <a:gd name="T57" fmla="*/ 40 h 52"/>
                  <a:gd name="T58" fmla="*/ 60 w 87"/>
                  <a:gd name="T59" fmla="*/ 40 h 52"/>
                  <a:gd name="T60" fmla="*/ 57 w 87"/>
                  <a:gd name="T61" fmla="*/ 32 h 52"/>
                  <a:gd name="T62" fmla="*/ 46 w 87"/>
                  <a:gd name="T63" fmla="*/ 52 h 52"/>
                  <a:gd name="T64" fmla="*/ 45 w 87"/>
                  <a:gd name="T65" fmla="*/ 52 h 52"/>
                  <a:gd name="T66" fmla="*/ 45 w 87"/>
                  <a:gd name="T67" fmla="*/ 52 h 52"/>
                  <a:gd name="T68" fmla="*/ 43 w 87"/>
                  <a:gd name="T69" fmla="*/ 16 h 52"/>
                  <a:gd name="T70" fmla="*/ 28 w 87"/>
                  <a:gd name="T71" fmla="*/ 36 h 52"/>
                  <a:gd name="T72" fmla="*/ 28 w 87"/>
                  <a:gd name="T73" fmla="*/ 36 h 52"/>
                  <a:gd name="T74" fmla="*/ 28 w 87"/>
                  <a:gd name="T75" fmla="*/ 36 h 52"/>
                  <a:gd name="T76" fmla="*/ 21 w 87"/>
                  <a:gd name="T77" fmla="*/ 28 h 52"/>
                  <a:gd name="T78" fmla="*/ 0 w 87"/>
                  <a:gd name="T79" fmla="*/ 47 h 52"/>
                  <a:gd name="T80" fmla="*/ 0 w 87"/>
                  <a:gd name="T81" fmla="*/ 47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7" h="52">
                    <a:moveTo>
                      <a:pt x="0" y="47"/>
                    </a:moveTo>
                    <a:lnTo>
                      <a:pt x="0" y="47"/>
                    </a:lnTo>
                    <a:lnTo>
                      <a:pt x="0" y="47"/>
                    </a:lnTo>
                    <a:lnTo>
                      <a:pt x="21" y="27"/>
                    </a:lnTo>
                    <a:lnTo>
                      <a:pt x="21" y="27"/>
                    </a:lnTo>
                    <a:lnTo>
                      <a:pt x="22" y="27"/>
                    </a:lnTo>
                    <a:lnTo>
                      <a:pt x="28" y="3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6" y="50"/>
                    </a:lnTo>
                    <a:lnTo>
                      <a:pt x="56" y="31"/>
                    </a:lnTo>
                    <a:lnTo>
                      <a:pt x="57" y="30"/>
                    </a:lnTo>
                    <a:lnTo>
                      <a:pt x="57" y="31"/>
                    </a:lnTo>
                    <a:lnTo>
                      <a:pt x="60" y="39"/>
                    </a:lnTo>
                    <a:lnTo>
                      <a:pt x="70" y="17"/>
                    </a:lnTo>
                    <a:lnTo>
                      <a:pt x="70" y="17"/>
                    </a:lnTo>
                    <a:lnTo>
                      <a:pt x="70" y="17"/>
                    </a:lnTo>
                    <a:lnTo>
                      <a:pt x="73" y="22"/>
                    </a:lnTo>
                    <a:lnTo>
                      <a:pt x="86" y="0"/>
                    </a:lnTo>
                    <a:lnTo>
                      <a:pt x="87" y="0"/>
                    </a:lnTo>
                    <a:lnTo>
                      <a:pt x="87" y="1"/>
                    </a:lnTo>
                    <a:lnTo>
                      <a:pt x="73" y="23"/>
                    </a:lnTo>
                    <a:lnTo>
                      <a:pt x="73" y="23"/>
                    </a:lnTo>
                    <a:lnTo>
                      <a:pt x="72" y="23"/>
                    </a:lnTo>
                    <a:lnTo>
                      <a:pt x="70" y="19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57" y="32"/>
                    </a:lnTo>
                    <a:lnTo>
                      <a:pt x="46" y="52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43" y="1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1" y="28"/>
                    </a:lnTo>
                    <a:lnTo>
                      <a:pt x="0" y="47"/>
                    </a:lnTo>
                    <a:lnTo>
                      <a:pt x="0" y="47"/>
                    </a:ln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Freeform 234">
                <a:extLst>
                  <a:ext uri="{FF2B5EF4-FFF2-40B4-BE49-F238E27FC236}">
                    <a16:creationId xmlns:a16="http://schemas.microsoft.com/office/drawing/2014/main" id="{4D1DCA91-FFF0-4EFE-986A-F086172B8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2" y="2334"/>
                <a:ext cx="5" cy="7"/>
              </a:xfrm>
              <a:custGeom>
                <a:avLst/>
                <a:gdLst>
                  <a:gd name="T0" fmla="*/ 6 w 9"/>
                  <a:gd name="T1" fmla="*/ 12 h 12"/>
                  <a:gd name="T2" fmla="*/ 5 w 9"/>
                  <a:gd name="T3" fmla="*/ 11 h 12"/>
                  <a:gd name="T4" fmla="*/ 7 w 9"/>
                  <a:gd name="T5" fmla="*/ 3 h 12"/>
                  <a:gd name="T6" fmla="*/ 1 w 9"/>
                  <a:gd name="T7" fmla="*/ 8 h 12"/>
                  <a:gd name="T8" fmla="*/ 0 w 9"/>
                  <a:gd name="T9" fmla="*/ 8 h 12"/>
                  <a:gd name="T10" fmla="*/ 0 w 9"/>
                  <a:gd name="T11" fmla="*/ 7 h 12"/>
                  <a:gd name="T12" fmla="*/ 8 w 9"/>
                  <a:gd name="T13" fmla="*/ 0 h 12"/>
                  <a:gd name="T14" fmla="*/ 9 w 9"/>
                  <a:gd name="T15" fmla="*/ 0 h 12"/>
                  <a:gd name="T16" fmla="*/ 9 w 9"/>
                  <a:gd name="T17" fmla="*/ 1 h 12"/>
                  <a:gd name="T18" fmla="*/ 7 w 9"/>
                  <a:gd name="T19" fmla="*/ 11 h 12"/>
                  <a:gd name="T20" fmla="*/ 6 w 9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12">
                    <a:moveTo>
                      <a:pt x="6" y="12"/>
                    </a:moveTo>
                    <a:cubicBezTo>
                      <a:pt x="5" y="11"/>
                      <a:pt x="5" y="11"/>
                      <a:pt x="5" y="1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11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Freeform 235">
                <a:extLst>
                  <a:ext uri="{FF2B5EF4-FFF2-40B4-BE49-F238E27FC236}">
                    <a16:creationId xmlns:a16="http://schemas.microsoft.com/office/drawing/2014/main" id="{6732AD72-9403-4264-A93A-E3AE94C5E0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8" y="2307"/>
                <a:ext cx="85" cy="288"/>
              </a:xfrm>
              <a:custGeom>
                <a:avLst/>
                <a:gdLst>
                  <a:gd name="T0" fmla="*/ 8 w 85"/>
                  <a:gd name="T1" fmla="*/ 288 h 288"/>
                  <a:gd name="T2" fmla="*/ 0 w 85"/>
                  <a:gd name="T3" fmla="*/ 286 h 288"/>
                  <a:gd name="T4" fmla="*/ 77 w 85"/>
                  <a:gd name="T5" fmla="*/ 0 h 288"/>
                  <a:gd name="T6" fmla="*/ 85 w 85"/>
                  <a:gd name="T7" fmla="*/ 2 h 288"/>
                  <a:gd name="T8" fmla="*/ 8 w 85"/>
                  <a:gd name="T9" fmla="*/ 288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288">
                    <a:moveTo>
                      <a:pt x="8" y="288"/>
                    </a:moveTo>
                    <a:lnTo>
                      <a:pt x="0" y="286"/>
                    </a:lnTo>
                    <a:lnTo>
                      <a:pt x="77" y="0"/>
                    </a:lnTo>
                    <a:lnTo>
                      <a:pt x="85" y="2"/>
                    </a:lnTo>
                    <a:lnTo>
                      <a:pt x="8" y="288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Freeform 236">
                <a:extLst>
                  <a:ext uri="{FF2B5EF4-FFF2-40B4-BE49-F238E27FC236}">
                    <a16:creationId xmlns:a16="http://schemas.microsoft.com/office/drawing/2014/main" id="{BA9D7340-C884-488F-B991-4DAEE78E1D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4" y="2159"/>
                <a:ext cx="13" cy="30"/>
              </a:xfrm>
              <a:custGeom>
                <a:avLst/>
                <a:gdLst>
                  <a:gd name="T0" fmla="*/ 1 w 24"/>
                  <a:gd name="T1" fmla="*/ 40 h 55"/>
                  <a:gd name="T2" fmla="*/ 8 w 24"/>
                  <a:gd name="T3" fmla="*/ 11 h 55"/>
                  <a:gd name="T4" fmla="*/ 23 w 24"/>
                  <a:gd name="T5" fmla="*/ 2 h 55"/>
                  <a:gd name="T6" fmla="*/ 24 w 24"/>
                  <a:gd name="T7" fmla="*/ 2 h 55"/>
                  <a:gd name="T8" fmla="*/ 12 w 24"/>
                  <a:gd name="T9" fmla="*/ 55 h 55"/>
                  <a:gd name="T10" fmla="*/ 10 w 24"/>
                  <a:gd name="T11" fmla="*/ 54 h 55"/>
                  <a:gd name="T12" fmla="*/ 1 w 24"/>
                  <a:gd name="T13" fmla="*/ 4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55">
                    <a:moveTo>
                      <a:pt x="1" y="40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10" y="4"/>
                      <a:pt x="16" y="0"/>
                      <a:pt x="23" y="2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0" y="54"/>
                      <a:pt x="10" y="54"/>
                      <a:pt x="10" y="54"/>
                    </a:cubicBezTo>
                    <a:cubicBezTo>
                      <a:pt x="4" y="53"/>
                      <a:pt x="0" y="46"/>
                      <a:pt x="1" y="4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Freeform 237">
                <a:extLst>
                  <a:ext uri="{FF2B5EF4-FFF2-40B4-BE49-F238E27FC236}">
                    <a16:creationId xmlns:a16="http://schemas.microsoft.com/office/drawing/2014/main" id="{99F5156E-9E47-4592-807E-FD36680F7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7" y="2154"/>
                <a:ext cx="132" cy="66"/>
              </a:xfrm>
              <a:custGeom>
                <a:avLst/>
                <a:gdLst>
                  <a:gd name="T0" fmla="*/ 196 w 240"/>
                  <a:gd name="T1" fmla="*/ 120 h 121"/>
                  <a:gd name="T2" fmla="*/ 17 w 240"/>
                  <a:gd name="T3" fmla="*/ 79 h 121"/>
                  <a:gd name="T4" fmla="*/ 2 w 240"/>
                  <a:gd name="T5" fmla="*/ 61 h 121"/>
                  <a:gd name="T6" fmla="*/ 13 w 240"/>
                  <a:gd name="T7" fmla="*/ 12 h 121"/>
                  <a:gd name="T8" fmla="*/ 35 w 240"/>
                  <a:gd name="T9" fmla="*/ 2 h 121"/>
                  <a:gd name="T10" fmla="*/ 214 w 240"/>
                  <a:gd name="T11" fmla="*/ 43 h 121"/>
                  <a:gd name="T12" fmla="*/ 216 w 240"/>
                  <a:gd name="T13" fmla="*/ 44 h 121"/>
                  <a:gd name="T14" fmla="*/ 229 w 240"/>
                  <a:gd name="T15" fmla="*/ 74 h 121"/>
                  <a:gd name="T16" fmla="*/ 229 w 240"/>
                  <a:gd name="T17" fmla="*/ 73 h 121"/>
                  <a:gd name="T18" fmla="*/ 240 w 240"/>
                  <a:gd name="T19" fmla="*/ 76 h 121"/>
                  <a:gd name="T20" fmla="*/ 234 w 240"/>
                  <a:gd name="T21" fmla="*/ 102 h 121"/>
                  <a:gd name="T22" fmla="*/ 223 w 240"/>
                  <a:gd name="T23" fmla="*/ 100 h 121"/>
                  <a:gd name="T24" fmla="*/ 223 w 240"/>
                  <a:gd name="T25" fmla="*/ 100 h 121"/>
                  <a:gd name="T26" fmla="*/ 198 w 240"/>
                  <a:gd name="T27" fmla="*/ 121 h 121"/>
                  <a:gd name="T28" fmla="*/ 196 w 240"/>
                  <a:gd name="T29" fmla="*/ 12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0" h="121">
                    <a:moveTo>
                      <a:pt x="196" y="120"/>
                    </a:moveTo>
                    <a:cubicBezTo>
                      <a:pt x="17" y="79"/>
                      <a:pt x="17" y="79"/>
                      <a:pt x="17" y="79"/>
                    </a:cubicBezTo>
                    <a:cubicBezTo>
                      <a:pt x="7" y="77"/>
                      <a:pt x="0" y="69"/>
                      <a:pt x="2" y="61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5" y="4"/>
                      <a:pt x="25" y="0"/>
                      <a:pt x="35" y="2"/>
                    </a:cubicBezTo>
                    <a:cubicBezTo>
                      <a:pt x="214" y="43"/>
                      <a:pt x="214" y="43"/>
                      <a:pt x="214" y="43"/>
                    </a:cubicBezTo>
                    <a:cubicBezTo>
                      <a:pt x="215" y="43"/>
                      <a:pt x="215" y="43"/>
                      <a:pt x="216" y="44"/>
                    </a:cubicBezTo>
                    <a:cubicBezTo>
                      <a:pt x="225" y="49"/>
                      <a:pt x="229" y="74"/>
                      <a:pt x="229" y="74"/>
                    </a:cubicBezTo>
                    <a:cubicBezTo>
                      <a:pt x="229" y="73"/>
                      <a:pt x="229" y="73"/>
                      <a:pt x="229" y="73"/>
                    </a:cubicBezTo>
                    <a:cubicBezTo>
                      <a:pt x="240" y="76"/>
                      <a:pt x="240" y="76"/>
                      <a:pt x="240" y="76"/>
                    </a:cubicBezTo>
                    <a:cubicBezTo>
                      <a:pt x="234" y="102"/>
                      <a:pt x="234" y="102"/>
                      <a:pt x="234" y="102"/>
                    </a:cubicBezTo>
                    <a:cubicBezTo>
                      <a:pt x="223" y="100"/>
                      <a:pt x="223" y="100"/>
                      <a:pt x="223" y="100"/>
                    </a:cubicBezTo>
                    <a:cubicBezTo>
                      <a:pt x="223" y="100"/>
                      <a:pt x="223" y="100"/>
                      <a:pt x="223" y="100"/>
                    </a:cubicBezTo>
                    <a:cubicBezTo>
                      <a:pt x="223" y="100"/>
                      <a:pt x="208" y="120"/>
                      <a:pt x="198" y="121"/>
                    </a:cubicBezTo>
                    <a:cubicBezTo>
                      <a:pt x="197" y="121"/>
                      <a:pt x="197" y="121"/>
                      <a:pt x="196" y="12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Freeform 238">
                <a:extLst>
                  <a:ext uri="{FF2B5EF4-FFF2-40B4-BE49-F238E27FC236}">
                    <a16:creationId xmlns:a16="http://schemas.microsoft.com/office/drawing/2014/main" id="{D7EAC1EA-79E6-4716-AF50-A81473C58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6" y="2178"/>
                <a:ext cx="23" cy="42"/>
              </a:xfrm>
              <a:custGeom>
                <a:avLst/>
                <a:gdLst>
                  <a:gd name="T0" fmla="*/ 0 w 42"/>
                  <a:gd name="T1" fmla="*/ 77 h 77"/>
                  <a:gd name="T2" fmla="*/ 18 w 42"/>
                  <a:gd name="T3" fmla="*/ 0 h 77"/>
                  <a:gd name="T4" fmla="*/ 31 w 42"/>
                  <a:gd name="T5" fmla="*/ 30 h 77"/>
                  <a:gd name="T6" fmla="*/ 31 w 42"/>
                  <a:gd name="T7" fmla="*/ 29 h 77"/>
                  <a:gd name="T8" fmla="*/ 42 w 42"/>
                  <a:gd name="T9" fmla="*/ 32 h 77"/>
                  <a:gd name="T10" fmla="*/ 36 w 42"/>
                  <a:gd name="T11" fmla="*/ 58 h 77"/>
                  <a:gd name="T12" fmla="*/ 25 w 42"/>
                  <a:gd name="T13" fmla="*/ 56 h 77"/>
                  <a:gd name="T14" fmla="*/ 25 w 42"/>
                  <a:gd name="T15" fmla="*/ 56 h 77"/>
                  <a:gd name="T16" fmla="*/ 0 w 42"/>
                  <a:gd name="T17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77">
                    <a:moveTo>
                      <a:pt x="0" y="77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27" y="5"/>
                      <a:pt x="31" y="30"/>
                      <a:pt x="31" y="30"/>
                    </a:cubicBezTo>
                    <a:cubicBezTo>
                      <a:pt x="31" y="29"/>
                      <a:pt x="31" y="29"/>
                      <a:pt x="31" y="29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25" y="56"/>
                      <a:pt x="25" y="56"/>
                      <a:pt x="25" y="56"/>
                    </a:cubicBezTo>
                    <a:cubicBezTo>
                      <a:pt x="25" y="56"/>
                      <a:pt x="25" y="56"/>
                      <a:pt x="25" y="56"/>
                    </a:cubicBezTo>
                    <a:cubicBezTo>
                      <a:pt x="25" y="56"/>
                      <a:pt x="10" y="76"/>
                      <a:pt x="0" y="77"/>
                    </a:cubicBezTo>
                  </a:path>
                </a:pathLst>
              </a:custGeom>
              <a:solidFill>
                <a:srgbClr val="C9B6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0" name="Freeform 239">
                <a:extLst>
                  <a:ext uri="{FF2B5EF4-FFF2-40B4-BE49-F238E27FC236}">
                    <a16:creationId xmlns:a16="http://schemas.microsoft.com/office/drawing/2014/main" id="{5BD6F254-7E97-4564-AEA1-6414D5897D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5" y="2197"/>
                <a:ext cx="14" cy="12"/>
              </a:xfrm>
              <a:custGeom>
                <a:avLst/>
                <a:gdLst>
                  <a:gd name="T0" fmla="*/ 0 w 24"/>
                  <a:gd name="T1" fmla="*/ 20 h 22"/>
                  <a:gd name="T2" fmla="*/ 5 w 24"/>
                  <a:gd name="T3" fmla="*/ 0 h 22"/>
                  <a:gd name="T4" fmla="*/ 23 w 24"/>
                  <a:gd name="T5" fmla="*/ 7 h 22"/>
                  <a:gd name="T6" fmla="*/ 24 w 24"/>
                  <a:gd name="T7" fmla="*/ 7 h 22"/>
                  <a:gd name="T8" fmla="*/ 24 w 24"/>
                  <a:gd name="T9" fmla="*/ 8 h 22"/>
                  <a:gd name="T10" fmla="*/ 21 w 24"/>
                  <a:gd name="T11" fmla="*/ 21 h 22"/>
                  <a:gd name="T12" fmla="*/ 20 w 24"/>
                  <a:gd name="T13" fmla="*/ 22 h 22"/>
                  <a:gd name="T14" fmla="*/ 19 w 24"/>
                  <a:gd name="T15" fmla="*/ 22 h 22"/>
                  <a:gd name="T16" fmla="*/ 0 w 24"/>
                  <a:gd name="T17" fmla="*/ 2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2">
                    <a:moveTo>
                      <a:pt x="0" y="2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7"/>
                      <a:pt x="24" y="8"/>
                      <a:pt x="24" y="8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1" y="21"/>
                      <a:pt x="21" y="22"/>
                      <a:pt x="20" y="22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0" y="20"/>
                      <a:pt x="0" y="20"/>
                      <a:pt x="0" y="2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1" name="Freeform 240">
                <a:extLst>
                  <a:ext uri="{FF2B5EF4-FFF2-40B4-BE49-F238E27FC236}">
                    <a16:creationId xmlns:a16="http://schemas.microsoft.com/office/drawing/2014/main" id="{DED403AA-BD71-4D1A-9A26-3218B38871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6" y="2201"/>
                <a:ext cx="3" cy="8"/>
              </a:xfrm>
              <a:custGeom>
                <a:avLst/>
                <a:gdLst>
                  <a:gd name="T0" fmla="*/ 0 w 5"/>
                  <a:gd name="T1" fmla="*/ 15 h 15"/>
                  <a:gd name="T2" fmla="*/ 4 w 5"/>
                  <a:gd name="T3" fmla="*/ 0 h 15"/>
                  <a:gd name="T4" fmla="*/ 5 w 5"/>
                  <a:gd name="T5" fmla="*/ 0 h 15"/>
                  <a:gd name="T6" fmla="*/ 5 w 5"/>
                  <a:gd name="T7" fmla="*/ 1 h 15"/>
                  <a:gd name="T8" fmla="*/ 2 w 5"/>
                  <a:gd name="T9" fmla="*/ 14 h 15"/>
                  <a:gd name="T10" fmla="*/ 1 w 5"/>
                  <a:gd name="T11" fmla="*/ 15 h 15"/>
                  <a:gd name="T12" fmla="*/ 0 w 5"/>
                  <a:gd name="T13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15">
                    <a:moveTo>
                      <a:pt x="0" y="15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2" y="14"/>
                      <a:pt x="2" y="15"/>
                      <a:pt x="1" y="15"/>
                    </a:cubicBez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30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2" name="Freeform 241">
                <a:extLst>
                  <a:ext uri="{FF2B5EF4-FFF2-40B4-BE49-F238E27FC236}">
                    <a16:creationId xmlns:a16="http://schemas.microsoft.com/office/drawing/2014/main" id="{6178053C-5132-4CEA-BFC7-65AB89BED1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54" y="2180"/>
                <a:ext cx="112" cy="40"/>
              </a:xfrm>
              <a:custGeom>
                <a:avLst/>
                <a:gdLst>
                  <a:gd name="T0" fmla="*/ 204 w 204"/>
                  <a:gd name="T1" fmla="*/ 74 h 74"/>
                  <a:gd name="T2" fmla="*/ 204 w 204"/>
                  <a:gd name="T3" fmla="*/ 74 h 74"/>
                  <a:gd name="T4" fmla="*/ 204 w 204"/>
                  <a:gd name="T5" fmla="*/ 74 h 74"/>
                  <a:gd name="T6" fmla="*/ 204 w 204"/>
                  <a:gd name="T7" fmla="*/ 74 h 74"/>
                  <a:gd name="T8" fmla="*/ 204 w 204"/>
                  <a:gd name="T9" fmla="*/ 74 h 74"/>
                  <a:gd name="T10" fmla="*/ 204 w 204"/>
                  <a:gd name="T11" fmla="*/ 74 h 74"/>
                  <a:gd name="T12" fmla="*/ 204 w 204"/>
                  <a:gd name="T13" fmla="*/ 74 h 74"/>
                  <a:gd name="T14" fmla="*/ 23 w 204"/>
                  <a:gd name="T15" fmla="*/ 32 h 74"/>
                  <a:gd name="T16" fmla="*/ 23 w 204"/>
                  <a:gd name="T17" fmla="*/ 32 h 74"/>
                  <a:gd name="T18" fmla="*/ 23 w 204"/>
                  <a:gd name="T19" fmla="*/ 32 h 74"/>
                  <a:gd name="T20" fmla="*/ 23 w 204"/>
                  <a:gd name="T21" fmla="*/ 32 h 74"/>
                  <a:gd name="T22" fmla="*/ 23 w 204"/>
                  <a:gd name="T23" fmla="*/ 32 h 74"/>
                  <a:gd name="T24" fmla="*/ 23 w 204"/>
                  <a:gd name="T25" fmla="*/ 32 h 74"/>
                  <a:gd name="T26" fmla="*/ 23 w 204"/>
                  <a:gd name="T27" fmla="*/ 32 h 74"/>
                  <a:gd name="T28" fmla="*/ 23 w 204"/>
                  <a:gd name="T29" fmla="*/ 32 h 74"/>
                  <a:gd name="T30" fmla="*/ 23 w 204"/>
                  <a:gd name="T31" fmla="*/ 32 h 74"/>
                  <a:gd name="T32" fmla="*/ 23 w 204"/>
                  <a:gd name="T33" fmla="*/ 32 h 74"/>
                  <a:gd name="T34" fmla="*/ 23 w 204"/>
                  <a:gd name="T35" fmla="*/ 32 h 74"/>
                  <a:gd name="T36" fmla="*/ 23 w 204"/>
                  <a:gd name="T37" fmla="*/ 32 h 74"/>
                  <a:gd name="T38" fmla="*/ 18 w 204"/>
                  <a:gd name="T39" fmla="*/ 30 h 74"/>
                  <a:gd name="T40" fmla="*/ 23 w 204"/>
                  <a:gd name="T41" fmla="*/ 32 h 74"/>
                  <a:gd name="T42" fmla="*/ 18 w 204"/>
                  <a:gd name="T43" fmla="*/ 30 h 74"/>
                  <a:gd name="T44" fmla="*/ 18 w 204"/>
                  <a:gd name="T45" fmla="*/ 30 h 74"/>
                  <a:gd name="T46" fmla="*/ 18 w 204"/>
                  <a:gd name="T47" fmla="*/ 30 h 74"/>
                  <a:gd name="T48" fmla="*/ 18 w 204"/>
                  <a:gd name="T49" fmla="*/ 30 h 74"/>
                  <a:gd name="T50" fmla="*/ 18 w 204"/>
                  <a:gd name="T51" fmla="*/ 30 h 74"/>
                  <a:gd name="T52" fmla="*/ 18 w 204"/>
                  <a:gd name="T53" fmla="*/ 30 h 74"/>
                  <a:gd name="T54" fmla="*/ 18 w 204"/>
                  <a:gd name="T55" fmla="*/ 30 h 74"/>
                  <a:gd name="T56" fmla="*/ 1 w 204"/>
                  <a:gd name="T57" fmla="*/ 0 h 74"/>
                  <a:gd name="T58" fmla="*/ 0 w 204"/>
                  <a:gd name="T59" fmla="*/ 3 h 74"/>
                  <a:gd name="T60" fmla="*/ 2 w 204"/>
                  <a:gd name="T61" fmla="*/ 11 h 74"/>
                  <a:gd name="T62" fmla="*/ 0 w 204"/>
                  <a:gd name="T63" fmla="*/ 2 h 74"/>
                  <a:gd name="T64" fmla="*/ 1 w 204"/>
                  <a:gd name="T6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4" h="74">
                    <a:moveTo>
                      <a:pt x="204" y="74"/>
                    </a:move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moveTo>
                      <a:pt x="204" y="74"/>
                    </a:move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18" y="30"/>
                    </a:moveTo>
                    <a:cubicBezTo>
                      <a:pt x="19" y="31"/>
                      <a:pt x="21" y="32"/>
                      <a:pt x="23" y="32"/>
                    </a:cubicBezTo>
                    <a:cubicBezTo>
                      <a:pt x="21" y="32"/>
                      <a:pt x="19" y="31"/>
                      <a:pt x="18" y="30"/>
                    </a:cubicBezTo>
                    <a:moveTo>
                      <a:pt x="18" y="30"/>
                    </a:moveTo>
                    <a:cubicBezTo>
                      <a:pt x="18" y="30"/>
                      <a:pt x="18" y="30"/>
                      <a:pt x="18" y="30"/>
                    </a:cubicBezTo>
                    <a:cubicBezTo>
                      <a:pt x="18" y="30"/>
                      <a:pt x="18" y="30"/>
                      <a:pt x="18" y="30"/>
                    </a:cubicBezTo>
                    <a:moveTo>
                      <a:pt x="18" y="30"/>
                    </a:moveTo>
                    <a:cubicBezTo>
                      <a:pt x="18" y="30"/>
                      <a:pt x="18" y="30"/>
                      <a:pt x="18" y="30"/>
                    </a:cubicBezTo>
                    <a:cubicBezTo>
                      <a:pt x="18" y="30"/>
                      <a:pt x="18" y="30"/>
                      <a:pt x="18" y="30"/>
                    </a:cubicBezTo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6"/>
                      <a:pt x="0" y="9"/>
                      <a:pt x="2" y="11"/>
                    </a:cubicBezTo>
                    <a:cubicBezTo>
                      <a:pt x="0" y="8"/>
                      <a:pt x="0" y="5"/>
                      <a:pt x="0" y="2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3" name="Freeform 242">
                <a:extLst>
                  <a:ext uri="{FF2B5EF4-FFF2-40B4-BE49-F238E27FC236}">
                    <a16:creationId xmlns:a16="http://schemas.microsoft.com/office/drawing/2014/main" id="{8449E19B-FD82-4876-ACCA-CAA9E3B42F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4" y="2178"/>
                <a:ext cx="5" cy="10"/>
              </a:xfrm>
              <a:custGeom>
                <a:avLst/>
                <a:gdLst>
                  <a:gd name="T0" fmla="*/ 2 w 9"/>
                  <a:gd name="T1" fmla="*/ 0 h 18"/>
                  <a:gd name="T2" fmla="*/ 1 w 9"/>
                  <a:gd name="T3" fmla="*/ 3 h 18"/>
                  <a:gd name="T4" fmla="*/ 0 w 9"/>
                  <a:gd name="T5" fmla="*/ 5 h 18"/>
                  <a:gd name="T6" fmla="*/ 2 w 9"/>
                  <a:gd name="T7" fmla="*/ 14 h 18"/>
                  <a:gd name="T8" fmla="*/ 8 w 9"/>
                  <a:gd name="T9" fmla="*/ 18 h 18"/>
                  <a:gd name="T10" fmla="*/ 8 w 9"/>
                  <a:gd name="T11" fmla="*/ 17 h 18"/>
                  <a:gd name="T12" fmla="*/ 9 w 9"/>
                  <a:gd name="T13" fmla="*/ 12 h 18"/>
                  <a:gd name="T14" fmla="*/ 2 w 9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8">
                    <a:moveTo>
                      <a:pt x="2" y="0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8"/>
                      <a:pt x="0" y="11"/>
                      <a:pt x="2" y="14"/>
                    </a:cubicBezTo>
                    <a:cubicBezTo>
                      <a:pt x="3" y="16"/>
                      <a:pt x="5" y="17"/>
                      <a:pt x="8" y="18"/>
                    </a:cubicBezTo>
                    <a:cubicBezTo>
                      <a:pt x="8" y="18"/>
                      <a:pt x="8" y="17"/>
                      <a:pt x="8" y="17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4" y="9"/>
                      <a:pt x="1" y="4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4" name="Freeform 243">
                <a:extLst>
                  <a:ext uri="{FF2B5EF4-FFF2-40B4-BE49-F238E27FC236}">
                    <a16:creationId xmlns:a16="http://schemas.microsoft.com/office/drawing/2014/main" id="{264C59A7-6688-4C1A-810A-A22053853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8" y="2185"/>
                <a:ext cx="109" cy="35"/>
              </a:xfrm>
              <a:custGeom>
                <a:avLst/>
                <a:gdLst>
                  <a:gd name="T0" fmla="*/ 2 w 199"/>
                  <a:gd name="T1" fmla="*/ 0 h 65"/>
                  <a:gd name="T2" fmla="*/ 1 w 199"/>
                  <a:gd name="T3" fmla="*/ 5 h 65"/>
                  <a:gd name="T4" fmla="*/ 1 w 199"/>
                  <a:gd name="T5" fmla="*/ 6 h 65"/>
                  <a:gd name="T6" fmla="*/ 1 w 199"/>
                  <a:gd name="T7" fmla="*/ 6 h 65"/>
                  <a:gd name="T8" fmla="*/ 11 w 199"/>
                  <a:gd name="T9" fmla="*/ 21 h 65"/>
                  <a:gd name="T10" fmla="*/ 11 w 199"/>
                  <a:gd name="T11" fmla="*/ 21 h 65"/>
                  <a:gd name="T12" fmla="*/ 11 w 199"/>
                  <a:gd name="T13" fmla="*/ 21 h 65"/>
                  <a:gd name="T14" fmla="*/ 11 w 199"/>
                  <a:gd name="T15" fmla="*/ 21 h 65"/>
                  <a:gd name="T16" fmla="*/ 11 w 199"/>
                  <a:gd name="T17" fmla="*/ 21 h 65"/>
                  <a:gd name="T18" fmla="*/ 16 w 199"/>
                  <a:gd name="T19" fmla="*/ 23 h 65"/>
                  <a:gd name="T20" fmla="*/ 16 w 199"/>
                  <a:gd name="T21" fmla="*/ 23 h 65"/>
                  <a:gd name="T22" fmla="*/ 16 w 199"/>
                  <a:gd name="T23" fmla="*/ 23 h 65"/>
                  <a:gd name="T24" fmla="*/ 16 w 199"/>
                  <a:gd name="T25" fmla="*/ 23 h 65"/>
                  <a:gd name="T26" fmla="*/ 16 w 199"/>
                  <a:gd name="T27" fmla="*/ 23 h 65"/>
                  <a:gd name="T28" fmla="*/ 16 w 199"/>
                  <a:gd name="T29" fmla="*/ 23 h 65"/>
                  <a:gd name="T30" fmla="*/ 16 w 199"/>
                  <a:gd name="T31" fmla="*/ 23 h 65"/>
                  <a:gd name="T32" fmla="*/ 16 w 199"/>
                  <a:gd name="T33" fmla="*/ 23 h 65"/>
                  <a:gd name="T34" fmla="*/ 16 w 199"/>
                  <a:gd name="T35" fmla="*/ 23 h 65"/>
                  <a:gd name="T36" fmla="*/ 16 w 199"/>
                  <a:gd name="T37" fmla="*/ 23 h 65"/>
                  <a:gd name="T38" fmla="*/ 195 w 199"/>
                  <a:gd name="T39" fmla="*/ 64 h 65"/>
                  <a:gd name="T40" fmla="*/ 197 w 199"/>
                  <a:gd name="T41" fmla="*/ 65 h 65"/>
                  <a:gd name="T42" fmla="*/ 197 w 199"/>
                  <a:gd name="T43" fmla="*/ 65 h 65"/>
                  <a:gd name="T44" fmla="*/ 197 w 199"/>
                  <a:gd name="T45" fmla="*/ 65 h 65"/>
                  <a:gd name="T46" fmla="*/ 197 w 199"/>
                  <a:gd name="T47" fmla="*/ 65 h 65"/>
                  <a:gd name="T48" fmla="*/ 197 w 199"/>
                  <a:gd name="T49" fmla="*/ 65 h 65"/>
                  <a:gd name="T50" fmla="*/ 197 w 199"/>
                  <a:gd name="T51" fmla="*/ 65 h 65"/>
                  <a:gd name="T52" fmla="*/ 199 w 199"/>
                  <a:gd name="T53" fmla="*/ 58 h 65"/>
                  <a:gd name="T54" fmla="*/ 198 w 199"/>
                  <a:gd name="T55" fmla="*/ 58 h 65"/>
                  <a:gd name="T56" fmla="*/ 197 w 199"/>
                  <a:gd name="T57" fmla="*/ 58 h 65"/>
                  <a:gd name="T58" fmla="*/ 18 w 199"/>
                  <a:gd name="T59" fmla="*/ 17 h 65"/>
                  <a:gd name="T60" fmla="*/ 2 w 199"/>
                  <a:gd name="T61" fmla="*/ 0 h 65"/>
                  <a:gd name="T62" fmla="*/ 2 w 199"/>
                  <a:gd name="T6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9" h="65">
                    <a:moveTo>
                      <a:pt x="2" y="0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12"/>
                      <a:pt x="4" y="18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2" y="22"/>
                      <a:pt x="14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95" y="64"/>
                      <a:pt x="195" y="64"/>
                      <a:pt x="195" y="64"/>
                    </a:cubicBezTo>
                    <a:cubicBezTo>
                      <a:pt x="196" y="65"/>
                      <a:pt x="196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9" y="58"/>
                      <a:pt x="199" y="58"/>
                      <a:pt x="199" y="58"/>
                    </a:cubicBezTo>
                    <a:cubicBezTo>
                      <a:pt x="198" y="58"/>
                      <a:pt x="198" y="58"/>
                      <a:pt x="198" y="58"/>
                    </a:cubicBezTo>
                    <a:cubicBezTo>
                      <a:pt x="198" y="58"/>
                      <a:pt x="197" y="58"/>
                      <a:pt x="197" y="58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8" y="15"/>
                      <a:pt x="2" y="7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5" name="Freeform 244">
                <a:extLst>
                  <a:ext uri="{FF2B5EF4-FFF2-40B4-BE49-F238E27FC236}">
                    <a16:creationId xmlns:a16="http://schemas.microsoft.com/office/drawing/2014/main" id="{DDC6264D-08B0-406A-82C6-5B73EEE51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6" y="2205"/>
                <a:ext cx="20" cy="15"/>
              </a:xfrm>
              <a:custGeom>
                <a:avLst/>
                <a:gdLst>
                  <a:gd name="T0" fmla="*/ 27 w 37"/>
                  <a:gd name="T1" fmla="*/ 0 h 28"/>
                  <a:gd name="T2" fmla="*/ 2 w 37"/>
                  <a:gd name="T3" fmla="*/ 21 h 28"/>
                  <a:gd name="T4" fmla="*/ 2 w 37"/>
                  <a:gd name="T5" fmla="*/ 21 h 28"/>
                  <a:gd name="T6" fmla="*/ 0 w 37"/>
                  <a:gd name="T7" fmla="*/ 28 h 28"/>
                  <a:gd name="T8" fmla="*/ 25 w 37"/>
                  <a:gd name="T9" fmla="*/ 7 h 28"/>
                  <a:gd name="T10" fmla="*/ 25 w 37"/>
                  <a:gd name="T11" fmla="*/ 7 h 28"/>
                  <a:gd name="T12" fmla="*/ 25 w 37"/>
                  <a:gd name="T13" fmla="*/ 7 h 28"/>
                  <a:gd name="T14" fmla="*/ 25 w 37"/>
                  <a:gd name="T15" fmla="*/ 7 h 28"/>
                  <a:gd name="T16" fmla="*/ 36 w 37"/>
                  <a:gd name="T17" fmla="*/ 9 h 28"/>
                  <a:gd name="T18" fmla="*/ 37 w 37"/>
                  <a:gd name="T19" fmla="*/ 3 h 28"/>
                  <a:gd name="T20" fmla="*/ 27 w 37"/>
                  <a:gd name="T21" fmla="*/ 0 h 28"/>
                  <a:gd name="T22" fmla="*/ 27 w 37"/>
                  <a:gd name="T2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28">
                    <a:moveTo>
                      <a:pt x="27" y="0"/>
                    </a:moveTo>
                    <a:cubicBezTo>
                      <a:pt x="27" y="0"/>
                      <a:pt x="12" y="21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10" y="2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0"/>
                      <a:pt x="27" y="0"/>
                      <a:pt x="27" y="0"/>
                    </a:cubicBezTo>
                  </a:path>
                </a:pathLst>
              </a:custGeom>
              <a:solidFill>
                <a:srgbClr val="9F9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6" name="Freeform 245">
                <a:extLst>
                  <a:ext uri="{FF2B5EF4-FFF2-40B4-BE49-F238E27FC236}">
                    <a16:creationId xmlns:a16="http://schemas.microsoft.com/office/drawing/2014/main" id="{A0E5697D-D1C9-4DFE-BB7E-7BD917635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3" y="2177"/>
                <a:ext cx="67" cy="19"/>
              </a:xfrm>
              <a:custGeom>
                <a:avLst/>
                <a:gdLst>
                  <a:gd name="T0" fmla="*/ 0 w 124"/>
                  <a:gd name="T1" fmla="*/ 3 h 35"/>
                  <a:gd name="T2" fmla="*/ 0 w 124"/>
                  <a:gd name="T3" fmla="*/ 3 h 35"/>
                  <a:gd name="T4" fmla="*/ 5 w 124"/>
                  <a:gd name="T5" fmla="*/ 0 h 35"/>
                  <a:gd name="T6" fmla="*/ 121 w 124"/>
                  <a:gd name="T7" fmla="*/ 27 h 35"/>
                  <a:gd name="T8" fmla="*/ 124 w 124"/>
                  <a:gd name="T9" fmla="*/ 32 h 35"/>
                  <a:gd name="T10" fmla="*/ 119 w 124"/>
                  <a:gd name="T11" fmla="*/ 34 h 35"/>
                  <a:gd name="T12" fmla="*/ 3 w 124"/>
                  <a:gd name="T13" fmla="*/ 8 h 35"/>
                  <a:gd name="T14" fmla="*/ 0 w 124"/>
                  <a:gd name="T15" fmla="*/ 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4" h="35">
                    <a:moveTo>
                      <a:pt x="0" y="3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121" y="27"/>
                      <a:pt x="121" y="27"/>
                      <a:pt x="121" y="27"/>
                    </a:cubicBezTo>
                    <a:cubicBezTo>
                      <a:pt x="123" y="28"/>
                      <a:pt x="124" y="30"/>
                      <a:pt x="124" y="32"/>
                    </a:cubicBezTo>
                    <a:cubicBezTo>
                      <a:pt x="123" y="34"/>
                      <a:pt x="121" y="35"/>
                      <a:pt x="119" y="34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lose/>
                  </a:path>
                </a:pathLst>
              </a:custGeom>
              <a:solidFill>
                <a:srgbClr val="C9B6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7" name="Freeform 246">
                <a:extLst>
                  <a:ext uri="{FF2B5EF4-FFF2-40B4-BE49-F238E27FC236}">
                    <a16:creationId xmlns:a16="http://schemas.microsoft.com/office/drawing/2014/main" id="{FE8B05E2-E65A-4E4F-9AFA-216D5FC52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3" y="1025"/>
                <a:ext cx="30" cy="7"/>
              </a:xfrm>
              <a:custGeom>
                <a:avLst/>
                <a:gdLst>
                  <a:gd name="T0" fmla="*/ 42 w 54"/>
                  <a:gd name="T1" fmla="*/ 0 h 14"/>
                  <a:gd name="T2" fmla="*/ 12 w 54"/>
                  <a:gd name="T3" fmla="*/ 0 h 14"/>
                  <a:gd name="T4" fmla="*/ 0 w 54"/>
                  <a:gd name="T5" fmla="*/ 12 h 14"/>
                  <a:gd name="T6" fmla="*/ 0 w 54"/>
                  <a:gd name="T7" fmla="*/ 14 h 14"/>
                  <a:gd name="T8" fmla="*/ 54 w 54"/>
                  <a:gd name="T9" fmla="*/ 14 h 14"/>
                  <a:gd name="T10" fmla="*/ 54 w 54"/>
                  <a:gd name="T11" fmla="*/ 12 h 14"/>
                  <a:gd name="T12" fmla="*/ 42 w 54"/>
                  <a:gd name="T1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14">
                    <a:moveTo>
                      <a:pt x="42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6"/>
                      <a:pt x="0" y="1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54" y="14"/>
                      <a:pt x="54" y="14"/>
                      <a:pt x="54" y="14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54" y="6"/>
                      <a:pt x="49" y="0"/>
                      <a:pt x="42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8" name="Freeform 247">
                <a:extLst>
                  <a:ext uri="{FF2B5EF4-FFF2-40B4-BE49-F238E27FC236}">
                    <a16:creationId xmlns:a16="http://schemas.microsoft.com/office/drawing/2014/main" id="{40C5B921-85EC-4D97-B1CB-6B01CA33D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1030"/>
                <a:ext cx="44" cy="159"/>
              </a:xfrm>
              <a:custGeom>
                <a:avLst/>
                <a:gdLst>
                  <a:gd name="T0" fmla="*/ 63 w 80"/>
                  <a:gd name="T1" fmla="*/ 0 h 291"/>
                  <a:gd name="T2" fmla="*/ 17 w 80"/>
                  <a:gd name="T3" fmla="*/ 0 h 291"/>
                  <a:gd name="T4" fmla="*/ 0 w 80"/>
                  <a:gd name="T5" fmla="*/ 17 h 291"/>
                  <a:gd name="T6" fmla="*/ 0 w 80"/>
                  <a:gd name="T7" fmla="*/ 275 h 291"/>
                  <a:gd name="T8" fmla="*/ 17 w 80"/>
                  <a:gd name="T9" fmla="*/ 291 h 291"/>
                  <a:gd name="T10" fmla="*/ 63 w 80"/>
                  <a:gd name="T11" fmla="*/ 291 h 291"/>
                  <a:gd name="T12" fmla="*/ 80 w 80"/>
                  <a:gd name="T13" fmla="*/ 275 h 291"/>
                  <a:gd name="T14" fmla="*/ 80 w 80"/>
                  <a:gd name="T15" fmla="*/ 17 h 291"/>
                  <a:gd name="T16" fmla="*/ 63 w 80"/>
                  <a:gd name="T17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291">
                    <a:moveTo>
                      <a:pt x="63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275"/>
                      <a:pt x="0" y="275"/>
                      <a:pt x="0" y="275"/>
                    </a:cubicBezTo>
                    <a:cubicBezTo>
                      <a:pt x="0" y="284"/>
                      <a:pt x="8" y="291"/>
                      <a:pt x="17" y="291"/>
                    </a:cubicBezTo>
                    <a:cubicBezTo>
                      <a:pt x="63" y="291"/>
                      <a:pt x="63" y="291"/>
                      <a:pt x="63" y="291"/>
                    </a:cubicBezTo>
                    <a:cubicBezTo>
                      <a:pt x="72" y="291"/>
                      <a:pt x="80" y="284"/>
                      <a:pt x="80" y="275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80" y="8"/>
                      <a:pt x="72" y="0"/>
                      <a:pt x="63" y="0"/>
                    </a:cubicBezTo>
                  </a:path>
                </a:pathLst>
              </a:custGeom>
              <a:solidFill>
                <a:srgbClr val="6550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9" name="Freeform 248">
                <a:extLst>
                  <a:ext uri="{FF2B5EF4-FFF2-40B4-BE49-F238E27FC236}">
                    <a16:creationId xmlns:a16="http://schemas.microsoft.com/office/drawing/2014/main" id="{655172B2-48DE-4394-A3EB-70C3F8E6B5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1141"/>
                <a:ext cx="44" cy="48"/>
              </a:xfrm>
              <a:custGeom>
                <a:avLst/>
                <a:gdLst>
                  <a:gd name="T0" fmla="*/ 80 w 80"/>
                  <a:gd name="T1" fmla="*/ 0 h 88"/>
                  <a:gd name="T2" fmla="*/ 80 w 80"/>
                  <a:gd name="T3" fmla="*/ 69 h 88"/>
                  <a:gd name="T4" fmla="*/ 65 w 80"/>
                  <a:gd name="T5" fmla="*/ 88 h 88"/>
                  <a:gd name="T6" fmla="*/ 15 w 80"/>
                  <a:gd name="T7" fmla="*/ 88 h 88"/>
                  <a:gd name="T8" fmla="*/ 0 w 80"/>
                  <a:gd name="T9" fmla="*/ 69 h 88"/>
                  <a:gd name="T10" fmla="*/ 0 w 80"/>
                  <a:gd name="T11" fmla="*/ 0 h 88"/>
                  <a:gd name="T12" fmla="*/ 80 w 80"/>
                  <a:gd name="T13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" h="88">
                    <a:moveTo>
                      <a:pt x="80" y="0"/>
                    </a:moveTo>
                    <a:cubicBezTo>
                      <a:pt x="80" y="69"/>
                      <a:pt x="80" y="69"/>
                      <a:pt x="80" y="69"/>
                    </a:cubicBezTo>
                    <a:cubicBezTo>
                      <a:pt x="80" y="80"/>
                      <a:pt x="73" y="88"/>
                      <a:pt x="65" y="88"/>
                    </a:cubicBezTo>
                    <a:cubicBezTo>
                      <a:pt x="15" y="88"/>
                      <a:pt x="15" y="88"/>
                      <a:pt x="15" y="88"/>
                    </a:cubicBezTo>
                    <a:cubicBezTo>
                      <a:pt x="7" y="88"/>
                      <a:pt x="0" y="80"/>
                      <a:pt x="0" y="6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0" y="0"/>
                      <a:pt x="80" y="0"/>
                      <a:pt x="80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0" name="Rectangle 249">
                <a:extLst>
                  <a:ext uri="{FF2B5EF4-FFF2-40B4-BE49-F238E27FC236}">
                    <a16:creationId xmlns:a16="http://schemas.microsoft.com/office/drawing/2014/main" id="{3091854D-1B18-4313-A1D8-42500ABA98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74"/>
                <a:ext cx="44" cy="4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1" name="Rectangle 250">
                <a:extLst>
                  <a:ext uri="{FF2B5EF4-FFF2-40B4-BE49-F238E27FC236}">
                    <a16:creationId xmlns:a16="http://schemas.microsoft.com/office/drawing/2014/main" id="{8DAD6FC0-0AA0-48A1-9D35-B1068558E2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74"/>
                <a:ext cx="44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2" name="Rectangle 251">
                <a:extLst>
                  <a:ext uri="{FF2B5EF4-FFF2-40B4-BE49-F238E27FC236}">
                    <a16:creationId xmlns:a16="http://schemas.microsoft.com/office/drawing/2014/main" id="{634E3984-85B7-43CE-9614-1B4FE2FC1D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9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3" name="Rectangle 252">
                <a:extLst>
                  <a:ext uri="{FF2B5EF4-FFF2-40B4-BE49-F238E27FC236}">
                    <a16:creationId xmlns:a16="http://schemas.microsoft.com/office/drawing/2014/main" id="{95DA32BD-DD37-4FB2-923E-367A8F69D9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9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4" name="Rectangle 253">
                <a:extLst>
                  <a:ext uri="{FF2B5EF4-FFF2-40B4-BE49-F238E27FC236}">
                    <a16:creationId xmlns:a16="http://schemas.microsoft.com/office/drawing/2014/main" id="{D168FD2D-C5E7-4C2D-98F7-88D25F7AB4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3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5" name="Rectangle 254">
                <a:extLst>
                  <a:ext uri="{FF2B5EF4-FFF2-40B4-BE49-F238E27FC236}">
                    <a16:creationId xmlns:a16="http://schemas.microsoft.com/office/drawing/2014/main" id="{F4E935A2-D583-43B9-9369-71B06A247D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3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6" name="Rectangle 255">
                <a:extLst>
                  <a:ext uri="{FF2B5EF4-FFF2-40B4-BE49-F238E27FC236}">
                    <a16:creationId xmlns:a16="http://schemas.microsoft.com/office/drawing/2014/main" id="{2F3219AB-F644-465D-A817-096816C80F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7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7" name="Rectangle 256">
                <a:extLst>
                  <a:ext uri="{FF2B5EF4-FFF2-40B4-BE49-F238E27FC236}">
                    <a16:creationId xmlns:a16="http://schemas.microsoft.com/office/drawing/2014/main" id="{B6C7A092-5083-49F0-B2DA-E660375B36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7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8" name="Rectangle 257">
                <a:extLst>
                  <a:ext uri="{FF2B5EF4-FFF2-40B4-BE49-F238E27FC236}">
                    <a16:creationId xmlns:a16="http://schemas.microsoft.com/office/drawing/2014/main" id="{C00B78D8-FE7E-43B5-8A11-09451E29D9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1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9" name="Rectangle 258">
                <a:extLst>
                  <a:ext uri="{FF2B5EF4-FFF2-40B4-BE49-F238E27FC236}">
                    <a16:creationId xmlns:a16="http://schemas.microsoft.com/office/drawing/2014/main" id="{E905F2BF-0198-4693-AC8D-E085EDA042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1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0" name="Rectangle 259">
                <a:extLst>
                  <a:ext uri="{FF2B5EF4-FFF2-40B4-BE49-F238E27FC236}">
                    <a16:creationId xmlns:a16="http://schemas.microsoft.com/office/drawing/2014/main" id="{42559889-AE7B-4CAE-B2D9-16ECDF2D3C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45"/>
                <a:ext cx="44" cy="4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1" name="Rectangle 260">
                <a:extLst>
                  <a:ext uri="{FF2B5EF4-FFF2-40B4-BE49-F238E27FC236}">
                    <a16:creationId xmlns:a16="http://schemas.microsoft.com/office/drawing/2014/main" id="{F716DB4A-6603-44C4-B6A5-5B961D5725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45"/>
                <a:ext cx="44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2" name="Freeform 261">
                <a:extLst>
                  <a:ext uri="{FF2B5EF4-FFF2-40B4-BE49-F238E27FC236}">
                    <a16:creationId xmlns:a16="http://schemas.microsoft.com/office/drawing/2014/main" id="{89B3A667-F707-4D14-8899-78F04E834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8" y="1123"/>
                <a:ext cx="23" cy="18"/>
              </a:xfrm>
              <a:custGeom>
                <a:avLst/>
                <a:gdLst>
                  <a:gd name="T0" fmla="*/ 29 w 41"/>
                  <a:gd name="T1" fmla="*/ 0 h 33"/>
                  <a:gd name="T2" fmla="*/ 11 w 41"/>
                  <a:gd name="T3" fmla="*/ 0 h 33"/>
                  <a:gd name="T4" fmla="*/ 0 w 41"/>
                  <a:gd name="T5" fmla="*/ 7 h 33"/>
                  <a:gd name="T6" fmla="*/ 8 w 41"/>
                  <a:gd name="T7" fmla="*/ 4 h 33"/>
                  <a:gd name="T8" fmla="*/ 26 w 41"/>
                  <a:gd name="T9" fmla="*/ 4 h 33"/>
                  <a:gd name="T10" fmla="*/ 38 w 41"/>
                  <a:gd name="T11" fmla="*/ 16 h 33"/>
                  <a:gd name="T12" fmla="*/ 38 w 41"/>
                  <a:gd name="T13" fmla="*/ 33 h 33"/>
                  <a:gd name="T14" fmla="*/ 41 w 41"/>
                  <a:gd name="T15" fmla="*/ 33 h 33"/>
                  <a:gd name="T16" fmla="*/ 41 w 41"/>
                  <a:gd name="T17" fmla="*/ 13 h 33"/>
                  <a:gd name="T18" fmla="*/ 29 w 41"/>
                  <a:gd name="T1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33">
                    <a:moveTo>
                      <a:pt x="29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6" y="0"/>
                      <a:pt x="2" y="3"/>
                      <a:pt x="0" y="7"/>
                    </a:cubicBezTo>
                    <a:cubicBezTo>
                      <a:pt x="2" y="5"/>
                      <a:pt x="5" y="4"/>
                      <a:pt x="8" y="4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32" y="4"/>
                      <a:pt x="38" y="9"/>
                      <a:pt x="38" y="16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41" y="6"/>
                      <a:pt x="35" y="0"/>
                      <a:pt x="29" y="0"/>
                    </a:cubicBezTo>
                  </a:path>
                </a:pathLst>
              </a:custGeom>
              <a:solidFill>
                <a:srgbClr val="503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3" name="Freeform 262">
                <a:extLst>
                  <a:ext uri="{FF2B5EF4-FFF2-40B4-BE49-F238E27FC236}">
                    <a16:creationId xmlns:a16="http://schemas.microsoft.com/office/drawing/2014/main" id="{FCA69BE7-CE15-473A-9C12-3BEAA70EB9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9" y="1141"/>
                <a:ext cx="2" cy="48"/>
              </a:xfrm>
              <a:custGeom>
                <a:avLst/>
                <a:gdLst>
                  <a:gd name="T0" fmla="*/ 3 w 3"/>
                  <a:gd name="T1" fmla="*/ 67 h 87"/>
                  <a:gd name="T2" fmla="*/ 0 w 3"/>
                  <a:gd name="T3" fmla="*/ 67 h 87"/>
                  <a:gd name="T4" fmla="*/ 0 w 3"/>
                  <a:gd name="T5" fmla="*/ 87 h 87"/>
                  <a:gd name="T6" fmla="*/ 3 w 3"/>
                  <a:gd name="T7" fmla="*/ 86 h 87"/>
                  <a:gd name="T8" fmla="*/ 3 w 3"/>
                  <a:gd name="T9" fmla="*/ 67 h 87"/>
                  <a:gd name="T10" fmla="*/ 3 w 3"/>
                  <a:gd name="T11" fmla="*/ 56 h 87"/>
                  <a:gd name="T12" fmla="*/ 0 w 3"/>
                  <a:gd name="T13" fmla="*/ 56 h 87"/>
                  <a:gd name="T14" fmla="*/ 0 w 3"/>
                  <a:gd name="T15" fmla="*/ 61 h 87"/>
                  <a:gd name="T16" fmla="*/ 3 w 3"/>
                  <a:gd name="T17" fmla="*/ 61 h 87"/>
                  <a:gd name="T18" fmla="*/ 3 w 3"/>
                  <a:gd name="T19" fmla="*/ 56 h 87"/>
                  <a:gd name="T20" fmla="*/ 3 w 3"/>
                  <a:gd name="T21" fmla="*/ 46 h 87"/>
                  <a:gd name="T22" fmla="*/ 0 w 3"/>
                  <a:gd name="T23" fmla="*/ 46 h 87"/>
                  <a:gd name="T24" fmla="*/ 0 w 3"/>
                  <a:gd name="T25" fmla="*/ 51 h 87"/>
                  <a:gd name="T26" fmla="*/ 3 w 3"/>
                  <a:gd name="T27" fmla="*/ 51 h 87"/>
                  <a:gd name="T28" fmla="*/ 3 w 3"/>
                  <a:gd name="T29" fmla="*/ 46 h 87"/>
                  <a:gd name="T30" fmla="*/ 3 w 3"/>
                  <a:gd name="T31" fmla="*/ 35 h 87"/>
                  <a:gd name="T32" fmla="*/ 0 w 3"/>
                  <a:gd name="T33" fmla="*/ 35 h 87"/>
                  <a:gd name="T34" fmla="*/ 0 w 3"/>
                  <a:gd name="T35" fmla="*/ 40 h 87"/>
                  <a:gd name="T36" fmla="*/ 3 w 3"/>
                  <a:gd name="T37" fmla="*/ 40 h 87"/>
                  <a:gd name="T38" fmla="*/ 3 w 3"/>
                  <a:gd name="T39" fmla="*/ 35 h 87"/>
                  <a:gd name="T40" fmla="*/ 3 w 3"/>
                  <a:gd name="T41" fmla="*/ 24 h 87"/>
                  <a:gd name="T42" fmla="*/ 0 w 3"/>
                  <a:gd name="T43" fmla="*/ 24 h 87"/>
                  <a:gd name="T44" fmla="*/ 0 w 3"/>
                  <a:gd name="T45" fmla="*/ 29 h 87"/>
                  <a:gd name="T46" fmla="*/ 3 w 3"/>
                  <a:gd name="T47" fmla="*/ 29 h 87"/>
                  <a:gd name="T48" fmla="*/ 3 w 3"/>
                  <a:gd name="T49" fmla="*/ 24 h 87"/>
                  <a:gd name="T50" fmla="*/ 3 w 3"/>
                  <a:gd name="T51" fmla="*/ 14 h 87"/>
                  <a:gd name="T52" fmla="*/ 0 w 3"/>
                  <a:gd name="T53" fmla="*/ 14 h 87"/>
                  <a:gd name="T54" fmla="*/ 0 w 3"/>
                  <a:gd name="T55" fmla="*/ 19 h 87"/>
                  <a:gd name="T56" fmla="*/ 3 w 3"/>
                  <a:gd name="T57" fmla="*/ 19 h 87"/>
                  <a:gd name="T58" fmla="*/ 3 w 3"/>
                  <a:gd name="T59" fmla="*/ 14 h 87"/>
                  <a:gd name="T60" fmla="*/ 3 w 3"/>
                  <a:gd name="T61" fmla="*/ 0 h 87"/>
                  <a:gd name="T62" fmla="*/ 0 w 3"/>
                  <a:gd name="T63" fmla="*/ 0 h 87"/>
                  <a:gd name="T64" fmla="*/ 0 w 3"/>
                  <a:gd name="T65" fmla="*/ 8 h 87"/>
                  <a:gd name="T66" fmla="*/ 3 w 3"/>
                  <a:gd name="T67" fmla="*/ 8 h 87"/>
                  <a:gd name="T68" fmla="*/ 3 w 3"/>
                  <a:gd name="T6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" h="87">
                    <a:moveTo>
                      <a:pt x="3" y="67"/>
                    </a:moveTo>
                    <a:cubicBezTo>
                      <a:pt x="0" y="67"/>
                      <a:pt x="0" y="67"/>
                      <a:pt x="0" y="67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1" y="87"/>
                      <a:pt x="2" y="86"/>
                      <a:pt x="3" y="86"/>
                    </a:cubicBezTo>
                    <a:cubicBezTo>
                      <a:pt x="3" y="67"/>
                      <a:pt x="3" y="67"/>
                      <a:pt x="3" y="67"/>
                    </a:cubicBezTo>
                    <a:moveTo>
                      <a:pt x="3" y="56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3" y="56"/>
                      <a:pt x="3" y="56"/>
                      <a:pt x="3" y="56"/>
                    </a:cubicBezTo>
                    <a:moveTo>
                      <a:pt x="3" y="46"/>
                    </a:moveTo>
                    <a:cubicBezTo>
                      <a:pt x="0" y="46"/>
                      <a:pt x="0" y="46"/>
                      <a:pt x="0" y="46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3" y="46"/>
                      <a:pt x="3" y="46"/>
                      <a:pt x="3" y="46"/>
                    </a:cubicBezTo>
                    <a:moveTo>
                      <a:pt x="3" y="35"/>
                    </a:moveTo>
                    <a:cubicBezTo>
                      <a:pt x="0" y="35"/>
                      <a:pt x="0" y="35"/>
                      <a:pt x="0" y="35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35"/>
                      <a:pt x="3" y="35"/>
                      <a:pt x="3" y="35"/>
                    </a:cubicBezTo>
                    <a:moveTo>
                      <a:pt x="3" y="24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24"/>
                      <a:pt x="3" y="24"/>
                      <a:pt x="3" y="24"/>
                    </a:cubicBezTo>
                    <a:moveTo>
                      <a:pt x="3" y="14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4"/>
                      <a:pt x="3" y="14"/>
                      <a:pt x="3" y="14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4" name="Rectangle 263">
                <a:extLst>
                  <a:ext uri="{FF2B5EF4-FFF2-40B4-BE49-F238E27FC236}">
                    <a16:creationId xmlns:a16="http://schemas.microsoft.com/office/drawing/2014/main" id="{B42DA2AE-55A1-41DC-958B-EAC0B85B07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74"/>
                <a:ext cx="2" cy="4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5" name="Rectangle 264">
                <a:extLst>
                  <a:ext uri="{FF2B5EF4-FFF2-40B4-BE49-F238E27FC236}">
                    <a16:creationId xmlns:a16="http://schemas.microsoft.com/office/drawing/2014/main" id="{B787B2DA-7C09-4B87-AC9E-E40B533173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74"/>
                <a:ext cx="2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6" name="Rectangle 265">
                <a:extLst>
                  <a:ext uri="{FF2B5EF4-FFF2-40B4-BE49-F238E27FC236}">
                    <a16:creationId xmlns:a16="http://schemas.microsoft.com/office/drawing/2014/main" id="{2D80265E-C8C5-47DE-BD66-729FEBE53E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9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7" name="Rectangle 266">
                <a:extLst>
                  <a:ext uri="{FF2B5EF4-FFF2-40B4-BE49-F238E27FC236}">
                    <a16:creationId xmlns:a16="http://schemas.microsoft.com/office/drawing/2014/main" id="{A863F956-6273-4925-9F5C-3F70B0571F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9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8" name="Rectangle 267">
                <a:extLst>
                  <a:ext uri="{FF2B5EF4-FFF2-40B4-BE49-F238E27FC236}">
                    <a16:creationId xmlns:a16="http://schemas.microsoft.com/office/drawing/2014/main" id="{759AEB5A-524C-4B0E-B4E0-AA8CB0F190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3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9" name="Rectangle 268">
                <a:extLst>
                  <a:ext uri="{FF2B5EF4-FFF2-40B4-BE49-F238E27FC236}">
                    <a16:creationId xmlns:a16="http://schemas.microsoft.com/office/drawing/2014/main" id="{6F6E782A-0381-43A6-867E-A7AAED6723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3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0" name="Rectangle 269">
                <a:extLst>
                  <a:ext uri="{FF2B5EF4-FFF2-40B4-BE49-F238E27FC236}">
                    <a16:creationId xmlns:a16="http://schemas.microsoft.com/office/drawing/2014/main" id="{CA3056B0-6482-4AD9-91A5-04C12019C9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7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1" name="Rectangle 270">
                <a:extLst>
                  <a:ext uri="{FF2B5EF4-FFF2-40B4-BE49-F238E27FC236}">
                    <a16:creationId xmlns:a16="http://schemas.microsoft.com/office/drawing/2014/main" id="{3DA2B673-739A-4FF9-A41E-A245EDB8A0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7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2" name="Rectangle 271">
                <a:extLst>
                  <a:ext uri="{FF2B5EF4-FFF2-40B4-BE49-F238E27FC236}">
                    <a16:creationId xmlns:a16="http://schemas.microsoft.com/office/drawing/2014/main" id="{22AEC0A4-FBA6-4428-AFE9-C18D3EBA04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1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3" name="Rectangle 272">
                <a:extLst>
                  <a:ext uri="{FF2B5EF4-FFF2-40B4-BE49-F238E27FC236}">
                    <a16:creationId xmlns:a16="http://schemas.microsoft.com/office/drawing/2014/main" id="{E72B4B22-E1B3-4D55-AAC3-A3464D176F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1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4" name="Rectangle 273">
                <a:extLst>
                  <a:ext uri="{FF2B5EF4-FFF2-40B4-BE49-F238E27FC236}">
                    <a16:creationId xmlns:a16="http://schemas.microsoft.com/office/drawing/2014/main" id="{29F5F830-D260-4DD1-8BF5-6403171634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45"/>
                <a:ext cx="2" cy="4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5" name="Rectangle 274">
                <a:extLst>
                  <a:ext uri="{FF2B5EF4-FFF2-40B4-BE49-F238E27FC236}">
                    <a16:creationId xmlns:a16="http://schemas.microsoft.com/office/drawing/2014/main" id="{CCED615F-7B5B-4F65-AD62-2E2A9CEDB9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45"/>
                <a:ext cx="2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6" name="Freeform 275">
                <a:extLst>
                  <a:ext uri="{FF2B5EF4-FFF2-40B4-BE49-F238E27FC236}">
                    <a16:creationId xmlns:a16="http://schemas.microsoft.com/office/drawing/2014/main" id="{82C17471-658F-4D79-86A8-6B7C1E3058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6" y="1125"/>
                <a:ext cx="23" cy="66"/>
              </a:xfrm>
              <a:custGeom>
                <a:avLst/>
                <a:gdLst>
                  <a:gd name="T0" fmla="*/ 30 w 42"/>
                  <a:gd name="T1" fmla="*/ 0 h 121"/>
                  <a:gd name="T2" fmla="*/ 12 w 42"/>
                  <a:gd name="T3" fmla="*/ 0 h 121"/>
                  <a:gd name="T4" fmla="*/ 0 w 42"/>
                  <a:gd name="T5" fmla="*/ 12 h 121"/>
                  <a:gd name="T6" fmla="*/ 0 w 42"/>
                  <a:gd name="T7" fmla="*/ 121 h 121"/>
                  <a:gd name="T8" fmla="*/ 42 w 42"/>
                  <a:gd name="T9" fmla="*/ 121 h 121"/>
                  <a:gd name="T10" fmla="*/ 42 w 42"/>
                  <a:gd name="T11" fmla="*/ 12 h 121"/>
                  <a:gd name="T12" fmla="*/ 30 w 42"/>
                  <a:gd name="T1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121">
                    <a:moveTo>
                      <a:pt x="30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5"/>
                      <a:pt x="0" y="12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42" y="121"/>
                      <a:pt x="42" y="121"/>
                      <a:pt x="42" y="121"/>
                    </a:cubicBezTo>
                    <a:cubicBezTo>
                      <a:pt x="42" y="12"/>
                      <a:pt x="42" y="12"/>
                      <a:pt x="42" y="12"/>
                    </a:cubicBezTo>
                    <a:cubicBezTo>
                      <a:pt x="42" y="5"/>
                      <a:pt x="36" y="0"/>
                      <a:pt x="30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7" name="Freeform 276">
                <a:extLst>
                  <a:ext uri="{FF2B5EF4-FFF2-40B4-BE49-F238E27FC236}">
                    <a16:creationId xmlns:a16="http://schemas.microsoft.com/office/drawing/2014/main" id="{2E44F01F-A831-45EE-83F9-BA19891841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2" y="1025"/>
                <a:ext cx="15" cy="8"/>
              </a:xfrm>
              <a:custGeom>
                <a:avLst/>
                <a:gdLst>
                  <a:gd name="T0" fmla="*/ 19 w 27"/>
                  <a:gd name="T1" fmla="*/ 11 h 16"/>
                  <a:gd name="T2" fmla="*/ 19 w 27"/>
                  <a:gd name="T3" fmla="*/ 11 h 16"/>
                  <a:gd name="T4" fmla="*/ 27 w 27"/>
                  <a:gd name="T5" fmla="*/ 16 h 16"/>
                  <a:gd name="T6" fmla="*/ 19 w 27"/>
                  <a:gd name="T7" fmla="*/ 11 h 16"/>
                  <a:gd name="T8" fmla="*/ 8 w 27"/>
                  <a:gd name="T9" fmla="*/ 0 h 16"/>
                  <a:gd name="T10" fmla="*/ 0 w 27"/>
                  <a:gd name="T11" fmla="*/ 0 h 16"/>
                  <a:gd name="T12" fmla="*/ 0 w 27"/>
                  <a:gd name="T13" fmla="*/ 0 h 16"/>
                  <a:gd name="T14" fmla="*/ 7 w 27"/>
                  <a:gd name="T15" fmla="*/ 0 h 16"/>
                  <a:gd name="T16" fmla="*/ 16 w 27"/>
                  <a:gd name="T17" fmla="*/ 4 h 16"/>
                  <a:gd name="T18" fmla="*/ 8 w 27"/>
                  <a:gd name="T1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16">
                    <a:moveTo>
                      <a:pt x="19" y="11"/>
                    </a:moveTo>
                    <a:cubicBezTo>
                      <a:pt x="19" y="11"/>
                      <a:pt x="19" y="11"/>
                      <a:pt x="19" y="11"/>
                    </a:cubicBezTo>
                    <a:cubicBezTo>
                      <a:pt x="22" y="12"/>
                      <a:pt x="25" y="13"/>
                      <a:pt x="27" y="16"/>
                    </a:cubicBezTo>
                    <a:cubicBezTo>
                      <a:pt x="25" y="13"/>
                      <a:pt x="22" y="11"/>
                      <a:pt x="19" y="11"/>
                    </a:cubicBezTo>
                    <a:moveTo>
                      <a:pt x="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0" y="0"/>
                      <a:pt x="13" y="2"/>
                      <a:pt x="16" y="4"/>
                    </a:cubicBezTo>
                    <a:cubicBezTo>
                      <a:pt x="14" y="2"/>
                      <a:pt x="11" y="0"/>
                      <a:pt x="8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8" name="Freeform 277">
                <a:extLst>
                  <a:ext uri="{FF2B5EF4-FFF2-40B4-BE49-F238E27FC236}">
                    <a16:creationId xmlns:a16="http://schemas.microsoft.com/office/drawing/2014/main" id="{69CFBF8E-5DC4-4762-9DBA-577BD6D609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" y="1025"/>
                <a:ext cx="11" cy="6"/>
              </a:xfrm>
              <a:custGeom>
                <a:avLst/>
                <a:gdLst>
                  <a:gd name="T0" fmla="*/ 7 w 19"/>
                  <a:gd name="T1" fmla="*/ 0 h 11"/>
                  <a:gd name="T2" fmla="*/ 0 w 19"/>
                  <a:gd name="T3" fmla="*/ 0 h 11"/>
                  <a:gd name="T4" fmla="*/ 10 w 19"/>
                  <a:gd name="T5" fmla="*/ 10 h 11"/>
                  <a:gd name="T6" fmla="*/ 15 w 19"/>
                  <a:gd name="T7" fmla="*/ 10 h 11"/>
                  <a:gd name="T8" fmla="*/ 19 w 19"/>
                  <a:gd name="T9" fmla="*/ 11 h 11"/>
                  <a:gd name="T10" fmla="*/ 19 w 19"/>
                  <a:gd name="T11" fmla="*/ 11 h 11"/>
                  <a:gd name="T12" fmla="*/ 19 w 19"/>
                  <a:gd name="T13" fmla="*/ 11 h 11"/>
                  <a:gd name="T14" fmla="*/ 16 w 19"/>
                  <a:gd name="T15" fmla="*/ 4 h 11"/>
                  <a:gd name="T16" fmla="*/ 7 w 19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1">
                    <a:moveTo>
                      <a:pt x="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0"/>
                      <a:pt x="9" y="5"/>
                      <a:pt x="10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6" y="10"/>
                      <a:pt x="18" y="11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8" y="8"/>
                      <a:pt x="17" y="6"/>
                      <a:pt x="16" y="4"/>
                    </a:cubicBezTo>
                    <a:cubicBezTo>
                      <a:pt x="13" y="2"/>
                      <a:pt x="10" y="0"/>
                      <a:pt x="7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9" name="Freeform 278">
                <a:extLst>
                  <a:ext uri="{FF2B5EF4-FFF2-40B4-BE49-F238E27FC236}">
                    <a16:creationId xmlns:a16="http://schemas.microsoft.com/office/drawing/2014/main" id="{1EE55227-8407-4DBC-9D2E-99CE025A8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8" y="1030"/>
                <a:ext cx="12" cy="111"/>
              </a:xfrm>
              <a:custGeom>
                <a:avLst/>
                <a:gdLst>
                  <a:gd name="T0" fmla="*/ 5 w 22"/>
                  <a:gd name="T1" fmla="*/ 0 h 203"/>
                  <a:gd name="T2" fmla="*/ 0 w 22"/>
                  <a:gd name="T3" fmla="*/ 0 h 203"/>
                  <a:gd name="T4" fmla="*/ 0 w 22"/>
                  <a:gd name="T5" fmla="*/ 1 h 203"/>
                  <a:gd name="T6" fmla="*/ 13 w 22"/>
                  <a:gd name="T7" fmla="*/ 20 h 203"/>
                  <a:gd name="T8" fmla="*/ 13 w 22"/>
                  <a:gd name="T9" fmla="*/ 203 h 203"/>
                  <a:gd name="T10" fmla="*/ 22 w 22"/>
                  <a:gd name="T11" fmla="*/ 203 h 203"/>
                  <a:gd name="T12" fmla="*/ 22 w 22"/>
                  <a:gd name="T13" fmla="*/ 20 h 203"/>
                  <a:gd name="T14" fmla="*/ 17 w 22"/>
                  <a:gd name="T15" fmla="*/ 6 h 203"/>
                  <a:gd name="T16" fmla="*/ 9 w 22"/>
                  <a:gd name="T17" fmla="*/ 1 h 203"/>
                  <a:gd name="T18" fmla="*/ 5 w 22"/>
                  <a:gd name="T19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03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7" y="2"/>
                      <a:pt x="13" y="10"/>
                      <a:pt x="13" y="20"/>
                    </a:cubicBezTo>
                    <a:cubicBezTo>
                      <a:pt x="13" y="203"/>
                      <a:pt x="13" y="203"/>
                      <a:pt x="13" y="203"/>
                    </a:cubicBezTo>
                    <a:cubicBezTo>
                      <a:pt x="22" y="203"/>
                      <a:pt x="22" y="203"/>
                      <a:pt x="22" y="203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2" y="14"/>
                      <a:pt x="20" y="9"/>
                      <a:pt x="17" y="6"/>
                    </a:cubicBezTo>
                    <a:cubicBezTo>
                      <a:pt x="15" y="3"/>
                      <a:pt x="12" y="2"/>
                      <a:pt x="9" y="1"/>
                    </a:cubicBezTo>
                    <a:cubicBezTo>
                      <a:pt x="8" y="1"/>
                      <a:pt x="6" y="0"/>
                      <a:pt x="5" y="0"/>
                    </a:cubicBezTo>
                  </a:path>
                </a:pathLst>
              </a:custGeom>
              <a:solidFill>
                <a:srgbClr val="503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0" name="Freeform 279">
                <a:extLst>
                  <a:ext uri="{FF2B5EF4-FFF2-40B4-BE49-F238E27FC236}">
                    <a16:creationId xmlns:a16="http://schemas.microsoft.com/office/drawing/2014/main" id="{714F2CF0-A580-4F7B-B7E0-C32E076A34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1" y="1141"/>
                <a:ext cx="9" cy="48"/>
              </a:xfrm>
              <a:custGeom>
                <a:avLst/>
                <a:gdLst>
                  <a:gd name="T0" fmla="*/ 16 w 16"/>
                  <a:gd name="T1" fmla="*/ 67 h 88"/>
                  <a:gd name="T2" fmla="*/ 7 w 16"/>
                  <a:gd name="T3" fmla="*/ 67 h 88"/>
                  <a:gd name="T4" fmla="*/ 7 w 16"/>
                  <a:gd name="T5" fmla="*/ 69 h 88"/>
                  <a:gd name="T6" fmla="*/ 0 w 16"/>
                  <a:gd name="T7" fmla="*/ 86 h 88"/>
                  <a:gd name="T8" fmla="*/ 0 w 16"/>
                  <a:gd name="T9" fmla="*/ 88 h 88"/>
                  <a:gd name="T10" fmla="*/ 1 w 16"/>
                  <a:gd name="T11" fmla="*/ 88 h 88"/>
                  <a:gd name="T12" fmla="*/ 16 w 16"/>
                  <a:gd name="T13" fmla="*/ 69 h 88"/>
                  <a:gd name="T14" fmla="*/ 16 w 16"/>
                  <a:gd name="T15" fmla="*/ 67 h 88"/>
                  <a:gd name="T16" fmla="*/ 16 w 16"/>
                  <a:gd name="T17" fmla="*/ 56 h 88"/>
                  <a:gd name="T18" fmla="*/ 7 w 16"/>
                  <a:gd name="T19" fmla="*/ 56 h 88"/>
                  <a:gd name="T20" fmla="*/ 7 w 16"/>
                  <a:gd name="T21" fmla="*/ 61 h 88"/>
                  <a:gd name="T22" fmla="*/ 16 w 16"/>
                  <a:gd name="T23" fmla="*/ 61 h 88"/>
                  <a:gd name="T24" fmla="*/ 16 w 16"/>
                  <a:gd name="T25" fmla="*/ 56 h 88"/>
                  <a:gd name="T26" fmla="*/ 16 w 16"/>
                  <a:gd name="T27" fmla="*/ 46 h 88"/>
                  <a:gd name="T28" fmla="*/ 7 w 16"/>
                  <a:gd name="T29" fmla="*/ 46 h 88"/>
                  <a:gd name="T30" fmla="*/ 7 w 16"/>
                  <a:gd name="T31" fmla="*/ 51 h 88"/>
                  <a:gd name="T32" fmla="*/ 16 w 16"/>
                  <a:gd name="T33" fmla="*/ 51 h 88"/>
                  <a:gd name="T34" fmla="*/ 16 w 16"/>
                  <a:gd name="T35" fmla="*/ 46 h 88"/>
                  <a:gd name="T36" fmla="*/ 16 w 16"/>
                  <a:gd name="T37" fmla="*/ 35 h 88"/>
                  <a:gd name="T38" fmla="*/ 7 w 16"/>
                  <a:gd name="T39" fmla="*/ 35 h 88"/>
                  <a:gd name="T40" fmla="*/ 7 w 16"/>
                  <a:gd name="T41" fmla="*/ 40 h 88"/>
                  <a:gd name="T42" fmla="*/ 16 w 16"/>
                  <a:gd name="T43" fmla="*/ 40 h 88"/>
                  <a:gd name="T44" fmla="*/ 16 w 16"/>
                  <a:gd name="T45" fmla="*/ 35 h 88"/>
                  <a:gd name="T46" fmla="*/ 16 w 16"/>
                  <a:gd name="T47" fmla="*/ 24 h 88"/>
                  <a:gd name="T48" fmla="*/ 7 w 16"/>
                  <a:gd name="T49" fmla="*/ 24 h 88"/>
                  <a:gd name="T50" fmla="*/ 7 w 16"/>
                  <a:gd name="T51" fmla="*/ 29 h 88"/>
                  <a:gd name="T52" fmla="*/ 16 w 16"/>
                  <a:gd name="T53" fmla="*/ 29 h 88"/>
                  <a:gd name="T54" fmla="*/ 16 w 16"/>
                  <a:gd name="T55" fmla="*/ 24 h 88"/>
                  <a:gd name="T56" fmla="*/ 16 w 16"/>
                  <a:gd name="T57" fmla="*/ 14 h 88"/>
                  <a:gd name="T58" fmla="*/ 7 w 16"/>
                  <a:gd name="T59" fmla="*/ 14 h 88"/>
                  <a:gd name="T60" fmla="*/ 7 w 16"/>
                  <a:gd name="T61" fmla="*/ 19 h 88"/>
                  <a:gd name="T62" fmla="*/ 16 w 16"/>
                  <a:gd name="T63" fmla="*/ 19 h 88"/>
                  <a:gd name="T64" fmla="*/ 16 w 16"/>
                  <a:gd name="T65" fmla="*/ 14 h 88"/>
                  <a:gd name="T66" fmla="*/ 16 w 16"/>
                  <a:gd name="T67" fmla="*/ 0 h 88"/>
                  <a:gd name="T68" fmla="*/ 16 w 16"/>
                  <a:gd name="T69" fmla="*/ 0 h 88"/>
                  <a:gd name="T70" fmla="*/ 7 w 16"/>
                  <a:gd name="T71" fmla="*/ 0 h 88"/>
                  <a:gd name="T72" fmla="*/ 7 w 16"/>
                  <a:gd name="T73" fmla="*/ 8 h 88"/>
                  <a:gd name="T74" fmla="*/ 16 w 16"/>
                  <a:gd name="T75" fmla="*/ 8 h 88"/>
                  <a:gd name="T76" fmla="*/ 16 w 16"/>
                  <a:gd name="T77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6" h="88">
                    <a:moveTo>
                      <a:pt x="16" y="67"/>
                    </a:moveTo>
                    <a:cubicBezTo>
                      <a:pt x="7" y="67"/>
                      <a:pt x="7" y="67"/>
                      <a:pt x="7" y="67"/>
                    </a:cubicBezTo>
                    <a:cubicBezTo>
                      <a:pt x="7" y="69"/>
                      <a:pt x="7" y="69"/>
                      <a:pt x="7" y="69"/>
                    </a:cubicBezTo>
                    <a:cubicBezTo>
                      <a:pt x="7" y="76"/>
                      <a:pt x="4" y="82"/>
                      <a:pt x="0" y="86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1" y="88"/>
                      <a:pt x="1" y="88"/>
                      <a:pt x="1" y="88"/>
                    </a:cubicBezTo>
                    <a:cubicBezTo>
                      <a:pt x="9" y="88"/>
                      <a:pt x="16" y="80"/>
                      <a:pt x="16" y="69"/>
                    </a:cubicBezTo>
                    <a:cubicBezTo>
                      <a:pt x="16" y="67"/>
                      <a:pt x="16" y="67"/>
                      <a:pt x="16" y="67"/>
                    </a:cubicBezTo>
                    <a:moveTo>
                      <a:pt x="16" y="56"/>
                    </a:moveTo>
                    <a:cubicBezTo>
                      <a:pt x="7" y="56"/>
                      <a:pt x="7" y="56"/>
                      <a:pt x="7" y="56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16" y="61"/>
                      <a:pt x="16" y="61"/>
                      <a:pt x="16" y="61"/>
                    </a:cubicBezTo>
                    <a:cubicBezTo>
                      <a:pt x="16" y="56"/>
                      <a:pt x="16" y="56"/>
                      <a:pt x="16" y="56"/>
                    </a:cubicBezTo>
                    <a:moveTo>
                      <a:pt x="16" y="4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7" y="51"/>
                      <a:pt x="7" y="51"/>
                      <a:pt x="7" y="51"/>
                    </a:cubicBezTo>
                    <a:cubicBezTo>
                      <a:pt x="16" y="51"/>
                      <a:pt x="16" y="51"/>
                      <a:pt x="16" y="51"/>
                    </a:cubicBezTo>
                    <a:cubicBezTo>
                      <a:pt x="16" y="46"/>
                      <a:pt x="16" y="46"/>
                      <a:pt x="16" y="46"/>
                    </a:cubicBezTo>
                    <a:moveTo>
                      <a:pt x="16" y="35"/>
                    </a:moveTo>
                    <a:cubicBezTo>
                      <a:pt x="7" y="35"/>
                      <a:pt x="7" y="35"/>
                      <a:pt x="7" y="35"/>
                    </a:cubicBezTo>
                    <a:cubicBezTo>
                      <a:pt x="7" y="40"/>
                      <a:pt x="7" y="40"/>
                      <a:pt x="7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35"/>
                      <a:pt x="16" y="35"/>
                      <a:pt x="16" y="35"/>
                    </a:cubicBezTo>
                    <a:moveTo>
                      <a:pt x="16" y="24"/>
                    </a:moveTo>
                    <a:cubicBezTo>
                      <a:pt x="7" y="24"/>
                      <a:pt x="7" y="24"/>
                      <a:pt x="7" y="24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16" y="29"/>
                      <a:pt x="16" y="29"/>
                      <a:pt x="16" y="29"/>
                    </a:cubicBezTo>
                    <a:cubicBezTo>
                      <a:pt x="16" y="24"/>
                      <a:pt x="16" y="24"/>
                      <a:pt x="16" y="24"/>
                    </a:cubicBezTo>
                    <a:moveTo>
                      <a:pt x="16" y="14"/>
                    </a:moveTo>
                    <a:cubicBezTo>
                      <a:pt x="7" y="14"/>
                      <a:pt x="7" y="14"/>
                      <a:pt x="7" y="14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6" y="14"/>
                      <a:pt x="16" y="14"/>
                      <a:pt x="16" y="14"/>
                    </a:cubicBezTo>
                    <a:moveTo>
                      <a:pt x="16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1" name="Freeform 280">
                <a:extLst>
                  <a:ext uri="{FF2B5EF4-FFF2-40B4-BE49-F238E27FC236}">
                    <a16:creationId xmlns:a16="http://schemas.microsoft.com/office/drawing/2014/main" id="{2270E81A-102E-4936-91D0-812548463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74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2" name="Freeform 281">
                <a:extLst>
                  <a:ext uri="{FF2B5EF4-FFF2-40B4-BE49-F238E27FC236}">
                    <a16:creationId xmlns:a16="http://schemas.microsoft.com/office/drawing/2014/main" id="{09F69975-325F-42CF-B807-6624B0AE9F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74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3" name="Freeform 282">
                <a:extLst>
                  <a:ext uri="{FF2B5EF4-FFF2-40B4-BE49-F238E27FC236}">
                    <a16:creationId xmlns:a16="http://schemas.microsoft.com/office/drawing/2014/main" id="{951B4EB7-E605-4E02-BA09-2F95858BA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9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4" name="Freeform 283">
                <a:extLst>
                  <a:ext uri="{FF2B5EF4-FFF2-40B4-BE49-F238E27FC236}">
                    <a16:creationId xmlns:a16="http://schemas.microsoft.com/office/drawing/2014/main" id="{EF6D7A92-7B17-483F-B642-C4C7A47B3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9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5" name="Freeform 284">
                <a:extLst>
                  <a:ext uri="{FF2B5EF4-FFF2-40B4-BE49-F238E27FC236}">
                    <a16:creationId xmlns:a16="http://schemas.microsoft.com/office/drawing/2014/main" id="{5D07A1D8-3975-43F5-A598-66C824FB90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3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6" name="Freeform 285">
                <a:extLst>
                  <a:ext uri="{FF2B5EF4-FFF2-40B4-BE49-F238E27FC236}">
                    <a16:creationId xmlns:a16="http://schemas.microsoft.com/office/drawing/2014/main" id="{CD701FCA-D437-40C4-9D03-97B7CE0E7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3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7" name="Freeform 286">
                <a:extLst>
                  <a:ext uri="{FF2B5EF4-FFF2-40B4-BE49-F238E27FC236}">
                    <a16:creationId xmlns:a16="http://schemas.microsoft.com/office/drawing/2014/main" id="{545F19E8-1BB1-447E-9442-D0B41BDC52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7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8" name="Freeform 287">
                <a:extLst>
                  <a:ext uri="{FF2B5EF4-FFF2-40B4-BE49-F238E27FC236}">
                    <a16:creationId xmlns:a16="http://schemas.microsoft.com/office/drawing/2014/main" id="{695DDBBF-D411-4075-A805-B01D419E5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7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9" name="Freeform 288">
                <a:extLst>
                  <a:ext uri="{FF2B5EF4-FFF2-40B4-BE49-F238E27FC236}">
                    <a16:creationId xmlns:a16="http://schemas.microsoft.com/office/drawing/2014/main" id="{BC93D625-0429-4893-B576-AB87808907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1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0" name="Freeform 289">
                <a:extLst>
                  <a:ext uri="{FF2B5EF4-FFF2-40B4-BE49-F238E27FC236}">
                    <a16:creationId xmlns:a16="http://schemas.microsoft.com/office/drawing/2014/main" id="{B8CD1789-9C34-4B88-BBF4-A567CFCC6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1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1" name="Freeform 290">
                <a:extLst>
                  <a:ext uri="{FF2B5EF4-FFF2-40B4-BE49-F238E27FC236}">
                    <a16:creationId xmlns:a16="http://schemas.microsoft.com/office/drawing/2014/main" id="{531DA057-D7F8-4ACA-9BEF-744E5D69AA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45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2" name="Freeform 291">
                <a:extLst>
                  <a:ext uri="{FF2B5EF4-FFF2-40B4-BE49-F238E27FC236}">
                    <a16:creationId xmlns:a16="http://schemas.microsoft.com/office/drawing/2014/main" id="{52BEA705-55B3-46D9-B40E-16B1BE0DE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45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292">
                <a:extLst>
                  <a:ext uri="{FF2B5EF4-FFF2-40B4-BE49-F238E27FC236}">
                    <a16:creationId xmlns:a16="http://schemas.microsoft.com/office/drawing/2014/main" id="{1EAD208A-8B4A-41A9-BC14-22C2B722E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9" y="1188"/>
                <a:ext cx="2" cy="1"/>
              </a:xfrm>
              <a:custGeom>
                <a:avLst/>
                <a:gdLst>
                  <a:gd name="T0" fmla="*/ 3 w 3"/>
                  <a:gd name="T1" fmla="*/ 0 h 2"/>
                  <a:gd name="T2" fmla="*/ 0 w 3"/>
                  <a:gd name="T3" fmla="*/ 1 h 2"/>
                  <a:gd name="T4" fmla="*/ 0 w 3"/>
                  <a:gd name="T5" fmla="*/ 2 h 2"/>
                  <a:gd name="T6" fmla="*/ 3 w 3"/>
                  <a:gd name="T7" fmla="*/ 2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cubicBezTo>
                      <a:pt x="2" y="0"/>
                      <a:pt x="1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2826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4" name="Freeform 293">
                <a:extLst>
                  <a:ext uri="{FF2B5EF4-FFF2-40B4-BE49-F238E27FC236}">
                    <a16:creationId xmlns:a16="http://schemas.microsoft.com/office/drawing/2014/main" id="{5B2A0D1D-51F1-4C0F-9A4C-52E6962CB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7" y="1189"/>
                <a:ext cx="2" cy="0"/>
              </a:xfrm>
              <a:custGeom>
                <a:avLst/>
                <a:gdLst>
                  <a:gd name="T0" fmla="*/ 5 w 5"/>
                  <a:gd name="T1" fmla="*/ 0 h 1"/>
                  <a:gd name="T2" fmla="*/ 0 w 5"/>
                  <a:gd name="T3" fmla="*/ 1 h 1"/>
                  <a:gd name="T4" fmla="*/ 5 w 5"/>
                  <a:gd name="T5" fmla="*/ 1 h 1"/>
                  <a:gd name="T6" fmla="*/ 5 w 5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cubicBezTo>
                      <a:pt x="3" y="1"/>
                      <a:pt x="2" y="1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5" name="Freeform 294">
                <a:extLst>
                  <a:ext uri="{FF2B5EF4-FFF2-40B4-BE49-F238E27FC236}">
                    <a16:creationId xmlns:a16="http://schemas.microsoft.com/office/drawing/2014/main" id="{0E474AF7-E52C-4349-9F8A-83BDC08518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1052"/>
                <a:ext cx="4" cy="69"/>
              </a:xfrm>
              <a:custGeom>
                <a:avLst/>
                <a:gdLst>
                  <a:gd name="T0" fmla="*/ 4 w 8"/>
                  <a:gd name="T1" fmla="*/ 0 h 127"/>
                  <a:gd name="T2" fmla="*/ 4 w 8"/>
                  <a:gd name="T3" fmla="*/ 0 h 127"/>
                  <a:gd name="T4" fmla="*/ 0 w 8"/>
                  <a:gd name="T5" fmla="*/ 4 h 127"/>
                  <a:gd name="T6" fmla="*/ 0 w 8"/>
                  <a:gd name="T7" fmla="*/ 123 h 127"/>
                  <a:gd name="T8" fmla="*/ 4 w 8"/>
                  <a:gd name="T9" fmla="*/ 127 h 127"/>
                  <a:gd name="T10" fmla="*/ 8 w 8"/>
                  <a:gd name="T11" fmla="*/ 123 h 127"/>
                  <a:gd name="T12" fmla="*/ 8 w 8"/>
                  <a:gd name="T13" fmla="*/ 4 h 127"/>
                  <a:gd name="T14" fmla="*/ 4 w 8"/>
                  <a:gd name="T15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27">
                    <a:moveTo>
                      <a:pt x="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23"/>
                      <a:pt x="0" y="123"/>
                      <a:pt x="0" y="123"/>
                    </a:cubicBezTo>
                    <a:cubicBezTo>
                      <a:pt x="0" y="125"/>
                      <a:pt x="2" y="127"/>
                      <a:pt x="4" y="127"/>
                    </a:cubicBezTo>
                    <a:cubicBezTo>
                      <a:pt x="6" y="127"/>
                      <a:pt x="8" y="125"/>
                      <a:pt x="8" y="12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solidFill>
                <a:srgbClr val="2C40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6" name="Freeform 295">
                <a:extLst>
                  <a:ext uri="{FF2B5EF4-FFF2-40B4-BE49-F238E27FC236}">
                    <a16:creationId xmlns:a16="http://schemas.microsoft.com/office/drawing/2014/main" id="{28EF8B93-35D6-4089-942A-986DA9C0FB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2" y="2184"/>
                <a:ext cx="57" cy="53"/>
              </a:xfrm>
              <a:custGeom>
                <a:avLst/>
                <a:gdLst>
                  <a:gd name="T0" fmla="*/ 0 w 103"/>
                  <a:gd name="T1" fmla="*/ 78 h 96"/>
                  <a:gd name="T2" fmla="*/ 68 w 103"/>
                  <a:gd name="T3" fmla="*/ 93 h 96"/>
                  <a:gd name="T4" fmla="*/ 90 w 103"/>
                  <a:gd name="T5" fmla="*/ 83 h 96"/>
                  <a:gd name="T6" fmla="*/ 101 w 103"/>
                  <a:gd name="T7" fmla="*/ 35 h 96"/>
                  <a:gd name="T8" fmla="*/ 85 w 103"/>
                  <a:gd name="T9" fmla="*/ 16 h 96"/>
                  <a:gd name="T10" fmla="*/ 18 w 103"/>
                  <a:gd name="T11" fmla="*/ 0 h 96"/>
                  <a:gd name="T12" fmla="*/ 0 w 103"/>
                  <a:gd name="T13" fmla="*/ 7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96">
                    <a:moveTo>
                      <a:pt x="0" y="78"/>
                    </a:moveTo>
                    <a:cubicBezTo>
                      <a:pt x="68" y="93"/>
                      <a:pt x="68" y="93"/>
                      <a:pt x="68" y="93"/>
                    </a:cubicBezTo>
                    <a:cubicBezTo>
                      <a:pt x="78" y="96"/>
                      <a:pt x="88" y="91"/>
                      <a:pt x="90" y="8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3" y="27"/>
                      <a:pt x="96" y="18"/>
                      <a:pt x="85" y="16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78"/>
                      <a:pt x="0" y="78"/>
                      <a:pt x="0" y="78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7" name="Freeform 296">
                <a:extLst>
                  <a:ext uri="{FF2B5EF4-FFF2-40B4-BE49-F238E27FC236}">
                    <a16:creationId xmlns:a16="http://schemas.microsoft.com/office/drawing/2014/main" id="{886F9BDC-91E4-4B2C-9794-425A0303F5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192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8" name="Freeform 297">
                <a:extLst>
                  <a:ext uri="{FF2B5EF4-FFF2-40B4-BE49-F238E27FC236}">
                    <a16:creationId xmlns:a16="http://schemas.microsoft.com/office/drawing/2014/main" id="{84AB0C22-5AE4-4D9E-9B55-0BB9821442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192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9" name="Freeform 298">
                <a:extLst>
                  <a:ext uri="{FF2B5EF4-FFF2-40B4-BE49-F238E27FC236}">
                    <a16:creationId xmlns:a16="http://schemas.microsoft.com/office/drawing/2014/main" id="{ED5D00F5-4E26-4B35-A14B-7F5A5B9345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191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0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0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0" name="Freeform 299">
                <a:extLst>
                  <a:ext uri="{FF2B5EF4-FFF2-40B4-BE49-F238E27FC236}">
                    <a16:creationId xmlns:a16="http://schemas.microsoft.com/office/drawing/2014/main" id="{7096A632-5CF5-4EC3-A707-026562DC84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191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0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0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" name="Freeform 300">
                <a:extLst>
                  <a:ext uri="{FF2B5EF4-FFF2-40B4-BE49-F238E27FC236}">
                    <a16:creationId xmlns:a16="http://schemas.microsoft.com/office/drawing/2014/main" id="{5985318C-571B-4BB7-9851-8A3BDCADE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189"/>
                <a:ext cx="12" cy="43"/>
              </a:xfrm>
              <a:custGeom>
                <a:avLst/>
                <a:gdLst>
                  <a:gd name="T0" fmla="*/ 0 w 12"/>
                  <a:gd name="T1" fmla="*/ 43 h 43"/>
                  <a:gd name="T2" fmla="*/ 10 w 12"/>
                  <a:gd name="T3" fmla="*/ 0 h 43"/>
                  <a:gd name="T4" fmla="*/ 12 w 12"/>
                  <a:gd name="T5" fmla="*/ 1 h 43"/>
                  <a:gd name="T6" fmla="*/ 3 w 12"/>
                  <a:gd name="T7" fmla="*/ 43 h 43"/>
                  <a:gd name="T8" fmla="*/ 0 w 12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2" name="Freeform 301">
                <a:extLst>
                  <a:ext uri="{FF2B5EF4-FFF2-40B4-BE49-F238E27FC236}">
                    <a16:creationId xmlns:a16="http://schemas.microsoft.com/office/drawing/2014/main" id="{4C03E55F-8F0E-4589-AB32-970271AD48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189"/>
                <a:ext cx="12" cy="43"/>
              </a:xfrm>
              <a:custGeom>
                <a:avLst/>
                <a:gdLst>
                  <a:gd name="T0" fmla="*/ 0 w 12"/>
                  <a:gd name="T1" fmla="*/ 43 h 43"/>
                  <a:gd name="T2" fmla="*/ 10 w 12"/>
                  <a:gd name="T3" fmla="*/ 0 h 43"/>
                  <a:gd name="T4" fmla="*/ 12 w 12"/>
                  <a:gd name="T5" fmla="*/ 1 h 43"/>
                  <a:gd name="T6" fmla="*/ 3 w 12"/>
                  <a:gd name="T7" fmla="*/ 43 h 43"/>
                  <a:gd name="T8" fmla="*/ 0 w 12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3" y="43"/>
                    </a:lnTo>
                    <a:lnTo>
                      <a:pt x="0" y="4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3" name="Freeform 302">
                <a:extLst>
                  <a:ext uri="{FF2B5EF4-FFF2-40B4-BE49-F238E27FC236}">
                    <a16:creationId xmlns:a16="http://schemas.microsoft.com/office/drawing/2014/main" id="{40E01002-F6F9-409B-82B6-2E3AD920C3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188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4" name="Freeform 303">
                <a:extLst>
                  <a:ext uri="{FF2B5EF4-FFF2-40B4-BE49-F238E27FC236}">
                    <a16:creationId xmlns:a16="http://schemas.microsoft.com/office/drawing/2014/main" id="{514269D5-5AE2-43F1-8CD5-D19B0031A6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188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Freeform 304">
                <a:extLst>
                  <a:ext uri="{FF2B5EF4-FFF2-40B4-BE49-F238E27FC236}">
                    <a16:creationId xmlns:a16="http://schemas.microsoft.com/office/drawing/2014/main" id="{D88CB003-30F5-44C9-91F2-8F929AC05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187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4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4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6" name="Freeform 305">
                <a:extLst>
                  <a:ext uri="{FF2B5EF4-FFF2-40B4-BE49-F238E27FC236}">
                    <a16:creationId xmlns:a16="http://schemas.microsoft.com/office/drawing/2014/main" id="{18128655-92FE-4A39-B224-A22A65942B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187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4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4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7" name="Freeform 306">
                <a:extLst>
                  <a:ext uri="{FF2B5EF4-FFF2-40B4-BE49-F238E27FC236}">
                    <a16:creationId xmlns:a16="http://schemas.microsoft.com/office/drawing/2014/main" id="{DF894BD8-8009-4004-8AD7-98B880818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185"/>
                <a:ext cx="12" cy="44"/>
              </a:xfrm>
              <a:custGeom>
                <a:avLst/>
                <a:gdLst>
                  <a:gd name="T0" fmla="*/ 0 w 12"/>
                  <a:gd name="T1" fmla="*/ 43 h 44"/>
                  <a:gd name="T2" fmla="*/ 10 w 12"/>
                  <a:gd name="T3" fmla="*/ 0 h 44"/>
                  <a:gd name="T4" fmla="*/ 12 w 12"/>
                  <a:gd name="T5" fmla="*/ 1 h 44"/>
                  <a:gd name="T6" fmla="*/ 2 w 12"/>
                  <a:gd name="T7" fmla="*/ 44 h 44"/>
                  <a:gd name="T8" fmla="*/ 0 w 12"/>
                  <a:gd name="T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4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2" y="44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Freeform 307">
                <a:extLst>
                  <a:ext uri="{FF2B5EF4-FFF2-40B4-BE49-F238E27FC236}">
                    <a16:creationId xmlns:a16="http://schemas.microsoft.com/office/drawing/2014/main" id="{0E3E2912-A20B-4CB7-BF00-981DE897C7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185"/>
                <a:ext cx="12" cy="44"/>
              </a:xfrm>
              <a:custGeom>
                <a:avLst/>
                <a:gdLst>
                  <a:gd name="T0" fmla="*/ 0 w 12"/>
                  <a:gd name="T1" fmla="*/ 43 h 44"/>
                  <a:gd name="T2" fmla="*/ 10 w 12"/>
                  <a:gd name="T3" fmla="*/ 0 h 44"/>
                  <a:gd name="T4" fmla="*/ 12 w 12"/>
                  <a:gd name="T5" fmla="*/ 1 h 44"/>
                  <a:gd name="T6" fmla="*/ 2 w 12"/>
                  <a:gd name="T7" fmla="*/ 44 h 44"/>
                  <a:gd name="T8" fmla="*/ 0 w 12"/>
                  <a:gd name="T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4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2" y="44"/>
                    </a:lnTo>
                    <a:lnTo>
                      <a:pt x="0" y="4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9" name="Freeform 308">
                <a:extLst>
                  <a:ext uri="{FF2B5EF4-FFF2-40B4-BE49-F238E27FC236}">
                    <a16:creationId xmlns:a16="http://schemas.microsoft.com/office/drawing/2014/main" id="{EBD39137-F98F-4BF3-8DEA-DBF39B935F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194"/>
                <a:ext cx="17" cy="24"/>
              </a:xfrm>
              <a:custGeom>
                <a:avLst/>
                <a:gdLst>
                  <a:gd name="T0" fmla="*/ 14 w 31"/>
                  <a:gd name="T1" fmla="*/ 0 h 45"/>
                  <a:gd name="T2" fmla="*/ 5 w 31"/>
                  <a:gd name="T3" fmla="*/ 9 h 45"/>
                  <a:gd name="T4" fmla="*/ 2 w 31"/>
                  <a:gd name="T5" fmla="*/ 26 h 45"/>
                  <a:gd name="T6" fmla="*/ 11 w 31"/>
                  <a:gd name="T7" fmla="*/ 41 h 45"/>
                  <a:gd name="T8" fmla="*/ 31 w 31"/>
                  <a:gd name="T9" fmla="*/ 45 h 45"/>
                  <a:gd name="T10" fmla="*/ 31 w 31"/>
                  <a:gd name="T11" fmla="*/ 43 h 45"/>
                  <a:gd name="T12" fmla="*/ 15 w 31"/>
                  <a:gd name="T13" fmla="*/ 39 h 45"/>
                  <a:gd name="T14" fmla="*/ 6 w 31"/>
                  <a:gd name="T15" fmla="*/ 24 h 45"/>
                  <a:gd name="T16" fmla="*/ 10 w 31"/>
                  <a:gd name="T17" fmla="*/ 7 h 45"/>
                  <a:gd name="T18" fmla="*/ 14 w 31"/>
                  <a:gd name="T1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14" y="0"/>
                    </a:moveTo>
                    <a:cubicBezTo>
                      <a:pt x="10" y="1"/>
                      <a:pt x="7" y="4"/>
                      <a:pt x="5" y="9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0" y="33"/>
                      <a:pt x="4" y="39"/>
                      <a:pt x="11" y="41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8" y="37"/>
                      <a:pt x="4" y="31"/>
                      <a:pt x="6" y="24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4"/>
                      <a:pt x="12" y="1"/>
                      <a:pt x="14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0" name="Freeform 309">
                <a:extLst>
                  <a:ext uri="{FF2B5EF4-FFF2-40B4-BE49-F238E27FC236}">
                    <a16:creationId xmlns:a16="http://schemas.microsoft.com/office/drawing/2014/main" id="{6D0CC0B9-E9A3-402A-99CC-8B0F579216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5" y="2217"/>
                <a:ext cx="27" cy="8"/>
              </a:xfrm>
              <a:custGeom>
                <a:avLst/>
                <a:gdLst>
                  <a:gd name="T0" fmla="*/ 24 w 27"/>
                  <a:gd name="T1" fmla="*/ 6 h 8"/>
                  <a:gd name="T2" fmla="*/ 24 w 27"/>
                  <a:gd name="T3" fmla="*/ 7 h 8"/>
                  <a:gd name="T4" fmla="*/ 26 w 27"/>
                  <a:gd name="T5" fmla="*/ 8 h 8"/>
                  <a:gd name="T6" fmla="*/ 27 w 27"/>
                  <a:gd name="T7" fmla="*/ 6 h 8"/>
                  <a:gd name="T8" fmla="*/ 24 w 27"/>
                  <a:gd name="T9" fmla="*/ 6 h 8"/>
                  <a:gd name="T10" fmla="*/ 18 w 27"/>
                  <a:gd name="T11" fmla="*/ 4 h 8"/>
                  <a:gd name="T12" fmla="*/ 18 w 27"/>
                  <a:gd name="T13" fmla="*/ 6 h 8"/>
                  <a:gd name="T14" fmla="*/ 21 w 27"/>
                  <a:gd name="T15" fmla="*/ 6 h 8"/>
                  <a:gd name="T16" fmla="*/ 21 w 27"/>
                  <a:gd name="T17" fmla="*/ 5 h 8"/>
                  <a:gd name="T18" fmla="*/ 18 w 27"/>
                  <a:gd name="T19" fmla="*/ 4 h 8"/>
                  <a:gd name="T20" fmla="*/ 13 w 27"/>
                  <a:gd name="T21" fmla="*/ 3 h 8"/>
                  <a:gd name="T22" fmla="*/ 12 w 27"/>
                  <a:gd name="T23" fmla="*/ 4 h 8"/>
                  <a:gd name="T24" fmla="*/ 15 w 27"/>
                  <a:gd name="T25" fmla="*/ 5 h 8"/>
                  <a:gd name="T26" fmla="*/ 15 w 27"/>
                  <a:gd name="T27" fmla="*/ 3 h 8"/>
                  <a:gd name="T28" fmla="*/ 13 w 27"/>
                  <a:gd name="T29" fmla="*/ 3 h 8"/>
                  <a:gd name="T30" fmla="*/ 7 w 27"/>
                  <a:gd name="T31" fmla="*/ 2 h 8"/>
                  <a:gd name="T32" fmla="*/ 7 w 27"/>
                  <a:gd name="T33" fmla="*/ 3 h 8"/>
                  <a:gd name="T34" fmla="*/ 9 w 27"/>
                  <a:gd name="T35" fmla="*/ 4 h 8"/>
                  <a:gd name="T36" fmla="*/ 10 w 27"/>
                  <a:gd name="T37" fmla="*/ 2 h 8"/>
                  <a:gd name="T38" fmla="*/ 7 w 27"/>
                  <a:gd name="T39" fmla="*/ 2 h 8"/>
                  <a:gd name="T40" fmla="*/ 0 w 27"/>
                  <a:gd name="T41" fmla="*/ 0 h 8"/>
                  <a:gd name="T42" fmla="*/ 0 w 27"/>
                  <a:gd name="T43" fmla="*/ 1 h 8"/>
                  <a:gd name="T44" fmla="*/ 4 w 27"/>
                  <a:gd name="T45" fmla="*/ 2 h 8"/>
                  <a:gd name="T46" fmla="*/ 4 w 27"/>
                  <a:gd name="T47" fmla="*/ 1 h 8"/>
                  <a:gd name="T48" fmla="*/ 0 w 27"/>
                  <a:gd name="T4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" h="8">
                    <a:moveTo>
                      <a:pt x="24" y="6"/>
                    </a:moveTo>
                    <a:lnTo>
                      <a:pt x="24" y="7"/>
                    </a:lnTo>
                    <a:lnTo>
                      <a:pt x="26" y="8"/>
                    </a:lnTo>
                    <a:lnTo>
                      <a:pt x="27" y="6"/>
                    </a:lnTo>
                    <a:lnTo>
                      <a:pt x="24" y="6"/>
                    </a:lnTo>
                    <a:close/>
                    <a:moveTo>
                      <a:pt x="18" y="4"/>
                    </a:moveTo>
                    <a:lnTo>
                      <a:pt x="18" y="6"/>
                    </a:lnTo>
                    <a:lnTo>
                      <a:pt x="21" y="6"/>
                    </a:lnTo>
                    <a:lnTo>
                      <a:pt x="21" y="5"/>
                    </a:lnTo>
                    <a:lnTo>
                      <a:pt x="18" y="4"/>
                    </a:lnTo>
                    <a:close/>
                    <a:moveTo>
                      <a:pt x="13" y="3"/>
                    </a:moveTo>
                    <a:lnTo>
                      <a:pt x="12" y="4"/>
                    </a:lnTo>
                    <a:lnTo>
                      <a:pt x="15" y="5"/>
                    </a:lnTo>
                    <a:lnTo>
                      <a:pt x="15" y="3"/>
                    </a:lnTo>
                    <a:lnTo>
                      <a:pt x="13" y="3"/>
                    </a:lnTo>
                    <a:close/>
                    <a:moveTo>
                      <a:pt x="7" y="2"/>
                    </a:moveTo>
                    <a:lnTo>
                      <a:pt x="7" y="3"/>
                    </a:lnTo>
                    <a:lnTo>
                      <a:pt x="9" y="4"/>
                    </a:lnTo>
                    <a:lnTo>
                      <a:pt x="10" y="2"/>
                    </a:lnTo>
                    <a:lnTo>
                      <a:pt x="7" y="2"/>
                    </a:lnTo>
                    <a:close/>
                    <a:moveTo>
                      <a:pt x="0" y="0"/>
                    </a:moveTo>
                    <a:lnTo>
                      <a:pt x="0" y="1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1" name="Freeform 310">
                <a:extLst>
                  <a:ext uri="{FF2B5EF4-FFF2-40B4-BE49-F238E27FC236}">
                    <a16:creationId xmlns:a16="http://schemas.microsoft.com/office/drawing/2014/main" id="{5E59173D-37ED-4261-A904-5F33C8416A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5" y="2217"/>
                <a:ext cx="27" cy="8"/>
              </a:xfrm>
              <a:custGeom>
                <a:avLst/>
                <a:gdLst>
                  <a:gd name="T0" fmla="*/ 24 w 27"/>
                  <a:gd name="T1" fmla="*/ 6 h 8"/>
                  <a:gd name="T2" fmla="*/ 24 w 27"/>
                  <a:gd name="T3" fmla="*/ 7 h 8"/>
                  <a:gd name="T4" fmla="*/ 26 w 27"/>
                  <a:gd name="T5" fmla="*/ 8 h 8"/>
                  <a:gd name="T6" fmla="*/ 27 w 27"/>
                  <a:gd name="T7" fmla="*/ 6 h 8"/>
                  <a:gd name="T8" fmla="*/ 24 w 27"/>
                  <a:gd name="T9" fmla="*/ 6 h 8"/>
                  <a:gd name="T10" fmla="*/ 18 w 27"/>
                  <a:gd name="T11" fmla="*/ 4 h 8"/>
                  <a:gd name="T12" fmla="*/ 18 w 27"/>
                  <a:gd name="T13" fmla="*/ 6 h 8"/>
                  <a:gd name="T14" fmla="*/ 21 w 27"/>
                  <a:gd name="T15" fmla="*/ 6 h 8"/>
                  <a:gd name="T16" fmla="*/ 21 w 27"/>
                  <a:gd name="T17" fmla="*/ 5 h 8"/>
                  <a:gd name="T18" fmla="*/ 18 w 27"/>
                  <a:gd name="T19" fmla="*/ 4 h 8"/>
                  <a:gd name="T20" fmla="*/ 13 w 27"/>
                  <a:gd name="T21" fmla="*/ 3 h 8"/>
                  <a:gd name="T22" fmla="*/ 12 w 27"/>
                  <a:gd name="T23" fmla="*/ 4 h 8"/>
                  <a:gd name="T24" fmla="*/ 15 w 27"/>
                  <a:gd name="T25" fmla="*/ 5 h 8"/>
                  <a:gd name="T26" fmla="*/ 15 w 27"/>
                  <a:gd name="T27" fmla="*/ 3 h 8"/>
                  <a:gd name="T28" fmla="*/ 13 w 27"/>
                  <a:gd name="T29" fmla="*/ 3 h 8"/>
                  <a:gd name="T30" fmla="*/ 7 w 27"/>
                  <a:gd name="T31" fmla="*/ 2 h 8"/>
                  <a:gd name="T32" fmla="*/ 7 w 27"/>
                  <a:gd name="T33" fmla="*/ 3 h 8"/>
                  <a:gd name="T34" fmla="*/ 9 w 27"/>
                  <a:gd name="T35" fmla="*/ 4 h 8"/>
                  <a:gd name="T36" fmla="*/ 10 w 27"/>
                  <a:gd name="T37" fmla="*/ 2 h 8"/>
                  <a:gd name="T38" fmla="*/ 7 w 27"/>
                  <a:gd name="T39" fmla="*/ 2 h 8"/>
                  <a:gd name="T40" fmla="*/ 0 w 27"/>
                  <a:gd name="T41" fmla="*/ 0 h 8"/>
                  <a:gd name="T42" fmla="*/ 0 w 27"/>
                  <a:gd name="T43" fmla="*/ 1 h 8"/>
                  <a:gd name="T44" fmla="*/ 4 w 27"/>
                  <a:gd name="T45" fmla="*/ 2 h 8"/>
                  <a:gd name="T46" fmla="*/ 4 w 27"/>
                  <a:gd name="T47" fmla="*/ 1 h 8"/>
                  <a:gd name="T48" fmla="*/ 0 w 27"/>
                  <a:gd name="T4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" h="8">
                    <a:moveTo>
                      <a:pt x="24" y="6"/>
                    </a:moveTo>
                    <a:lnTo>
                      <a:pt x="24" y="7"/>
                    </a:lnTo>
                    <a:lnTo>
                      <a:pt x="26" y="8"/>
                    </a:lnTo>
                    <a:lnTo>
                      <a:pt x="27" y="6"/>
                    </a:lnTo>
                    <a:lnTo>
                      <a:pt x="24" y="6"/>
                    </a:lnTo>
                    <a:moveTo>
                      <a:pt x="18" y="4"/>
                    </a:moveTo>
                    <a:lnTo>
                      <a:pt x="18" y="6"/>
                    </a:lnTo>
                    <a:lnTo>
                      <a:pt x="21" y="6"/>
                    </a:lnTo>
                    <a:lnTo>
                      <a:pt x="21" y="5"/>
                    </a:lnTo>
                    <a:lnTo>
                      <a:pt x="18" y="4"/>
                    </a:lnTo>
                    <a:moveTo>
                      <a:pt x="13" y="3"/>
                    </a:moveTo>
                    <a:lnTo>
                      <a:pt x="12" y="4"/>
                    </a:lnTo>
                    <a:lnTo>
                      <a:pt x="15" y="5"/>
                    </a:lnTo>
                    <a:lnTo>
                      <a:pt x="15" y="3"/>
                    </a:lnTo>
                    <a:lnTo>
                      <a:pt x="13" y="3"/>
                    </a:lnTo>
                    <a:moveTo>
                      <a:pt x="7" y="2"/>
                    </a:moveTo>
                    <a:lnTo>
                      <a:pt x="7" y="3"/>
                    </a:lnTo>
                    <a:lnTo>
                      <a:pt x="9" y="4"/>
                    </a:lnTo>
                    <a:lnTo>
                      <a:pt x="10" y="2"/>
                    </a:lnTo>
                    <a:lnTo>
                      <a:pt x="7" y="2"/>
                    </a:lnTo>
                    <a:moveTo>
                      <a:pt x="0" y="0"/>
                    </a:moveTo>
                    <a:lnTo>
                      <a:pt x="0" y="1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2" name="Rectangle 311">
                <a:extLst>
                  <a:ext uri="{FF2B5EF4-FFF2-40B4-BE49-F238E27FC236}">
                    <a16:creationId xmlns:a16="http://schemas.microsoft.com/office/drawing/2014/main" id="{9AD7DE13-AAFE-4369-97FD-05FE5D5484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3" name="Rectangle 312">
                <a:extLst>
                  <a:ext uri="{FF2B5EF4-FFF2-40B4-BE49-F238E27FC236}">
                    <a16:creationId xmlns:a16="http://schemas.microsoft.com/office/drawing/2014/main" id="{E16D78B7-27DA-4CF0-AB57-CE645A0478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4" name="Freeform 313">
                <a:extLst>
                  <a:ext uri="{FF2B5EF4-FFF2-40B4-BE49-F238E27FC236}">
                    <a16:creationId xmlns:a16="http://schemas.microsoft.com/office/drawing/2014/main" id="{0E19076A-7656-4EE8-B50C-E5DC6D5129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4" y="2224"/>
                <a:ext cx="18" cy="5"/>
              </a:xfrm>
              <a:custGeom>
                <a:avLst/>
                <a:gdLst>
                  <a:gd name="T0" fmla="*/ 11 w 32"/>
                  <a:gd name="T1" fmla="*/ 3 h 10"/>
                  <a:gd name="T2" fmla="*/ 11 w 32"/>
                  <a:gd name="T3" fmla="*/ 5 h 10"/>
                  <a:gd name="T4" fmla="*/ 29 w 32"/>
                  <a:gd name="T5" fmla="*/ 10 h 10"/>
                  <a:gd name="T6" fmla="*/ 32 w 32"/>
                  <a:gd name="T7" fmla="*/ 7 h 10"/>
                  <a:gd name="T8" fmla="*/ 11 w 32"/>
                  <a:gd name="T9" fmla="*/ 3 h 10"/>
                  <a:gd name="T10" fmla="*/ 1 w 32"/>
                  <a:gd name="T11" fmla="*/ 0 h 10"/>
                  <a:gd name="T12" fmla="*/ 0 w 32"/>
                  <a:gd name="T13" fmla="*/ 3 h 10"/>
                  <a:gd name="T14" fmla="*/ 5 w 32"/>
                  <a:gd name="T15" fmla="*/ 4 h 10"/>
                  <a:gd name="T16" fmla="*/ 6 w 32"/>
                  <a:gd name="T17" fmla="*/ 1 h 10"/>
                  <a:gd name="T18" fmla="*/ 1 w 32"/>
                  <a:gd name="T1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10">
                    <a:moveTo>
                      <a:pt x="11" y="3"/>
                    </a:moveTo>
                    <a:cubicBezTo>
                      <a:pt x="11" y="5"/>
                      <a:pt x="11" y="5"/>
                      <a:pt x="11" y="5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9"/>
                      <a:pt x="31" y="8"/>
                      <a:pt x="32" y="7"/>
                    </a:cubicBezTo>
                    <a:cubicBezTo>
                      <a:pt x="11" y="3"/>
                      <a:pt x="11" y="3"/>
                      <a:pt x="11" y="3"/>
                    </a:cubicBezTo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5" name="Freeform 314">
                <a:extLst>
                  <a:ext uri="{FF2B5EF4-FFF2-40B4-BE49-F238E27FC236}">
                    <a16:creationId xmlns:a16="http://schemas.microsoft.com/office/drawing/2014/main" id="{0F5D374D-8AC1-4BE4-A086-993889EA1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2224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6" name="Freeform 315">
                <a:extLst>
                  <a:ext uri="{FF2B5EF4-FFF2-40B4-BE49-F238E27FC236}">
                    <a16:creationId xmlns:a16="http://schemas.microsoft.com/office/drawing/2014/main" id="{81F23A47-CC08-48D4-9BA2-AD20C80D5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2224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7" name="Freeform 316">
                <a:extLst>
                  <a:ext uri="{FF2B5EF4-FFF2-40B4-BE49-F238E27FC236}">
                    <a16:creationId xmlns:a16="http://schemas.microsoft.com/office/drawing/2014/main" id="{D46FC136-779D-41A1-9D55-5FDB87B0D5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1" y="2223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8" name="Freeform 317">
                <a:extLst>
                  <a:ext uri="{FF2B5EF4-FFF2-40B4-BE49-F238E27FC236}">
                    <a16:creationId xmlns:a16="http://schemas.microsoft.com/office/drawing/2014/main" id="{B5AA8F1A-8521-4D58-BC9C-E09B9EDDF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1" y="2223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9" name="Freeform 318">
                <a:extLst>
                  <a:ext uri="{FF2B5EF4-FFF2-40B4-BE49-F238E27FC236}">
                    <a16:creationId xmlns:a16="http://schemas.microsoft.com/office/drawing/2014/main" id="{76BE28C4-C918-4584-8495-E44E006D75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222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0" name="Freeform 319">
                <a:extLst>
                  <a:ext uri="{FF2B5EF4-FFF2-40B4-BE49-F238E27FC236}">
                    <a16:creationId xmlns:a16="http://schemas.microsoft.com/office/drawing/2014/main" id="{6548F4B1-5804-4316-9AE1-6E0A09DD6C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222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1" name="Freeform 320">
                <a:extLst>
                  <a:ext uri="{FF2B5EF4-FFF2-40B4-BE49-F238E27FC236}">
                    <a16:creationId xmlns:a16="http://schemas.microsoft.com/office/drawing/2014/main" id="{6697C27F-E433-44EC-9B30-1E9A525F7E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220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2 h 3"/>
                  <a:gd name="T4" fmla="*/ 3 w 3"/>
                  <a:gd name="T5" fmla="*/ 3 h 3"/>
                  <a:gd name="T6" fmla="*/ 3 w 3"/>
                  <a:gd name="T7" fmla="*/ 1 h 3"/>
                  <a:gd name="T8" fmla="*/ 0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2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2" name="Freeform 321">
                <a:extLst>
                  <a:ext uri="{FF2B5EF4-FFF2-40B4-BE49-F238E27FC236}">
                    <a16:creationId xmlns:a16="http://schemas.microsoft.com/office/drawing/2014/main" id="{F57788D8-1228-4FC8-9AB3-9CAB96A401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220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2 h 3"/>
                  <a:gd name="T4" fmla="*/ 3 w 3"/>
                  <a:gd name="T5" fmla="*/ 3 h 3"/>
                  <a:gd name="T6" fmla="*/ 3 w 3"/>
                  <a:gd name="T7" fmla="*/ 1 h 3"/>
                  <a:gd name="T8" fmla="*/ 0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2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3" name="Freeform 322">
                <a:extLst>
                  <a:ext uri="{FF2B5EF4-FFF2-40B4-BE49-F238E27FC236}">
                    <a16:creationId xmlns:a16="http://schemas.microsoft.com/office/drawing/2014/main" id="{D9B31C0A-69E9-43C9-ACA5-51FA9C524A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" y="2219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4" name="Freeform 323">
                <a:extLst>
                  <a:ext uri="{FF2B5EF4-FFF2-40B4-BE49-F238E27FC236}">
                    <a16:creationId xmlns:a16="http://schemas.microsoft.com/office/drawing/2014/main" id="{3691F7EC-B6B3-459C-AB5B-594B9A6C9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" y="2219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5" name="Freeform 324">
                <a:extLst>
                  <a:ext uri="{FF2B5EF4-FFF2-40B4-BE49-F238E27FC236}">
                    <a16:creationId xmlns:a16="http://schemas.microsoft.com/office/drawing/2014/main" id="{EFEBAD90-2B2E-489A-AA49-07C0D7568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9" y="2218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6" name="Freeform 325">
                <a:extLst>
                  <a:ext uri="{FF2B5EF4-FFF2-40B4-BE49-F238E27FC236}">
                    <a16:creationId xmlns:a16="http://schemas.microsoft.com/office/drawing/2014/main" id="{06A543B3-7B01-41BE-B670-A93CF0D15C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9" y="2218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7" name="Freeform 326">
                <a:extLst>
                  <a:ext uri="{FF2B5EF4-FFF2-40B4-BE49-F238E27FC236}">
                    <a16:creationId xmlns:a16="http://schemas.microsoft.com/office/drawing/2014/main" id="{DC857BAD-B7EF-4914-A165-A6D9BF742B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0" y="2191"/>
                <a:ext cx="69" cy="37"/>
              </a:xfrm>
              <a:custGeom>
                <a:avLst/>
                <a:gdLst>
                  <a:gd name="T0" fmla="*/ 2 w 127"/>
                  <a:gd name="T1" fmla="*/ 28 h 67"/>
                  <a:gd name="T2" fmla="*/ 6 w 127"/>
                  <a:gd name="T3" fmla="*/ 11 h 67"/>
                  <a:gd name="T4" fmla="*/ 20 w 127"/>
                  <a:gd name="T5" fmla="*/ 2 h 67"/>
                  <a:gd name="T6" fmla="*/ 127 w 127"/>
                  <a:gd name="T7" fmla="*/ 26 h 67"/>
                  <a:gd name="T8" fmla="*/ 117 w 127"/>
                  <a:gd name="T9" fmla="*/ 67 h 67"/>
                  <a:gd name="T10" fmla="*/ 11 w 127"/>
                  <a:gd name="T11" fmla="*/ 43 h 67"/>
                  <a:gd name="T12" fmla="*/ 2 w 127"/>
                  <a:gd name="T13" fmla="*/ 2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67">
                    <a:moveTo>
                      <a:pt x="2" y="28"/>
                    </a:moveTo>
                    <a:cubicBezTo>
                      <a:pt x="6" y="11"/>
                      <a:pt x="6" y="11"/>
                      <a:pt x="6" y="11"/>
                    </a:cubicBezTo>
                    <a:cubicBezTo>
                      <a:pt x="7" y="4"/>
                      <a:pt x="14" y="0"/>
                      <a:pt x="20" y="2"/>
                    </a:cubicBezTo>
                    <a:cubicBezTo>
                      <a:pt x="127" y="26"/>
                      <a:pt x="127" y="26"/>
                      <a:pt x="127" y="26"/>
                    </a:cubicBezTo>
                    <a:cubicBezTo>
                      <a:pt x="117" y="67"/>
                      <a:pt x="117" y="67"/>
                      <a:pt x="117" y="67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4" y="41"/>
                      <a:pt x="0" y="35"/>
                      <a:pt x="2" y="28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8" name="Freeform 327">
                <a:extLst>
                  <a:ext uri="{FF2B5EF4-FFF2-40B4-BE49-F238E27FC236}">
                    <a16:creationId xmlns:a16="http://schemas.microsoft.com/office/drawing/2014/main" id="{46CC2F71-F3D1-4BA3-8BB9-D25AA38881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1" y="2229"/>
                <a:ext cx="1" cy="3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0 w 2"/>
                  <a:gd name="T5" fmla="*/ 5 h 5"/>
                  <a:gd name="T6" fmla="*/ 0 w 2"/>
                  <a:gd name="T7" fmla="*/ 5 h 5"/>
                  <a:gd name="T8" fmla="*/ 0 w 2"/>
                  <a:gd name="T9" fmla="*/ 5 h 5"/>
                  <a:gd name="T10" fmla="*/ 0 w 2"/>
                  <a:gd name="T11" fmla="*/ 5 h 5"/>
                  <a:gd name="T12" fmla="*/ 0 w 2"/>
                  <a:gd name="T13" fmla="*/ 5 h 5"/>
                  <a:gd name="T14" fmla="*/ 0 w 2"/>
                  <a:gd name="T15" fmla="*/ 5 h 5"/>
                  <a:gd name="T16" fmla="*/ 0 w 2"/>
                  <a:gd name="T17" fmla="*/ 5 h 5"/>
                  <a:gd name="T18" fmla="*/ 0 w 2"/>
                  <a:gd name="T19" fmla="*/ 5 h 5"/>
                  <a:gd name="T20" fmla="*/ 0 w 2"/>
                  <a:gd name="T21" fmla="*/ 5 h 5"/>
                  <a:gd name="T22" fmla="*/ 0 w 2"/>
                  <a:gd name="T23" fmla="*/ 5 h 5"/>
                  <a:gd name="T24" fmla="*/ 1 w 2"/>
                  <a:gd name="T25" fmla="*/ 4 h 5"/>
                  <a:gd name="T26" fmla="*/ 0 w 2"/>
                  <a:gd name="T27" fmla="*/ 4 h 5"/>
                  <a:gd name="T28" fmla="*/ 1 w 2"/>
                  <a:gd name="T29" fmla="*/ 4 h 5"/>
                  <a:gd name="T30" fmla="*/ 1 w 2"/>
                  <a:gd name="T31" fmla="*/ 4 h 5"/>
                  <a:gd name="T32" fmla="*/ 1 w 2"/>
                  <a:gd name="T33" fmla="*/ 4 h 5"/>
                  <a:gd name="T34" fmla="*/ 1 w 2"/>
                  <a:gd name="T35" fmla="*/ 4 h 5"/>
                  <a:gd name="T36" fmla="*/ 1 w 2"/>
                  <a:gd name="T37" fmla="*/ 4 h 5"/>
                  <a:gd name="T38" fmla="*/ 1 w 2"/>
                  <a:gd name="T39" fmla="*/ 4 h 5"/>
                  <a:gd name="T40" fmla="*/ 1 w 2"/>
                  <a:gd name="T41" fmla="*/ 4 h 5"/>
                  <a:gd name="T42" fmla="*/ 1 w 2"/>
                  <a:gd name="T43" fmla="*/ 4 h 5"/>
                  <a:gd name="T44" fmla="*/ 1 w 2"/>
                  <a:gd name="T45" fmla="*/ 4 h 5"/>
                  <a:gd name="T46" fmla="*/ 1 w 2"/>
                  <a:gd name="T47" fmla="*/ 4 h 5"/>
                  <a:gd name="T48" fmla="*/ 1 w 2"/>
                  <a:gd name="T49" fmla="*/ 4 h 5"/>
                  <a:gd name="T50" fmla="*/ 1 w 2"/>
                  <a:gd name="T51" fmla="*/ 4 h 5"/>
                  <a:gd name="T52" fmla="*/ 1 w 2"/>
                  <a:gd name="T53" fmla="*/ 4 h 5"/>
                  <a:gd name="T54" fmla="*/ 1 w 2"/>
                  <a:gd name="T55" fmla="*/ 4 h 5"/>
                  <a:gd name="T56" fmla="*/ 1 w 2"/>
                  <a:gd name="T57" fmla="*/ 4 h 5"/>
                  <a:gd name="T58" fmla="*/ 1 w 2"/>
                  <a:gd name="T59" fmla="*/ 4 h 5"/>
                  <a:gd name="T60" fmla="*/ 1 w 2"/>
                  <a:gd name="T61" fmla="*/ 3 h 5"/>
                  <a:gd name="T62" fmla="*/ 1 w 2"/>
                  <a:gd name="T63" fmla="*/ 4 h 5"/>
                  <a:gd name="T64" fmla="*/ 1 w 2"/>
                  <a:gd name="T65" fmla="*/ 3 h 5"/>
                  <a:gd name="T66" fmla="*/ 1 w 2"/>
                  <a:gd name="T67" fmla="*/ 3 h 5"/>
                  <a:gd name="T68" fmla="*/ 1 w 2"/>
                  <a:gd name="T69" fmla="*/ 3 h 5"/>
                  <a:gd name="T70" fmla="*/ 1 w 2"/>
                  <a:gd name="T71" fmla="*/ 3 h 5"/>
                  <a:gd name="T72" fmla="*/ 1 w 2"/>
                  <a:gd name="T73" fmla="*/ 3 h 5"/>
                  <a:gd name="T74" fmla="*/ 1 w 2"/>
                  <a:gd name="T75" fmla="*/ 3 h 5"/>
                  <a:gd name="T76" fmla="*/ 1 w 2"/>
                  <a:gd name="T77" fmla="*/ 3 h 5"/>
                  <a:gd name="T78" fmla="*/ 1 w 2"/>
                  <a:gd name="T79" fmla="*/ 2 h 5"/>
                  <a:gd name="T80" fmla="*/ 1 w 2"/>
                  <a:gd name="T81" fmla="*/ 3 h 5"/>
                  <a:gd name="T82" fmla="*/ 1 w 2"/>
                  <a:gd name="T83" fmla="*/ 2 h 5"/>
                  <a:gd name="T84" fmla="*/ 1 w 2"/>
                  <a:gd name="T85" fmla="*/ 2 h 5"/>
                  <a:gd name="T86" fmla="*/ 1 w 2"/>
                  <a:gd name="T87" fmla="*/ 2 h 5"/>
                  <a:gd name="T88" fmla="*/ 1 w 2"/>
                  <a:gd name="T89" fmla="*/ 2 h 5"/>
                  <a:gd name="T90" fmla="*/ 2 w 2"/>
                  <a:gd name="T91" fmla="*/ 2 h 5"/>
                  <a:gd name="T92" fmla="*/ 2 w 2"/>
                  <a:gd name="T93" fmla="*/ 2 h 5"/>
                  <a:gd name="T94" fmla="*/ 2 w 2"/>
                  <a:gd name="T95" fmla="*/ 2 h 5"/>
                  <a:gd name="T96" fmla="*/ 2 w 2"/>
                  <a:gd name="T97" fmla="*/ 1 h 5"/>
                  <a:gd name="T98" fmla="*/ 2 w 2"/>
                  <a:gd name="T99" fmla="*/ 1 h 5"/>
                  <a:gd name="T100" fmla="*/ 2 w 2"/>
                  <a:gd name="T101" fmla="*/ 1 h 5"/>
                  <a:gd name="T102" fmla="*/ 2 w 2"/>
                  <a:gd name="T103" fmla="*/ 1 h 5"/>
                  <a:gd name="T104" fmla="*/ 2 w 2"/>
                  <a:gd name="T105" fmla="*/ 1 h 5"/>
                  <a:gd name="T106" fmla="*/ 2 w 2"/>
                  <a:gd name="T107" fmla="*/ 1 h 5"/>
                  <a:gd name="T108" fmla="*/ 2 w 2"/>
                  <a:gd name="T109" fmla="*/ 0 h 5"/>
                  <a:gd name="T110" fmla="*/ 2 w 2"/>
                  <a:gd name="T111" fmla="*/ 1 h 5"/>
                  <a:gd name="T112" fmla="*/ 2 w 2"/>
                  <a:gd name="T113" fmla="*/ 0 h 5"/>
                  <a:gd name="T114" fmla="*/ 2 w 2"/>
                  <a:gd name="T1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1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3"/>
                    </a:moveTo>
                    <a:cubicBezTo>
                      <a:pt x="1" y="3"/>
                      <a:pt x="1" y="4"/>
                      <a:pt x="1" y="4"/>
                    </a:cubicBezTo>
                    <a:cubicBezTo>
                      <a:pt x="1" y="4"/>
                      <a:pt x="1" y="3"/>
                      <a:pt x="1" y="3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2"/>
                      <a:pt x="1" y="2"/>
                    </a:cubicBezTo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moveTo>
                      <a:pt x="2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moveTo>
                      <a:pt x="2" y="0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9" name="Freeform 328">
                <a:extLst>
                  <a:ext uri="{FF2B5EF4-FFF2-40B4-BE49-F238E27FC236}">
                    <a16:creationId xmlns:a16="http://schemas.microsoft.com/office/drawing/2014/main" id="{FDE0045B-5F4A-41EC-8206-2957640CB2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2" y="2222"/>
                <a:ext cx="50" cy="14"/>
              </a:xfrm>
              <a:custGeom>
                <a:avLst/>
                <a:gdLst>
                  <a:gd name="T0" fmla="*/ 55 w 90"/>
                  <a:gd name="T1" fmla="*/ 21 h 25"/>
                  <a:gd name="T2" fmla="*/ 62 w 90"/>
                  <a:gd name="T3" fmla="*/ 14 h 25"/>
                  <a:gd name="T4" fmla="*/ 87 w 90"/>
                  <a:gd name="T5" fmla="*/ 13 h 25"/>
                  <a:gd name="T6" fmla="*/ 70 w 90"/>
                  <a:gd name="T7" fmla="*/ 16 h 25"/>
                  <a:gd name="T8" fmla="*/ 65 w 90"/>
                  <a:gd name="T9" fmla="*/ 24 h 25"/>
                  <a:gd name="T10" fmla="*/ 73 w 90"/>
                  <a:gd name="T11" fmla="*/ 25 h 25"/>
                  <a:gd name="T12" fmla="*/ 88 w 90"/>
                  <a:gd name="T13" fmla="*/ 18 h 25"/>
                  <a:gd name="T14" fmla="*/ 88 w 90"/>
                  <a:gd name="T15" fmla="*/ 18 h 25"/>
                  <a:gd name="T16" fmla="*/ 88 w 90"/>
                  <a:gd name="T17" fmla="*/ 18 h 25"/>
                  <a:gd name="T18" fmla="*/ 88 w 90"/>
                  <a:gd name="T19" fmla="*/ 18 h 25"/>
                  <a:gd name="T20" fmla="*/ 89 w 90"/>
                  <a:gd name="T21" fmla="*/ 17 h 25"/>
                  <a:gd name="T22" fmla="*/ 89 w 90"/>
                  <a:gd name="T23" fmla="*/ 17 h 25"/>
                  <a:gd name="T24" fmla="*/ 89 w 90"/>
                  <a:gd name="T25" fmla="*/ 17 h 25"/>
                  <a:gd name="T26" fmla="*/ 89 w 90"/>
                  <a:gd name="T27" fmla="*/ 17 h 25"/>
                  <a:gd name="T28" fmla="*/ 89 w 90"/>
                  <a:gd name="T29" fmla="*/ 17 h 25"/>
                  <a:gd name="T30" fmla="*/ 89 w 90"/>
                  <a:gd name="T31" fmla="*/ 17 h 25"/>
                  <a:gd name="T32" fmla="*/ 89 w 90"/>
                  <a:gd name="T33" fmla="*/ 16 h 25"/>
                  <a:gd name="T34" fmla="*/ 89 w 90"/>
                  <a:gd name="T35" fmla="*/ 16 h 25"/>
                  <a:gd name="T36" fmla="*/ 89 w 90"/>
                  <a:gd name="T37" fmla="*/ 16 h 25"/>
                  <a:gd name="T38" fmla="*/ 89 w 90"/>
                  <a:gd name="T39" fmla="*/ 15 h 25"/>
                  <a:gd name="T40" fmla="*/ 89 w 90"/>
                  <a:gd name="T41" fmla="*/ 15 h 25"/>
                  <a:gd name="T42" fmla="*/ 90 w 90"/>
                  <a:gd name="T43" fmla="*/ 15 h 25"/>
                  <a:gd name="T44" fmla="*/ 90 w 90"/>
                  <a:gd name="T45" fmla="*/ 14 h 25"/>
                  <a:gd name="T46" fmla="*/ 90 w 90"/>
                  <a:gd name="T47" fmla="*/ 14 h 25"/>
                  <a:gd name="T48" fmla="*/ 90 w 90"/>
                  <a:gd name="T49" fmla="*/ 13 h 25"/>
                  <a:gd name="T50" fmla="*/ 46 w 90"/>
                  <a:gd name="T51" fmla="*/ 11 h 25"/>
                  <a:gd name="T52" fmla="*/ 49 w 90"/>
                  <a:gd name="T53" fmla="*/ 20 h 25"/>
                  <a:gd name="T54" fmla="*/ 46 w 90"/>
                  <a:gd name="T55" fmla="*/ 11 h 25"/>
                  <a:gd name="T56" fmla="*/ 34 w 90"/>
                  <a:gd name="T57" fmla="*/ 17 h 25"/>
                  <a:gd name="T58" fmla="*/ 39 w 90"/>
                  <a:gd name="T59" fmla="*/ 18 h 25"/>
                  <a:gd name="T60" fmla="*/ 36 w 90"/>
                  <a:gd name="T61" fmla="*/ 8 h 25"/>
                  <a:gd name="T62" fmla="*/ 24 w 90"/>
                  <a:gd name="T63" fmla="*/ 14 h 25"/>
                  <a:gd name="T64" fmla="*/ 31 w 90"/>
                  <a:gd name="T65" fmla="*/ 7 h 25"/>
                  <a:gd name="T66" fmla="*/ 15 w 90"/>
                  <a:gd name="T67" fmla="*/ 3 h 25"/>
                  <a:gd name="T68" fmla="*/ 18 w 90"/>
                  <a:gd name="T69" fmla="*/ 13 h 25"/>
                  <a:gd name="T70" fmla="*/ 15 w 90"/>
                  <a:gd name="T71" fmla="*/ 3 h 25"/>
                  <a:gd name="T72" fmla="*/ 0 w 90"/>
                  <a:gd name="T73" fmla="*/ 9 h 25"/>
                  <a:gd name="T74" fmla="*/ 8 w 90"/>
                  <a:gd name="T75" fmla="*/ 11 h 25"/>
                  <a:gd name="T76" fmla="*/ 2 w 90"/>
                  <a:gd name="T7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0" h="25">
                    <a:moveTo>
                      <a:pt x="57" y="13"/>
                    </a:moveTo>
                    <a:cubicBezTo>
                      <a:pt x="55" y="21"/>
                      <a:pt x="55" y="21"/>
                      <a:pt x="55" y="21"/>
                    </a:cubicBezTo>
                    <a:cubicBezTo>
                      <a:pt x="60" y="22"/>
                      <a:pt x="60" y="22"/>
                      <a:pt x="60" y="22"/>
                    </a:cubicBezTo>
                    <a:cubicBezTo>
                      <a:pt x="62" y="14"/>
                      <a:pt x="62" y="14"/>
                      <a:pt x="62" y="14"/>
                    </a:cubicBezTo>
                    <a:cubicBezTo>
                      <a:pt x="57" y="13"/>
                      <a:pt x="57" y="13"/>
                      <a:pt x="57" y="13"/>
                    </a:cubicBezTo>
                    <a:moveTo>
                      <a:pt x="87" y="13"/>
                    </a:moveTo>
                    <a:cubicBezTo>
                      <a:pt x="84" y="15"/>
                      <a:pt x="80" y="17"/>
                      <a:pt x="75" y="17"/>
                    </a:cubicBezTo>
                    <a:cubicBezTo>
                      <a:pt x="73" y="17"/>
                      <a:pt x="72" y="16"/>
                      <a:pt x="70" y="16"/>
                    </a:cubicBezTo>
                    <a:cubicBezTo>
                      <a:pt x="67" y="15"/>
                      <a:pt x="67" y="15"/>
                      <a:pt x="67" y="15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70" y="25"/>
                      <a:pt x="71" y="25"/>
                      <a:pt x="73" y="25"/>
                    </a:cubicBezTo>
                    <a:cubicBezTo>
                      <a:pt x="80" y="25"/>
                      <a:pt x="85" y="22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7"/>
                      <a:pt x="88" y="17"/>
                      <a:pt x="88" y="17"/>
                    </a:cubicBezTo>
                    <a:cubicBezTo>
                      <a:pt x="88" y="17"/>
                      <a:pt x="88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90" y="15"/>
                    </a:cubicBezTo>
                    <a:cubicBezTo>
                      <a:pt x="90" y="15"/>
                      <a:pt x="90" y="15"/>
                      <a:pt x="90" y="15"/>
                    </a:cubicBezTo>
                    <a:cubicBezTo>
                      <a:pt x="90" y="15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3"/>
                      <a:pt x="90" y="13"/>
                      <a:pt x="90" y="13"/>
                    </a:cubicBezTo>
                    <a:cubicBezTo>
                      <a:pt x="87" y="13"/>
                      <a:pt x="87" y="13"/>
                      <a:pt x="87" y="13"/>
                    </a:cubicBezTo>
                    <a:moveTo>
                      <a:pt x="46" y="11"/>
                    </a:moveTo>
                    <a:cubicBezTo>
                      <a:pt x="45" y="19"/>
                      <a:pt x="45" y="19"/>
                      <a:pt x="45" y="19"/>
                    </a:cubicBezTo>
                    <a:cubicBezTo>
                      <a:pt x="49" y="20"/>
                      <a:pt x="49" y="20"/>
                      <a:pt x="49" y="20"/>
                    </a:cubicBezTo>
                    <a:cubicBezTo>
                      <a:pt x="51" y="12"/>
                      <a:pt x="51" y="12"/>
                      <a:pt x="51" y="12"/>
                    </a:cubicBezTo>
                    <a:cubicBezTo>
                      <a:pt x="46" y="11"/>
                      <a:pt x="46" y="11"/>
                      <a:pt x="46" y="11"/>
                    </a:cubicBezTo>
                    <a:moveTo>
                      <a:pt x="36" y="8"/>
                    </a:moveTo>
                    <a:cubicBezTo>
                      <a:pt x="34" y="17"/>
                      <a:pt x="34" y="17"/>
                      <a:pt x="34" y="17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36" y="8"/>
                      <a:pt x="36" y="8"/>
                      <a:pt x="36" y="8"/>
                    </a:cubicBezTo>
                    <a:moveTo>
                      <a:pt x="26" y="6"/>
                    </a:moveTo>
                    <a:cubicBezTo>
                      <a:pt x="24" y="14"/>
                      <a:pt x="24" y="14"/>
                      <a:pt x="24" y="14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6" y="6"/>
                      <a:pt x="26" y="6"/>
                      <a:pt x="26" y="6"/>
                    </a:cubicBezTo>
                    <a:moveTo>
                      <a:pt x="15" y="3"/>
                    </a:moveTo>
                    <a:cubicBezTo>
                      <a:pt x="13" y="12"/>
                      <a:pt x="13" y="12"/>
                      <a:pt x="13" y="12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15" y="3"/>
                      <a:pt x="15" y="3"/>
                      <a:pt x="15" y="3"/>
                    </a:cubicBezTo>
                    <a:moveTo>
                      <a:pt x="2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0" name="Freeform 329">
                <a:extLst>
                  <a:ext uri="{FF2B5EF4-FFF2-40B4-BE49-F238E27FC236}">
                    <a16:creationId xmlns:a16="http://schemas.microsoft.com/office/drawing/2014/main" id="{21C40211-3DF2-4900-B294-5FC56038D0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230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3 w 4"/>
                  <a:gd name="T5" fmla="*/ 5 h 5"/>
                  <a:gd name="T6" fmla="*/ 4 w 4"/>
                  <a:gd name="T7" fmla="*/ 0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1" name="Freeform 330">
                <a:extLst>
                  <a:ext uri="{FF2B5EF4-FFF2-40B4-BE49-F238E27FC236}">
                    <a16:creationId xmlns:a16="http://schemas.microsoft.com/office/drawing/2014/main" id="{84EF45CB-FA20-423D-90C9-6D206FB469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230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3 w 4"/>
                  <a:gd name="T5" fmla="*/ 5 h 5"/>
                  <a:gd name="T6" fmla="*/ 4 w 4"/>
                  <a:gd name="T7" fmla="*/ 0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2" name="Freeform 331">
                <a:extLst>
                  <a:ext uri="{FF2B5EF4-FFF2-40B4-BE49-F238E27FC236}">
                    <a16:creationId xmlns:a16="http://schemas.microsoft.com/office/drawing/2014/main" id="{03FC9952-746E-49A8-B733-CF602BB6E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229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3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3" name="Freeform 332">
                <a:extLst>
                  <a:ext uri="{FF2B5EF4-FFF2-40B4-BE49-F238E27FC236}">
                    <a16:creationId xmlns:a16="http://schemas.microsoft.com/office/drawing/2014/main" id="{3D573F7C-4178-4BF1-8E36-14411A4291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229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3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5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4" name="Freeform 333">
                <a:extLst>
                  <a:ext uri="{FF2B5EF4-FFF2-40B4-BE49-F238E27FC236}">
                    <a16:creationId xmlns:a16="http://schemas.microsoft.com/office/drawing/2014/main" id="{F5765AE4-2359-4CFF-A084-003A85E242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227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5 h 5"/>
                  <a:gd name="T4" fmla="*/ 3 w 4"/>
                  <a:gd name="T5" fmla="*/ 5 h 5"/>
                  <a:gd name="T6" fmla="*/ 4 w 4"/>
                  <a:gd name="T7" fmla="*/ 1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5"/>
                    </a:lnTo>
                    <a:lnTo>
                      <a:pt x="3" y="5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5" name="Freeform 334">
                <a:extLst>
                  <a:ext uri="{FF2B5EF4-FFF2-40B4-BE49-F238E27FC236}">
                    <a16:creationId xmlns:a16="http://schemas.microsoft.com/office/drawing/2014/main" id="{99A1B14B-E957-4900-AA63-4B65096A4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227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5 h 5"/>
                  <a:gd name="T4" fmla="*/ 3 w 4"/>
                  <a:gd name="T5" fmla="*/ 5 h 5"/>
                  <a:gd name="T6" fmla="*/ 4 w 4"/>
                  <a:gd name="T7" fmla="*/ 1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5"/>
                    </a:lnTo>
                    <a:lnTo>
                      <a:pt x="3" y="5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6" name="Freeform 335">
                <a:extLst>
                  <a:ext uri="{FF2B5EF4-FFF2-40B4-BE49-F238E27FC236}">
                    <a16:creationId xmlns:a16="http://schemas.microsoft.com/office/drawing/2014/main" id="{0FF797DB-6F86-476D-8B85-9EB86E6F0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226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1 w 4"/>
                  <a:gd name="T5" fmla="*/ 5 h 5"/>
                  <a:gd name="T6" fmla="*/ 3 w 4"/>
                  <a:gd name="T7" fmla="*/ 5 h 5"/>
                  <a:gd name="T8" fmla="*/ 4 w 4"/>
                  <a:gd name="T9" fmla="*/ 0 h 5"/>
                  <a:gd name="T10" fmla="*/ 1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7" name="Freeform 336">
                <a:extLst>
                  <a:ext uri="{FF2B5EF4-FFF2-40B4-BE49-F238E27FC236}">
                    <a16:creationId xmlns:a16="http://schemas.microsoft.com/office/drawing/2014/main" id="{26FB6D40-410D-4E60-AB29-3E9A9A367E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226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1 w 4"/>
                  <a:gd name="T5" fmla="*/ 5 h 5"/>
                  <a:gd name="T6" fmla="*/ 3 w 4"/>
                  <a:gd name="T7" fmla="*/ 5 h 5"/>
                  <a:gd name="T8" fmla="*/ 4 w 4"/>
                  <a:gd name="T9" fmla="*/ 0 h 5"/>
                  <a:gd name="T10" fmla="*/ 1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8" name="Freeform 337">
                <a:extLst>
                  <a:ext uri="{FF2B5EF4-FFF2-40B4-BE49-F238E27FC236}">
                    <a16:creationId xmlns:a16="http://schemas.microsoft.com/office/drawing/2014/main" id="{FACBE5FC-1D07-48C0-9EDC-2DBE50E98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225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4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4" y="5"/>
                    </a:lnTo>
                    <a:lnTo>
                      <a:pt x="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9" name="Freeform 338">
                <a:extLst>
                  <a:ext uri="{FF2B5EF4-FFF2-40B4-BE49-F238E27FC236}">
                    <a16:creationId xmlns:a16="http://schemas.microsoft.com/office/drawing/2014/main" id="{CF4A6D40-44DF-4F96-B013-6513621F0B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225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4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4" y="5"/>
                    </a:lnTo>
                    <a:lnTo>
                      <a:pt x="5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0" name="Freeform 339">
                <a:extLst>
                  <a:ext uri="{FF2B5EF4-FFF2-40B4-BE49-F238E27FC236}">
                    <a16:creationId xmlns:a16="http://schemas.microsoft.com/office/drawing/2014/main" id="{757DF09E-3DD4-4BEF-813D-995F0C97DE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223"/>
                <a:ext cx="4" cy="6"/>
              </a:xfrm>
              <a:custGeom>
                <a:avLst/>
                <a:gdLst>
                  <a:gd name="T0" fmla="*/ 1 w 4"/>
                  <a:gd name="T1" fmla="*/ 0 h 6"/>
                  <a:gd name="T2" fmla="*/ 0 w 4"/>
                  <a:gd name="T3" fmla="*/ 5 h 6"/>
                  <a:gd name="T4" fmla="*/ 0 w 4"/>
                  <a:gd name="T5" fmla="*/ 5 h 6"/>
                  <a:gd name="T6" fmla="*/ 2 w 4"/>
                  <a:gd name="T7" fmla="*/ 6 h 6"/>
                  <a:gd name="T8" fmla="*/ 4 w 4"/>
                  <a:gd name="T9" fmla="*/ 1 h 6"/>
                  <a:gd name="T10" fmla="*/ 1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2" y="6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1" name="Freeform 340">
                <a:extLst>
                  <a:ext uri="{FF2B5EF4-FFF2-40B4-BE49-F238E27FC236}">
                    <a16:creationId xmlns:a16="http://schemas.microsoft.com/office/drawing/2014/main" id="{871A3B9E-3D28-4AEE-A16C-0B3B09715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223"/>
                <a:ext cx="4" cy="6"/>
              </a:xfrm>
              <a:custGeom>
                <a:avLst/>
                <a:gdLst>
                  <a:gd name="T0" fmla="*/ 1 w 4"/>
                  <a:gd name="T1" fmla="*/ 0 h 6"/>
                  <a:gd name="T2" fmla="*/ 0 w 4"/>
                  <a:gd name="T3" fmla="*/ 5 h 6"/>
                  <a:gd name="T4" fmla="*/ 0 w 4"/>
                  <a:gd name="T5" fmla="*/ 5 h 6"/>
                  <a:gd name="T6" fmla="*/ 2 w 4"/>
                  <a:gd name="T7" fmla="*/ 6 h 6"/>
                  <a:gd name="T8" fmla="*/ 4 w 4"/>
                  <a:gd name="T9" fmla="*/ 1 h 6"/>
                  <a:gd name="T10" fmla="*/ 1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2" y="6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2" name="Rectangle 341">
                <a:extLst>
                  <a:ext uri="{FF2B5EF4-FFF2-40B4-BE49-F238E27FC236}">
                    <a16:creationId xmlns:a16="http://schemas.microsoft.com/office/drawing/2014/main" id="{60536545-BC3E-4D2A-9F3A-1BEEF422CF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solidFill>
                <a:srgbClr val="7862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3" name="Rectangle 342">
                <a:extLst>
                  <a:ext uri="{FF2B5EF4-FFF2-40B4-BE49-F238E27FC236}">
                    <a16:creationId xmlns:a16="http://schemas.microsoft.com/office/drawing/2014/main" id="{EB03FCEA-5C19-4BDE-B21B-1511E3A3E3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4" name="Freeform 343">
                <a:extLst>
                  <a:ext uri="{FF2B5EF4-FFF2-40B4-BE49-F238E27FC236}">
                    <a16:creationId xmlns:a16="http://schemas.microsoft.com/office/drawing/2014/main" id="{17ED124B-52DC-4AC7-8ECE-D64F1DA15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228"/>
                <a:ext cx="2" cy="1"/>
              </a:xfrm>
              <a:custGeom>
                <a:avLst/>
                <a:gdLst>
                  <a:gd name="T0" fmla="*/ 3 w 4"/>
                  <a:gd name="T1" fmla="*/ 0 h 3"/>
                  <a:gd name="T2" fmla="*/ 0 w 4"/>
                  <a:gd name="T3" fmla="*/ 3 h 3"/>
                  <a:gd name="T4" fmla="*/ 3 w 4"/>
                  <a:gd name="T5" fmla="*/ 3 h 3"/>
                  <a:gd name="T6" fmla="*/ 4 w 4"/>
                  <a:gd name="T7" fmla="*/ 0 h 3"/>
                  <a:gd name="T8" fmla="*/ 3 w 4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3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2826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5" name="Freeform 344">
                <a:extLst>
                  <a:ext uri="{FF2B5EF4-FFF2-40B4-BE49-F238E27FC236}">
                    <a16:creationId xmlns:a16="http://schemas.microsoft.com/office/drawing/2014/main" id="{1B1A09E1-7067-4370-9829-7EDFBAD324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" y="2225"/>
                <a:ext cx="1" cy="3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4 h 4"/>
                  <a:gd name="T4" fmla="*/ 1 w 2"/>
                  <a:gd name="T5" fmla="*/ 4 h 4"/>
                  <a:gd name="T6" fmla="*/ 1 w 2"/>
                  <a:gd name="T7" fmla="*/ 4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cubicBezTo>
                      <a:pt x="1" y="1"/>
                      <a:pt x="1" y="3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6" name="Freeform 345">
                <a:extLst>
                  <a:ext uri="{FF2B5EF4-FFF2-40B4-BE49-F238E27FC236}">
                    <a16:creationId xmlns:a16="http://schemas.microsoft.com/office/drawing/2014/main" id="{05E34CA3-275D-4C3F-9CCA-E4345264F8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8" y="863"/>
                <a:ext cx="397" cy="316"/>
              </a:xfrm>
              <a:custGeom>
                <a:avLst/>
                <a:gdLst>
                  <a:gd name="T0" fmla="*/ 205 w 397"/>
                  <a:gd name="T1" fmla="*/ 285 h 316"/>
                  <a:gd name="T2" fmla="*/ 164 w 397"/>
                  <a:gd name="T3" fmla="*/ 285 h 316"/>
                  <a:gd name="T4" fmla="*/ 0 w 397"/>
                  <a:gd name="T5" fmla="*/ 310 h 316"/>
                  <a:gd name="T6" fmla="*/ 1 w 397"/>
                  <a:gd name="T7" fmla="*/ 316 h 316"/>
                  <a:gd name="T8" fmla="*/ 205 w 397"/>
                  <a:gd name="T9" fmla="*/ 285 h 316"/>
                  <a:gd name="T10" fmla="*/ 379 w 397"/>
                  <a:gd name="T11" fmla="*/ 142 h 316"/>
                  <a:gd name="T12" fmla="*/ 379 w 397"/>
                  <a:gd name="T13" fmla="*/ 181 h 316"/>
                  <a:gd name="T14" fmla="*/ 390 w 397"/>
                  <a:gd name="T15" fmla="*/ 251 h 316"/>
                  <a:gd name="T16" fmla="*/ 379 w 397"/>
                  <a:gd name="T17" fmla="*/ 253 h 316"/>
                  <a:gd name="T18" fmla="*/ 379 w 397"/>
                  <a:gd name="T19" fmla="*/ 259 h 316"/>
                  <a:gd name="T20" fmla="*/ 397 w 397"/>
                  <a:gd name="T21" fmla="*/ 256 h 316"/>
                  <a:gd name="T22" fmla="*/ 379 w 397"/>
                  <a:gd name="T23" fmla="*/ 142 h 316"/>
                  <a:gd name="T24" fmla="*/ 358 w 397"/>
                  <a:gd name="T25" fmla="*/ 0 h 316"/>
                  <a:gd name="T26" fmla="*/ 352 w 397"/>
                  <a:gd name="T27" fmla="*/ 0 h 316"/>
                  <a:gd name="T28" fmla="*/ 356 w 397"/>
                  <a:gd name="T29" fmla="*/ 25 h 316"/>
                  <a:gd name="T30" fmla="*/ 362 w 397"/>
                  <a:gd name="T31" fmla="*/ 25 h 316"/>
                  <a:gd name="T32" fmla="*/ 358 w 397"/>
                  <a:gd name="T33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7" h="316">
                    <a:moveTo>
                      <a:pt x="205" y="285"/>
                    </a:moveTo>
                    <a:lnTo>
                      <a:pt x="164" y="285"/>
                    </a:lnTo>
                    <a:lnTo>
                      <a:pt x="0" y="310"/>
                    </a:lnTo>
                    <a:lnTo>
                      <a:pt x="1" y="316"/>
                    </a:lnTo>
                    <a:lnTo>
                      <a:pt x="205" y="285"/>
                    </a:lnTo>
                    <a:close/>
                    <a:moveTo>
                      <a:pt x="379" y="142"/>
                    </a:moveTo>
                    <a:lnTo>
                      <a:pt x="379" y="181"/>
                    </a:lnTo>
                    <a:lnTo>
                      <a:pt x="390" y="251"/>
                    </a:lnTo>
                    <a:lnTo>
                      <a:pt x="379" y="253"/>
                    </a:lnTo>
                    <a:lnTo>
                      <a:pt x="379" y="259"/>
                    </a:lnTo>
                    <a:lnTo>
                      <a:pt x="397" y="256"/>
                    </a:lnTo>
                    <a:lnTo>
                      <a:pt x="379" y="142"/>
                    </a:lnTo>
                    <a:close/>
                    <a:moveTo>
                      <a:pt x="358" y="0"/>
                    </a:moveTo>
                    <a:lnTo>
                      <a:pt x="352" y="0"/>
                    </a:lnTo>
                    <a:lnTo>
                      <a:pt x="356" y="25"/>
                    </a:lnTo>
                    <a:lnTo>
                      <a:pt x="362" y="25"/>
                    </a:lnTo>
                    <a:lnTo>
                      <a:pt x="358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7" name="Freeform 346">
                <a:extLst>
                  <a:ext uri="{FF2B5EF4-FFF2-40B4-BE49-F238E27FC236}">
                    <a16:creationId xmlns:a16="http://schemas.microsoft.com/office/drawing/2014/main" id="{211DC401-82E8-464C-8C3E-10BD8D2690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8" y="863"/>
                <a:ext cx="397" cy="316"/>
              </a:xfrm>
              <a:custGeom>
                <a:avLst/>
                <a:gdLst>
                  <a:gd name="T0" fmla="*/ 205 w 397"/>
                  <a:gd name="T1" fmla="*/ 285 h 316"/>
                  <a:gd name="T2" fmla="*/ 164 w 397"/>
                  <a:gd name="T3" fmla="*/ 285 h 316"/>
                  <a:gd name="T4" fmla="*/ 0 w 397"/>
                  <a:gd name="T5" fmla="*/ 310 h 316"/>
                  <a:gd name="T6" fmla="*/ 1 w 397"/>
                  <a:gd name="T7" fmla="*/ 316 h 316"/>
                  <a:gd name="T8" fmla="*/ 205 w 397"/>
                  <a:gd name="T9" fmla="*/ 285 h 316"/>
                  <a:gd name="T10" fmla="*/ 379 w 397"/>
                  <a:gd name="T11" fmla="*/ 142 h 316"/>
                  <a:gd name="T12" fmla="*/ 379 w 397"/>
                  <a:gd name="T13" fmla="*/ 181 h 316"/>
                  <a:gd name="T14" fmla="*/ 390 w 397"/>
                  <a:gd name="T15" fmla="*/ 251 h 316"/>
                  <a:gd name="T16" fmla="*/ 379 w 397"/>
                  <a:gd name="T17" fmla="*/ 253 h 316"/>
                  <a:gd name="T18" fmla="*/ 379 w 397"/>
                  <a:gd name="T19" fmla="*/ 259 h 316"/>
                  <a:gd name="T20" fmla="*/ 397 w 397"/>
                  <a:gd name="T21" fmla="*/ 256 h 316"/>
                  <a:gd name="T22" fmla="*/ 379 w 397"/>
                  <a:gd name="T23" fmla="*/ 142 h 316"/>
                  <a:gd name="T24" fmla="*/ 358 w 397"/>
                  <a:gd name="T25" fmla="*/ 0 h 316"/>
                  <a:gd name="T26" fmla="*/ 352 w 397"/>
                  <a:gd name="T27" fmla="*/ 0 h 316"/>
                  <a:gd name="T28" fmla="*/ 356 w 397"/>
                  <a:gd name="T29" fmla="*/ 25 h 316"/>
                  <a:gd name="T30" fmla="*/ 362 w 397"/>
                  <a:gd name="T31" fmla="*/ 25 h 316"/>
                  <a:gd name="T32" fmla="*/ 358 w 397"/>
                  <a:gd name="T33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7" h="316">
                    <a:moveTo>
                      <a:pt x="205" y="285"/>
                    </a:moveTo>
                    <a:lnTo>
                      <a:pt x="164" y="285"/>
                    </a:lnTo>
                    <a:lnTo>
                      <a:pt x="0" y="310"/>
                    </a:lnTo>
                    <a:lnTo>
                      <a:pt x="1" y="316"/>
                    </a:lnTo>
                    <a:lnTo>
                      <a:pt x="205" y="285"/>
                    </a:lnTo>
                    <a:moveTo>
                      <a:pt x="379" y="142"/>
                    </a:moveTo>
                    <a:lnTo>
                      <a:pt x="379" y="181"/>
                    </a:lnTo>
                    <a:lnTo>
                      <a:pt x="390" y="251"/>
                    </a:lnTo>
                    <a:lnTo>
                      <a:pt x="379" y="253"/>
                    </a:lnTo>
                    <a:lnTo>
                      <a:pt x="379" y="259"/>
                    </a:lnTo>
                    <a:lnTo>
                      <a:pt x="397" y="256"/>
                    </a:lnTo>
                    <a:lnTo>
                      <a:pt x="379" y="142"/>
                    </a:lnTo>
                    <a:moveTo>
                      <a:pt x="358" y="0"/>
                    </a:moveTo>
                    <a:lnTo>
                      <a:pt x="352" y="0"/>
                    </a:lnTo>
                    <a:lnTo>
                      <a:pt x="356" y="25"/>
                    </a:lnTo>
                    <a:lnTo>
                      <a:pt x="362" y="25"/>
                    </a:lnTo>
                    <a:lnTo>
                      <a:pt x="3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8" name="Freeform 347">
                <a:extLst>
                  <a:ext uri="{FF2B5EF4-FFF2-40B4-BE49-F238E27FC236}">
                    <a16:creationId xmlns:a16="http://schemas.microsoft.com/office/drawing/2014/main" id="{B43D8D5F-F283-4466-90DA-E186C0D946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3" y="857"/>
                <a:ext cx="435" cy="317"/>
              </a:xfrm>
              <a:custGeom>
                <a:avLst/>
                <a:gdLst>
                  <a:gd name="T0" fmla="*/ 435 w 435"/>
                  <a:gd name="T1" fmla="*/ 257 h 317"/>
                  <a:gd name="T2" fmla="*/ 39 w 435"/>
                  <a:gd name="T3" fmla="*/ 317 h 317"/>
                  <a:gd name="T4" fmla="*/ 0 w 435"/>
                  <a:gd name="T5" fmla="*/ 60 h 317"/>
                  <a:gd name="T6" fmla="*/ 396 w 435"/>
                  <a:gd name="T7" fmla="*/ 0 h 317"/>
                  <a:gd name="T8" fmla="*/ 435 w 435"/>
                  <a:gd name="T9" fmla="*/ 25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5" h="317">
                    <a:moveTo>
                      <a:pt x="435" y="257"/>
                    </a:moveTo>
                    <a:lnTo>
                      <a:pt x="39" y="317"/>
                    </a:lnTo>
                    <a:lnTo>
                      <a:pt x="0" y="60"/>
                    </a:lnTo>
                    <a:lnTo>
                      <a:pt x="396" y="0"/>
                    </a:lnTo>
                    <a:lnTo>
                      <a:pt x="435" y="257"/>
                    </a:lnTo>
                    <a:close/>
                  </a:path>
                </a:pathLst>
              </a:custGeom>
              <a:solidFill>
                <a:srgbClr val="E2DD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9" name="Freeform 348">
                <a:extLst>
                  <a:ext uri="{FF2B5EF4-FFF2-40B4-BE49-F238E27FC236}">
                    <a16:creationId xmlns:a16="http://schemas.microsoft.com/office/drawing/2014/main" id="{ADE9F6AA-1DF4-4685-9D61-5DA0738AB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3" y="857"/>
                <a:ext cx="435" cy="317"/>
              </a:xfrm>
              <a:custGeom>
                <a:avLst/>
                <a:gdLst>
                  <a:gd name="T0" fmla="*/ 435 w 435"/>
                  <a:gd name="T1" fmla="*/ 257 h 317"/>
                  <a:gd name="T2" fmla="*/ 39 w 435"/>
                  <a:gd name="T3" fmla="*/ 317 h 317"/>
                  <a:gd name="T4" fmla="*/ 0 w 435"/>
                  <a:gd name="T5" fmla="*/ 60 h 317"/>
                  <a:gd name="T6" fmla="*/ 396 w 435"/>
                  <a:gd name="T7" fmla="*/ 0 h 317"/>
                  <a:gd name="T8" fmla="*/ 435 w 435"/>
                  <a:gd name="T9" fmla="*/ 25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5" h="317">
                    <a:moveTo>
                      <a:pt x="435" y="257"/>
                    </a:moveTo>
                    <a:lnTo>
                      <a:pt x="39" y="317"/>
                    </a:lnTo>
                    <a:lnTo>
                      <a:pt x="0" y="60"/>
                    </a:lnTo>
                    <a:lnTo>
                      <a:pt x="396" y="0"/>
                    </a:lnTo>
                    <a:lnTo>
                      <a:pt x="435" y="25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0" name="Freeform 349">
                <a:extLst>
                  <a:ext uri="{FF2B5EF4-FFF2-40B4-BE49-F238E27FC236}">
                    <a16:creationId xmlns:a16="http://schemas.microsoft.com/office/drawing/2014/main" id="{EEDA03AD-1B6C-450A-82F1-3E3B1857AE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400 w 400"/>
                  <a:gd name="T1" fmla="*/ 234 h 260"/>
                  <a:gd name="T2" fmla="*/ 226 w 400"/>
                  <a:gd name="T3" fmla="*/ 260 h 260"/>
                  <a:gd name="T4" fmla="*/ 400 w 400"/>
                  <a:gd name="T5" fmla="*/ 260 h 260"/>
                  <a:gd name="T6" fmla="*/ 400 w 400"/>
                  <a:gd name="T7" fmla="*/ 234 h 260"/>
                  <a:gd name="T8" fmla="*/ 0 w 400"/>
                  <a:gd name="T9" fmla="*/ 186 h 260"/>
                  <a:gd name="T10" fmla="*/ 0 w 400"/>
                  <a:gd name="T11" fmla="*/ 260 h 260"/>
                  <a:gd name="T12" fmla="*/ 12 w 400"/>
                  <a:gd name="T13" fmla="*/ 260 h 260"/>
                  <a:gd name="T14" fmla="*/ 0 w 400"/>
                  <a:gd name="T15" fmla="*/ 186 h 260"/>
                  <a:gd name="T16" fmla="*/ 165 w 400"/>
                  <a:gd name="T17" fmla="*/ 0 h 260"/>
                  <a:gd name="T18" fmla="*/ 0 w 400"/>
                  <a:gd name="T19" fmla="*/ 0 h 260"/>
                  <a:gd name="T20" fmla="*/ 0 w 400"/>
                  <a:gd name="T21" fmla="*/ 25 h 260"/>
                  <a:gd name="T22" fmla="*/ 165 w 400"/>
                  <a:gd name="T23" fmla="*/ 0 h 260"/>
                  <a:gd name="T24" fmla="*/ 400 w 400"/>
                  <a:gd name="T25" fmla="*/ 0 h 260"/>
                  <a:gd name="T26" fmla="*/ 383 w 400"/>
                  <a:gd name="T27" fmla="*/ 0 h 260"/>
                  <a:gd name="T28" fmla="*/ 400 w 400"/>
                  <a:gd name="T29" fmla="*/ 117 h 260"/>
                  <a:gd name="T30" fmla="*/ 400 w 400"/>
                  <a:gd name="T3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0" h="260">
                    <a:moveTo>
                      <a:pt x="400" y="234"/>
                    </a:moveTo>
                    <a:lnTo>
                      <a:pt x="226" y="260"/>
                    </a:lnTo>
                    <a:lnTo>
                      <a:pt x="400" y="260"/>
                    </a:lnTo>
                    <a:lnTo>
                      <a:pt x="400" y="234"/>
                    </a:lnTo>
                    <a:close/>
                    <a:moveTo>
                      <a:pt x="0" y="186"/>
                    </a:moveTo>
                    <a:lnTo>
                      <a:pt x="0" y="260"/>
                    </a:lnTo>
                    <a:lnTo>
                      <a:pt x="12" y="260"/>
                    </a:lnTo>
                    <a:lnTo>
                      <a:pt x="0" y="186"/>
                    </a:lnTo>
                    <a:close/>
                    <a:moveTo>
                      <a:pt x="165" y="0"/>
                    </a:moveTo>
                    <a:lnTo>
                      <a:pt x="0" y="0"/>
                    </a:lnTo>
                    <a:lnTo>
                      <a:pt x="0" y="25"/>
                    </a:lnTo>
                    <a:lnTo>
                      <a:pt x="165" y="0"/>
                    </a:lnTo>
                    <a:close/>
                    <a:moveTo>
                      <a:pt x="400" y="0"/>
                    </a:moveTo>
                    <a:lnTo>
                      <a:pt x="383" y="0"/>
                    </a:lnTo>
                    <a:lnTo>
                      <a:pt x="400" y="117"/>
                    </a:lnTo>
                    <a:lnTo>
                      <a:pt x="400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1" name="Freeform 350">
                <a:extLst>
                  <a:ext uri="{FF2B5EF4-FFF2-40B4-BE49-F238E27FC236}">
                    <a16:creationId xmlns:a16="http://schemas.microsoft.com/office/drawing/2014/main" id="{94EA1242-9382-4D61-B59C-E324C0CEF9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400 w 400"/>
                  <a:gd name="T1" fmla="*/ 234 h 260"/>
                  <a:gd name="T2" fmla="*/ 226 w 400"/>
                  <a:gd name="T3" fmla="*/ 260 h 260"/>
                  <a:gd name="T4" fmla="*/ 400 w 400"/>
                  <a:gd name="T5" fmla="*/ 260 h 260"/>
                  <a:gd name="T6" fmla="*/ 400 w 400"/>
                  <a:gd name="T7" fmla="*/ 234 h 260"/>
                  <a:gd name="T8" fmla="*/ 0 w 400"/>
                  <a:gd name="T9" fmla="*/ 186 h 260"/>
                  <a:gd name="T10" fmla="*/ 0 w 400"/>
                  <a:gd name="T11" fmla="*/ 260 h 260"/>
                  <a:gd name="T12" fmla="*/ 12 w 400"/>
                  <a:gd name="T13" fmla="*/ 260 h 260"/>
                  <a:gd name="T14" fmla="*/ 0 w 400"/>
                  <a:gd name="T15" fmla="*/ 186 h 260"/>
                  <a:gd name="T16" fmla="*/ 165 w 400"/>
                  <a:gd name="T17" fmla="*/ 0 h 260"/>
                  <a:gd name="T18" fmla="*/ 0 w 400"/>
                  <a:gd name="T19" fmla="*/ 0 h 260"/>
                  <a:gd name="T20" fmla="*/ 0 w 400"/>
                  <a:gd name="T21" fmla="*/ 25 h 260"/>
                  <a:gd name="T22" fmla="*/ 165 w 400"/>
                  <a:gd name="T23" fmla="*/ 0 h 260"/>
                  <a:gd name="T24" fmla="*/ 400 w 400"/>
                  <a:gd name="T25" fmla="*/ 0 h 260"/>
                  <a:gd name="T26" fmla="*/ 383 w 400"/>
                  <a:gd name="T27" fmla="*/ 0 h 260"/>
                  <a:gd name="T28" fmla="*/ 400 w 400"/>
                  <a:gd name="T29" fmla="*/ 117 h 260"/>
                  <a:gd name="T30" fmla="*/ 400 w 400"/>
                  <a:gd name="T3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0" h="260">
                    <a:moveTo>
                      <a:pt x="400" y="234"/>
                    </a:moveTo>
                    <a:lnTo>
                      <a:pt x="226" y="260"/>
                    </a:lnTo>
                    <a:lnTo>
                      <a:pt x="400" y="260"/>
                    </a:lnTo>
                    <a:lnTo>
                      <a:pt x="400" y="234"/>
                    </a:lnTo>
                    <a:moveTo>
                      <a:pt x="0" y="186"/>
                    </a:moveTo>
                    <a:lnTo>
                      <a:pt x="0" y="260"/>
                    </a:lnTo>
                    <a:lnTo>
                      <a:pt x="12" y="260"/>
                    </a:lnTo>
                    <a:lnTo>
                      <a:pt x="0" y="186"/>
                    </a:lnTo>
                    <a:moveTo>
                      <a:pt x="165" y="0"/>
                    </a:moveTo>
                    <a:lnTo>
                      <a:pt x="0" y="0"/>
                    </a:lnTo>
                    <a:lnTo>
                      <a:pt x="0" y="25"/>
                    </a:lnTo>
                    <a:lnTo>
                      <a:pt x="165" y="0"/>
                    </a:lnTo>
                    <a:moveTo>
                      <a:pt x="400" y="0"/>
                    </a:moveTo>
                    <a:lnTo>
                      <a:pt x="383" y="0"/>
                    </a:lnTo>
                    <a:lnTo>
                      <a:pt x="400" y="117"/>
                    </a:lnTo>
                    <a:lnTo>
                      <a:pt x="40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2" name="Freeform 351">
                <a:extLst>
                  <a:ext uri="{FF2B5EF4-FFF2-40B4-BE49-F238E27FC236}">
                    <a16:creationId xmlns:a16="http://schemas.microsoft.com/office/drawing/2014/main" id="{50A2B9DA-02EA-4494-ADD1-5E28ED918D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62" y="888"/>
                <a:ext cx="215" cy="260"/>
              </a:xfrm>
              <a:custGeom>
                <a:avLst/>
                <a:gdLst>
                  <a:gd name="T0" fmla="*/ 215 w 215"/>
                  <a:gd name="T1" fmla="*/ 228 h 260"/>
                  <a:gd name="T2" fmla="*/ 0 w 215"/>
                  <a:gd name="T3" fmla="*/ 260 h 260"/>
                  <a:gd name="T4" fmla="*/ 41 w 215"/>
                  <a:gd name="T5" fmla="*/ 260 h 260"/>
                  <a:gd name="T6" fmla="*/ 215 w 215"/>
                  <a:gd name="T7" fmla="*/ 234 h 260"/>
                  <a:gd name="T8" fmla="*/ 215 w 215"/>
                  <a:gd name="T9" fmla="*/ 228 h 260"/>
                  <a:gd name="T10" fmla="*/ 198 w 215"/>
                  <a:gd name="T11" fmla="*/ 0 h 260"/>
                  <a:gd name="T12" fmla="*/ 192 w 215"/>
                  <a:gd name="T13" fmla="*/ 0 h 260"/>
                  <a:gd name="T14" fmla="*/ 215 w 215"/>
                  <a:gd name="T15" fmla="*/ 156 h 260"/>
                  <a:gd name="T16" fmla="*/ 215 w 215"/>
                  <a:gd name="T17" fmla="*/ 117 h 260"/>
                  <a:gd name="T18" fmla="*/ 198 w 215"/>
                  <a:gd name="T1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5" h="260">
                    <a:moveTo>
                      <a:pt x="215" y="228"/>
                    </a:moveTo>
                    <a:lnTo>
                      <a:pt x="0" y="260"/>
                    </a:lnTo>
                    <a:lnTo>
                      <a:pt x="41" y="260"/>
                    </a:lnTo>
                    <a:lnTo>
                      <a:pt x="215" y="234"/>
                    </a:lnTo>
                    <a:lnTo>
                      <a:pt x="215" y="228"/>
                    </a:lnTo>
                    <a:close/>
                    <a:moveTo>
                      <a:pt x="198" y="0"/>
                    </a:moveTo>
                    <a:lnTo>
                      <a:pt x="192" y="0"/>
                    </a:lnTo>
                    <a:lnTo>
                      <a:pt x="215" y="156"/>
                    </a:lnTo>
                    <a:lnTo>
                      <a:pt x="215" y="117"/>
                    </a:lnTo>
                    <a:lnTo>
                      <a:pt x="198" y="0"/>
                    </a:lnTo>
                    <a:close/>
                  </a:path>
                </a:pathLst>
              </a:custGeom>
              <a:solidFill>
                <a:srgbClr val="7862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3" name="Freeform 352">
                <a:extLst>
                  <a:ext uri="{FF2B5EF4-FFF2-40B4-BE49-F238E27FC236}">
                    <a16:creationId xmlns:a16="http://schemas.microsoft.com/office/drawing/2014/main" id="{FE8C425A-8CEB-4F94-988E-EC904B03D0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62" y="888"/>
                <a:ext cx="215" cy="260"/>
              </a:xfrm>
              <a:custGeom>
                <a:avLst/>
                <a:gdLst>
                  <a:gd name="T0" fmla="*/ 215 w 215"/>
                  <a:gd name="T1" fmla="*/ 228 h 260"/>
                  <a:gd name="T2" fmla="*/ 0 w 215"/>
                  <a:gd name="T3" fmla="*/ 260 h 260"/>
                  <a:gd name="T4" fmla="*/ 41 w 215"/>
                  <a:gd name="T5" fmla="*/ 260 h 260"/>
                  <a:gd name="T6" fmla="*/ 215 w 215"/>
                  <a:gd name="T7" fmla="*/ 234 h 260"/>
                  <a:gd name="T8" fmla="*/ 215 w 215"/>
                  <a:gd name="T9" fmla="*/ 228 h 260"/>
                  <a:gd name="T10" fmla="*/ 198 w 215"/>
                  <a:gd name="T11" fmla="*/ 0 h 260"/>
                  <a:gd name="T12" fmla="*/ 192 w 215"/>
                  <a:gd name="T13" fmla="*/ 0 h 260"/>
                  <a:gd name="T14" fmla="*/ 215 w 215"/>
                  <a:gd name="T15" fmla="*/ 156 h 260"/>
                  <a:gd name="T16" fmla="*/ 215 w 215"/>
                  <a:gd name="T17" fmla="*/ 117 h 260"/>
                  <a:gd name="T18" fmla="*/ 198 w 215"/>
                  <a:gd name="T1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5" h="260">
                    <a:moveTo>
                      <a:pt x="215" y="228"/>
                    </a:moveTo>
                    <a:lnTo>
                      <a:pt x="0" y="260"/>
                    </a:lnTo>
                    <a:lnTo>
                      <a:pt x="41" y="260"/>
                    </a:lnTo>
                    <a:lnTo>
                      <a:pt x="215" y="234"/>
                    </a:lnTo>
                    <a:lnTo>
                      <a:pt x="215" y="228"/>
                    </a:lnTo>
                    <a:moveTo>
                      <a:pt x="198" y="0"/>
                    </a:moveTo>
                    <a:lnTo>
                      <a:pt x="192" y="0"/>
                    </a:lnTo>
                    <a:lnTo>
                      <a:pt x="215" y="156"/>
                    </a:lnTo>
                    <a:lnTo>
                      <a:pt x="215" y="117"/>
                    </a:lnTo>
                    <a:lnTo>
                      <a:pt x="19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4" name="Freeform 353">
                <a:extLst>
                  <a:ext uri="{FF2B5EF4-FFF2-40B4-BE49-F238E27FC236}">
                    <a16:creationId xmlns:a16="http://schemas.microsoft.com/office/drawing/2014/main" id="{CE36DA48-5493-42CA-A086-D0F41E39A2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377 w 400"/>
                  <a:gd name="T1" fmla="*/ 0 h 260"/>
                  <a:gd name="T2" fmla="*/ 165 w 400"/>
                  <a:gd name="T3" fmla="*/ 0 h 260"/>
                  <a:gd name="T4" fmla="*/ 0 w 400"/>
                  <a:gd name="T5" fmla="*/ 25 h 260"/>
                  <a:gd name="T6" fmla="*/ 0 w 400"/>
                  <a:gd name="T7" fmla="*/ 186 h 260"/>
                  <a:gd name="T8" fmla="*/ 12 w 400"/>
                  <a:gd name="T9" fmla="*/ 260 h 260"/>
                  <a:gd name="T10" fmla="*/ 185 w 400"/>
                  <a:gd name="T11" fmla="*/ 260 h 260"/>
                  <a:gd name="T12" fmla="*/ 400 w 400"/>
                  <a:gd name="T13" fmla="*/ 228 h 260"/>
                  <a:gd name="T14" fmla="*/ 400 w 400"/>
                  <a:gd name="T15" fmla="*/ 156 h 260"/>
                  <a:gd name="T16" fmla="*/ 377 w 400"/>
                  <a:gd name="T17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0" h="260">
                    <a:moveTo>
                      <a:pt x="377" y="0"/>
                    </a:moveTo>
                    <a:lnTo>
                      <a:pt x="165" y="0"/>
                    </a:lnTo>
                    <a:lnTo>
                      <a:pt x="0" y="25"/>
                    </a:lnTo>
                    <a:lnTo>
                      <a:pt x="0" y="186"/>
                    </a:lnTo>
                    <a:lnTo>
                      <a:pt x="12" y="260"/>
                    </a:lnTo>
                    <a:lnTo>
                      <a:pt x="185" y="260"/>
                    </a:lnTo>
                    <a:lnTo>
                      <a:pt x="400" y="228"/>
                    </a:lnTo>
                    <a:lnTo>
                      <a:pt x="400" y="156"/>
                    </a:lnTo>
                    <a:lnTo>
                      <a:pt x="377" y="0"/>
                    </a:lnTo>
                    <a:close/>
                  </a:path>
                </a:pathLst>
              </a:custGeom>
              <a:solidFill>
                <a:srgbClr val="B3AF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5" name="Freeform 354">
                <a:extLst>
                  <a:ext uri="{FF2B5EF4-FFF2-40B4-BE49-F238E27FC236}">
                    <a16:creationId xmlns:a16="http://schemas.microsoft.com/office/drawing/2014/main" id="{65256C17-12CD-499C-9879-5224FE64A9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377 w 400"/>
                  <a:gd name="T1" fmla="*/ 0 h 260"/>
                  <a:gd name="T2" fmla="*/ 165 w 400"/>
                  <a:gd name="T3" fmla="*/ 0 h 260"/>
                  <a:gd name="T4" fmla="*/ 0 w 400"/>
                  <a:gd name="T5" fmla="*/ 25 h 260"/>
                  <a:gd name="T6" fmla="*/ 0 w 400"/>
                  <a:gd name="T7" fmla="*/ 186 h 260"/>
                  <a:gd name="T8" fmla="*/ 12 w 400"/>
                  <a:gd name="T9" fmla="*/ 260 h 260"/>
                  <a:gd name="T10" fmla="*/ 185 w 400"/>
                  <a:gd name="T11" fmla="*/ 260 h 260"/>
                  <a:gd name="T12" fmla="*/ 400 w 400"/>
                  <a:gd name="T13" fmla="*/ 228 h 260"/>
                  <a:gd name="T14" fmla="*/ 400 w 400"/>
                  <a:gd name="T15" fmla="*/ 156 h 260"/>
                  <a:gd name="T16" fmla="*/ 377 w 400"/>
                  <a:gd name="T17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0" h="260">
                    <a:moveTo>
                      <a:pt x="377" y="0"/>
                    </a:moveTo>
                    <a:lnTo>
                      <a:pt x="165" y="0"/>
                    </a:lnTo>
                    <a:lnTo>
                      <a:pt x="0" y="25"/>
                    </a:lnTo>
                    <a:lnTo>
                      <a:pt x="0" y="186"/>
                    </a:lnTo>
                    <a:lnTo>
                      <a:pt x="12" y="260"/>
                    </a:lnTo>
                    <a:lnTo>
                      <a:pt x="185" y="260"/>
                    </a:lnTo>
                    <a:lnTo>
                      <a:pt x="400" y="228"/>
                    </a:lnTo>
                    <a:lnTo>
                      <a:pt x="400" y="156"/>
                    </a:lnTo>
                    <a:lnTo>
                      <a:pt x="37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6" name="Rectangle 355">
                <a:extLst>
                  <a:ext uri="{FF2B5EF4-FFF2-40B4-BE49-F238E27FC236}">
                    <a16:creationId xmlns:a16="http://schemas.microsoft.com/office/drawing/2014/main" id="{5D9088E9-EE67-4A3E-BF04-C976C2EF6B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2" y="882"/>
                <a:ext cx="400" cy="26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7" name="Freeform 356">
                <a:extLst>
                  <a:ext uri="{FF2B5EF4-FFF2-40B4-BE49-F238E27FC236}">
                    <a16:creationId xmlns:a16="http://schemas.microsoft.com/office/drawing/2014/main" id="{00D702F8-A621-4BA8-BEC2-7F5C99C23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4" y="1270"/>
                <a:ext cx="166" cy="100"/>
              </a:xfrm>
              <a:custGeom>
                <a:avLst/>
                <a:gdLst>
                  <a:gd name="T0" fmla="*/ 304 w 304"/>
                  <a:gd name="T1" fmla="*/ 172 h 183"/>
                  <a:gd name="T2" fmla="*/ 98 w 304"/>
                  <a:gd name="T3" fmla="*/ 4 h 183"/>
                  <a:gd name="T4" fmla="*/ 8 w 304"/>
                  <a:gd name="T5" fmla="*/ 0 h 183"/>
                  <a:gd name="T6" fmla="*/ 0 w 304"/>
                  <a:gd name="T7" fmla="*/ 7 h 183"/>
                  <a:gd name="T8" fmla="*/ 0 w 304"/>
                  <a:gd name="T9" fmla="*/ 9 h 183"/>
                  <a:gd name="T10" fmla="*/ 44 w 304"/>
                  <a:gd name="T11" fmla="*/ 17 h 183"/>
                  <a:gd name="T12" fmla="*/ 95 w 304"/>
                  <a:gd name="T13" fmla="*/ 14 h 183"/>
                  <a:gd name="T14" fmla="*/ 302 w 304"/>
                  <a:gd name="T15" fmla="*/ 183 h 183"/>
                  <a:gd name="T16" fmla="*/ 304 w 304"/>
                  <a:gd name="T17" fmla="*/ 172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4" h="183">
                    <a:moveTo>
                      <a:pt x="304" y="172"/>
                    </a:moveTo>
                    <a:cubicBezTo>
                      <a:pt x="304" y="172"/>
                      <a:pt x="123" y="13"/>
                      <a:pt x="98" y="4"/>
                    </a:cubicBezTo>
                    <a:cubicBezTo>
                      <a:pt x="76" y="2"/>
                      <a:pt x="25" y="0"/>
                      <a:pt x="8" y="0"/>
                    </a:cubicBezTo>
                    <a:cubicBezTo>
                      <a:pt x="4" y="0"/>
                      <a:pt x="0" y="3"/>
                      <a:pt x="0" y="7"/>
                    </a:cubicBezTo>
                    <a:cubicBezTo>
                      <a:pt x="0" y="8"/>
                      <a:pt x="0" y="8"/>
                      <a:pt x="0" y="9"/>
                    </a:cubicBezTo>
                    <a:cubicBezTo>
                      <a:pt x="6" y="18"/>
                      <a:pt x="33" y="17"/>
                      <a:pt x="44" y="17"/>
                    </a:cubicBezTo>
                    <a:cubicBezTo>
                      <a:pt x="56" y="16"/>
                      <a:pt x="83" y="11"/>
                      <a:pt x="95" y="14"/>
                    </a:cubicBezTo>
                    <a:cubicBezTo>
                      <a:pt x="147" y="43"/>
                      <a:pt x="302" y="183"/>
                      <a:pt x="302" y="183"/>
                    </a:cubicBezTo>
                    <a:cubicBezTo>
                      <a:pt x="304" y="172"/>
                      <a:pt x="304" y="172"/>
                      <a:pt x="304" y="172"/>
                    </a:cubicBezTo>
                  </a:path>
                </a:pathLst>
              </a:custGeom>
              <a:solidFill>
                <a:srgbClr val="19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8" name="Freeform 357">
                <a:extLst>
                  <a:ext uri="{FF2B5EF4-FFF2-40B4-BE49-F238E27FC236}">
                    <a16:creationId xmlns:a16="http://schemas.microsoft.com/office/drawing/2014/main" id="{3F852924-712C-458F-8648-8A2C247DBA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4" y="1234"/>
                <a:ext cx="101" cy="166"/>
              </a:xfrm>
              <a:custGeom>
                <a:avLst/>
                <a:gdLst>
                  <a:gd name="T0" fmla="*/ 11 w 184"/>
                  <a:gd name="T1" fmla="*/ 0 h 304"/>
                  <a:gd name="T2" fmla="*/ 179 w 184"/>
                  <a:gd name="T3" fmla="*/ 205 h 304"/>
                  <a:gd name="T4" fmla="*/ 184 w 184"/>
                  <a:gd name="T5" fmla="*/ 295 h 304"/>
                  <a:gd name="T6" fmla="*/ 176 w 184"/>
                  <a:gd name="T7" fmla="*/ 304 h 304"/>
                  <a:gd name="T8" fmla="*/ 175 w 184"/>
                  <a:gd name="T9" fmla="*/ 304 h 304"/>
                  <a:gd name="T10" fmla="*/ 167 w 184"/>
                  <a:gd name="T11" fmla="*/ 259 h 304"/>
                  <a:gd name="T12" fmla="*/ 169 w 184"/>
                  <a:gd name="T13" fmla="*/ 209 h 304"/>
                  <a:gd name="T14" fmla="*/ 0 w 184"/>
                  <a:gd name="T15" fmla="*/ 2 h 304"/>
                  <a:gd name="T16" fmla="*/ 11 w 184"/>
                  <a:gd name="T17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4" h="304">
                    <a:moveTo>
                      <a:pt x="11" y="0"/>
                    </a:moveTo>
                    <a:cubicBezTo>
                      <a:pt x="11" y="0"/>
                      <a:pt x="170" y="180"/>
                      <a:pt x="179" y="205"/>
                    </a:cubicBezTo>
                    <a:cubicBezTo>
                      <a:pt x="181" y="228"/>
                      <a:pt x="183" y="278"/>
                      <a:pt x="184" y="295"/>
                    </a:cubicBezTo>
                    <a:cubicBezTo>
                      <a:pt x="184" y="300"/>
                      <a:pt x="181" y="304"/>
                      <a:pt x="176" y="304"/>
                    </a:cubicBezTo>
                    <a:cubicBezTo>
                      <a:pt x="176" y="304"/>
                      <a:pt x="175" y="304"/>
                      <a:pt x="175" y="304"/>
                    </a:cubicBezTo>
                    <a:cubicBezTo>
                      <a:pt x="165" y="298"/>
                      <a:pt x="166" y="271"/>
                      <a:pt x="167" y="259"/>
                    </a:cubicBezTo>
                    <a:cubicBezTo>
                      <a:pt x="168" y="247"/>
                      <a:pt x="172" y="220"/>
                      <a:pt x="169" y="209"/>
                    </a:cubicBezTo>
                    <a:cubicBezTo>
                      <a:pt x="140" y="156"/>
                      <a:pt x="0" y="2"/>
                      <a:pt x="0" y="2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19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9" name="Freeform 358">
                <a:extLst>
                  <a:ext uri="{FF2B5EF4-FFF2-40B4-BE49-F238E27FC236}">
                    <a16:creationId xmlns:a16="http://schemas.microsoft.com/office/drawing/2014/main" id="{5E5CC89C-BE8D-4F18-9042-5B9C3B1F75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0" y="1305"/>
                <a:ext cx="86" cy="91"/>
              </a:xfrm>
              <a:custGeom>
                <a:avLst/>
                <a:gdLst>
                  <a:gd name="T0" fmla="*/ 148 w 156"/>
                  <a:gd name="T1" fmla="*/ 104 h 167"/>
                  <a:gd name="T2" fmla="*/ 48 w 156"/>
                  <a:gd name="T3" fmla="*/ 3 h 167"/>
                  <a:gd name="T4" fmla="*/ 36 w 156"/>
                  <a:gd name="T5" fmla="*/ 3 h 167"/>
                  <a:gd name="T6" fmla="*/ 30 w 156"/>
                  <a:gd name="T7" fmla="*/ 10 h 167"/>
                  <a:gd name="T8" fmla="*/ 0 w 156"/>
                  <a:gd name="T9" fmla="*/ 76 h 167"/>
                  <a:gd name="T10" fmla="*/ 16 w 156"/>
                  <a:gd name="T11" fmla="*/ 121 h 167"/>
                  <a:gd name="T12" fmla="*/ 53 w 156"/>
                  <a:gd name="T13" fmla="*/ 154 h 167"/>
                  <a:gd name="T14" fmla="*/ 129 w 156"/>
                  <a:gd name="T15" fmla="*/ 138 h 167"/>
                  <a:gd name="T16" fmla="*/ 148 w 156"/>
                  <a:gd name="T17" fmla="*/ 104 h 167"/>
                  <a:gd name="T18" fmla="*/ 124 w 156"/>
                  <a:gd name="T19" fmla="*/ 130 h 167"/>
                  <a:gd name="T20" fmla="*/ 57 w 156"/>
                  <a:gd name="T21" fmla="*/ 146 h 167"/>
                  <a:gd name="T22" fmla="*/ 34 w 156"/>
                  <a:gd name="T23" fmla="*/ 129 h 167"/>
                  <a:gd name="T24" fmla="*/ 23 w 156"/>
                  <a:gd name="T25" fmla="*/ 116 h 167"/>
                  <a:gd name="T26" fmla="*/ 8 w 156"/>
                  <a:gd name="T27" fmla="*/ 76 h 167"/>
                  <a:gd name="T28" fmla="*/ 36 w 156"/>
                  <a:gd name="T29" fmla="*/ 16 h 167"/>
                  <a:gd name="T30" fmla="*/ 41 w 156"/>
                  <a:gd name="T31" fmla="*/ 10 h 167"/>
                  <a:gd name="T32" fmla="*/ 43 w 156"/>
                  <a:gd name="T33" fmla="*/ 11 h 167"/>
                  <a:gd name="T34" fmla="*/ 94 w 156"/>
                  <a:gd name="T35" fmla="*/ 53 h 167"/>
                  <a:gd name="T36" fmla="*/ 141 w 156"/>
                  <a:gd name="T37" fmla="*/ 108 h 167"/>
                  <a:gd name="T38" fmla="*/ 124 w 156"/>
                  <a:gd name="T39" fmla="*/ 13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6" h="167">
                    <a:moveTo>
                      <a:pt x="148" y="104"/>
                    </a:moveTo>
                    <a:cubicBezTo>
                      <a:pt x="129" y="74"/>
                      <a:pt x="78" y="22"/>
                      <a:pt x="48" y="3"/>
                    </a:cubicBezTo>
                    <a:cubicBezTo>
                      <a:pt x="45" y="2"/>
                      <a:pt x="39" y="0"/>
                      <a:pt x="36" y="3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12" y="27"/>
                      <a:pt x="0" y="51"/>
                      <a:pt x="0" y="76"/>
                    </a:cubicBezTo>
                    <a:cubicBezTo>
                      <a:pt x="0" y="91"/>
                      <a:pt x="6" y="107"/>
                      <a:pt x="16" y="121"/>
                    </a:cubicBezTo>
                    <a:cubicBezTo>
                      <a:pt x="26" y="135"/>
                      <a:pt x="39" y="147"/>
                      <a:pt x="53" y="154"/>
                    </a:cubicBezTo>
                    <a:cubicBezTo>
                      <a:pt x="79" y="167"/>
                      <a:pt x="113" y="149"/>
                      <a:pt x="129" y="138"/>
                    </a:cubicBezTo>
                    <a:cubicBezTo>
                      <a:pt x="136" y="132"/>
                      <a:pt x="156" y="115"/>
                      <a:pt x="148" y="104"/>
                    </a:cubicBezTo>
                    <a:moveTo>
                      <a:pt x="124" y="130"/>
                    </a:moveTo>
                    <a:cubicBezTo>
                      <a:pt x="112" y="139"/>
                      <a:pt x="80" y="158"/>
                      <a:pt x="57" y="146"/>
                    </a:cubicBezTo>
                    <a:cubicBezTo>
                      <a:pt x="49" y="142"/>
                      <a:pt x="41" y="136"/>
                      <a:pt x="34" y="129"/>
                    </a:cubicBezTo>
                    <a:cubicBezTo>
                      <a:pt x="30" y="125"/>
                      <a:pt x="26" y="120"/>
                      <a:pt x="23" y="116"/>
                    </a:cubicBezTo>
                    <a:cubicBezTo>
                      <a:pt x="13" y="102"/>
                      <a:pt x="8" y="88"/>
                      <a:pt x="8" y="76"/>
                    </a:cubicBezTo>
                    <a:cubicBezTo>
                      <a:pt x="8" y="55"/>
                      <a:pt x="18" y="33"/>
                      <a:pt x="36" y="16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2" y="10"/>
                      <a:pt x="43" y="11"/>
                      <a:pt x="43" y="11"/>
                    </a:cubicBezTo>
                    <a:cubicBezTo>
                      <a:pt x="56" y="19"/>
                      <a:pt x="75" y="34"/>
                      <a:pt x="94" y="53"/>
                    </a:cubicBezTo>
                    <a:cubicBezTo>
                      <a:pt x="113" y="73"/>
                      <a:pt x="131" y="94"/>
                      <a:pt x="141" y="108"/>
                    </a:cubicBezTo>
                    <a:cubicBezTo>
                      <a:pt x="143" y="112"/>
                      <a:pt x="133" y="124"/>
                      <a:pt x="124" y="13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0" name="Freeform 359">
                <a:extLst>
                  <a:ext uri="{FF2B5EF4-FFF2-40B4-BE49-F238E27FC236}">
                    <a16:creationId xmlns:a16="http://schemas.microsoft.com/office/drawing/2014/main" id="{62940D13-D518-489A-B1ED-431F94A1F9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0" y="1310"/>
                <a:ext cx="56" cy="76"/>
              </a:xfrm>
              <a:custGeom>
                <a:avLst/>
                <a:gdLst>
                  <a:gd name="T0" fmla="*/ 10 w 102"/>
                  <a:gd name="T1" fmla="*/ 24 h 139"/>
                  <a:gd name="T2" fmla="*/ 39 w 102"/>
                  <a:gd name="T3" fmla="*/ 66 h 139"/>
                  <a:gd name="T4" fmla="*/ 43 w 102"/>
                  <a:gd name="T5" fmla="*/ 139 h 139"/>
                  <a:gd name="T6" fmla="*/ 86 w 102"/>
                  <a:gd name="T7" fmla="*/ 121 h 139"/>
                  <a:gd name="T8" fmla="*/ 86 w 102"/>
                  <a:gd name="T9" fmla="*/ 121 h 139"/>
                  <a:gd name="T10" fmla="*/ 87 w 102"/>
                  <a:gd name="T11" fmla="*/ 121 h 139"/>
                  <a:gd name="T12" fmla="*/ 87 w 102"/>
                  <a:gd name="T13" fmla="*/ 121 h 139"/>
                  <a:gd name="T14" fmla="*/ 87 w 102"/>
                  <a:gd name="T15" fmla="*/ 120 h 139"/>
                  <a:gd name="T16" fmla="*/ 87 w 102"/>
                  <a:gd name="T17" fmla="*/ 120 h 139"/>
                  <a:gd name="T18" fmla="*/ 102 w 102"/>
                  <a:gd name="T19" fmla="*/ 105 h 139"/>
                  <a:gd name="T20" fmla="*/ 10 w 102"/>
                  <a:gd name="T21" fmla="*/ 24 h 139"/>
                  <a:gd name="T22" fmla="*/ 4 w 102"/>
                  <a:gd name="T23" fmla="*/ 0 h 139"/>
                  <a:gd name="T24" fmla="*/ 0 w 102"/>
                  <a:gd name="T25" fmla="*/ 5 h 139"/>
                  <a:gd name="T26" fmla="*/ 95 w 102"/>
                  <a:gd name="T27" fmla="*/ 86 h 139"/>
                  <a:gd name="T28" fmla="*/ 57 w 102"/>
                  <a:gd name="T29" fmla="*/ 43 h 139"/>
                  <a:gd name="T30" fmla="*/ 6 w 102"/>
                  <a:gd name="T31" fmla="*/ 1 h 139"/>
                  <a:gd name="T32" fmla="*/ 4 w 102"/>
                  <a:gd name="T33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2" h="139">
                    <a:moveTo>
                      <a:pt x="10" y="24"/>
                    </a:moveTo>
                    <a:cubicBezTo>
                      <a:pt x="26" y="44"/>
                      <a:pt x="37" y="60"/>
                      <a:pt x="39" y="66"/>
                    </a:cubicBezTo>
                    <a:cubicBezTo>
                      <a:pt x="41" y="83"/>
                      <a:pt x="42" y="117"/>
                      <a:pt x="43" y="139"/>
                    </a:cubicBezTo>
                    <a:cubicBezTo>
                      <a:pt x="60" y="137"/>
                      <a:pt x="77" y="127"/>
                      <a:pt x="86" y="121"/>
                    </a:cubicBezTo>
                    <a:cubicBezTo>
                      <a:pt x="86" y="121"/>
                      <a:pt x="86" y="121"/>
                      <a:pt x="86" y="121"/>
                    </a:cubicBezTo>
                    <a:cubicBezTo>
                      <a:pt x="86" y="121"/>
                      <a:pt x="86" y="121"/>
                      <a:pt x="87" y="121"/>
                    </a:cubicBezTo>
                    <a:cubicBezTo>
                      <a:pt x="87" y="121"/>
                      <a:pt x="87" y="121"/>
                      <a:pt x="87" y="121"/>
                    </a:cubicBezTo>
                    <a:cubicBezTo>
                      <a:pt x="87" y="121"/>
                      <a:pt x="87" y="120"/>
                      <a:pt x="87" y="120"/>
                    </a:cubicBezTo>
                    <a:cubicBezTo>
                      <a:pt x="87" y="120"/>
                      <a:pt x="87" y="120"/>
                      <a:pt x="87" y="120"/>
                    </a:cubicBezTo>
                    <a:cubicBezTo>
                      <a:pt x="93" y="116"/>
                      <a:pt x="99" y="110"/>
                      <a:pt x="102" y="105"/>
                    </a:cubicBezTo>
                    <a:cubicBezTo>
                      <a:pt x="89" y="93"/>
                      <a:pt x="51" y="59"/>
                      <a:pt x="10" y="24"/>
                    </a:cubicBezTo>
                    <a:moveTo>
                      <a:pt x="4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37" y="36"/>
                      <a:pt x="75" y="69"/>
                      <a:pt x="95" y="86"/>
                    </a:cubicBezTo>
                    <a:cubicBezTo>
                      <a:pt x="85" y="73"/>
                      <a:pt x="71" y="58"/>
                      <a:pt x="57" y="43"/>
                    </a:cubicBezTo>
                    <a:cubicBezTo>
                      <a:pt x="38" y="24"/>
                      <a:pt x="19" y="9"/>
                      <a:pt x="6" y="1"/>
                    </a:cubicBezTo>
                    <a:cubicBezTo>
                      <a:pt x="6" y="1"/>
                      <a:pt x="5" y="0"/>
                      <a:pt x="4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1" name="Freeform 360">
                <a:extLst>
                  <a:ext uri="{FF2B5EF4-FFF2-40B4-BE49-F238E27FC236}">
                    <a16:creationId xmlns:a16="http://schemas.microsoft.com/office/drawing/2014/main" id="{B5214982-566F-44C0-88CA-121AF66844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9" y="1313"/>
                <a:ext cx="58" cy="55"/>
              </a:xfrm>
              <a:custGeom>
                <a:avLst/>
                <a:gdLst>
                  <a:gd name="T0" fmla="*/ 3 w 107"/>
                  <a:gd name="T1" fmla="*/ 0 h 100"/>
                  <a:gd name="T2" fmla="*/ 2 w 107"/>
                  <a:gd name="T3" fmla="*/ 1 h 100"/>
                  <a:gd name="T4" fmla="*/ 0 w 107"/>
                  <a:gd name="T5" fmla="*/ 3 h 100"/>
                  <a:gd name="T6" fmla="*/ 13 w 107"/>
                  <a:gd name="T7" fmla="*/ 19 h 100"/>
                  <a:gd name="T8" fmla="*/ 105 w 107"/>
                  <a:gd name="T9" fmla="*/ 100 h 100"/>
                  <a:gd name="T10" fmla="*/ 107 w 107"/>
                  <a:gd name="T11" fmla="*/ 95 h 100"/>
                  <a:gd name="T12" fmla="*/ 107 w 107"/>
                  <a:gd name="T13" fmla="*/ 93 h 100"/>
                  <a:gd name="T14" fmla="*/ 98 w 107"/>
                  <a:gd name="T15" fmla="*/ 81 h 100"/>
                  <a:gd name="T16" fmla="*/ 3 w 107"/>
                  <a:gd name="T17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7" h="100">
                    <a:moveTo>
                      <a:pt x="3" y="0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1" y="2"/>
                      <a:pt x="0" y="2"/>
                      <a:pt x="0" y="3"/>
                    </a:cubicBezTo>
                    <a:cubicBezTo>
                      <a:pt x="4" y="9"/>
                      <a:pt x="9" y="14"/>
                      <a:pt x="13" y="19"/>
                    </a:cubicBezTo>
                    <a:cubicBezTo>
                      <a:pt x="54" y="54"/>
                      <a:pt x="92" y="88"/>
                      <a:pt x="105" y="100"/>
                    </a:cubicBezTo>
                    <a:cubicBezTo>
                      <a:pt x="106" y="98"/>
                      <a:pt x="107" y="96"/>
                      <a:pt x="107" y="95"/>
                    </a:cubicBezTo>
                    <a:cubicBezTo>
                      <a:pt x="107" y="94"/>
                      <a:pt x="107" y="94"/>
                      <a:pt x="107" y="93"/>
                    </a:cubicBezTo>
                    <a:cubicBezTo>
                      <a:pt x="104" y="90"/>
                      <a:pt x="101" y="86"/>
                      <a:pt x="98" y="81"/>
                    </a:cubicBezTo>
                    <a:cubicBezTo>
                      <a:pt x="78" y="64"/>
                      <a:pt x="40" y="31"/>
                      <a:pt x="3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2" name="Freeform 361">
                <a:extLst>
                  <a:ext uri="{FF2B5EF4-FFF2-40B4-BE49-F238E27FC236}">
                    <a16:creationId xmlns:a16="http://schemas.microsoft.com/office/drawing/2014/main" id="{55FDCFF2-EA98-4569-8E96-FBEA99DE9F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1318"/>
                <a:ext cx="33" cy="68"/>
              </a:xfrm>
              <a:custGeom>
                <a:avLst/>
                <a:gdLst>
                  <a:gd name="T0" fmla="*/ 20 w 61"/>
                  <a:gd name="T1" fmla="*/ 0 h 123"/>
                  <a:gd name="T2" fmla="*/ 0 w 61"/>
                  <a:gd name="T3" fmla="*/ 51 h 123"/>
                  <a:gd name="T4" fmla="*/ 0 w 61"/>
                  <a:gd name="T5" fmla="*/ 51 h 123"/>
                  <a:gd name="T6" fmla="*/ 15 w 61"/>
                  <a:gd name="T7" fmla="*/ 91 h 123"/>
                  <a:gd name="T8" fmla="*/ 26 w 61"/>
                  <a:gd name="T9" fmla="*/ 104 h 123"/>
                  <a:gd name="T10" fmla="*/ 49 w 61"/>
                  <a:gd name="T11" fmla="*/ 121 h 123"/>
                  <a:gd name="T12" fmla="*/ 56 w 61"/>
                  <a:gd name="T13" fmla="*/ 123 h 123"/>
                  <a:gd name="T14" fmla="*/ 56 w 61"/>
                  <a:gd name="T15" fmla="*/ 105 h 123"/>
                  <a:gd name="T16" fmla="*/ 58 w 61"/>
                  <a:gd name="T17" fmla="*/ 55 h 123"/>
                  <a:gd name="T18" fmla="*/ 20 w 61"/>
                  <a:gd name="T19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123">
                    <a:moveTo>
                      <a:pt x="20" y="0"/>
                    </a:moveTo>
                    <a:cubicBezTo>
                      <a:pt x="7" y="16"/>
                      <a:pt x="0" y="34"/>
                      <a:pt x="0" y="51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63"/>
                      <a:pt x="5" y="78"/>
                      <a:pt x="15" y="91"/>
                    </a:cubicBezTo>
                    <a:cubicBezTo>
                      <a:pt x="18" y="95"/>
                      <a:pt x="22" y="100"/>
                      <a:pt x="26" y="104"/>
                    </a:cubicBezTo>
                    <a:cubicBezTo>
                      <a:pt x="33" y="111"/>
                      <a:pt x="41" y="117"/>
                      <a:pt x="49" y="121"/>
                    </a:cubicBezTo>
                    <a:cubicBezTo>
                      <a:pt x="51" y="122"/>
                      <a:pt x="53" y="123"/>
                      <a:pt x="56" y="123"/>
                    </a:cubicBezTo>
                    <a:cubicBezTo>
                      <a:pt x="55" y="117"/>
                      <a:pt x="56" y="110"/>
                      <a:pt x="56" y="105"/>
                    </a:cubicBezTo>
                    <a:cubicBezTo>
                      <a:pt x="57" y="93"/>
                      <a:pt x="61" y="66"/>
                      <a:pt x="58" y="55"/>
                    </a:cubicBezTo>
                    <a:cubicBezTo>
                      <a:pt x="51" y="42"/>
                      <a:pt x="37" y="22"/>
                      <a:pt x="20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3" name="Freeform 362">
                <a:extLst>
                  <a:ext uri="{FF2B5EF4-FFF2-40B4-BE49-F238E27FC236}">
                    <a16:creationId xmlns:a16="http://schemas.microsoft.com/office/drawing/2014/main" id="{51BBE0B3-C676-4902-BAD3-0FB9B903F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1315"/>
                <a:ext cx="28" cy="72"/>
              </a:xfrm>
              <a:custGeom>
                <a:avLst/>
                <a:gdLst>
                  <a:gd name="T0" fmla="*/ 6 w 52"/>
                  <a:gd name="T1" fmla="*/ 0 h 132"/>
                  <a:gd name="T2" fmla="*/ 0 w 52"/>
                  <a:gd name="T3" fmla="*/ 7 h 132"/>
                  <a:gd name="T4" fmla="*/ 38 w 52"/>
                  <a:gd name="T5" fmla="*/ 62 h 132"/>
                  <a:gd name="T6" fmla="*/ 36 w 52"/>
                  <a:gd name="T7" fmla="*/ 112 h 132"/>
                  <a:gd name="T8" fmla="*/ 36 w 52"/>
                  <a:gd name="T9" fmla="*/ 130 h 132"/>
                  <a:gd name="T10" fmla="*/ 46 w 52"/>
                  <a:gd name="T11" fmla="*/ 132 h 132"/>
                  <a:gd name="T12" fmla="*/ 46 w 52"/>
                  <a:gd name="T13" fmla="*/ 132 h 132"/>
                  <a:gd name="T14" fmla="*/ 46 w 52"/>
                  <a:gd name="T15" fmla="*/ 132 h 132"/>
                  <a:gd name="T16" fmla="*/ 52 w 52"/>
                  <a:gd name="T17" fmla="*/ 131 h 132"/>
                  <a:gd name="T18" fmla="*/ 48 w 52"/>
                  <a:gd name="T19" fmla="*/ 58 h 132"/>
                  <a:gd name="T20" fmla="*/ 19 w 52"/>
                  <a:gd name="T21" fmla="*/ 16 h 132"/>
                  <a:gd name="T22" fmla="*/ 6 w 52"/>
                  <a:gd name="T23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2" h="132">
                    <a:moveTo>
                      <a:pt x="6" y="0"/>
                    </a:moveTo>
                    <a:cubicBezTo>
                      <a:pt x="4" y="2"/>
                      <a:pt x="2" y="5"/>
                      <a:pt x="0" y="7"/>
                    </a:cubicBezTo>
                    <a:cubicBezTo>
                      <a:pt x="17" y="29"/>
                      <a:pt x="31" y="49"/>
                      <a:pt x="38" y="62"/>
                    </a:cubicBezTo>
                    <a:cubicBezTo>
                      <a:pt x="41" y="73"/>
                      <a:pt x="37" y="100"/>
                      <a:pt x="36" y="112"/>
                    </a:cubicBezTo>
                    <a:cubicBezTo>
                      <a:pt x="36" y="117"/>
                      <a:pt x="35" y="124"/>
                      <a:pt x="36" y="130"/>
                    </a:cubicBezTo>
                    <a:cubicBezTo>
                      <a:pt x="39" y="131"/>
                      <a:pt x="42" y="132"/>
                      <a:pt x="46" y="132"/>
                    </a:cubicBezTo>
                    <a:cubicBezTo>
                      <a:pt x="46" y="132"/>
                      <a:pt x="46" y="132"/>
                      <a:pt x="46" y="132"/>
                    </a:cubicBezTo>
                    <a:cubicBezTo>
                      <a:pt x="46" y="132"/>
                      <a:pt x="46" y="132"/>
                      <a:pt x="46" y="132"/>
                    </a:cubicBezTo>
                    <a:cubicBezTo>
                      <a:pt x="48" y="132"/>
                      <a:pt x="50" y="132"/>
                      <a:pt x="52" y="131"/>
                    </a:cubicBezTo>
                    <a:cubicBezTo>
                      <a:pt x="51" y="109"/>
                      <a:pt x="50" y="75"/>
                      <a:pt x="48" y="58"/>
                    </a:cubicBezTo>
                    <a:cubicBezTo>
                      <a:pt x="46" y="52"/>
                      <a:pt x="35" y="36"/>
                      <a:pt x="19" y="16"/>
                    </a:cubicBezTo>
                    <a:cubicBezTo>
                      <a:pt x="15" y="11"/>
                      <a:pt x="10" y="6"/>
                      <a:pt x="6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4" name="Freeform 363">
                <a:extLst>
                  <a:ext uri="{FF2B5EF4-FFF2-40B4-BE49-F238E27FC236}">
                    <a16:creationId xmlns:a16="http://schemas.microsoft.com/office/drawing/2014/main" id="{0438741C-B16F-46F4-8F6C-3CE534E309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" y="1310"/>
                <a:ext cx="72" cy="77"/>
              </a:xfrm>
              <a:custGeom>
                <a:avLst/>
                <a:gdLst>
                  <a:gd name="T0" fmla="*/ 66 w 133"/>
                  <a:gd name="T1" fmla="*/ 140 h 140"/>
                  <a:gd name="T2" fmla="*/ 66 w 133"/>
                  <a:gd name="T3" fmla="*/ 140 h 140"/>
                  <a:gd name="T4" fmla="*/ 66 w 133"/>
                  <a:gd name="T5" fmla="*/ 140 h 140"/>
                  <a:gd name="T6" fmla="*/ 66 w 133"/>
                  <a:gd name="T7" fmla="*/ 140 h 140"/>
                  <a:gd name="T8" fmla="*/ 115 w 133"/>
                  <a:gd name="T9" fmla="*/ 121 h 140"/>
                  <a:gd name="T10" fmla="*/ 72 w 133"/>
                  <a:gd name="T11" fmla="*/ 139 h 140"/>
                  <a:gd name="T12" fmla="*/ 66 w 133"/>
                  <a:gd name="T13" fmla="*/ 140 h 140"/>
                  <a:gd name="T14" fmla="*/ 115 w 133"/>
                  <a:gd name="T15" fmla="*/ 121 h 140"/>
                  <a:gd name="T16" fmla="*/ 116 w 133"/>
                  <a:gd name="T17" fmla="*/ 121 h 140"/>
                  <a:gd name="T18" fmla="*/ 115 w 133"/>
                  <a:gd name="T19" fmla="*/ 121 h 140"/>
                  <a:gd name="T20" fmla="*/ 116 w 133"/>
                  <a:gd name="T21" fmla="*/ 121 h 140"/>
                  <a:gd name="T22" fmla="*/ 116 w 133"/>
                  <a:gd name="T23" fmla="*/ 120 h 140"/>
                  <a:gd name="T24" fmla="*/ 116 w 133"/>
                  <a:gd name="T25" fmla="*/ 121 h 140"/>
                  <a:gd name="T26" fmla="*/ 116 w 133"/>
                  <a:gd name="T27" fmla="*/ 120 h 140"/>
                  <a:gd name="T28" fmla="*/ 33 w 133"/>
                  <a:gd name="T29" fmla="*/ 0 h 140"/>
                  <a:gd name="T30" fmla="*/ 28 w 133"/>
                  <a:gd name="T31" fmla="*/ 6 h 140"/>
                  <a:gd name="T32" fmla="*/ 0 w 133"/>
                  <a:gd name="T33" fmla="*/ 66 h 140"/>
                  <a:gd name="T34" fmla="*/ 0 w 133"/>
                  <a:gd name="T35" fmla="*/ 66 h 140"/>
                  <a:gd name="T36" fmla="*/ 0 w 133"/>
                  <a:gd name="T37" fmla="*/ 66 h 140"/>
                  <a:gd name="T38" fmla="*/ 20 w 133"/>
                  <a:gd name="T39" fmla="*/ 15 h 140"/>
                  <a:gd name="T40" fmla="*/ 26 w 133"/>
                  <a:gd name="T41" fmla="*/ 8 h 140"/>
                  <a:gd name="T42" fmla="*/ 28 w 133"/>
                  <a:gd name="T43" fmla="*/ 6 h 140"/>
                  <a:gd name="T44" fmla="*/ 29 w 133"/>
                  <a:gd name="T45" fmla="*/ 5 h 140"/>
                  <a:gd name="T46" fmla="*/ 33 w 133"/>
                  <a:gd name="T47" fmla="*/ 0 h 140"/>
                  <a:gd name="T48" fmla="*/ 35 w 133"/>
                  <a:gd name="T49" fmla="*/ 1 h 140"/>
                  <a:gd name="T50" fmla="*/ 86 w 133"/>
                  <a:gd name="T51" fmla="*/ 43 h 140"/>
                  <a:gd name="T52" fmla="*/ 124 w 133"/>
                  <a:gd name="T53" fmla="*/ 86 h 140"/>
                  <a:gd name="T54" fmla="*/ 133 w 133"/>
                  <a:gd name="T55" fmla="*/ 98 h 140"/>
                  <a:gd name="T56" fmla="*/ 133 w 133"/>
                  <a:gd name="T57" fmla="*/ 100 h 140"/>
                  <a:gd name="T58" fmla="*/ 133 w 133"/>
                  <a:gd name="T59" fmla="*/ 98 h 140"/>
                  <a:gd name="T60" fmla="*/ 86 w 133"/>
                  <a:gd name="T61" fmla="*/ 43 h 140"/>
                  <a:gd name="T62" fmla="*/ 35 w 133"/>
                  <a:gd name="T63" fmla="*/ 1 h 140"/>
                  <a:gd name="T64" fmla="*/ 33 w 133"/>
                  <a:gd name="T65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3" h="140">
                    <a:moveTo>
                      <a:pt x="66" y="140"/>
                    </a:moveTo>
                    <a:cubicBezTo>
                      <a:pt x="66" y="140"/>
                      <a:pt x="66" y="140"/>
                      <a:pt x="66" y="140"/>
                    </a:cubicBezTo>
                    <a:cubicBezTo>
                      <a:pt x="66" y="140"/>
                      <a:pt x="66" y="140"/>
                      <a:pt x="66" y="140"/>
                    </a:cubicBezTo>
                    <a:cubicBezTo>
                      <a:pt x="66" y="140"/>
                      <a:pt x="66" y="140"/>
                      <a:pt x="66" y="140"/>
                    </a:cubicBezTo>
                    <a:moveTo>
                      <a:pt x="115" y="121"/>
                    </a:moveTo>
                    <a:cubicBezTo>
                      <a:pt x="106" y="127"/>
                      <a:pt x="89" y="137"/>
                      <a:pt x="72" y="139"/>
                    </a:cubicBezTo>
                    <a:cubicBezTo>
                      <a:pt x="70" y="140"/>
                      <a:pt x="68" y="140"/>
                      <a:pt x="66" y="140"/>
                    </a:cubicBezTo>
                    <a:cubicBezTo>
                      <a:pt x="85" y="140"/>
                      <a:pt x="105" y="128"/>
                      <a:pt x="115" y="121"/>
                    </a:cubicBezTo>
                    <a:moveTo>
                      <a:pt x="116" y="121"/>
                    </a:moveTo>
                    <a:cubicBezTo>
                      <a:pt x="115" y="121"/>
                      <a:pt x="115" y="121"/>
                      <a:pt x="115" y="121"/>
                    </a:cubicBezTo>
                    <a:cubicBezTo>
                      <a:pt x="115" y="121"/>
                      <a:pt x="115" y="121"/>
                      <a:pt x="116" y="121"/>
                    </a:cubicBezTo>
                    <a:moveTo>
                      <a:pt x="116" y="120"/>
                    </a:moveTo>
                    <a:cubicBezTo>
                      <a:pt x="116" y="120"/>
                      <a:pt x="116" y="121"/>
                      <a:pt x="116" y="121"/>
                    </a:cubicBezTo>
                    <a:cubicBezTo>
                      <a:pt x="116" y="121"/>
                      <a:pt x="116" y="120"/>
                      <a:pt x="116" y="120"/>
                    </a:cubicBezTo>
                    <a:moveTo>
                      <a:pt x="33" y="0"/>
                    </a:moveTo>
                    <a:cubicBezTo>
                      <a:pt x="28" y="6"/>
                      <a:pt x="28" y="6"/>
                      <a:pt x="28" y="6"/>
                    </a:cubicBezTo>
                    <a:cubicBezTo>
                      <a:pt x="10" y="23"/>
                      <a:pt x="0" y="45"/>
                      <a:pt x="0" y="66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49"/>
                      <a:pt x="7" y="31"/>
                      <a:pt x="20" y="15"/>
                    </a:cubicBezTo>
                    <a:cubicBezTo>
                      <a:pt x="22" y="13"/>
                      <a:pt x="24" y="10"/>
                      <a:pt x="26" y="8"/>
                    </a:cubicBezTo>
                    <a:cubicBezTo>
                      <a:pt x="26" y="7"/>
                      <a:pt x="27" y="7"/>
                      <a:pt x="28" y="6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4" y="0"/>
                      <a:pt x="35" y="1"/>
                      <a:pt x="35" y="1"/>
                    </a:cubicBezTo>
                    <a:cubicBezTo>
                      <a:pt x="48" y="9"/>
                      <a:pt x="67" y="24"/>
                      <a:pt x="86" y="43"/>
                    </a:cubicBezTo>
                    <a:cubicBezTo>
                      <a:pt x="100" y="58"/>
                      <a:pt x="114" y="73"/>
                      <a:pt x="124" y="86"/>
                    </a:cubicBezTo>
                    <a:cubicBezTo>
                      <a:pt x="127" y="91"/>
                      <a:pt x="130" y="95"/>
                      <a:pt x="133" y="98"/>
                    </a:cubicBezTo>
                    <a:cubicBezTo>
                      <a:pt x="133" y="99"/>
                      <a:pt x="133" y="99"/>
                      <a:pt x="133" y="100"/>
                    </a:cubicBezTo>
                    <a:cubicBezTo>
                      <a:pt x="133" y="99"/>
                      <a:pt x="133" y="99"/>
                      <a:pt x="133" y="98"/>
                    </a:cubicBezTo>
                    <a:cubicBezTo>
                      <a:pt x="123" y="84"/>
                      <a:pt x="105" y="63"/>
                      <a:pt x="86" y="43"/>
                    </a:cubicBezTo>
                    <a:cubicBezTo>
                      <a:pt x="67" y="24"/>
                      <a:pt x="48" y="9"/>
                      <a:pt x="35" y="1"/>
                    </a:cubicBezTo>
                    <a:cubicBezTo>
                      <a:pt x="35" y="1"/>
                      <a:pt x="34" y="0"/>
                      <a:pt x="33" y="0"/>
                    </a:cubicBezTo>
                  </a:path>
                </a:pathLst>
              </a:custGeom>
              <a:solidFill>
                <a:srgbClr val="48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5" name="Freeform 364">
                <a:extLst>
                  <a:ext uri="{FF2B5EF4-FFF2-40B4-BE49-F238E27FC236}">
                    <a16:creationId xmlns:a16="http://schemas.microsoft.com/office/drawing/2014/main" id="{495BA7B8-2B4A-4EB9-AF60-41D9BAC3B2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8" y="1229"/>
                <a:ext cx="91" cy="85"/>
              </a:xfrm>
              <a:custGeom>
                <a:avLst/>
                <a:gdLst>
                  <a:gd name="T0" fmla="*/ 163 w 167"/>
                  <a:gd name="T1" fmla="*/ 108 h 156"/>
                  <a:gd name="T2" fmla="*/ 63 w 167"/>
                  <a:gd name="T3" fmla="*/ 8 h 156"/>
                  <a:gd name="T4" fmla="*/ 29 w 167"/>
                  <a:gd name="T5" fmla="*/ 27 h 156"/>
                  <a:gd name="T6" fmla="*/ 13 w 167"/>
                  <a:gd name="T7" fmla="*/ 103 h 156"/>
                  <a:gd name="T8" fmla="*/ 46 w 167"/>
                  <a:gd name="T9" fmla="*/ 140 h 156"/>
                  <a:gd name="T10" fmla="*/ 91 w 167"/>
                  <a:gd name="T11" fmla="*/ 156 h 156"/>
                  <a:gd name="T12" fmla="*/ 157 w 167"/>
                  <a:gd name="T13" fmla="*/ 126 h 156"/>
                  <a:gd name="T14" fmla="*/ 163 w 167"/>
                  <a:gd name="T15" fmla="*/ 120 h 156"/>
                  <a:gd name="T16" fmla="*/ 163 w 167"/>
                  <a:gd name="T17" fmla="*/ 108 h 156"/>
                  <a:gd name="T18" fmla="*/ 151 w 167"/>
                  <a:gd name="T19" fmla="*/ 120 h 156"/>
                  <a:gd name="T20" fmla="*/ 91 w 167"/>
                  <a:gd name="T21" fmla="*/ 147 h 156"/>
                  <a:gd name="T22" fmla="*/ 51 w 167"/>
                  <a:gd name="T23" fmla="*/ 133 h 156"/>
                  <a:gd name="T24" fmla="*/ 38 w 167"/>
                  <a:gd name="T25" fmla="*/ 122 h 156"/>
                  <a:gd name="T26" fmla="*/ 21 w 167"/>
                  <a:gd name="T27" fmla="*/ 99 h 156"/>
                  <a:gd name="T28" fmla="*/ 36 w 167"/>
                  <a:gd name="T29" fmla="*/ 32 h 156"/>
                  <a:gd name="T30" fmla="*/ 58 w 167"/>
                  <a:gd name="T31" fmla="*/ 15 h 156"/>
                  <a:gd name="T32" fmla="*/ 114 w 167"/>
                  <a:gd name="T33" fmla="*/ 62 h 156"/>
                  <a:gd name="T34" fmla="*/ 156 w 167"/>
                  <a:gd name="T35" fmla="*/ 113 h 156"/>
                  <a:gd name="T36" fmla="*/ 157 w 167"/>
                  <a:gd name="T37" fmla="*/ 114 h 156"/>
                  <a:gd name="T38" fmla="*/ 151 w 167"/>
                  <a:gd name="T39" fmla="*/ 12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7" h="156">
                    <a:moveTo>
                      <a:pt x="163" y="108"/>
                    </a:moveTo>
                    <a:cubicBezTo>
                      <a:pt x="145" y="78"/>
                      <a:pt x="93" y="27"/>
                      <a:pt x="63" y="8"/>
                    </a:cubicBezTo>
                    <a:cubicBezTo>
                      <a:pt x="51" y="0"/>
                      <a:pt x="34" y="19"/>
                      <a:pt x="29" y="27"/>
                    </a:cubicBezTo>
                    <a:cubicBezTo>
                      <a:pt x="18" y="43"/>
                      <a:pt x="0" y="76"/>
                      <a:pt x="13" y="103"/>
                    </a:cubicBezTo>
                    <a:cubicBezTo>
                      <a:pt x="20" y="117"/>
                      <a:pt x="32" y="130"/>
                      <a:pt x="46" y="140"/>
                    </a:cubicBezTo>
                    <a:cubicBezTo>
                      <a:pt x="60" y="150"/>
                      <a:pt x="76" y="156"/>
                      <a:pt x="91" y="156"/>
                    </a:cubicBezTo>
                    <a:cubicBezTo>
                      <a:pt x="116" y="156"/>
                      <a:pt x="139" y="144"/>
                      <a:pt x="157" y="126"/>
                    </a:cubicBezTo>
                    <a:cubicBezTo>
                      <a:pt x="163" y="120"/>
                      <a:pt x="163" y="120"/>
                      <a:pt x="163" y="120"/>
                    </a:cubicBezTo>
                    <a:cubicBezTo>
                      <a:pt x="167" y="117"/>
                      <a:pt x="165" y="111"/>
                      <a:pt x="163" y="108"/>
                    </a:cubicBezTo>
                    <a:moveTo>
                      <a:pt x="151" y="120"/>
                    </a:moveTo>
                    <a:cubicBezTo>
                      <a:pt x="133" y="137"/>
                      <a:pt x="112" y="147"/>
                      <a:pt x="91" y="147"/>
                    </a:cubicBezTo>
                    <a:cubicBezTo>
                      <a:pt x="79" y="148"/>
                      <a:pt x="64" y="142"/>
                      <a:pt x="51" y="133"/>
                    </a:cubicBezTo>
                    <a:cubicBezTo>
                      <a:pt x="46" y="130"/>
                      <a:pt x="42" y="126"/>
                      <a:pt x="38" y="122"/>
                    </a:cubicBezTo>
                    <a:cubicBezTo>
                      <a:pt x="31" y="115"/>
                      <a:pt x="25" y="107"/>
                      <a:pt x="21" y="99"/>
                    </a:cubicBezTo>
                    <a:cubicBezTo>
                      <a:pt x="9" y="76"/>
                      <a:pt x="28" y="44"/>
                      <a:pt x="36" y="32"/>
                    </a:cubicBezTo>
                    <a:cubicBezTo>
                      <a:pt x="43" y="22"/>
                      <a:pt x="55" y="13"/>
                      <a:pt x="58" y="15"/>
                    </a:cubicBezTo>
                    <a:cubicBezTo>
                      <a:pt x="73" y="24"/>
                      <a:pt x="94" y="42"/>
                      <a:pt x="114" y="62"/>
                    </a:cubicBezTo>
                    <a:cubicBezTo>
                      <a:pt x="133" y="81"/>
                      <a:pt x="148" y="100"/>
                      <a:pt x="156" y="113"/>
                    </a:cubicBezTo>
                    <a:cubicBezTo>
                      <a:pt x="156" y="113"/>
                      <a:pt x="156" y="114"/>
                      <a:pt x="157" y="114"/>
                    </a:cubicBezTo>
                    <a:cubicBezTo>
                      <a:pt x="151" y="120"/>
                      <a:pt x="151" y="120"/>
                      <a:pt x="151" y="12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6" name="Freeform 365">
                <a:extLst>
                  <a:ext uri="{FF2B5EF4-FFF2-40B4-BE49-F238E27FC236}">
                    <a16:creationId xmlns:a16="http://schemas.microsoft.com/office/drawing/2014/main" id="{CACDA52B-611F-4AF0-99C4-8B0470C53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9" y="1294"/>
                <a:ext cx="21" cy="21"/>
              </a:xfrm>
              <a:custGeom>
                <a:avLst/>
                <a:gdLst>
                  <a:gd name="T0" fmla="*/ 39 w 39"/>
                  <a:gd name="T1" fmla="*/ 29 h 38"/>
                  <a:gd name="T2" fmla="*/ 8 w 39"/>
                  <a:gd name="T3" fmla="*/ 0 h 38"/>
                  <a:gd name="T4" fmla="*/ 0 w 39"/>
                  <a:gd name="T5" fmla="*/ 9 h 38"/>
                  <a:gd name="T6" fmla="*/ 31 w 39"/>
                  <a:gd name="T7" fmla="*/ 38 h 38"/>
                  <a:gd name="T8" fmla="*/ 39 w 39"/>
                  <a:gd name="T9" fmla="*/ 2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8">
                    <a:moveTo>
                      <a:pt x="39" y="29"/>
                    </a:moveTo>
                    <a:cubicBezTo>
                      <a:pt x="31" y="17"/>
                      <a:pt x="21" y="7"/>
                      <a:pt x="8" y="0"/>
                    </a:cubicBezTo>
                    <a:cubicBezTo>
                      <a:pt x="6" y="3"/>
                      <a:pt x="3" y="6"/>
                      <a:pt x="0" y="9"/>
                    </a:cubicBezTo>
                    <a:cubicBezTo>
                      <a:pt x="12" y="16"/>
                      <a:pt x="23" y="26"/>
                      <a:pt x="31" y="38"/>
                    </a:cubicBezTo>
                    <a:cubicBezTo>
                      <a:pt x="33" y="35"/>
                      <a:pt x="36" y="32"/>
                      <a:pt x="39" y="29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7" name="Freeform 366">
                <a:extLst>
                  <a:ext uri="{FF2B5EF4-FFF2-40B4-BE49-F238E27FC236}">
                    <a16:creationId xmlns:a16="http://schemas.microsoft.com/office/drawing/2014/main" id="{BD44EC43-DBC3-48DB-8578-B56C5C6CC9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18" y="1238"/>
                <a:ext cx="68" cy="71"/>
              </a:xfrm>
              <a:custGeom>
                <a:avLst/>
                <a:gdLst>
                  <a:gd name="T0" fmla="*/ 58 w 124"/>
                  <a:gd name="T1" fmla="*/ 71 h 130"/>
                  <a:gd name="T2" fmla="*/ 18 w 124"/>
                  <a:gd name="T3" fmla="*/ 75 h 130"/>
                  <a:gd name="T4" fmla="*/ 5 w 124"/>
                  <a:gd name="T5" fmla="*/ 75 h 130"/>
                  <a:gd name="T6" fmla="*/ 0 w 124"/>
                  <a:gd name="T7" fmla="*/ 75 h 130"/>
                  <a:gd name="T8" fmla="*/ 3 w 124"/>
                  <a:gd name="T9" fmla="*/ 82 h 130"/>
                  <a:gd name="T10" fmla="*/ 20 w 124"/>
                  <a:gd name="T11" fmla="*/ 105 h 130"/>
                  <a:gd name="T12" fmla="*/ 33 w 124"/>
                  <a:gd name="T13" fmla="*/ 116 h 130"/>
                  <a:gd name="T14" fmla="*/ 73 w 124"/>
                  <a:gd name="T15" fmla="*/ 130 h 130"/>
                  <a:gd name="T16" fmla="*/ 73 w 124"/>
                  <a:gd name="T17" fmla="*/ 130 h 130"/>
                  <a:gd name="T18" fmla="*/ 124 w 124"/>
                  <a:gd name="T19" fmla="*/ 111 h 130"/>
                  <a:gd name="T20" fmla="*/ 69 w 124"/>
                  <a:gd name="T21" fmla="*/ 72 h 130"/>
                  <a:gd name="T22" fmla="*/ 58 w 124"/>
                  <a:gd name="T23" fmla="*/ 71 h 130"/>
                  <a:gd name="T24" fmla="*/ 34 w 124"/>
                  <a:gd name="T25" fmla="*/ 0 h 130"/>
                  <a:gd name="T26" fmla="*/ 18 w 124"/>
                  <a:gd name="T27" fmla="*/ 15 h 130"/>
                  <a:gd name="T28" fmla="*/ 0 w 124"/>
                  <a:gd name="T29" fmla="*/ 58 h 130"/>
                  <a:gd name="T30" fmla="*/ 72 w 124"/>
                  <a:gd name="T31" fmla="*/ 62 h 130"/>
                  <a:gd name="T32" fmla="*/ 114 w 124"/>
                  <a:gd name="T33" fmla="*/ 92 h 130"/>
                  <a:gd name="T34" fmla="*/ 34 w 124"/>
                  <a:gd name="T35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4" h="130">
                    <a:moveTo>
                      <a:pt x="58" y="71"/>
                    </a:moveTo>
                    <a:cubicBezTo>
                      <a:pt x="45" y="71"/>
                      <a:pt x="27" y="74"/>
                      <a:pt x="18" y="75"/>
                    </a:cubicBezTo>
                    <a:cubicBezTo>
                      <a:pt x="15" y="75"/>
                      <a:pt x="10" y="75"/>
                      <a:pt x="5" y="75"/>
                    </a:cubicBezTo>
                    <a:cubicBezTo>
                      <a:pt x="4" y="75"/>
                      <a:pt x="2" y="75"/>
                      <a:pt x="0" y="75"/>
                    </a:cubicBezTo>
                    <a:cubicBezTo>
                      <a:pt x="1" y="77"/>
                      <a:pt x="2" y="80"/>
                      <a:pt x="3" y="82"/>
                    </a:cubicBezTo>
                    <a:cubicBezTo>
                      <a:pt x="7" y="90"/>
                      <a:pt x="13" y="98"/>
                      <a:pt x="20" y="105"/>
                    </a:cubicBezTo>
                    <a:cubicBezTo>
                      <a:pt x="24" y="109"/>
                      <a:pt x="28" y="113"/>
                      <a:pt x="33" y="116"/>
                    </a:cubicBezTo>
                    <a:cubicBezTo>
                      <a:pt x="46" y="125"/>
                      <a:pt x="60" y="130"/>
                      <a:pt x="73" y="130"/>
                    </a:cubicBezTo>
                    <a:cubicBezTo>
                      <a:pt x="73" y="130"/>
                      <a:pt x="73" y="130"/>
                      <a:pt x="73" y="130"/>
                    </a:cubicBezTo>
                    <a:cubicBezTo>
                      <a:pt x="90" y="130"/>
                      <a:pt x="108" y="124"/>
                      <a:pt x="124" y="111"/>
                    </a:cubicBezTo>
                    <a:cubicBezTo>
                      <a:pt x="102" y="94"/>
                      <a:pt x="82" y="79"/>
                      <a:pt x="69" y="72"/>
                    </a:cubicBezTo>
                    <a:cubicBezTo>
                      <a:pt x="66" y="72"/>
                      <a:pt x="62" y="71"/>
                      <a:pt x="58" y="71"/>
                    </a:cubicBezTo>
                    <a:moveTo>
                      <a:pt x="34" y="0"/>
                    </a:moveTo>
                    <a:cubicBezTo>
                      <a:pt x="29" y="3"/>
                      <a:pt x="23" y="9"/>
                      <a:pt x="18" y="15"/>
                    </a:cubicBezTo>
                    <a:cubicBezTo>
                      <a:pt x="13" y="23"/>
                      <a:pt x="2" y="41"/>
                      <a:pt x="0" y="58"/>
                    </a:cubicBezTo>
                    <a:cubicBezTo>
                      <a:pt x="22" y="59"/>
                      <a:pt x="55" y="61"/>
                      <a:pt x="72" y="62"/>
                    </a:cubicBezTo>
                    <a:cubicBezTo>
                      <a:pt x="79" y="64"/>
                      <a:pt x="94" y="76"/>
                      <a:pt x="114" y="92"/>
                    </a:cubicBezTo>
                    <a:cubicBezTo>
                      <a:pt x="80" y="51"/>
                      <a:pt x="46" y="13"/>
                      <a:pt x="34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8" name="Freeform 367">
                <a:extLst>
                  <a:ext uri="{FF2B5EF4-FFF2-40B4-BE49-F238E27FC236}">
                    <a16:creationId xmlns:a16="http://schemas.microsoft.com/office/drawing/2014/main" id="{620DCD07-A940-42F3-BCA2-B54A631486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270"/>
                <a:ext cx="71" cy="29"/>
              </a:xfrm>
              <a:custGeom>
                <a:avLst/>
                <a:gdLst>
                  <a:gd name="T0" fmla="*/ 1 w 129"/>
                  <a:gd name="T1" fmla="*/ 0 h 53"/>
                  <a:gd name="T2" fmla="*/ 0 w 129"/>
                  <a:gd name="T3" fmla="*/ 7 h 53"/>
                  <a:gd name="T4" fmla="*/ 1 w 129"/>
                  <a:gd name="T5" fmla="*/ 17 h 53"/>
                  <a:gd name="T6" fmla="*/ 6 w 129"/>
                  <a:gd name="T7" fmla="*/ 17 h 53"/>
                  <a:gd name="T8" fmla="*/ 19 w 129"/>
                  <a:gd name="T9" fmla="*/ 17 h 53"/>
                  <a:gd name="T10" fmla="*/ 59 w 129"/>
                  <a:gd name="T11" fmla="*/ 13 h 53"/>
                  <a:gd name="T12" fmla="*/ 70 w 129"/>
                  <a:gd name="T13" fmla="*/ 14 h 53"/>
                  <a:gd name="T14" fmla="*/ 125 w 129"/>
                  <a:gd name="T15" fmla="*/ 53 h 53"/>
                  <a:gd name="T16" fmla="*/ 129 w 129"/>
                  <a:gd name="T17" fmla="*/ 50 h 53"/>
                  <a:gd name="T18" fmla="*/ 115 w 129"/>
                  <a:gd name="T19" fmla="*/ 34 h 53"/>
                  <a:gd name="T20" fmla="*/ 73 w 129"/>
                  <a:gd name="T21" fmla="*/ 4 h 53"/>
                  <a:gd name="T22" fmla="*/ 1 w 129"/>
                  <a:gd name="T23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9" h="53">
                    <a:moveTo>
                      <a:pt x="1" y="0"/>
                    </a:moveTo>
                    <a:cubicBezTo>
                      <a:pt x="0" y="3"/>
                      <a:pt x="0" y="5"/>
                      <a:pt x="0" y="7"/>
                    </a:cubicBezTo>
                    <a:cubicBezTo>
                      <a:pt x="0" y="11"/>
                      <a:pt x="1" y="14"/>
                      <a:pt x="1" y="17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11" y="17"/>
                      <a:pt x="16" y="17"/>
                      <a:pt x="19" y="17"/>
                    </a:cubicBezTo>
                    <a:cubicBezTo>
                      <a:pt x="28" y="16"/>
                      <a:pt x="46" y="13"/>
                      <a:pt x="59" y="13"/>
                    </a:cubicBezTo>
                    <a:cubicBezTo>
                      <a:pt x="63" y="13"/>
                      <a:pt x="67" y="14"/>
                      <a:pt x="70" y="14"/>
                    </a:cubicBezTo>
                    <a:cubicBezTo>
                      <a:pt x="83" y="21"/>
                      <a:pt x="103" y="36"/>
                      <a:pt x="125" y="53"/>
                    </a:cubicBezTo>
                    <a:cubicBezTo>
                      <a:pt x="126" y="52"/>
                      <a:pt x="127" y="51"/>
                      <a:pt x="129" y="50"/>
                    </a:cubicBezTo>
                    <a:cubicBezTo>
                      <a:pt x="124" y="44"/>
                      <a:pt x="120" y="39"/>
                      <a:pt x="115" y="34"/>
                    </a:cubicBezTo>
                    <a:cubicBezTo>
                      <a:pt x="95" y="18"/>
                      <a:pt x="80" y="6"/>
                      <a:pt x="73" y="4"/>
                    </a:cubicBezTo>
                    <a:cubicBezTo>
                      <a:pt x="56" y="3"/>
                      <a:pt x="23" y="1"/>
                      <a:pt x="1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9" name="Freeform 368">
                <a:extLst>
                  <a:ext uri="{FF2B5EF4-FFF2-40B4-BE49-F238E27FC236}">
                    <a16:creationId xmlns:a16="http://schemas.microsoft.com/office/drawing/2014/main" id="{7BE2DF5E-8710-4894-8955-1D8FCC9B1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7" y="1242"/>
                <a:ext cx="47" cy="52"/>
              </a:xfrm>
              <a:custGeom>
                <a:avLst/>
                <a:gdLst>
                  <a:gd name="T0" fmla="*/ 0 w 86"/>
                  <a:gd name="T1" fmla="*/ 0 h 95"/>
                  <a:gd name="T2" fmla="*/ 81 w 86"/>
                  <a:gd name="T3" fmla="*/ 95 h 95"/>
                  <a:gd name="T4" fmla="*/ 86 w 86"/>
                  <a:gd name="T5" fmla="*/ 90 h 95"/>
                  <a:gd name="T6" fmla="*/ 85 w 86"/>
                  <a:gd name="T7" fmla="*/ 89 h 95"/>
                  <a:gd name="T8" fmla="*/ 43 w 86"/>
                  <a:gd name="T9" fmla="*/ 38 h 95"/>
                  <a:gd name="T10" fmla="*/ 0 w 86"/>
                  <a:gd name="T11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6" h="95">
                    <a:moveTo>
                      <a:pt x="0" y="0"/>
                    </a:moveTo>
                    <a:cubicBezTo>
                      <a:pt x="17" y="20"/>
                      <a:pt x="50" y="58"/>
                      <a:pt x="81" y="95"/>
                    </a:cubicBezTo>
                    <a:cubicBezTo>
                      <a:pt x="86" y="90"/>
                      <a:pt x="86" y="90"/>
                      <a:pt x="86" y="90"/>
                    </a:cubicBezTo>
                    <a:cubicBezTo>
                      <a:pt x="85" y="90"/>
                      <a:pt x="85" y="89"/>
                      <a:pt x="85" y="89"/>
                    </a:cubicBezTo>
                    <a:cubicBezTo>
                      <a:pt x="77" y="76"/>
                      <a:pt x="62" y="57"/>
                      <a:pt x="43" y="38"/>
                    </a:cubicBezTo>
                    <a:cubicBezTo>
                      <a:pt x="28" y="23"/>
                      <a:pt x="12" y="10"/>
                      <a:pt x="0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0" name="Freeform 369">
                <a:extLst>
                  <a:ext uri="{FF2B5EF4-FFF2-40B4-BE49-F238E27FC236}">
                    <a16:creationId xmlns:a16="http://schemas.microsoft.com/office/drawing/2014/main" id="{37102B75-C423-4133-9187-B00C03598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7" y="1237"/>
                <a:ext cx="54" cy="60"/>
              </a:xfrm>
              <a:custGeom>
                <a:avLst/>
                <a:gdLst>
                  <a:gd name="T0" fmla="*/ 5 w 100"/>
                  <a:gd name="T1" fmla="*/ 0 h 110"/>
                  <a:gd name="T2" fmla="*/ 0 w 100"/>
                  <a:gd name="T3" fmla="*/ 2 h 110"/>
                  <a:gd name="T4" fmla="*/ 80 w 100"/>
                  <a:gd name="T5" fmla="*/ 94 h 110"/>
                  <a:gd name="T6" fmla="*/ 94 w 100"/>
                  <a:gd name="T7" fmla="*/ 110 h 110"/>
                  <a:gd name="T8" fmla="*/ 99 w 100"/>
                  <a:gd name="T9" fmla="*/ 105 h 110"/>
                  <a:gd name="T10" fmla="*/ 100 w 100"/>
                  <a:gd name="T11" fmla="*/ 104 h 110"/>
                  <a:gd name="T12" fmla="*/ 19 w 100"/>
                  <a:gd name="T13" fmla="*/ 9 h 110"/>
                  <a:gd name="T14" fmla="*/ 6 w 100"/>
                  <a:gd name="T15" fmla="*/ 0 h 110"/>
                  <a:gd name="T16" fmla="*/ 5 w 100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110">
                    <a:moveTo>
                      <a:pt x="5" y="0"/>
                    </a:moveTo>
                    <a:cubicBezTo>
                      <a:pt x="4" y="0"/>
                      <a:pt x="2" y="0"/>
                      <a:pt x="0" y="2"/>
                    </a:cubicBezTo>
                    <a:cubicBezTo>
                      <a:pt x="12" y="15"/>
                      <a:pt x="46" y="53"/>
                      <a:pt x="80" y="94"/>
                    </a:cubicBezTo>
                    <a:cubicBezTo>
                      <a:pt x="85" y="99"/>
                      <a:pt x="89" y="104"/>
                      <a:pt x="94" y="110"/>
                    </a:cubicBezTo>
                    <a:cubicBezTo>
                      <a:pt x="95" y="108"/>
                      <a:pt x="97" y="107"/>
                      <a:pt x="99" y="105"/>
                    </a:cubicBezTo>
                    <a:cubicBezTo>
                      <a:pt x="100" y="104"/>
                      <a:pt x="100" y="104"/>
                      <a:pt x="100" y="104"/>
                    </a:cubicBezTo>
                    <a:cubicBezTo>
                      <a:pt x="69" y="67"/>
                      <a:pt x="36" y="29"/>
                      <a:pt x="19" y="9"/>
                    </a:cubicBezTo>
                    <a:cubicBezTo>
                      <a:pt x="14" y="5"/>
                      <a:pt x="10" y="3"/>
                      <a:pt x="6" y="0"/>
                    </a:cubicBezTo>
                    <a:cubicBezTo>
                      <a:pt x="6" y="0"/>
                      <a:pt x="6" y="0"/>
                      <a:pt x="5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1" name="Freeform 370">
                <a:extLst>
                  <a:ext uri="{FF2B5EF4-FFF2-40B4-BE49-F238E27FC236}">
                    <a16:creationId xmlns:a16="http://schemas.microsoft.com/office/drawing/2014/main" id="{82ADC757-9319-48E7-8A35-BC7A3D1D1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237"/>
                <a:ext cx="77" cy="54"/>
              </a:xfrm>
              <a:custGeom>
                <a:avLst/>
                <a:gdLst>
                  <a:gd name="T0" fmla="*/ 40 w 140"/>
                  <a:gd name="T1" fmla="*/ 0 h 99"/>
                  <a:gd name="T2" fmla="*/ 19 w 140"/>
                  <a:gd name="T3" fmla="*/ 17 h 99"/>
                  <a:gd name="T4" fmla="*/ 0 w 140"/>
                  <a:gd name="T5" fmla="*/ 67 h 99"/>
                  <a:gd name="T6" fmla="*/ 1 w 140"/>
                  <a:gd name="T7" fmla="*/ 60 h 99"/>
                  <a:gd name="T8" fmla="*/ 19 w 140"/>
                  <a:gd name="T9" fmla="*/ 17 h 99"/>
                  <a:gd name="T10" fmla="*/ 35 w 140"/>
                  <a:gd name="T11" fmla="*/ 2 h 99"/>
                  <a:gd name="T12" fmla="*/ 40 w 140"/>
                  <a:gd name="T13" fmla="*/ 0 h 99"/>
                  <a:gd name="T14" fmla="*/ 41 w 140"/>
                  <a:gd name="T15" fmla="*/ 0 h 99"/>
                  <a:gd name="T16" fmla="*/ 54 w 140"/>
                  <a:gd name="T17" fmla="*/ 9 h 99"/>
                  <a:gd name="T18" fmla="*/ 97 w 140"/>
                  <a:gd name="T19" fmla="*/ 47 h 99"/>
                  <a:gd name="T20" fmla="*/ 139 w 140"/>
                  <a:gd name="T21" fmla="*/ 98 h 99"/>
                  <a:gd name="T22" fmla="*/ 140 w 140"/>
                  <a:gd name="T23" fmla="*/ 99 h 99"/>
                  <a:gd name="T24" fmla="*/ 140 w 140"/>
                  <a:gd name="T25" fmla="*/ 99 h 99"/>
                  <a:gd name="T26" fmla="*/ 139 w 140"/>
                  <a:gd name="T27" fmla="*/ 98 h 99"/>
                  <a:gd name="T28" fmla="*/ 97 w 140"/>
                  <a:gd name="T29" fmla="*/ 47 h 99"/>
                  <a:gd name="T30" fmla="*/ 41 w 140"/>
                  <a:gd name="T31" fmla="*/ 0 h 99"/>
                  <a:gd name="T32" fmla="*/ 40 w 140"/>
                  <a:gd name="T3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0" h="99">
                    <a:moveTo>
                      <a:pt x="40" y="0"/>
                    </a:moveTo>
                    <a:cubicBezTo>
                      <a:pt x="35" y="0"/>
                      <a:pt x="25" y="8"/>
                      <a:pt x="19" y="17"/>
                    </a:cubicBezTo>
                    <a:cubicBezTo>
                      <a:pt x="13" y="26"/>
                      <a:pt x="0" y="48"/>
                      <a:pt x="0" y="67"/>
                    </a:cubicBezTo>
                    <a:cubicBezTo>
                      <a:pt x="0" y="65"/>
                      <a:pt x="0" y="63"/>
                      <a:pt x="1" y="60"/>
                    </a:cubicBezTo>
                    <a:cubicBezTo>
                      <a:pt x="3" y="43"/>
                      <a:pt x="14" y="25"/>
                      <a:pt x="19" y="17"/>
                    </a:cubicBezTo>
                    <a:cubicBezTo>
                      <a:pt x="24" y="11"/>
                      <a:pt x="30" y="5"/>
                      <a:pt x="35" y="2"/>
                    </a:cubicBezTo>
                    <a:cubicBezTo>
                      <a:pt x="37" y="0"/>
                      <a:pt x="39" y="0"/>
                      <a:pt x="40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5" y="3"/>
                      <a:pt x="49" y="5"/>
                      <a:pt x="54" y="9"/>
                    </a:cubicBezTo>
                    <a:cubicBezTo>
                      <a:pt x="66" y="19"/>
                      <a:pt x="82" y="32"/>
                      <a:pt x="97" y="47"/>
                    </a:cubicBezTo>
                    <a:cubicBezTo>
                      <a:pt x="116" y="66"/>
                      <a:pt x="131" y="85"/>
                      <a:pt x="139" y="98"/>
                    </a:cubicBezTo>
                    <a:cubicBezTo>
                      <a:pt x="139" y="98"/>
                      <a:pt x="139" y="99"/>
                      <a:pt x="140" y="99"/>
                    </a:cubicBezTo>
                    <a:cubicBezTo>
                      <a:pt x="140" y="99"/>
                      <a:pt x="140" y="99"/>
                      <a:pt x="140" y="99"/>
                    </a:cubicBezTo>
                    <a:cubicBezTo>
                      <a:pt x="139" y="99"/>
                      <a:pt x="139" y="98"/>
                      <a:pt x="139" y="98"/>
                    </a:cubicBezTo>
                    <a:cubicBezTo>
                      <a:pt x="131" y="85"/>
                      <a:pt x="116" y="66"/>
                      <a:pt x="97" y="47"/>
                    </a:cubicBezTo>
                    <a:cubicBezTo>
                      <a:pt x="77" y="27"/>
                      <a:pt x="56" y="9"/>
                      <a:pt x="41" y="0"/>
                    </a:cubicBezTo>
                    <a:cubicBezTo>
                      <a:pt x="41" y="0"/>
                      <a:pt x="41" y="0"/>
                      <a:pt x="40" y="0"/>
                    </a:cubicBezTo>
                  </a:path>
                </a:pathLst>
              </a:custGeom>
              <a:solidFill>
                <a:srgbClr val="48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2" name="Freeform 371">
                <a:extLst>
                  <a:ext uri="{FF2B5EF4-FFF2-40B4-BE49-F238E27FC236}">
                    <a16:creationId xmlns:a16="http://schemas.microsoft.com/office/drawing/2014/main" id="{B7909B09-4D75-4109-8EBE-ED2424720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0" y="1904"/>
                <a:ext cx="125" cy="31"/>
              </a:xfrm>
              <a:custGeom>
                <a:avLst/>
                <a:gdLst>
                  <a:gd name="T0" fmla="*/ 2 w 125"/>
                  <a:gd name="T1" fmla="*/ 0 h 31"/>
                  <a:gd name="T2" fmla="*/ 0 w 125"/>
                  <a:gd name="T3" fmla="*/ 10 h 31"/>
                  <a:gd name="T4" fmla="*/ 124 w 125"/>
                  <a:gd name="T5" fmla="*/ 31 h 31"/>
                  <a:gd name="T6" fmla="*/ 125 w 125"/>
                  <a:gd name="T7" fmla="*/ 22 h 31"/>
                  <a:gd name="T8" fmla="*/ 2 w 125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31">
                    <a:moveTo>
                      <a:pt x="2" y="0"/>
                    </a:moveTo>
                    <a:lnTo>
                      <a:pt x="0" y="10"/>
                    </a:lnTo>
                    <a:lnTo>
                      <a:pt x="124" y="31"/>
                    </a:lnTo>
                    <a:lnTo>
                      <a:pt x="125" y="2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3" name="Freeform 372">
                <a:extLst>
                  <a:ext uri="{FF2B5EF4-FFF2-40B4-BE49-F238E27FC236}">
                    <a16:creationId xmlns:a16="http://schemas.microsoft.com/office/drawing/2014/main" id="{D3AB4F54-6CC0-4126-829F-75E5416E5C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0" y="1904"/>
                <a:ext cx="125" cy="31"/>
              </a:xfrm>
              <a:custGeom>
                <a:avLst/>
                <a:gdLst>
                  <a:gd name="T0" fmla="*/ 2 w 125"/>
                  <a:gd name="T1" fmla="*/ 0 h 31"/>
                  <a:gd name="T2" fmla="*/ 0 w 125"/>
                  <a:gd name="T3" fmla="*/ 10 h 31"/>
                  <a:gd name="T4" fmla="*/ 124 w 125"/>
                  <a:gd name="T5" fmla="*/ 31 h 31"/>
                  <a:gd name="T6" fmla="*/ 125 w 125"/>
                  <a:gd name="T7" fmla="*/ 22 h 31"/>
                  <a:gd name="T8" fmla="*/ 2 w 125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31">
                    <a:moveTo>
                      <a:pt x="2" y="0"/>
                    </a:moveTo>
                    <a:lnTo>
                      <a:pt x="0" y="10"/>
                    </a:lnTo>
                    <a:lnTo>
                      <a:pt x="124" y="31"/>
                    </a:lnTo>
                    <a:lnTo>
                      <a:pt x="125" y="2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4" name="Freeform 373">
                <a:extLst>
                  <a:ext uri="{FF2B5EF4-FFF2-40B4-BE49-F238E27FC236}">
                    <a16:creationId xmlns:a16="http://schemas.microsoft.com/office/drawing/2014/main" id="{206A8866-9713-40EC-9FF2-84F59C938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8"/>
                <a:ext cx="124" cy="24"/>
              </a:xfrm>
              <a:custGeom>
                <a:avLst/>
                <a:gdLst>
                  <a:gd name="T0" fmla="*/ 0 w 124"/>
                  <a:gd name="T1" fmla="*/ 0 h 24"/>
                  <a:gd name="T2" fmla="*/ 0 w 124"/>
                  <a:gd name="T3" fmla="*/ 3 h 24"/>
                  <a:gd name="T4" fmla="*/ 123 w 124"/>
                  <a:gd name="T5" fmla="*/ 24 h 24"/>
                  <a:gd name="T6" fmla="*/ 124 w 124"/>
                  <a:gd name="T7" fmla="*/ 21 h 24"/>
                  <a:gd name="T8" fmla="*/ 0 w 1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4">
                    <a:moveTo>
                      <a:pt x="0" y="0"/>
                    </a:moveTo>
                    <a:lnTo>
                      <a:pt x="0" y="3"/>
                    </a:lnTo>
                    <a:lnTo>
                      <a:pt x="123" y="24"/>
                    </a:lnTo>
                    <a:lnTo>
                      <a:pt x="124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FD9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5" name="Freeform 374">
                <a:extLst>
                  <a:ext uri="{FF2B5EF4-FFF2-40B4-BE49-F238E27FC236}">
                    <a16:creationId xmlns:a16="http://schemas.microsoft.com/office/drawing/2014/main" id="{50F5B320-CEAB-4C99-AA4E-AA132BF9C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8"/>
                <a:ext cx="124" cy="24"/>
              </a:xfrm>
              <a:custGeom>
                <a:avLst/>
                <a:gdLst>
                  <a:gd name="T0" fmla="*/ 0 w 124"/>
                  <a:gd name="T1" fmla="*/ 0 h 24"/>
                  <a:gd name="T2" fmla="*/ 0 w 124"/>
                  <a:gd name="T3" fmla="*/ 3 h 24"/>
                  <a:gd name="T4" fmla="*/ 123 w 124"/>
                  <a:gd name="T5" fmla="*/ 24 h 24"/>
                  <a:gd name="T6" fmla="*/ 124 w 124"/>
                  <a:gd name="T7" fmla="*/ 21 h 24"/>
                  <a:gd name="T8" fmla="*/ 0 w 1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4">
                    <a:moveTo>
                      <a:pt x="0" y="0"/>
                    </a:moveTo>
                    <a:lnTo>
                      <a:pt x="0" y="3"/>
                    </a:lnTo>
                    <a:lnTo>
                      <a:pt x="123" y="24"/>
                    </a:lnTo>
                    <a:lnTo>
                      <a:pt x="124" y="2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6" name="Freeform 375">
                <a:extLst>
                  <a:ext uri="{FF2B5EF4-FFF2-40B4-BE49-F238E27FC236}">
                    <a16:creationId xmlns:a16="http://schemas.microsoft.com/office/drawing/2014/main" id="{0AFC7B68-01EE-4557-9C7D-F23C34DE6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4"/>
                <a:ext cx="124" cy="25"/>
              </a:xfrm>
              <a:custGeom>
                <a:avLst/>
                <a:gdLst>
                  <a:gd name="T0" fmla="*/ 1 w 124"/>
                  <a:gd name="T1" fmla="*/ 0 h 25"/>
                  <a:gd name="T2" fmla="*/ 0 w 124"/>
                  <a:gd name="T3" fmla="*/ 4 h 25"/>
                  <a:gd name="T4" fmla="*/ 124 w 124"/>
                  <a:gd name="T5" fmla="*/ 25 h 25"/>
                  <a:gd name="T6" fmla="*/ 124 w 124"/>
                  <a:gd name="T7" fmla="*/ 22 h 25"/>
                  <a:gd name="T8" fmla="*/ 1 w 12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5">
                    <a:moveTo>
                      <a:pt x="1" y="0"/>
                    </a:moveTo>
                    <a:lnTo>
                      <a:pt x="0" y="4"/>
                    </a:lnTo>
                    <a:lnTo>
                      <a:pt x="124" y="25"/>
                    </a:lnTo>
                    <a:lnTo>
                      <a:pt x="124" y="2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7" name="Freeform 376">
                <a:extLst>
                  <a:ext uri="{FF2B5EF4-FFF2-40B4-BE49-F238E27FC236}">
                    <a16:creationId xmlns:a16="http://schemas.microsoft.com/office/drawing/2014/main" id="{1299662E-305A-40E1-B984-1F2D961F72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4"/>
                <a:ext cx="124" cy="25"/>
              </a:xfrm>
              <a:custGeom>
                <a:avLst/>
                <a:gdLst>
                  <a:gd name="T0" fmla="*/ 1 w 124"/>
                  <a:gd name="T1" fmla="*/ 0 h 25"/>
                  <a:gd name="T2" fmla="*/ 0 w 124"/>
                  <a:gd name="T3" fmla="*/ 4 h 25"/>
                  <a:gd name="T4" fmla="*/ 124 w 124"/>
                  <a:gd name="T5" fmla="*/ 25 h 25"/>
                  <a:gd name="T6" fmla="*/ 124 w 124"/>
                  <a:gd name="T7" fmla="*/ 22 h 25"/>
                  <a:gd name="T8" fmla="*/ 1 w 12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5">
                    <a:moveTo>
                      <a:pt x="1" y="0"/>
                    </a:moveTo>
                    <a:lnTo>
                      <a:pt x="0" y="4"/>
                    </a:lnTo>
                    <a:lnTo>
                      <a:pt x="124" y="25"/>
                    </a:lnTo>
                    <a:lnTo>
                      <a:pt x="124" y="22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8" name="Freeform 377">
                <a:extLst>
                  <a:ext uri="{FF2B5EF4-FFF2-40B4-BE49-F238E27FC236}">
                    <a16:creationId xmlns:a16="http://schemas.microsoft.com/office/drawing/2014/main" id="{7C639E82-6AE7-440B-8C37-EA257EA9EE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3" y="1926"/>
                <a:ext cx="17" cy="9"/>
              </a:xfrm>
              <a:custGeom>
                <a:avLst/>
                <a:gdLst>
                  <a:gd name="T0" fmla="*/ 4 w 30"/>
                  <a:gd name="T1" fmla="*/ 0 h 18"/>
                  <a:gd name="T2" fmla="*/ 1 w 30"/>
                  <a:gd name="T3" fmla="*/ 9 h 18"/>
                  <a:gd name="T4" fmla="*/ 1 w 30"/>
                  <a:gd name="T5" fmla="*/ 18 h 18"/>
                  <a:gd name="T6" fmla="*/ 29 w 30"/>
                  <a:gd name="T7" fmla="*/ 14 h 18"/>
                  <a:gd name="T8" fmla="*/ 30 w 30"/>
                  <a:gd name="T9" fmla="*/ 14 h 18"/>
                  <a:gd name="T10" fmla="*/ 30 w 30"/>
                  <a:gd name="T11" fmla="*/ 13 h 18"/>
                  <a:gd name="T12" fmla="*/ 4 w 30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8">
                    <a:moveTo>
                      <a:pt x="4" y="0"/>
                    </a:moveTo>
                    <a:cubicBezTo>
                      <a:pt x="4" y="0"/>
                      <a:pt x="2" y="4"/>
                      <a:pt x="1" y="9"/>
                    </a:cubicBezTo>
                    <a:cubicBezTo>
                      <a:pt x="0" y="13"/>
                      <a:pt x="1" y="18"/>
                      <a:pt x="1" y="18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9" name="Freeform 378">
                <a:extLst>
                  <a:ext uri="{FF2B5EF4-FFF2-40B4-BE49-F238E27FC236}">
                    <a16:creationId xmlns:a16="http://schemas.microsoft.com/office/drawing/2014/main" id="{807C67F4-8BC0-44E5-956F-2CBD6556A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1902"/>
                <a:ext cx="17" cy="12"/>
              </a:xfrm>
              <a:custGeom>
                <a:avLst/>
                <a:gdLst>
                  <a:gd name="T0" fmla="*/ 31 w 31"/>
                  <a:gd name="T1" fmla="*/ 4 h 22"/>
                  <a:gd name="T2" fmla="*/ 8 w 31"/>
                  <a:gd name="T3" fmla="*/ 0 h 22"/>
                  <a:gd name="T4" fmla="*/ 2 w 31"/>
                  <a:gd name="T5" fmla="*/ 5 h 22"/>
                  <a:gd name="T6" fmla="*/ 0 w 31"/>
                  <a:gd name="T7" fmla="*/ 12 h 22"/>
                  <a:gd name="T8" fmla="*/ 5 w 31"/>
                  <a:gd name="T9" fmla="*/ 18 h 22"/>
                  <a:gd name="T10" fmla="*/ 28 w 31"/>
                  <a:gd name="T11" fmla="*/ 22 h 22"/>
                  <a:gd name="T12" fmla="*/ 31 w 31"/>
                  <a:gd name="T13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22">
                    <a:moveTo>
                      <a:pt x="31" y="4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5" y="0"/>
                      <a:pt x="2" y="2"/>
                      <a:pt x="2" y="5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5"/>
                      <a:pt x="2" y="18"/>
                      <a:pt x="5" y="18"/>
                    </a:cubicBezTo>
                    <a:cubicBezTo>
                      <a:pt x="28" y="22"/>
                      <a:pt x="28" y="22"/>
                      <a:pt x="28" y="22"/>
                    </a:cubicBezTo>
                    <a:cubicBezTo>
                      <a:pt x="31" y="4"/>
                      <a:pt x="31" y="4"/>
                      <a:pt x="31" y="4"/>
                    </a:cubicBezTo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0" name="Freeform 379">
                <a:extLst>
                  <a:ext uri="{FF2B5EF4-FFF2-40B4-BE49-F238E27FC236}">
                    <a16:creationId xmlns:a16="http://schemas.microsoft.com/office/drawing/2014/main" id="{B2516412-1948-4C95-A96F-92CFAEFCC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1903"/>
                <a:ext cx="9" cy="12"/>
              </a:xfrm>
              <a:custGeom>
                <a:avLst/>
                <a:gdLst>
                  <a:gd name="T0" fmla="*/ 9 w 9"/>
                  <a:gd name="T1" fmla="*/ 1 h 12"/>
                  <a:gd name="T2" fmla="*/ 2 w 9"/>
                  <a:gd name="T3" fmla="*/ 0 h 12"/>
                  <a:gd name="T4" fmla="*/ 0 w 9"/>
                  <a:gd name="T5" fmla="*/ 11 h 12"/>
                  <a:gd name="T6" fmla="*/ 7 w 9"/>
                  <a:gd name="T7" fmla="*/ 12 h 12"/>
                  <a:gd name="T8" fmla="*/ 9 w 9"/>
                  <a:gd name="T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2">
                    <a:moveTo>
                      <a:pt x="9" y="1"/>
                    </a:moveTo>
                    <a:lnTo>
                      <a:pt x="2" y="0"/>
                    </a:lnTo>
                    <a:lnTo>
                      <a:pt x="0" y="11"/>
                    </a:lnTo>
                    <a:lnTo>
                      <a:pt x="7" y="12"/>
                    </a:lnTo>
                    <a:lnTo>
                      <a:pt x="9" y="1"/>
                    </a:lnTo>
                    <a:close/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1" name="Freeform 380">
                <a:extLst>
                  <a:ext uri="{FF2B5EF4-FFF2-40B4-BE49-F238E27FC236}">
                    <a16:creationId xmlns:a16="http://schemas.microsoft.com/office/drawing/2014/main" id="{0105CCF7-99D8-4057-9645-B2FF25547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1903"/>
                <a:ext cx="9" cy="12"/>
              </a:xfrm>
              <a:custGeom>
                <a:avLst/>
                <a:gdLst>
                  <a:gd name="T0" fmla="*/ 9 w 9"/>
                  <a:gd name="T1" fmla="*/ 1 h 12"/>
                  <a:gd name="T2" fmla="*/ 2 w 9"/>
                  <a:gd name="T3" fmla="*/ 0 h 12"/>
                  <a:gd name="T4" fmla="*/ 0 w 9"/>
                  <a:gd name="T5" fmla="*/ 11 h 12"/>
                  <a:gd name="T6" fmla="*/ 7 w 9"/>
                  <a:gd name="T7" fmla="*/ 12 h 12"/>
                  <a:gd name="T8" fmla="*/ 9 w 9"/>
                  <a:gd name="T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2">
                    <a:moveTo>
                      <a:pt x="9" y="1"/>
                    </a:moveTo>
                    <a:lnTo>
                      <a:pt x="2" y="0"/>
                    </a:lnTo>
                    <a:lnTo>
                      <a:pt x="0" y="11"/>
                    </a:lnTo>
                    <a:lnTo>
                      <a:pt x="7" y="12"/>
                    </a:lnTo>
                    <a:lnTo>
                      <a:pt x="9" y="1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2" name="Freeform 381">
                <a:extLst>
                  <a:ext uri="{FF2B5EF4-FFF2-40B4-BE49-F238E27FC236}">
                    <a16:creationId xmlns:a16="http://schemas.microsoft.com/office/drawing/2014/main" id="{1E54C398-CFA7-465C-9B64-86DBB11A31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1930"/>
                <a:ext cx="7" cy="4"/>
              </a:xfrm>
              <a:custGeom>
                <a:avLst/>
                <a:gdLst>
                  <a:gd name="T0" fmla="*/ 2 w 12"/>
                  <a:gd name="T1" fmla="*/ 0 h 7"/>
                  <a:gd name="T2" fmla="*/ 12 w 12"/>
                  <a:gd name="T3" fmla="*/ 4 h 7"/>
                  <a:gd name="T4" fmla="*/ 11 w 12"/>
                  <a:gd name="T5" fmla="*/ 5 h 7"/>
                  <a:gd name="T6" fmla="*/ 1 w 12"/>
                  <a:gd name="T7" fmla="*/ 7 h 7"/>
                  <a:gd name="T8" fmla="*/ 0 w 12"/>
                  <a:gd name="T9" fmla="*/ 3 h 7"/>
                  <a:gd name="T10" fmla="*/ 2 w 12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7">
                    <a:moveTo>
                      <a:pt x="2" y="0"/>
                    </a:moveTo>
                    <a:cubicBezTo>
                      <a:pt x="12" y="4"/>
                      <a:pt x="12" y="4"/>
                      <a:pt x="12" y="4"/>
                    </a:cubicBezTo>
                    <a:cubicBezTo>
                      <a:pt x="12" y="5"/>
                      <a:pt x="12" y="5"/>
                      <a:pt x="11" y="5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2" y="0"/>
                      <a:pt x="2" y="0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3" name="Freeform 382">
                <a:extLst>
                  <a:ext uri="{FF2B5EF4-FFF2-40B4-BE49-F238E27FC236}">
                    <a16:creationId xmlns:a16="http://schemas.microsoft.com/office/drawing/2014/main" id="{896FB7CE-3B6B-42C6-9F7A-4563CB072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4" y="1926"/>
                <a:ext cx="10" cy="6"/>
              </a:xfrm>
              <a:custGeom>
                <a:avLst/>
                <a:gdLst>
                  <a:gd name="T0" fmla="*/ 3 w 19"/>
                  <a:gd name="T1" fmla="*/ 0 h 12"/>
                  <a:gd name="T2" fmla="*/ 3 w 19"/>
                  <a:gd name="T3" fmla="*/ 0 h 12"/>
                  <a:gd name="T4" fmla="*/ 0 w 19"/>
                  <a:gd name="T5" fmla="*/ 6 h 12"/>
                  <a:gd name="T6" fmla="*/ 0 w 19"/>
                  <a:gd name="T7" fmla="*/ 6 h 12"/>
                  <a:gd name="T8" fmla="*/ 0 w 19"/>
                  <a:gd name="T9" fmla="*/ 9 h 12"/>
                  <a:gd name="T10" fmla="*/ 17 w 19"/>
                  <a:gd name="T11" fmla="*/ 12 h 12"/>
                  <a:gd name="T12" fmla="*/ 17 w 19"/>
                  <a:gd name="T13" fmla="*/ 12 h 12"/>
                  <a:gd name="T14" fmla="*/ 19 w 19"/>
                  <a:gd name="T15" fmla="*/ 9 h 12"/>
                  <a:gd name="T16" fmla="*/ 3 w 19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2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1" y="3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8" y="10"/>
                      <a:pt x="19" y="9"/>
                      <a:pt x="19" y="9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4" name="Freeform 383">
                <a:extLst>
                  <a:ext uri="{FF2B5EF4-FFF2-40B4-BE49-F238E27FC236}">
                    <a16:creationId xmlns:a16="http://schemas.microsoft.com/office/drawing/2014/main" id="{05AC44AD-B32D-455B-A728-BC1AFAEC1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1930"/>
                <a:ext cx="7" cy="3"/>
              </a:xfrm>
              <a:custGeom>
                <a:avLst/>
                <a:gdLst>
                  <a:gd name="T0" fmla="*/ 2 w 12"/>
                  <a:gd name="T1" fmla="*/ 0 h 5"/>
                  <a:gd name="T2" fmla="*/ 2 w 12"/>
                  <a:gd name="T3" fmla="*/ 0 h 5"/>
                  <a:gd name="T4" fmla="*/ 0 w 12"/>
                  <a:gd name="T5" fmla="*/ 3 h 5"/>
                  <a:gd name="T6" fmla="*/ 0 w 12"/>
                  <a:gd name="T7" fmla="*/ 3 h 5"/>
                  <a:gd name="T8" fmla="*/ 12 w 12"/>
                  <a:gd name="T9" fmla="*/ 5 h 5"/>
                  <a:gd name="T10" fmla="*/ 12 w 12"/>
                  <a:gd name="T11" fmla="*/ 4 h 5"/>
                  <a:gd name="T12" fmla="*/ 12 w 12"/>
                  <a:gd name="T13" fmla="*/ 4 h 5"/>
                  <a:gd name="T14" fmla="*/ 2 w 12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5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1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5" name="Freeform 384">
                <a:extLst>
                  <a:ext uri="{FF2B5EF4-FFF2-40B4-BE49-F238E27FC236}">
                    <a16:creationId xmlns:a16="http://schemas.microsoft.com/office/drawing/2014/main" id="{6A4423B9-8FAC-403A-A409-FA8EDC1328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6" y="1902"/>
                <a:ext cx="16" cy="3"/>
              </a:xfrm>
              <a:custGeom>
                <a:avLst/>
                <a:gdLst>
                  <a:gd name="T0" fmla="*/ 30 w 30"/>
                  <a:gd name="T1" fmla="*/ 4 h 5"/>
                  <a:gd name="T2" fmla="*/ 29 w 30"/>
                  <a:gd name="T3" fmla="*/ 4 h 5"/>
                  <a:gd name="T4" fmla="*/ 29 w 30"/>
                  <a:gd name="T5" fmla="*/ 4 h 5"/>
                  <a:gd name="T6" fmla="*/ 30 w 30"/>
                  <a:gd name="T7" fmla="*/ 4 h 5"/>
                  <a:gd name="T8" fmla="*/ 5 w 30"/>
                  <a:gd name="T9" fmla="*/ 0 h 5"/>
                  <a:gd name="T10" fmla="*/ 0 w 30"/>
                  <a:gd name="T11" fmla="*/ 5 h 5"/>
                  <a:gd name="T12" fmla="*/ 0 w 30"/>
                  <a:gd name="T13" fmla="*/ 5 h 5"/>
                  <a:gd name="T14" fmla="*/ 5 w 30"/>
                  <a:gd name="T15" fmla="*/ 0 h 5"/>
                  <a:gd name="T16" fmla="*/ 6 w 30"/>
                  <a:gd name="T17" fmla="*/ 0 h 5"/>
                  <a:gd name="T18" fmla="*/ 17 w 30"/>
                  <a:gd name="T19" fmla="*/ 2 h 5"/>
                  <a:gd name="T20" fmla="*/ 17 w 30"/>
                  <a:gd name="T21" fmla="*/ 2 h 5"/>
                  <a:gd name="T22" fmla="*/ 6 w 30"/>
                  <a:gd name="T23" fmla="*/ 0 h 5"/>
                  <a:gd name="T24" fmla="*/ 5 w 30"/>
                  <a:gd name="T2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5">
                    <a:moveTo>
                      <a:pt x="30" y="4"/>
                    </a:moveTo>
                    <a:cubicBezTo>
                      <a:pt x="29" y="4"/>
                      <a:pt x="29" y="4"/>
                      <a:pt x="29" y="4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30" y="4"/>
                      <a:pt x="30" y="4"/>
                      <a:pt x="30" y="4"/>
                    </a:cubicBezTo>
                    <a:moveTo>
                      <a:pt x="5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6" y="0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6" name="Rectangle 385">
                <a:extLst>
                  <a:ext uri="{FF2B5EF4-FFF2-40B4-BE49-F238E27FC236}">
                    <a16:creationId xmlns:a16="http://schemas.microsoft.com/office/drawing/2014/main" id="{68D40DAB-CDA5-423B-96C9-AF66D0C451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1" y="1908"/>
                <a:ext cx="1" cy="1"/>
              </a:xfrm>
              <a:prstGeom prst="rect">
                <a:avLst/>
              </a:prstGeom>
              <a:solidFill>
                <a:srgbClr val="BDAC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7" name="Rectangle 386">
                <a:extLst>
                  <a:ext uri="{FF2B5EF4-FFF2-40B4-BE49-F238E27FC236}">
                    <a16:creationId xmlns:a16="http://schemas.microsoft.com/office/drawing/2014/main" id="{B459FC52-0A21-4E08-A17C-FA6A7353CA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1" y="190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8" name="Freeform 387">
                <a:extLst>
                  <a:ext uri="{FF2B5EF4-FFF2-40B4-BE49-F238E27FC236}">
                    <a16:creationId xmlns:a16="http://schemas.microsoft.com/office/drawing/2014/main" id="{10CE0AD1-52AE-4A55-9742-9BEBF5101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1" y="1904"/>
                <a:ext cx="1" cy="4"/>
              </a:xfrm>
              <a:custGeom>
                <a:avLst/>
                <a:gdLst>
                  <a:gd name="T0" fmla="*/ 1 w 1"/>
                  <a:gd name="T1" fmla="*/ 2 h 4"/>
                  <a:gd name="T2" fmla="*/ 0 w 1"/>
                  <a:gd name="T3" fmla="*/ 4 h 4"/>
                  <a:gd name="T4" fmla="*/ 0 w 1"/>
                  <a:gd name="T5" fmla="*/ 4 h 4"/>
                  <a:gd name="T6" fmla="*/ 1 w 1"/>
                  <a:gd name="T7" fmla="*/ 2 h 4"/>
                  <a:gd name="T8" fmla="*/ 1 w 1"/>
                  <a:gd name="T9" fmla="*/ 0 h 4"/>
                  <a:gd name="T10" fmla="*/ 1 w 1"/>
                  <a:gd name="T11" fmla="*/ 0 h 4"/>
                  <a:gd name="T12" fmla="*/ 1 w 1"/>
                  <a:gd name="T13" fmla="*/ 0 h 4"/>
                  <a:gd name="T14" fmla="*/ 1 w 1"/>
                  <a:gd name="T15" fmla="*/ 0 h 4"/>
                  <a:gd name="T16" fmla="*/ 1 w 1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4">
                    <a:moveTo>
                      <a:pt x="1" y="2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2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9" name="Freeform 388">
                <a:extLst>
                  <a:ext uri="{FF2B5EF4-FFF2-40B4-BE49-F238E27FC236}">
                    <a16:creationId xmlns:a16="http://schemas.microsoft.com/office/drawing/2014/main" id="{30BA4BB7-0EB6-4BE2-BBC8-7826FE917C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1" y="1904"/>
                <a:ext cx="1" cy="4"/>
              </a:xfrm>
              <a:custGeom>
                <a:avLst/>
                <a:gdLst>
                  <a:gd name="T0" fmla="*/ 1 w 1"/>
                  <a:gd name="T1" fmla="*/ 2 h 4"/>
                  <a:gd name="T2" fmla="*/ 0 w 1"/>
                  <a:gd name="T3" fmla="*/ 4 h 4"/>
                  <a:gd name="T4" fmla="*/ 0 w 1"/>
                  <a:gd name="T5" fmla="*/ 4 h 4"/>
                  <a:gd name="T6" fmla="*/ 1 w 1"/>
                  <a:gd name="T7" fmla="*/ 2 h 4"/>
                  <a:gd name="T8" fmla="*/ 1 w 1"/>
                  <a:gd name="T9" fmla="*/ 0 h 4"/>
                  <a:gd name="T10" fmla="*/ 1 w 1"/>
                  <a:gd name="T11" fmla="*/ 0 h 4"/>
                  <a:gd name="T12" fmla="*/ 1 w 1"/>
                  <a:gd name="T13" fmla="*/ 0 h 4"/>
                  <a:gd name="T14" fmla="*/ 1 w 1"/>
                  <a:gd name="T15" fmla="*/ 0 h 4"/>
                  <a:gd name="T16" fmla="*/ 1 w 1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4">
                    <a:moveTo>
                      <a:pt x="1" y="2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2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0" name="Freeform 389">
                <a:extLst>
                  <a:ext uri="{FF2B5EF4-FFF2-40B4-BE49-F238E27FC236}">
                    <a16:creationId xmlns:a16="http://schemas.microsoft.com/office/drawing/2014/main" id="{B47C0A6A-2F2B-4F94-9AC2-25F8CBEA58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5" y="1902"/>
                <a:ext cx="17" cy="7"/>
              </a:xfrm>
              <a:custGeom>
                <a:avLst/>
                <a:gdLst>
                  <a:gd name="T0" fmla="*/ 30 w 30"/>
                  <a:gd name="T1" fmla="*/ 4 h 13"/>
                  <a:gd name="T2" fmla="*/ 29 w 30"/>
                  <a:gd name="T3" fmla="*/ 13 h 13"/>
                  <a:gd name="T4" fmla="*/ 29 w 30"/>
                  <a:gd name="T5" fmla="*/ 13 h 13"/>
                  <a:gd name="T6" fmla="*/ 29 w 30"/>
                  <a:gd name="T7" fmla="*/ 10 h 13"/>
                  <a:gd name="T8" fmla="*/ 30 w 30"/>
                  <a:gd name="T9" fmla="*/ 8 h 13"/>
                  <a:gd name="T10" fmla="*/ 30 w 30"/>
                  <a:gd name="T11" fmla="*/ 4 h 13"/>
                  <a:gd name="T12" fmla="*/ 30 w 30"/>
                  <a:gd name="T13" fmla="*/ 4 h 13"/>
                  <a:gd name="T14" fmla="*/ 6 w 30"/>
                  <a:gd name="T15" fmla="*/ 0 h 13"/>
                  <a:gd name="T16" fmla="*/ 1 w 30"/>
                  <a:gd name="T17" fmla="*/ 5 h 13"/>
                  <a:gd name="T18" fmla="*/ 1 w 30"/>
                  <a:gd name="T19" fmla="*/ 5 h 13"/>
                  <a:gd name="T20" fmla="*/ 0 w 30"/>
                  <a:gd name="T21" fmla="*/ 8 h 13"/>
                  <a:gd name="T22" fmla="*/ 16 w 30"/>
                  <a:gd name="T23" fmla="*/ 11 h 13"/>
                  <a:gd name="T24" fmla="*/ 18 w 30"/>
                  <a:gd name="T25" fmla="*/ 2 h 13"/>
                  <a:gd name="T26" fmla="*/ 7 w 30"/>
                  <a:gd name="T27" fmla="*/ 0 h 13"/>
                  <a:gd name="T28" fmla="*/ 6 w 30"/>
                  <a:gd name="T2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" h="13">
                    <a:moveTo>
                      <a:pt x="30" y="4"/>
                    </a:move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4"/>
                    </a:cubicBezTo>
                    <a:moveTo>
                      <a:pt x="6" y="0"/>
                    </a:moveTo>
                    <a:cubicBezTo>
                      <a:pt x="3" y="0"/>
                      <a:pt x="1" y="2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1" name="Freeform 390">
                <a:extLst>
                  <a:ext uri="{FF2B5EF4-FFF2-40B4-BE49-F238E27FC236}">
                    <a16:creationId xmlns:a16="http://schemas.microsoft.com/office/drawing/2014/main" id="{DE41B888-30F9-4A71-8504-76A54546F1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1903"/>
                <a:ext cx="8" cy="6"/>
              </a:xfrm>
              <a:custGeom>
                <a:avLst/>
                <a:gdLst>
                  <a:gd name="T0" fmla="*/ 1 w 8"/>
                  <a:gd name="T1" fmla="*/ 0 h 6"/>
                  <a:gd name="T2" fmla="*/ 1 w 8"/>
                  <a:gd name="T3" fmla="*/ 0 h 6"/>
                  <a:gd name="T4" fmla="*/ 1 w 8"/>
                  <a:gd name="T5" fmla="*/ 0 h 6"/>
                  <a:gd name="T6" fmla="*/ 1 w 8"/>
                  <a:gd name="T7" fmla="*/ 0 h 6"/>
                  <a:gd name="T8" fmla="*/ 1 w 8"/>
                  <a:gd name="T9" fmla="*/ 0 h 6"/>
                  <a:gd name="T10" fmla="*/ 0 w 8"/>
                  <a:gd name="T11" fmla="*/ 5 h 6"/>
                  <a:gd name="T12" fmla="*/ 7 w 8"/>
                  <a:gd name="T13" fmla="*/ 6 h 6"/>
                  <a:gd name="T14" fmla="*/ 8 w 8"/>
                  <a:gd name="T15" fmla="*/ 1 h 6"/>
                  <a:gd name="T16" fmla="*/ 8 w 8"/>
                  <a:gd name="T17" fmla="*/ 1 h 6"/>
                  <a:gd name="T18" fmla="*/ 8 w 8"/>
                  <a:gd name="T19" fmla="*/ 1 h 6"/>
                  <a:gd name="T20" fmla="*/ 1 w 8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6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5"/>
                    </a:lnTo>
                    <a:lnTo>
                      <a:pt x="7" y="6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2" name="Freeform 391">
                <a:extLst>
                  <a:ext uri="{FF2B5EF4-FFF2-40B4-BE49-F238E27FC236}">
                    <a16:creationId xmlns:a16="http://schemas.microsoft.com/office/drawing/2014/main" id="{EA39F0BE-D5E8-4D02-8D6F-78E82ECE61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1903"/>
                <a:ext cx="8" cy="6"/>
              </a:xfrm>
              <a:custGeom>
                <a:avLst/>
                <a:gdLst>
                  <a:gd name="T0" fmla="*/ 1 w 8"/>
                  <a:gd name="T1" fmla="*/ 0 h 6"/>
                  <a:gd name="T2" fmla="*/ 1 w 8"/>
                  <a:gd name="T3" fmla="*/ 0 h 6"/>
                  <a:gd name="T4" fmla="*/ 1 w 8"/>
                  <a:gd name="T5" fmla="*/ 0 h 6"/>
                  <a:gd name="T6" fmla="*/ 1 w 8"/>
                  <a:gd name="T7" fmla="*/ 0 h 6"/>
                  <a:gd name="T8" fmla="*/ 1 w 8"/>
                  <a:gd name="T9" fmla="*/ 0 h 6"/>
                  <a:gd name="T10" fmla="*/ 0 w 8"/>
                  <a:gd name="T11" fmla="*/ 5 h 6"/>
                  <a:gd name="T12" fmla="*/ 7 w 8"/>
                  <a:gd name="T13" fmla="*/ 6 h 6"/>
                  <a:gd name="T14" fmla="*/ 8 w 8"/>
                  <a:gd name="T15" fmla="*/ 1 h 6"/>
                  <a:gd name="T16" fmla="*/ 8 w 8"/>
                  <a:gd name="T17" fmla="*/ 1 h 6"/>
                  <a:gd name="T18" fmla="*/ 8 w 8"/>
                  <a:gd name="T19" fmla="*/ 1 h 6"/>
                  <a:gd name="T20" fmla="*/ 1 w 8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6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5"/>
                    </a:lnTo>
                    <a:lnTo>
                      <a:pt x="7" y="6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" name="Freeform 392">
                <a:extLst>
                  <a:ext uri="{FF2B5EF4-FFF2-40B4-BE49-F238E27FC236}">
                    <a16:creationId xmlns:a16="http://schemas.microsoft.com/office/drawing/2014/main" id="{052A66CC-FBEC-47B5-AFD2-79C6DCACFA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7" cy="17"/>
              </a:xfrm>
              <a:custGeom>
                <a:avLst/>
                <a:gdLst>
                  <a:gd name="T0" fmla="*/ 0 w 107"/>
                  <a:gd name="T1" fmla="*/ 6 h 17"/>
                  <a:gd name="T2" fmla="*/ 1 w 107"/>
                  <a:gd name="T3" fmla="*/ 17 h 17"/>
                  <a:gd name="T4" fmla="*/ 107 w 107"/>
                  <a:gd name="T5" fmla="*/ 10 h 17"/>
                  <a:gd name="T6" fmla="*/ 106 w 107"/>
                  <a:gd name="T7" fmla="*/ 0 h 17"/>
                  <a:gd name="T8" fmla="*/ 0 w 107"/>
                  <a:gd name="T9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7">
                    <a:moveTo>
                      <a:pt x="0" y="6"/>
                    </a:moveTo>
                    <a:lnTo>
                      <a:pt x="1" y="17"/>
                    </a:lnTo>
                    <a:lnTo>
                      <a:pt x="107" y="10"/>
                    </a:lnTo>
                    <a:lnTo>
                      <a:pt x="106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66BF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" name="Freeform 393">
                <a:extLst>
                  <a:ext uri="{FF2B5EF4-FFF2-40B4-BE49-F238E27FC236}">
                    <a16:creationId xmlns:a16="http://schemas.microsoft.com/office/drawing/2014/main" id="{C839BD60-5C9C-400B-9A3D-5D672383F4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7" cy="17"/>
              </a:xfrm>
              <a:custGeom>
                <a:avLst/>
                <a:gdLst>
                  <a:gd name="T0" fmla="*/ 0 w 107"/>
                  <a:gd name="T1" fmla="*/ 6 h 17"/>
                  <a:gd name="T2" fmla="*/ 1 w 107"/>
                  <a:gd name="T3" fmla="*/ 17 h 17"/>
                  <a:gd name="T4" fmla="*/ 107 w 107"/>
                  <a:gd name="T5" fmla="*/ 10 h 17"/>
                  <a:gd name="T6" fmla="*/ 106 w 107"/>
                  <a:gd name="T7" fmla="*/ 0 h 17"/>
                  <a:gd name="T8" fmla="*/ 0 w 107"/>
                  <a:gd name="T9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7">
                    <a:moveTo>
                      <a:pt x="0" y="6"/>
                    </a:moveTo>
                    <a:lnTo>
                      <a:pt x="1" y="17"/>
                    </a:lnTo>
                    <a:lnTo>
                      <a:pt x="107" y="10"/>
                    </a:lnTo>
                    <a:lnTo>
                      <a:pt x="106" y="0"/>
                    </a:lnTo>
                    <a:lnTo>
                      <a:pt x="0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" name="Freeform 394">
                <a:extLst>
                  <a:ext uri="{FF2B5EF4-FFF2-40B4-BE49-F238E27FC236}">
                    <a16:creationId xmlns:a16="http://schemas.microsoft.com/office/drawing/2014/main" id="{04B1AC27-BEA5-4D97-AAA2-9EE67C00E8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51"/>
                <a:ext cx="106" cy="10"/>
              </a:xfrm>
              <a:custGeom>
                <a:avLst/>
                <a:gdLst>
                  <a:gd name="T0" fmla="*/ 0 w 106"/>
                  <a:gd name="T1" fmla="*/ 7 h 10"/>
                  <a:gd name="T2" fmla="*/ 0 w 106"/>
                  <a:gd name="T3" fmla="*/ 10 h 10"/>
                  <a:gd name="T4" fmla="*/ 106 w 106"/>
                  <a:gd name="T5" fmla="*/ 4 h 10"/>
                  <a:gd name="T6" fmla="*/ 106 w 106"/>
                  <a:gd name="T7" fmla="*/ 0 h 10"/>
                  <a:gd name="T8" fmla="*/ 0 w 106"/>
                  <a:gd name="T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7"/>
                    </a:moveTo>
                    <a:lnTo>
                      <a:pt x="0" y="10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8FE5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6" name="Freeform 395">
                <a:extLst>
                  <a:ext uri="{FF2B5EF4-FFF2-40B4-BE49-F238E27FC236}">
                    <a16:creationId xmlns:a16="http://schemas.microsoft.com/office/drawing/2014/main" id="{F44D9D01-632E-46E1-9698-5783EB5B1A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51"/>
                <a:ext cx="106" cy="10"/>
              </a:xfrm>
              <a:custGeom>
                <a:avLst/>
                <a:gdLst>
                  <a:gd name="T0" fmla="*/ 0 w 106"/>
                  <a:gd name="T1" fmla="*/ 7 h 10"/>
                  <a:gd name="T2" fmla="*/ 0 w 106"/>
                  <a:gd name="T3" fmla="*/ 10 h 10"/>
                  <a:gd name="T4" fmla="*/ 106 w 106"/>
                  <a:gd name="T5" fmla="*/ 4 h 10"/>
                  <a:gd name="T6" fmla="*/ 106 w 106"/>
                  <a:gd name="T7" fmla="*/ 0 h 10"/>
                  <a:gd name="T8" fmla="*/ 0 w 106"/>
                  <a:gd name="T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7"/>
                    </a:moveTo>
                    <a:lnTo>
                      <a:pt x="0" y="10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0" y="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396">
                <a:extLst>
                  <a:ext uri="{FF2B5EF4-FFF2-40B4-BE49-F238E27FC236}">
                    <a16:creationId xmlns:a16="http://schemas.microsoft.com/office/drawing/2014/main" id="{5EB20974-249B-4424-BE1E-6892BB0EA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6" cy="10"/>
              </a:xfrm>
              <a:custGeom>
                <a:avLst/>
                <a:gdLst>
                  <a:gd name="T0" fmla="*/ 0 w 106"/>
                  <a:gd name="T1" fmla="*/ 6 h 10"/>
                  <a:gd name="T2" fmla="*/ 0 w 106"/>
                  <a:gd name="T3" fmla="*/ 10 h 10"/>
                  <a:gd name="T4" fmla="*/ 106 w 106"/>
                  <a:gd name="T5" fmla="*/ 3 h 10"/>
                  <a:gd name="T6" fmla="*/ 106 w 106"/>
                  <a:gd name="T7" fmla="*/ 0 h 10"/>
                  <a:gd name="T8" fmla="*/ 0 w 106"/>
                  <a:gd name="T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6"/>
                    </a:moveTo>
                    <a:lnTo>
                      <a:pt x="0" y="10"/>
                    </a:lnTo>
                    <a:lnTo>
                      <a:pt x="106" y="3"/>
                    </a:lnTo>
                    <a:lnTo>
                      <a:pt x="106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78C9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397">
                <a:extLst>
                  <a:ext uri="{FF2B5EF4-FFF2-40B4-BE49-F238E27FC236}">
                    <a16:creationId xmlns:a16="http://schemas.microsoft.com/office/drawing/2014/main" id="{5DDA87C2-7823-429E-BDF5-99D072D6F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6" cy="10"/>
              </a:xfrm>
              <a:custGeom>
                <a:avLst/>
                <a:gdLst>
                  <a:gd name="T0" fmla="*/ 0 w 106"/>
                  <a:gd name="T1" fmla="*/ 6 h 10"/>
                  <a:gd name="T2" fmla="*/ 0 w 106"/>
                  <a:gd name="T3" fmla="*/ 10 h 10"/>
                  <a:gd name="T4" fmla="*/ 106 w 106"/>
                  <a:gd name="T5" fmla="*/ 3 h 10"/>
                  <a:gd name="T6" fmla="*/ 106 w 106"/>
                  <a:gd name="T7" fmla="*/ 0 h 10"/>
                  <a:gd name="T8" fmla="*/ 0 w 106"/>
                  <a:gd name="T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6"/>
                    </a:moveTo>
                    <a:lnTo>
                      <a:pt x="0" y="10"/>
                    </a:lnTo>
                    <a:lnTo>
                      <a:pt x="106" y="3"/>
                    </a:lnTo>
                    <a:lnTo>
                      <a:pt x="106" y="0"/>
                    </a:lnTo>
                    <a:lnTo>
                      <a:pt x="0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398">
                <a:extLst>
                  <a:ext uri="{FF2B5EF4-FFF2-40B4-BE49-F238E27FC236}">
                    <a16:creationId xmlns:a16="http://schemas.microsoft.com/office/drawing/2014/main" id="{28BBA9A9-0A1E-4465-ACBB-3A76F0BBE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5" y="1948"/>
                <a:ext cx="18" cy="10"/>
              </a:xfrm>
              <a:custGeom>
                <a:avLst/>
                <a:gdLst>
                  <a:gd name="T0" fmla="*/ 1 w 33"/>
                  <a:gd name="T1" fmla="*/ 0 h 19"/>
                  <a:gd name="T2" fmla="*/ 0 w 33"/>
                  <a:gd name="T3" fmla="*/ 10 h 19"/>
                  <a:gd name="T4" fmla="*/ 3 w 33"/>
                  <a:gd name="T5" fmla="*/ 19 h 19"/>
                  <a:gd name="T6" fmla="*/ 32 w 33"/>
                  <a:gd name="T7" fmla="*/ 8 h 19"/>
                  <a:gd name="T8" fmla="*/ 33 w 33"/>
                  <a:gd name="T9" fmla="*/ 8 h 19"/>
                  <a:gd name="T10" fmla="*/ 32 w 33"/>
                  <a:gd name="T11" fmla="*/ 7 h 19"/>
                  <a:gd name="T12" fmla="*/ 1 w 33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19">
                    <a:moveTo>
                      <a:pt x="1" y="0"/>
                    </a:moveTo>
                    <a:cubicBezTo>
                      <a:pt x="1" y="0"/>
                      <a:pt x="0" y="4"/>
                      <a:pt x="0" y="10"/>
                    </a:cubicBezTo>
                    <a:cubicBezTo>
                      <a:pt x="1" y="15"/>
                      <a:pt x="3" y="19"/>
                      <a:pt x="3" y="19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0" name="Freeform 399">
                <a:extLst>
                  <a:ext uri="{FF2B5EF4-FFF2-40B4-BE49-F238E27FC236}">
                    <a16:creationId xmlns:a16="http://schemas.microsoft.com/office/drawing/2014/main" id="{1EE99242-5520-4CF5-BAE3-8664A2F4C9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4"/>
                <a:ext cx="18" cy="12"/>
              </a:xfrm>
              <a:custGeom>
                <a:avLst/>
                <a:gdLst>
                  <a:gd name="T0" fmla="*/ 31 w 33"/>
                  <a:gd name="T1" fmla="*/ 0 h 22"/>
                  <a:gd name="T2" fmla="*/ 5 w 33"/>
                  <a:gd name="T3" fmla="*/ 2 h 22"/>
                  <a:gd name="T4" fmla="*/ 0 w 33"/>
                  <a:gd name="T5" fmla="*/ 8 h 22"/>
                  <a:gd name="T6" fmla="*/ 0 w 33"/>
                  <a:gd name="T7" fmla="*/ 16 h 22"/>
                  <a:gd name="T8" fmla="*/ 6 w 33"/>
                  <a:gd name="T9" fmla="*/ 21 h 22"/>
                  <a:gd name="T10" fmla="*/ 33 w 33"/>
                  <a:gd name="T11" fmla="*/ 20 h 22"/>
                  <a:gd name="T12" fmla="*/ 31 w 33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22">
                    <a:moveTo>
                      <a:pt x="31" y="0"/>
                    </a:moveTo>
                    <a:cubicBezTo>
                      <a:pt x="5" y="2"/>
                      <a:pt x="5" y="2"/>
                      <a:pt x="5" y="2"/>
                    </a:cubicBezTo>
                    <a:cubicBezTo>
                      <a:pt x="2" y="2"/>
                      <a:pt x="0" y="5"/>
                      <a:pt x="0" y="8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9"/>
                      <a:pt x="3" y="22"/>
                      <a:pt x="6" y="21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1" name="Freeform 400">
                <a:extLst>
                  <a:ext uri="{FF2B5EF4-FFF2-40B4-BE49-F238E27FC236}">
                    <a16:creationId xmlns:a16="http://schemas.microsoft.com/office/drawing/2014/main" id="{187C4E14-4B08-4E3F-B5BD-B26F5164DC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8" cy="12"/>
              </a:xfrm>
              <a:custGeom>
                <a:avLst/>
                <a:gdLst>
                  <a:gd name="T0" fmla="*/ 7 w 8"/>
                  <a:gd name="T1" fmla="*/ 0 h 12"/>
                  <a:gd name="T2" fmla="*/ 0 w 8"/>
                  <a:gd name="T3" fmla="*/ 1 h 12"/>
                  <a:gd name="T4" fmla="*/ 0 w 8"/>
                  <a:gd name="T5" fmla="*/ 12 h 12"/>
                  <a:gd name="T6" fmla="*/ 8 w 8"/>
                  <a:gd name="T7" fmla="*/ 12 h 12"/>
                  <a:gd name="T8" fmla="*/ 7 w 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7" y="0"/>
                    </a:moveTo>
                    <a:lnTo>
                      <a:pt x="0" y="1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2" name="Freeform 401">
                <a:extLst>
                  <a:ext uri="{FF2B5EF4-FFF2-40B4-BE49-F238E27FC236}">
                    <a16:creationId xmlns:a16="http://schemas.microsoft.com/office/drawing/2014/main" id="{CE005939-F5CB-48D9-BE55-FB84C10CA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8" cy="12"/>
              </a:xfrm>
              <a:custGeom>
                <a:avLst/>
                <a:gdLst>
                  <a:gd name="T0" fmla="*/ 7 w 8"/>
                  <a:gd name="T1" fmla="*/ 0 h 12"/>
                  <a:gd name="T2" fmla="*/ 0 w 8"/>
                  <a:gd name="T3" fmla="*/ 1 h 12"/>
                  <a:gd name="T4" fmla="*/ 0 w 8"/>
                  <a:gd name="T5" fmla="*/ 12 h 12"/>
                  <a:gd name="T6" fmla="*/ 8 w 8"/>
                  <a:gd name="T7" fmla="*/ 12 h 12"/>
                  <a:gd name="T8" fmla="*/ 7 w 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7" y="0"/>
                    </a:moveTo>
                    <a:lnTo>
                      <a:pt x="0" y="1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3" name="Freeform 402">
                <a:extLst>
                  <a:ext uri="{FF2B5EF4-FFF2-40B4-BE49-F238E27FC236}">
                    <a16:creationId xmlns:a16="http://schemas.microsoft.com/office/drawing/2014/main" id="{F20FE99A-1DAD-47C1-A931-3E0C34F63C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1950"/>
                <a:ext cx="7" cy="5"/>
              </a:xfrm>
              <a:custGeom>
                <a:avLst/>
                <a:gdLst>
                  <a:gd name="T0" fmla="*/ 1 w 13"/>
                  <a:gd name="T1" fmla="*/ 0 h 8"/>
                  <a:gd name="T2" fmla="*/ 12 w 13"/>
                  <a:gd name="T3" fmla="*/ 3 h 8"/>
                  <a:gd name="T4" fmla="*/ 12 w 13"/>
                  <a:gd name="T5" fmla="*/ 4 h 8"/>
                  <a:gd name="T6" fmla="*/ 1 w 13"/>
                  <a:gd name="T7" fmla="*/ 8 h 8"/>
                  <a:gd name="T8" fmla="*/ 0 w 13"/>
                  <a:gd name="T9" fmla="*/ 4 h 8"/>
                  <a:gd name="T10" fmla="*/ 1 w 13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8">
                    <a:moveTo>
                      <a:pt x="1" y="0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3" y="3"/>
                      <a:pt x="13" y="4"/>
                      <a:pt x="12" y="4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0" y="7"/>
                      <a:pt x="0" y="4"/>
                    </a:cubicBezTo>
                    <a:cubicBezTo>
                      <a:pt x="0" y="2"/>
                      <a:pt x="1" y="0"/>
                      <a:pt x="1" y="0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4" name="Freeform 403">
                <a:extLst>
                  <a:ext uri="{FF2B5EF4-FFF2-40B4-BE49-F238E27FC236}">
                    <a16:creationId xmlns:a16="http://schemas.microsoft.com/office/drawing/2014/main" id="{BBC9176D-253C-4D86-91D8-D737E2142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5" y="1948"/>
                <a:ext cx="12" cy="5"/>
              </a:xfrm>
              <a:custGeom>
                <a:avLst/>
                <a:gdLst>
                  <a:gd name="T0" fmla="*/ 1 w 21"/>
                  <a:gd name="T1" fmla="*/ 0 h 10"/>
                  <a:gd name="T2" fmla="*/ 1 w 21"/>
                  <a:gd name="T3" fmla="*/ 0 h 10"/>
                  <a:gd name="T4" fmla="*/ 0 w 21"/>
                  <a:gd name="T5" fmla="*/ 6 h 10"/>
                  <a:gd name="T6" fmla="*/ 0 w 21"/>
                  <a:gd name="T7" fmla="*/ 8 h 10"/>
                  <a:gd name="T8" fmla="*/ 0 w 21"/>
                  <a:gd name="T9" fmla="*/ 10 h 10"/>
                  <a:gd name="T10" fmla="*/ 20 w 21"/>
                  <a:gd name="T11" fmla="*/ 8 h 10"/>
                  <a:gd name="T12" fmla="*/ 20 w 21"/>
                  <a:gd name="T13" fmla="*/ 8 h 10"/>
                  <a:gd name="T14" fmla="*/ 21 w 21"/>
                  <a:gd name="T15" fmla="*/ 4 h 10"/>
                  <a:gd name="T16" fmla="*/ 1 w 21"/>
                  <a:gd name="T1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0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3"/>
                      <a:pt x="0" y="6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0" y="9"/>
                      <a:pt x="0" y="9"/>
                      <a:pt x="0" y="1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6"/>
                      <a:pt x="21" y="5"/>
                      <a:pt x="21" y="4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5" name="Freeform 404">
                <a:extLst>
                  <a:ext uri="{FF2B5EF4-FFF2-40B4-BE49-F238E27FC236}">
                    <a16:creationId xmlns:a16="http://schemas.microsoft.com/office/drawing/2014/main" id="{3DF9A79C-DC55-4DCC-BBE6-6FDBDFEB7F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1950"/>
                <a:ext cx="7" cy="2"/>
              </a:xfrm>
              <a:custGeom>
                <a:avLst/>
                <a:gdLst>
                  <a:gd name="T0" fmla="*/ 1 w 13"/>
                  <a:gd name="T1" fmla="*/ 0 h 4"/>
                  <a:gd name="T2" fmla="*/ 1 w 13"/>
                  <a:gd name="T3" fmla="*/ 0 h 4"/>
                  <a:gd name="T4" fmla="*/ 0 w 13"/>
                  <a:gd name="T5" fmla="*/ 4 h 4"/>
                  <a:gd name="T6" fmla="*/ 0 w 13"/>
                  <a:gd name="T7" fmla="*/ 4 h 4"/>
                  <a:gd name="T8" fmla="*/ 13 w 13"/>
                  <a:gd name="T9" fmla="*/ 4 h 4"/>
                  <a:gd name="T10" fmla="*/ 12 w 13"/>
                  <a:gd name="T11" fmla="*/ 3 h 4"/>
                  <a:gd name="T12" fmla="*/ 1 w 1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4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0" y="2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6" name="Rectangle 405">
                <a:extLst>
                  <a:ext uri="{FF2B5EF4-FFF2-40B4-BE49-F238E27FC236}">
                    <a16:creationId xmlns:a16="http://schemas.microsoft.com/office/drawing/2014/main" id="{6962ACA4-07CF-444F-956F-A4DAE82C3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03" y="1958"/>
                <a:ext cx="1" cy="3"/>
              </a:xfrm>
              <a:prstGeom prst="rect">
                <a:avLst/>
              </a:pr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" name="Group 607">
              <a:extLst>
                <a:ext uri="{FF2B5EF4-FFF2-40B4-BE49-F238E27FC236}">
                  <a16:creationId xmlns:a16="http://schemas.microsoft.com/office/drawing/2014/main" id="{764FAE67-B6EA-4418-A66F-411FBDDA76F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243888" y="3100388"/>
              <a:ext cx="2105025" cy="1087438"/>
              <a:chOff x="5193" y="1953"/>
              <a:chExt cx="1326" cy="685"/>
            </a:xfrm>
          </p:grpSpPr>
          <p:sp>
            <p:nvSpPr>
              <p:cNvPr id="167" name="Freeform 407">
                <a:extLst>
                  <a:ext uri="{FF2B5EF4-FFF2-40B4-BE49-F238E27FC236}">
                    <a16:creationId xmlns:a16="http://schemas.microsoft.com/office/drawing/2014/main" id="{2FB82784-21B0-41A2-98B7-841491C92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8"/>
                <a:ext cx="0" cy="3"/>
              </a:xfrm>
              <a:custGeom>
                <a:avLst/>
                <a:gdLst>
                  <a:gd name="T0" fmla="*/ 0 h 3"/>
                  <a:gd name="T1" fmla="*/ 3 h 3"/>
                  <a:gd name="T2" fmla="*/ 3 h 3"/>
                  <a:gd name="T3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408">
                <a:extLst>
                  <a:ext uri="{FF2B5EF4-FFF2-40B4-BE49-F238E27FC236}">
                    <a16:creationId xmlns:a16="http://schemas.microsoft.com/office/drawing/2014/main" id="{4F2C6425-3F72-4B3B-A922-09039E34A9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5"/>
                <a:ext cx="10" cy="6"/>
              </a:xfrm>
              <a:custGeom>
                <a:avLst/>
                <a:gdLst>
                  <a:gd name="T0" fmla="*/ 18 w 18"/>
                  <a:gd name="T1" fmla="*/ 0 h 11"/>
                  <a:gd name="T2" fmla="*/ 5 w 18"/>
                  <a:gd name="T3" fmla="*/ 1 h 11"/>
                  <a:gd name="T4" fmla="*/ 0 w 18"/>
                  <a:gd name="T5" fmla="*/ 6 h 11"/>
                  <a:gd name="T6" fmla="*/ 0 w 18"/>
                  <a:gd name="T7" fmla="*/ 7 h 11"/>
                  <a:gd name="T8" fmla="*/ 0 w 18"/>
                  <a:gd name="T9" fmla="*/ 7 h 11"/>
                  <a:gd name="T10" fmla="*/ 0 w 18"/>
                  <a:gd name="T11" fmla="*/ 11 h 11"/>
                  <a:gd name="T12" fmla="*/ 18 w 18"/>
                  <a:gd name="T13" fmla="*/ 10 h 11"/>
                  <a:gd name="T14" fmla="*/ 18 w 18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1">
                    <a:moveTo>
                      <a:pt x="18" y="0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2" y="1"/>
                      <a:pt x="0" y="3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409">
                <a:extLst>
                  <a:ext uri="{FF2B5EF4-FFF2-40B4-BE49-F238E27FC236}">
                    <a16:creationId xmlns:a16="http://schemas.microsoft.com/office/drawing/2014/main" id="{06414C1D-CF89-49FA-A974-B063A4BD2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7" cy="7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1 h 7"/>
                  <a:gd name="T4" fmla="*/ 0 w 7"/>
                  <a:gd name="T5" fmla="*/ 2 h 7"/>
                  <a:gd name="T6" fmla="*/ 0 w 7"/>
                  <a:gd name="T7" fmla="*/ 7 h 7"/>
                  <a:gd name="T8" fmla="*/ 7 w 7"/>
                  <a:gd name="T9" fmla="*/ 6 h 7"/>
                  <a:gd name="T10" fmla="*/ 7 w 7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7" y="6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410">
                <a:extLst>
                  <a:ext uri="{FF2B5EF4-FFF2-40B4-BE49-F238E27FC236}">
                    <a16:creationId xmlns:a16="http://schemas.microsoft.com/office/drawing/2014/main" id="{87D8F1AD-1B9A-4D51-91FF-7DEC390AC3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7" cy="7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1 h 7"/>
                  <a:gd name="T4" fmla="*/ 0 w 7"/>
                  <a:gd name="T5" fmla="*/ 2 h 7"/>
                  <a:gd name="T6" fmla="*/ 0 w 7"/>
                  <a:gd name="T7" fmla="*/ 7 h 7"/>
                  <a:gd name="T8" fmla="*/ 7 w 7"/>
                  <a:gd name="T9" fmla="*/ 6 h 7"/>
                  <a:gd name="T10" fmla="*/ 7 w 7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7" y="6"/>
                    </a:lnTo>
                    <a:lnTo>
                      <a:pt x="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Rectangle 411">
                <a:extLst>
                  <a:ext uri="{FF2B5EF4-FFF2-40B4-BE49-F238E27FC236}">
                    <a16:creationId xmlns:a16="http://schemas.microsoft.com/office/drawing/2014/main" id="{9F0AEB16-6BD2-492C-85F1-018DB75F40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1" y="2333"/>
                <a:ext cx="16" cy="160"/>
              </a:xfrm>
              <a:prstGeom prst="rect">
                <a:avLst/>
              </a:pr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Rectangle 412">
                <a:extLst>
                  <a:ext uri="{FF2B5EF4-FFF2-40B4-BE49-F238E27FC236}">
                    <a16:creationId xmlns:a16="http://schemas.microsoft.com/office/drawing/2014/main" id="{5D110498-6EEF-45C7-9826-A24360504D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1" y="2333"/>
                <a:ext cx="16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Rectangle 413">
                <a:extLst>
                  <a:ext uri="{FF2B5EF4-FFF2-40B4-BE49-F238E27FC236}">
                    <a16:creationId xmlns:a16="http://schemas.microsoft.com/office/drawing/2014/main" id="{8E2CBA07-3EF2-4BF4-8281-9BA3453C27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6" y="2333"/>
                <a:ext cx="6" cy="160"/>
              </a:xfrm>
              <a:prstGeom prst="rect">
                <a:avLst/>
              </a:prstGeom>
              <a:solidFill>
                <a:srgbClr val="CDDC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Rectangle 414">
                <a:extLst>
                  <a:ext uri="{FF2B5EF4-FFF2-40B4-BE49-F238E27FC236}">
                    <a16:creationId xmlns:a16="http://schemas.microsoft.com/office/drawing/2014/main" id="{80231E61-88F3-4C63-BF4C-EE9AEF9033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6" y="2333"/>
                <a:ext cx="6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Rectangle 415">
                <a:extLst>
                  <a:ext uri="{FF2B5EF4-FFF2-40B4-BE49-F238E27FC236}">
                    <a16:creationId xmlns:a16="http://schemas.microsoft.com/office/drawing/2014/main" id="{0C79B413-7483-48F8-9F17-43F3BE39B8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333"/>
                <a:ext cx="5" cy="160"/>
              </a:xfrm>
              <a:prstGeom prst="rect">
                <a:avLst/>
              </a:prstGeom>
              <a:solidFill>
                <a:srgbClr val="C0CA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Rectangle 416">
                <a:extLst>
                  <a:ext uri="{FF2B5EF4-FFF2-40B4-BE49-F238E27FC236}">
                    <a16:creationId xmlns:a16="http://schemas.microsoft.com/office/drawing/2014/main" id="{85B7D001-9571-4C1D-BBC1-C7B89A6BA6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333"/>
                <a:ext cx="5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417">
                <a:extLst>
                  <a:ext uri="{FF2B5EF4-FFF2-40B4-BE49-F238E27FC236}">
                    <a16:creationId xmlns:a16="http://schemas.microsoft.com/office/drawing/2014/main" id="{EBF15E9C-A22B-4DF9-99B7-E8F2FF3BAA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1" y="2308"/>
                <a:ext cx="16" cy="27"/>
              </a:xfrm>
              <a:custGeom>
                <a:avLst/>
                <a:gdLst>
                  <a:gd name="T0" fmla="*/ 30 w 30"/>
                  <a:gd name="T1" fmla="*/ 47 h 49"/>
                  <a:gd name="T2" fmla="*/ 15 w 30"/>
                  <a:gd name="T3" fmla="*/ 49 h 49"/>
                  <a:gd name="T4" fmla="*/ 0 w 30"/>
                  <a:gd name="T5" fmla="*/ 47 h 49"/>
                  <a:gd name="T6" fmla="*/ 15 w 30"/>
                  <a:gd name="T7" fmla="*/ 1 h 49"/>
                  <a:gd name="T8" fmla="*/ 15 w 30"/>
                  <a:gd name="T9" fmla="*/ 0 h 49"/>
                  <a:gd name="T10" fmla="*/ 16 w 30"/>
                  <a:gd name="T11" fmla="*/ 1 h 49"/>
                  <a:gd name="T12" fmla="*/ 30 w 30"/>
                  <a:gd name="T13" fmla="*/ 4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49">
                    <a:moveTo>
                      <a:pt x="30" y="47"/>
                    </a:moveTo>
                    <a:cubicBezTo>
                      <a:pt x="30" y="47"/>
                      <a:pt x="23" y="49"/>
                      <a:pt x="15" y="49"/>
                    </a:cubicBezTo>
                    <a:cubicBezTo>
                      <a:pt x="8" y="49"/>
                      <a:pt x="0" y="47"/>
                      <a:pt x="0" y="47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30" y="47"/>
                      <a:pt x="30" y="47"/>
                      <a:pt x="30" y="47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418">
                <a:extLst>
                  <a:ext uri="{FF2B5EF4-FFF2-40B4-BE49-F238E27FC236}">
                    <a16:creationId xmlns:a16="http://schemas.microsoft.com/office/drawing/2014/main" id="{F99FDF2B-1704-4AB2-8713-E55DAB23F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1" y="2493"/>
                <a:ext cx="16" cy="27"/>
              </a:xfrm>
              <a:custGeom>
                <a:avLst/>
                <a:gdLst>
                  <a:gd name="T0" fmla="*/ 30 w 30"/>
                  <a:gd name="T1" fmla="*/ 0 h 48"/>
                  <a:gd name="T2" fmla="*/ 30 w 30"/>
                  <a:gd name="T3" fmla="*/ 40 h 48"/>
                  <a:gd name="T4" fmla="*/ 21 w 30"/>
                  <a:gd name="T5" fmla="*/ 48 h 48"/>
                  <a:gd name="T6" fmla="*/ 9 w 30"/>
                  <a:gd name="T7" fmla="*/ 48 h 48"/>
                  <a:gd name="T8" fmla="*/ 0 w 30"/>
                  <a:gd name="T9" fmla="*/ 40 h 48"/>
                  <a:gd name="T10" fmla="*/ 0 w 30"/>
                  <a:gd name="T11" fmla="*/ 0 h 48"/>
                  <a:gd name="T12" fmla="*/ 30 w 30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48">
                    <a:moveTo>
                      <a:pt x="30" y="0"/>
                    </a:moveTo>
                    <a:cubicBezTo>
                      <a:pt x="30" y="40"/>
                      <a:pt x="30" y="40"/>
                      <a:pt x="30" y="40"/>
                    </a:cubicBezTo>
                    <a:cubicBezTo>
                      <a:pt x="30" y="44"/>
                      <a:pt x="26" y="48"/>
                      <a:pt x="21" y="48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4" y="48"/>
                      <a:pt x="0" y="44"/>
                      <a:pt x="0" y="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Rectangle 419">
                <a:extLst>
                  <a:ext uri="{FF2B5EF4-FFF2-40B4-BE49-F238E27FC236}">
                    <a16:creationId xmlns:a16="http://schemas.microsoft.com/office/drawing/2014/main" id="{AB32D940-7AB9-4119-B7AD-CE1E7069C1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3"/>
                <a:ext cx="18" cy="12"/>
              </a:xfrm>
              <a:prstGeom prst="rect">
                <a:avLst/>
              </a:pr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Rectangle 420">
                <a:extLst>
                  <a:ext uri="{FF2B5EF4-FFF2-40B4-BE49-F238E27FC236}">
                    <a16:creationId xmlns:a16="http://schemas.microsoft.com/office/drawing/2014/main" id="{915FFAA4-4731-4460-8283-CA7F6FEED5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3"/>
                <a:ext cx="18" cy="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Rectangle 421">
                <a:extLst>
                  <a:ext uri="{FF2B5EF4-FFF2-40B4-BE49-F238E27FC236}">
                    <a16:creationId xmlns:a16="http://schemas.microsoft.com/office/drawing/2014/main" id="{3CC23432-2C65-4058-B01C-81E1F175C1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8"/>
                <a:ext cx="18" cy="2"/>
              </a:xfrm>
              <a:prstGeom prst="rect">
                <a:avLst/>
              </a:prstGeom>
              <a:solidFill>
                <a:srgbClr val="38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Rectangle 422">
                <a:extLst>
                  <a:ext uri="{FF2B5EF4-FFF2-40B4-BE49-F238E27FC236}">
                    <a16:creationId xmlns:a16="http://schemas.microsoft.com/office/drawing/2014/main" id="{B219592C-59E5-46AB-A2E0-C53E1559F4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8"/>
                <a:ext cx="18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423">
                <a:extLst>
                  <a:ext uri="{FF2B5EF4-FFF2-40B4-BE49-F238E27FC236}">
                    <a16:creationId xmlns:a16="http://schemas.microsoft.com/office/drawing/2014/main" id="{D456BDCA-CED2-47A7-B09F-DF0A9333F2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6" y="2308"/>
                <a:ext cx="6" cy="11"/>
              </a:xfrm>
              <a:custGeom>
                <a:avLst/>
                <a:gdLst>
                  <a:gd name="T0" fmla="*/ 12 w 12"/>
                  <a:gd name="T1" fmla="*/ 18 h 20"/>
                  <a:gd name="T2" fmla="*/ 7 w 12"/>
                  <a:gd name="T3" fmla="*/ 1 h 20"/>
                  <a:gd name="T4" fmla="*/ 6 w 12"/>
                  <a:gd name="T5" fmla="*/ 1 h 20"/>
                  <a:gd name="T6" fmla="*/ 0 w 12"/>
                  <a:gd name="T7" fmla="*/ 18 h 20"/>
                  <a:gd name="T8" fmla="*/ 6 w 12"/>
                  <a:gd name="T9" fmla="*/ 20 h 20"/>
                  <a:gd name="T10" fmla="*/ 12 w 12"/>
                  <a:gd name="T11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20">
                    <a:moveTo>
                      <a:pt x="12" y="18"/>
                    </a:moveTo>
                    <a:cubicBezTo>
                      <a:pt x="7" y="1"/>
                      <a:pt x="7" y="1"/>
                      <a:pt x="7" y="1"/>
                    </a:cubicBezTo>
                    <a:cubicBezTo>
                      <a:pt x="7" y="0"/>
                      <a:pt x="6" y="0"/>
                      <a:pt x="6" y="1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2" y="20"/>
                      <a:pt x="6" y="20"/>
                    </a:cubicBezTo>
                    <a:cubicBezTo>
                      <a:pt x="10" y="20"/>
                      <a:pt x="12" y="18"/>
                      <a:pt x="12" y="18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424">
                <a:extLst>
                  <a:ext uri="{FF2B5EF4-FFF2-40B4-BE49-F238E27FC236}">
                    <a16:creationId xmlns:a16="http://schemas.microsoft.com/office/drawing/2014/main" id="{6B97EE5F-F13A-4ADC-9501-0DE1A1CB8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318"/>
                <a:ext cx="8" cy="17"/>
              </a:xfrm>
              <a:custGeom>
                <a:avLst/>
                <a:gdLst>
                  <a:gd name="T0" fmla="*/ 6 w 15"/>
                  <a:gd name="T1" fmla="*/ 0 h 31"/>
                  <a:gd name="T2" fmla="*/ 0 w 15"/>
                  <a:gd name="T3" fmla="*/ 2 h 31"/>
                  <a:gd name="T4" fmla="*/ 0 w 15"/>
                  <a:gd name="T5" fmla="*/ 2 h 31"/>
                  <a:gd name="T6" fmla="*/ 0 w 15"/>
                  <a:gd name="T7" fmla="*/ 31 h 31"/>
                  <a:gd name="T8" fmla="*/ 15 w 15"/>
                  <a:gd name="T9" fmla="*/ 29 h 31"/>
                  <a:gd name="T10" fmla="*/ 6 w 15"/>
                  <a:gd name="T1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1">
                    <a:moveTo>
                      <a:pt x="6" y="0"/>
                    </a:moveTo>
                    <a:cubicBezTo>
                      <a:pt x="6" y="0"/>
                      <a:pt x="4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8" y="31"/>
                      <a:pt x="15" y="29"/>
                      <a:pt x="15" y="29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425">
                <a:extLst>
                  <a:ext uri="{FF2B5EF4-FFF2-40B4-BE49-F238E27FC236}">
                    <a16:creationId xmlns:a16="http://schemas.microsoft.com/office/drawing/2014/main" id="{38DA11F0-0516-45BB-933F-FB12FCAFC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308"/>
                <a:ext cx="3" cy="11"/>
              </a:xfrm>
              <a:custGeom>
                <a:avLst/>
                <a:gdLst>
                  <a:gd name="T0" fmla="*/ 0 w 6"/>
                  <a:gd name="T1" fmla="*/ 0 h 20"/>
                  <a:gd name="T2" fmla="*/ 0 w 6"/>
                  <a:gd name="T3" fmla="*/ 20 h 20"/>
                  <a:gd name="T4" fmla="*/ 0 w 6"/>
                  <a:gd name="T5" fmla="*/ 20 h 20"/>
                  <a:gd name="T6" fmla="*/ 6 w 6"/>
                  <a:gd name="T7" fmla="*/ 18 h 20"/>
                  <a:gd name="T8" fmla="*/ 6 w 6"/>
                  <a:gd name="T9" fmla="*/ 18 h 20"/>
                  <a:gd name="T10" fmla="*/ 1 w 6"/>
                  <a:gd name="T11" fmla="*/ 1 h 20"/>
                  <a:gd name="T12" fmla="*/ 0 w 6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0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4" y="20"/>
                      <a:pt x="6" y="18"/>
                      <a:pt x="6" y="1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Rectangle 426">
                <a:extLst>
                  <a:ext uri="{FF2B5EF4-FFF2-40B4-BE49-F238E27FC236}">
                    <a16:creationId xmlns:a16="http://schemas.microsoft.com/office/drawing/2014/main" id="{1D2330FD-2ED4-42E1-8C03-B631E0A611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493"/>
                <a:ext cx="5" cy="1"/>
              </a:xfrm>
              <a:prstGeom prst="rect">
                <a:avLst/>
              </a:prstGeom>
              <a:solidFill>
                <a:srgbClr val="98A0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Rectangle 427">
                <a:extLst>
                  <a:ext uri="{FF2B5EF4-FFF2-40B4-BE49-F238E27FC236}">
                    <a16:creationId xmlns:a16="http://schemas.microsoft.com/office/drawing/2014/main" id="{5275919D-B33A-4F67-AC29-D8F3FB293C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493"/>
                <a:ext cx="5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428">
                <a:extLst>
                  <a:ext uri="{FF2B5EF4-FFF2-40B4-BE49-F238E27FC236}">
                    <a16:creationId xmlns:a16="http://schemas.microsoft.com/office/drawing/2014/main" id="{2CC03B84-B821-4FC4-9137-60DD32E4F0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505"/>
                <a:ext cx="8" cy="15"/>
              </a:xfrm>
              <a:custGeom>
                <a:avLst/>
                <a:gdLst>
                  <a:gd name="T0" fmla="*/ 15 w 15"/>
                  <a:gd name="T1" fmla="*/ 0 h 27"/>
                  <a:gd name="T2" fmla="*/ 0 w 15"/>
                  <a:gd name="T3" fmla="*/ 0 h 27"/>
                  <a:gd name="T4" fmla="*/ 0 w 15"/>
                  <a:gd name="T5" fmla="*/ 27 h 27"/>
                  <a:gd name="T6" fmla="*/ 6 w 15"/>
                  <a:gd name="T7" fmla="*/ 27 h 27"/>
                  <a:gd name="T8" fmla="*/ 15 w 15"/>
                  <a:gd name="T9" fmla="*/ 19 h 27"/>
                  <a:gd name="T10" fmla="*/ 15 w 15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27">
                    <a:moveTo>
                      <a:pt x="1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11" y="27"/>
                      <a:pt x="15" y="23"/>
                      <a:pt x="15" y="19"/>
                    </a:cubicBezTo>
                    <a:cubicBezTo>
                      <a:pt x="15" y="0"/>
                      <a:pt x="15" y="0"/>
                      <a:pt x="15" y="0"/>
                    </a:cubicBezTo>
                  </a:path>
                </a:pathLst>
              </a:custGeom>
              <a:solidFill>
                <a:srgbClr val="A8B2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429">
                <a:extLst>
                  <a:ext uri="{FF2B5EF4-FFF2-40B4-BE49-F238E27FC236}">
                    <a16:creationId xmlns:a16="http://schemas.microsoft.com/office/drawing/2014/main" id="{CE769E4A-16E2-4514-A8C7-8CF2C73B66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493"/>
                <a:ext cx="9" cy="12"/>
              </a:xfrm>
              <a:custGeom>
                <a:avLst/>
                <a:gdLst>
                  <a:gd name="T0" fmla="*/ 9 w 9"/>
                  <a:gd name="T1" fmla="*/ 0 h 12"/>
                  <a:gd name="T2" fmla="*/ 8 w 9"/>
                  <a:gd name="T3" fmla="*/ 0 h 12"/>
                  <a:gd name="T4" fmla="*/ 3 w 9"/>
                  <a:gd name="T5" fmla="*/ 0 h 12"/>
                  <a:gd name="T6" fmla="*/ 0 w 9"/>
                  <a:gd name="T7" fmla="*/ 0 h 12"/>
                  <a:gd name="T8" fmla="*/ 0 w 9"/>
                  <a:gd name="T9" fmla="*/ 5 h 12"/>
                  <a:gd name="T10" fmla="*/ 9 w 9"/>
                  <a:gd name="T11" fmla="*/ 5 h 12"/>
                  <a:gd name="T12" fmla="*/ 9 w 9"/>
                  <a:gd name="T13" fmla="*/ 7 h 12"/>
                  <a:gd name="T14" fmla="*/ 0 w 9"/>
                  <a:gd name="T15" fmla="*/ 7 h 12"/>
                  <a:gd name="T16" fmla="*/ 0 w 9"/>
                  <a:gd name="T17" fmla="*/ 12 h 12"/>
                  <a:gd name="T18" fmla="*/ 8 w 9"/>
                  <a:gd name="T19" fmla="*/ 12 h 12"/>
                  <a:gd name="T20" fmla="*/ 9 w 9"/>
                  <a:gd name="T21" fmla="*/ 12 h 12"/>
                  <a:gd name="T22" fmla="*/ 9 w 9"/>
                  <a:gd name="T2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2">
                    <a:moveTo>
                      <a:pt x="9" y="0"/>
                    </a:moveTo>
                    <a:lnTo>
                      <a:pt x="8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9" y="12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430">
                <a:extLst>
                  <a:ext uri="{FF2B5EF4-FFF2-40B4-BE49-F238E27FC236}">
                    <a16:creationId xmlns:a16="http://schemas.microsoft.com/office/drawing/2014/main" id="{776C5EAC-E3E3-42D5-A69A-F7F4CF1C8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493"/>
                <a:ext cx="9" cy="12"/>
              </a:xfrm>
              <a:custGeom>
                <a:avLst/>
                <a:gdLst>
                  <a:gd name="T0" fmla="*/ 9 w 9"/>
                  <a:gd name="T1" fmla="*/ 0 h 12"/>
                  <a:gd name="T2" fmla="*/ 8 w 9"/>
                  <a:gd name="T3" fmla="*/ 0 h 12"/>
                  <a:gd name="T4" fmla="*/ 3 w 9"/>
                  <a:gd name="T5" fmla="*/ 0 h 12"/>
                  <a:gd name="T6" fmla="*/ 0 w 9"/>
                  <a:gd name="T7" fmla="*/ 0 h 12"/>
                  <a:gd name="T8" fmla="*/ 0 w 9"/>
                  <a:gd name="T9" fmla="*/ 5 h 12"/>
                  <a:gd name="T10" fmla="*/ 9 w 9"/>
                  <a:gd name="T11" fmla="*/ 5 h 12"/>
                  <a:gd name="T12" fmla="*/ 9 w 9"/>
                  <a:gd name="T13" fmla="*/ 7 h 12"/>
                  <a:gd name="T14" fmla="*/ 0 w 9"/>
                  <a:gd name="T15" fmla="*/ 7 h 12"/>
                  <a:gd name="T16" fmla="*/ 0 w 9"/>
                  <a:gd name="T17" fmla="*/ 12 h 12"/>
                  <a:gd name="T18" fmla="*/ 8 w 9"/>
                  <a:gd name="T19" fmla="*/ 12 h 12"/>
                  <a:gd name="T20" fmla="*/ 9 w 9"/>
                  <a:gd name="T21" fmla="*/ 12 h 12"/>
                  <a:gd name="T22" fmla="*/ 9 w 9"/>
                  <a:gd name="T2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2">
                    <a:moveTo>
                      <a:pt x="9" y="0"/>
                    </a:moveTo>
                    <a:lnTo>
                      <a:pt x="8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9" y="12"/>
                    </a:lnTo>
                    <a:lnTo>
                      <a:pt x="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Rectangle 431">
                <a:extLst>
                  <a:ext uri="{FF2B5EF4-FFF2-40B4-BE49-F238E27FC236}">
                    <a16:creationId xmlns:a16="http://schemas.microsoft.com/office/drawing/2014/main" id="{EC6916E4-F3F3-4BED-AF79-F8BE3DAE4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9" y="2498"/>
                <a:ext cx="9" cy="2"/>
              </a:xfrm>
              <a:prstGeom prst="rect">
                <a:avLst/>
              </a:prstGeom>
              <a:solidFill>
                <a:srgbClr val="2C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Rectangle 432">
                <a:extLst>
                  <a:ext uri="{FF2B5EF4-FFF2-40B4-BE49-F238E27FC236}">
                    <a16:creationId xmlns:a16="http://schemas.microsoft.com/office/drawing/2014/main" id="{650A1F53-6689-40CE-977F-61ED93A8FA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9" y="2498"/>
                <a:ext cx="9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433">
                <a:extLst>
                  <a:ext uri="{FF2B5EF4-FFF2-40B4-BE49-F238E27FC236}">
                    <a16:creationId xmlns:a16="http://schemas.microsoft.com/office/drawing/2014/main" id="{88D422E1-3C21-464B-A7F6-70D63A512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368"/>
                <a:ext cx="19" cy="165"/>
              </a:xfrm>
              <a:custGeom>
                <a:avLst/>
                <a:gdLst>
                  <a:gd name="T0" fmla="*/ 5 w 36"/>
                  <a:gd name="T1" fmla="*/ 0 h 302"/>
                  <a:gd name="T2" fmla="*/ 31 w 36"/>
                  <a:gd name="T3" fmla="*/ 0 h 302"/>
                  <a:gd name="T4" fmla="*/ 36 w 36"/>
                  <a:gd name="T5" fmla="*/ 138 h 302"/>
                  <a:gd name="T6" fmla="*/ 36 w 36"/>
                  <a:gd name="T7" fmla="*/ 187 h 302"/>
                  <a:gd name="T8" fmla="*/ 36 w 36"/>
                  <a:gd name="T9" fmla="*/ 192 h 302"/>
                  <a:gd name="T10" fmla="*/ 36 w 36"/>
                  <a:gd name="T11" fmla="*/ 195 h 302"/>
                  <a:gd name="T12" fmla="*/ 31 w 36"/>
                  <a:gd name="T13" fmla="*/ 302 h 302"/>
                  <a:gd name="T14" fmla="*/ 31 w 36"/>
                  <a:gd name="T15" fmla="*/ 302 h 302"/>
                  <a:gd name="T16" fmla="*/ 6 w 36"/>
                  <a:gd name="T17" fmla="*/ 302 h 302"/>
                  <a:gd name="T18" fmla="*/ 1 w 36"/>
                  <a:gd name="T19" fmla="*/ 195 h 302"/>
                  <a:gd name="T20" fmla="*/ 1 w 36"/>
                  <a:gd name="T21" fmla="*/ 192 h 302"/>
                  <a:gd name="T22" fmla="*/ 0 w 36"/>
                  <a:gd name="T23" fmla="*/ 187 h 302"/>
                  <a:gd name="T24" fmla="*/ 0 w 36"/>
                  <a:gd name="T25" fmla="*/ 138 h 302"/>
                  <a:gd name="T26" fmla="*/ 5 w 36"/>
                  <a:gd name="T27" fmla="*/ 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302">
                    <a:moveTo>
                      <a:pt x="5" y="0"/>
                    </a:moveTo>
                    <a:cubicBezTo>
                      <a:pt x="31" y="0"/>
                      <a:pt x="31" y="0"/>
                      <a:pt x="31" y="0"/>
                    </a:cubicBezTo>
                    <a:cubicBezTo>
                      <a:pt x="33" y="50"/>
                      <a:pt x="36" y="88"/>
                      <a:pt x="36" y="138"/>
                    </a:cubicBezTo>
                    <a:cubicBezTo>
                      <a:pt x="36" y="149"/>
                      <a:pt x="36" y="174"/>
                      <a:pt x="36" y="187"/>
                    </a:cubicBezTo>
                    <a:cubicBezTo>
                      <a:pt x="36" y="188"/>
                      <a:pt x="36" y="190"/>
                      <a:pt x="36" y="192"/>
                    </a:cubicBezTo>
                    <a:cubicBezTo>
                      <a:pt x="36" y="193"/>
                      <a:pt x="36" y="194"/>
                      <a:pt x="36" y="195"/>
                    </a:cubicBezTo>
                    <a:cubicBezTo>
                      <a:pt x="34" y="239"/>
                      <a:pt x="32" y="265"/>
                      <a:pt x="31" y="302"/>
                    </a:cubicBezTo>
                    <a:cubicBezTo>
                      <a:pt x="31" y="302"/>
                      <a:pt x="31" y="302"/>
                      <a:pt x="31" y="302"/>
                    </a:cubicBezTo>
                    <a:cubicBezTo>
                      <a:pt x="6" y="302"/>
                      <a:pt x="6" y="302"/>
                      <a:pt x="6" y="302"/>
                    </a:cubicBezTo>
                    <a:cubicBezTo>
                      <a:pt x="4" y="265"/>
                      <a:pt x="2" y="239"/>
                      <a:pt x="1" y="195"/>
                    </a:cubicBezTo>
                    <a:cubicBezTo>
                      <a:pt x="1" y="194"/>
                      <a:pt x="1" y="193"/>
                      <a:pt x="1" y="192"/>
                    </a:cubicBezTo>
                    <a:cubicBezTo>
                      <a:pt x="0" y="190"/>
                      <a:pt x="0" y="188"/>
                      <a:pt x="0" y="187"/>
                    </a:cubicBezTo>
                    <a:cubicBezTo>
                      <a:pt x="0" y="174"/>
                      <a:pt x="0" y="149"/>
                      <a:pt x="0" y="138"/>
                    </a:cubicBezTo>
                    <a:cubicBezTo>
                      <a:pt x="0" y="88"/>
                      <a:pt x="3" y="50"/>
                      <a:pt x="5" y="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434">
                <a:extLst>
                  <a:ext uri="{FF2B5EF4-FFF2-40B4-BE49-F238E27FC236}">
                    <a16:creationId xmlns:a16="http://schemas.microsoft.com/office/drawing/2014/main" id="{E6F09E0B-81C2-44FC-8D67-2E5C7FB92E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5" y="2358"/>
                <a:ext cx="15" cy="10"/>
              </a:xfrm>
              <a:custGeom>
                <a:avLst/>
                <a:gdLst>
                  <a:gd name="T0" fmla="*/ 12 w 26"/>
                  <a:gd name="T1" fmla="*/ 0 h 19"/>
                  <a:gd name="T2" fmla="*/ 14 w 26"/>
                  <a:gd name="T3" fmla="*/ 0 h 19"/>
                  <a:gd name="T4" fmla="*/ 26 w 26"/>
                  <a:gd name="T5" fmla="*/ 13 h 19"/>
                  <a:gd name="T6" fmla="*/ 26 w 26"/>
                  <a:gd name="T7" fmla="*/ 19 h 19"/>
                  <a:gd name="T8" fmla="*/ 0 w 26"/>
                  <a:gd name="T9" fmla="*/ 19 h 19"/>
                  <a:gd name="T10" fmla="*/ 0 w 26"/>
                  <a:gd name="T11" fmla="*/ 13 h 19"/>
                  <a:gd name="T12" fmla="*/ 12 w 26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9">
                    <a:moveTo>
                      <a:pt x="12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21" y="0"/>
                      <a:pt x="26" y="6"/>
                      <a:pt x="26" y="13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5" y="0"/>
                      <a:pt x="12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Rectangle 435">
                <a:extLst>
                  <a:ext uri="{FF2B5EF4-FFF2-40B4-BE49-F238E27FC236}">
                    <a16:creationId xmlns:a16="http://schemas.microsoft.com/office/drawing/2014/main" id="{5E7221C1-7A6D-469B-9AC2-11A82827F4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9" y="2365"/>
                <a:ext cx="6" cy="2"/>
              </a:xfrm>
              <a:prstGeom prst="rect">
                <a:avLst/>
              </a:pr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Rectangle 436">
                <a:extLst>
                  <a:ext uri="{FF2B5EF4-FFF2-40B4-BE49-F238E27FC236}">
                    <a16:creationId xmlns:a16="http://schemas.microsoft.com/office/drawing/2014/main" id="{B0E087A0-E53B-4F17-86D1-EDEB80A62A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9" y="2365"/>
                <a:ext cx="6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437">
                <a:extLst>
                  <a:ext uri="{FF2B5EF4-FFF2-40B4-BE49-F238E27FC236}">
                    <a16:creationId xmlns:a16="http://schemas.microsoft.com/office/drawing/2014/main" id="{1828DB6B-1A57-49EC-BD7B-12E84713EB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4" y="2365"/>
                <a:ext cx="13" cy="65"/>
              </a:xfrm>
              <a:custGeom>
                <a:avLst/>
                <a:gdLst>
                  <a:gd name="T0" fmla="*/ 2 w 24"/>
                  <a:gd name="T1" fmla="*/ 0 h 118"/>
                  <a:gd name="T2" fmla="*/ 3 w 24"/>
                  <a:gd name="T3" fmla="*/ 0 h 118"/>
                  <a:gd name="T4" fmla="*/ 5 w 24"/>
                  <a:gd name="T5" fmla="*/ 1 h 118"/>
                  <a:gd name="T6" fmla="*/ 5 w 24"/>
                  <a:gd name="T7" fmla="*/ 112 h 118"/>
                  <a:gd name="T8" fmla="*/ 7 w 24"/>
                  <a:gd name="T9" fmla="*/ 113 h 118"/>
                  <a:gd name="T10" fmla="*/ 7 w 24"/>
                  <a:gd name="T11" fmla="*/ 117 h 118"/>
                  <a:gd name="T12" fmla="*/ 0 w 24"/>
                  <a:gd name="T13" fmla="*/ 117 h 118"/>
                  <a:gd name="T14" fmla="*/ 1 w 24"/>
                  <a:gd name="T15" fmla="*/ 3 h 118"/>
                  <a:gd name="T16" fmla="*/ 0 w 24"/>
                  <a:gd name="T17" fmla="*/ 1 h 118"/>
                  <a:gd name="T18" fmla="*/ 2 w 24"/>
                  <a:gd name="T19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118">
                    <a:moveTo>
                      <a:pt x="2" y="0"/>
                    </a:moveTo>
                    <a:cubicBezTo>
                      <a:pt x="2" y="0"/>
                      <a:pt x="3" y="0"/>
                      <a:pt x="3" y="0"/>
                    </a:cubicBezTo>
                    <a:cubicBezTo>
                      <a:pt x="4" y="1"/>
                      <a:pt x="5" y="1"/>
                      <a:pt x="5" y="1"/>
                    </a:cubicBezTo>
                    <a:cubicBezTo>
                      <a:pt x="24" y="20"/>
                      <a:pt x="8" y="101"/>
                      <a:pt x="5" y="112"/>
                    </a:cubicBezTo>
                    <a:cubicBezTo>
                      <a:pt x="6" y="112"/>
                      <a:pt x="7" y="112"/>
                      <a:pt x="7" y="113"/>
                    </a:cubicBezTo>
                    <a:cubicBezTo>
                      <a:pt x="8" y="113"/>
                      <a:pt x="8" y="116"/>
                      <a:pt x="7" y="117"/>
                    </a:cubicBezTo>
                    <a:cubicBezTo>
                      <a:pt x="6" y="118"/>
                      <a:pt x="0" y="117"/>
                      <a:pt x="0" y="117"/>
                    </a:cubicBezTo>
                    <a:cubicBezTo>
                      <a:pt x="0" y="117"/>
                      <a:pt x="9" y="27"/>
                      <a:pt x="1" y="3"/>
                    </a:cubicBezTo>
                    <a:cubicBezTo>
                      <a:pt x="1" y="3"/>
                      <a:pt x="1" y="2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438">
                <a:extLst>
                  <a:ext uri="{FF2B5EF4-FFF2-40B4-BE49-F238E27FC236}">
                    <a16:creationId xmlns:a16="http://schemas.microsoft.com/office/drawing/2014/main" id="{F890825E-E460-4351-B586-42A7BDEC9C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74"/>
                <a:ext cx="19" cy="59"/>
              </a:xfrm>
              <a:custGeom>
                <a:avLst/>
                <a:gdLst>
                  <a:gd name="T0" fmla="*/ 17 w 35"/>
                  <a:gd name="T1" fmla="*/ 0 h 109"/>
                  <a:gd name="T2" fmla="*/ 17 w 35"/>
                  <a:gd name="T3" fmla="*/ 0 h 109"/>
                  <a:gd name="T4" fmla="*/ 35 w 35"/>
                  <a:gd name="T5" fmla="*/ 2 h 109"/>
                  <a:gd name="T6" fmla="*/ 30 w 35"/>
                  <a:gd name="T7" fmla="*/ 109 h 109"/>
                  <a:gd name="T8" fmla="*/ 30 w 35"/>
                  <a:gd name="T9" fmla="*/ 109 h 109"/>
                  <a:gd name="T10" fmla="*/ 5 w 35"/>
                  <a:gd name="T11" fmla="*/ 109 h 109"/>
                  <a:gd name="T12" fmla="*/ 0 w 35"/>
                  <a:gd name="T13" fmla="*/ 2 h 109"/>
                  <a:gd name="T14" fmla="*/ 17 w 35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09">
                    <a:moveTo>
                      <a:pt x="1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26" y="0"/>
                      <a:pt x="35" y="2"/>
                      <a:pt x="35" y="2"/>
                    </a:cubicBezTo>
                    <a:cubicBezTo>
                      <a:pt x="33" y="46"/>
                      <a:pt x="31" y="72"/>
                      <a:pt x="30" y="109"/>
                    </a:cubicBezTo>
                    <a:cubicBezTo>
                      <a:pt x="30" y="109"/>
                      <a:pt x="30" y="109"/>
                      <a:pt x="30" y="109"/>
                    </a:cubicBezTo>
                    <a:cubicBezTo>
                      <a:pt x="5" y="109"/>
                      <a:pt x="5" y="109"/>
                      <a:pt x="5" y="109"/>
                    </a:cubicBezTo>
                    <a:cubicBezTo>
                      <a:pt x="3" y="72"/>
                      <a:pt x="1" y="46"/>
                      <a:pt x="0" y="2"/>
                    </a:cubicBezTo>
                    <a:cubicBezTo>
                      <a:pt x="0" y="2"/>
                      <a:pt x="10" y="0"/>
                      <a:pt x="17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439">
                <a:extLst>
                  <a:ext uri="{FF2B5EF4-FFF2-40B4-BE49-F238E27FC236}">
                    <a16:creationId xmlns:a16="http://schemas.microsoft.com/office/drawing/2014/main" id="{613367DD-F1E1-49C2-9C9E-E21C58B35D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74"/>
                <a:ext cx="19" cy="59"/>
              </a:xfrm>
              <a:custGeom>
                <a:avLst/>
                <a:gdLst>
                  <a:gd name="T0" fmla="*/ 17 w 35"/>
                  <a:gd name="T1" fmla="*/ 0 h 109"/>
                  <a:gd name="T2" fmla="*/ 17 w 35"/>
                  <a:gd name="T3" fmla="*/ 0 h 109"/>
                  <a:gd name="T4" fmla="*/ 35 w 35"/>
                  <a:gd name="T5" fmla="*/ 2 h 109"/>
                  <a:gd name="T6" fmla="*/ 30 w 35"/>
                  <a:gd name="T7" fmla="*/ 109 h 109"/>
                  <a:gd name="T8" fmla="*/ 30 w 35"/>
                  <a:gd name="T9" fmla="*/ 109 h 109"/>
                  <a:gd name="T10" fmla="*/ 5 w 35"/>
                  <a:gd name="T11" fmla="*/ 109 h 109"/>
                  <a:gd name="T12" fmla="*/ 0 w 35"/>
                  <a:gd name="T13" fmla="*/ 2 h 109"/>
                  <a:gd name="T14" fmla="*/ 17 w 35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09">
                    <a:moveTo>
                      <a:pt x="1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26" y="0"/>
                      <a:pt x="35" y="2"/>
                      <a:pt x="35" y="2"/>
                    </a:cubicBezTo>
                    <a:cubicBezTo>
                      <a:pt x="33" y="46"/>
                      <a:pt x="31" y="72"/>
                      <a:pt x="30" y="109"/>
                    </a:cubicBezTo>
                    <a:cubicBezTo>
                      <a:pt x="30" y="109"/>
                      <a:pt x="30" y="109"/>
                      <a:pt x="30" y="109"/>
                    </a:cubicBezTo>
                    <a:cubicBezTo>
                      <a:pt x="5" y="109"/>
                      <a:pt x="5" y="109"/>
                      <a:pt x="5" y="109"/>
                    </a:cubicBezTo>
                    <a:cubicBezTo>
                      <a:pt x="3" y="72"/>
                      <a:pt x="1" y="46"/>
                      <a:pt x="0" y="2"/>
                    </a:cubicBezTo>
                    <a:cubicBezTo>
                      <a:pt x="0" y="2"/>
                      <a:pt x="10" y="0"/>
                      <a:pt x="17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440">
                <a:extLst>
                  <a:ext uri="{FF2B5EF4-FFF2-40B4-BE49-F238E27FC236}">
                    <a16:creationId xmlns:a16="http://schemas.microsoft.com/office/drawing/2014/main" id="{DAE9DB01-7BDE-4644-9CE1-DA53CC765C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69"/>
                <a:ext cx="19" cy="4"/>
              </a:xfrm>
              <a:custGeom>
                <a:avLst/>
                <a:gdLst>
                  <a:gd name="T0" fmla="*/ 18 w 36"/>
                  <a:gd name="T1" fmla="*/ 0 h 7"/>
                  <a:gd name="T2" fmla="*/ 18 w 36"/>
                  <a:gd name="T3" fmla="*/ 0 h 7"/>
                  <a:gd name="T4" fmla="*/ 36 w 36"/>
                  <a:gd name="T5" fmla="*/ 2 h 7"/>
                  <a:gd name="T6" fmla="*/ 36 w 36"/>
                  <a:gd name="T7" fmla="*/ 7 h 7"/>
                  <a:gd name="T8" fmla="*/ 18 w 36"/>
                  <a:gd name="T9" fmla="*/ 5 h 7"/>
                  <a:gd name="T10" fmla="*/ 18 w 36"/>
                  <a:gd name="T11" fmla="*/ 5 h 7"/>
                  <a:gd name="T12" fmla="*/ 1 w 36"/>
                  <a:gd name="T13" fmla="*/ 7 h 7"/>
                  <a:gd name="T14" fmla="*/ 0 w 36"/>
                  <a:gd name="T15" fmla="*/ 2 h 7"/>
                  <a:gd name="T16" fmla="*/ 18 w 36"/>
                  <a:gd name="T1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" h="7">
                    <a:moveTo>
                      <a:pt x="18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26" y="0"/>
                      <a:pt x="34" y="1"/>
                      <a:pt x="36" y="2"/>
                    </a:cubicBezTo>
                    <a:cubicBezTo>
                      <a:pt x="36" y="3"/>
                      <a:pt x="36" y="5"/>
                      <a:pt x="36" y="7"/>
                    </a:cubicBezTo>
                    <a:cubicBezTo>
                      <a:pt x="34" y="6"/>
                      <a:pt x="26" y="5"/>
                      <a:pt x="18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2" y="5"/>
                      <a:pt x="2" y="6"/>
                      <a:pt x="1" y="7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2" y="1"/>
                      <a:pt x="11" y="0"/>
                      <a:pt x="18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441">
                <a:extLst>
                  <a:ext uri="{FF2B5EF4-FFF2-40B4-BE49-F238E27FC236}">
                    <a16:creationId xmlns:a16="http://schemas.microsoft.com/office/drawing/2014/main" id="{B7F23BCD-7291-42A1-A21F-BCA9489D4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2" y="2545"/>
                <a:ext cx="2" cy="6"/>
              </a:xfrm>
              <a:custGeom>
                <a:avLst/>
                <a:gdLst>
                  <a:gd name="T0" fmla="*/ 0 w 3"/>
                  <a:gd name="T1" fmla="*/ 0 h 11"/>
                  <a:gd name="T2" fmla="*/ 3 w 3"/>
                  <a:gd name="T3" fmla="*/ 0 h 11"/>
                  <a:gd name="T4" fmla="*/ 3 w 3"/>
                  <a:gd name="T5" fmla="*/ 9 h 11"/>
                  <a:gd name="T6" fmla="*/ 1 w 3"/>
                  <a:gd name="T7" fmla="*/ 11 h 11"/>
                  <a:gd name="T8" fmla="*/ 1 w 3"/>
                  <a:gd name="T9" fmla="*/ 11 h 11"/>
                  <a:gd name="T10" fmla="*/ 0 w 3"/>
                  <a:gd name="T11" fmla="*/ 11 h 11"/>
                  <a:gd name="T12" fmla="*/ 0 w 3"/>
                  <a:gd name="T13" fmla="*/ 9 h 11"/>
                  <a:gd name="T14" fmla="*/ 0 w 3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11">
                    <a:moveTo>
                      <a:pt x="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1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0" y="11"/>
                      <a:pt x="0" y="11"/>
                    </a:cubicBezTo>
                    <a:cubicBezTo>
                      <a:pt x="0" y="10"/>
                      <a:pt x="0" y="10"/>
                      <a:pt x="0" y="9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442">
                <a:extLst>
                  <a:ext uri="{FF2B5EF4-FFF2-40B4-BE49-F238E27FC236}">
                    <a16:creationId xmlns:a16="http://schemas.microsoft.com/office/drawing/2014/main" id="{9215A3D7-4A65-411A-8417-E89E3EB198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6" y="2532"/>
                <a:ext cx="14" cy="14"/>
              </a:xfrm>
              <a:custGeom>
                <a:avLst/>
                <a:gdLst>
                  <a:gd name="T0" fmla="*/ 12 w 25"/>
                  <a:gd name="T1" fmla="*/ 0 h 27"/>
                  <a:gd name="T2" fmla="*/ 25 w 25"/>
                  <a:gd name="T3" fmla="*/ 3 h 27"/>
                  <a:gd name="T4" fmla="*/ 25 w 25"/>
                  <a:gd name="T5" fmla="*/ 3 h 27"/>
                  <a:gd name="T6" fmla="*/ 15 w 25"/>
                  <a:gd name="T7" fmla="*/ 27 h 27"/>
                  <a:gd name="T8" fmla="*/ 14 w 25"/>
                  <a:gd name="T9" fmla="*/ 27 h 27"/>
                  <a:gd name="T10" fmla="*/ 12 w 25"/>
                  <a:gd name="T11" fmla="*/ 27 h 27"/>
                  <a:gd name="T12" fmla="*/ 12 w 25"/>
                  <a:gd name="T13" fmla="*/ 27 h 27"/>
                  <a:gd name="T14" fmla="*/ 11 w 25"/>
                  <a:gd name="T15" fmla="*/ 27 h 27"/>
                  <a:gd name="T16" fmla="*/ 10 w 25"/>
                  <a:gd name="T17" fmla="*/ 27 h 27"/>
                  <a:gd name="T18" fmla="*/ 0 w 25"/>
                  <a:gd name="T19" fmla="*/ 3 h 27"/>
                  <a:gd name="T20" fmla="*/ 12 w 25"/>
                  <a:gd name="T2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27">
                    <a:moveTo>
                      <a:pt x="12" y="0"/>
                    </a:moveTo>
                    <a:cubicBezTo>
                      <a:pt x="18" y="0"/>
                      <a:pt x="24" y="1"/>
                      <a:pt x="25" y="3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4" y="10"/>
                      <a:pt x="18" y="21"/>
                      <a:pt x="15" y="27"/>
                    </a:cubicBezTo>
                    <a:cubicBezTo>
                      <a:pt x="15" y="27"/>
                      <a:pt x="14" y="27"/>
                      <a:pt x="14" y="27"/>
                    </a:cubicBezTo>
                    <a:cubicBezTo>
                      <a:pt x="13" y="27"/>
                      <a:pt x="13" y="27"/>
                      <a:pt x="12" y="27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2" y="27"/>
                      <a:pt x="11" y="27"/>
                      <a:pt x="11" y="27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6" y="21"/>
                      <a:pt x="0" y="9"/>
                      <a:pt x="0" y="3"/>
                    </a:cubicBezTo>
                    <a:cubicBezTo>
                      <a:pt x="0" y="1"/>
                      <a:pt x="6" y="0"/>
                      <a:pt x="12" y="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443">
                <a:extLst>
                  <a:ext uri="{FF2B5EF4-FFF2-40B4-BE49-F238E27FC236}">
                    <a16:creationId xmlns:a16="http://schemas.microsoft.com/office/drawing/2014/main" id="{478B5557-FFF7-49A5-A64C-C85625664E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3" y="2368"/>
                <a:ext cx="9" cy="107"/>
              </a:xfrm>
              <a:custGeom>
                <a:avLst/>
                <a:gdLst>
                  <a:gd name="T0" fmla="*/ 0 w 18"/>
                  <a:gd name="T1" fmla="*/ 190 h 195"/>
                  <a:gd name="T2" fmla="*/ 0 w 18"/>
                  <a:gd name="T3" fmla="*/ 190 h 195"/>
                  <a:gd name="T4" fmla="*/ 0 w 18"/>
                  <a:gd name="T5" fmla="*/ 193 h 195"/>
                  <a:gd name="T6" fmla="*/ 0 w 18"/>
                  <a:gd name="T7" fmla="*/ 193 h 195"/>
                  <a:gd name="T8" fmla="*/ 18 w 18"/>
                  <a:gd name="T9" fmla="*/ 195 h 195"/>
                  <a:gd name="T10" fmla="*/ 18 w 18"/>
                  <a:gd name="T11" fmla="*/ 195 h 195"/>
                  <a:gd name="T12" fmla="*/ 18 w 18"/>
                  <a:gd name="T13" fmla="*/ 192 h 195"/>
                  <a:gd name="T14" fmla="*/ 0 w 18"/>
                  <a:gd name="T15" fmla="*/ 190 h 195"/>
                  <a:gd name="T16" fmla="*/ 13 w 18"/>
                  <a:gd name="T17" fmla="*/ 0 h 195"/>
                  <a:gd name="T18" fmla="*/ 0 w 18"/>
                  <a:gd name="T19" fmla="*/ 0 h 195"/>
                  <a:gd name="T20" fmla="*/ 0 w 18"/>
                  <a:gd name="T21" fmla="*/ 185 h 195"/>
                  <a:gd name="T22" fmla="*/ 0 w 18"/>
                  <a:gd name="T23" fmla="*/ 185 h 195"/>
                  <a:gd name="T24" fmla="*/ 18 w 18"/>
                  <a:gd name="T25" fmla="*/ 187 h 195"/>
                  <a:gd name="T26" fmla="*/ 18 w 18"/>
                  <a:gd name="T27" fmla="*/ 187 h 195"/>
                  <a:gd name="T28" fmla="*/ 18 w 18"/>
                  <a:gd name="T29" fmla="*/ 138 h 195"/>
                  <a:gd name="T30" fmla="*/ 13 w 18"/>
                  <a:gd name="T31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195">
                    <a:moveTo>
                      <a:pt x="0" y="190"/>
                    </a:move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9" y="193"/>
                      <a:pt x="18" y="195"/>
                      <a:pt x="18" y="195"/>
                    </a:cubicBezTo>
                    <a:cubicBezTo>
                      <a:pt x="18" y="195"/>
                      <a:pt x="18" y="195"/>
                      <a:pt x="18" y="195"/>
                    </a:cubicBezTo>
                    <a:cubicBezTo>
                      <a:pt x="18" y="194"/>
                      <a:pt x="18" y="193"/>
                      <a:pt x="18" y="192"/>
                    </a:cubicBezTo>
                    <a:cubicBezTo>
                      <a:pt x="16" y="191"/>
                      <a:pt x="8" y="190"/>
                      <a:pt x="0" y="190"/>
                    </a:cubicBezTo>
                    <a:moveTo>
                      <a:pt x="1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85"/>
                      <a:pt x="0" y="185"/>
                      <a:pt x="0" y="185"/>
                    </a:cubicBezTo>
                    <a:cubicBezTo>
                      <a:pt x="0" y="185"/>
                      <a:pt x="0" y="185"/>
                      <a:pt x="0" y="185"/>
                    </a:cubicBezTo>
                    <a:cubicBezTo>
                      <a:pt x="8" y="185"/>
                      <a:pt x="16" y="186"/>
                      <a:pt x="18" y="187"/>
                    </a:cubicBezTo>
                    <a:cubicBezTo>
                      <a:pt x="18" y="187"/>
                      <a:pt x="18" y="187"/>
                      <a:pt x="18" y="187"/>
                    </a:cubicBezTo>
                    <a:cubicBezTo>
                      <a:pt x="18" y="174"/>
                      <a:pt x="18" y="149"/>
                      <a:pt x="18" y="138"/>
                    </a:cubicBezTo>
                    <a:cubicBezTo>
                      <a:pt x="18" y="88"/>
                      <a:pt x="15" y="50"/>
                      <a:pt x="13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444">
                <a:extLst>
                  <a:ext uri="{FF2B5EF4-FFF2-40B4-BE49-F238E27FC236}">
                    <a16:creationId xmlns:a16="http://schemas.microsoft.com/office/drawing/2014/main" id="{17498DD3-4E74-4D0E-98A9-8B51249788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358"/>
                <a:ext cx="7" cy="10"/>
              </a:xfrm>
              <a:custGeom>
                <a:avLst/>
                <a:gdLst>
                  <a:gd name="T0" fmla="*/ 1 w 13"/>
                  <a:gd name="T1" fmla="*/ 0 h 19"/>
                  <a:gd name="T2" fmla="*/ 0 w 13"/>
                  <a:gd name="T3" fmla="*/ 0 h 19"/>
                  <a:gd name="T4" fmla="*/ 0 w 13"/>
                  <a:gd name="T5" fmla="*/ 19 h 19"/>
                  <a:gd name="T6" fmla="*/ 13 w 13"/>
                  <a:gd name="T7" fmla="*/ 19 h 19"/>
                  <a:gd name="T8" fmla="*/ 13 w 13"/>
                  <a:gd name="T9" fmla="*/ 16 h 19"/>
                  <a:gd name="T10" fmla="*/ 12 w 13"/>
                  <a:gd name="T11" fmla="*/ 16 h 19"/>
                  <a:gd name="T12" fmla="*/ 12 w 13"/>
                  <a:gd name="T13" fmla="*/ 13 h 19"/>
                  <a:gd name="T14" fmla="*/ 13 w 13"/>
                  <a:gd name="T15" fmla="*/ 13 h 19"/>
                  <a:gd name="T16" fmla="*/ 13 w 13"/>
                  <a:gd name="T17" fmla="*/ 13 h 19"/>
                  <a:gd name="T18" fmla="*/ 1 w 13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9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6"/>
                      <a:pt x="8" y="0"/>
                      <a:pt x="1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445">
                <a:extLst>
                  <a:ext uri="{FF2B5EF4-FFF2-40B4-BE49-F238E27FC236}">
                    <a16:creationId xmlns:a16="http://schemas.microsoft.com/office/drawing/2014/main" id="{64E4E2F8-6597-4EF0-BD7D-108BA247C7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9" y="2365"/>
                <a:ext cx="6" cy="2"/>
              </a:xfrm>
              <a:custGeom>
                <a:avLst/>
                <a:gdLst>
                  <a:gd name="T0" fmla="*/ 10 w 11"/>
                  <a:gd name="T1" fmla="*/ 0 h 3"/>
                  <a:gd name="T2" fmla="*/ 1 w 11"/>
                  <a:gd name="T3" fmla="*/ 0 h 3"/>
                  <a:gd name="T4" fmla="*/ 0 w 11"/>
                  <a:gd name="T5" fmla="*/ 0 h 3"/>
                  <a:gd name="T6" fmla="*/ 0 w 11"/>
                  <a:gd name="T7" fmla="*/ 3 h 3"/>
                  <a:gd name="T8" fmla="*/ 1 w 11"/>
                  <a:gd name="T9" fmla="*/ 3 h 3"/>
                  <a:gd name="T10" fmla="*/ 9 w 11"/>
                  <a:gd name="T11" fmla="*/ 3 h 3"/>
                  <a:gd name="T12" fmla="*/ 8 w 11"/>
                  <a:gd name="T13" fmla="*/ 1 h 3"/>
                  <a:gd name="T14" fmla="*/ 10 w 11"/>
                  <a:gd name="T15" fmla="*/ 0 h 3"/>
                  <a:gd name="T16" fmla="*/ 11 w 11"/>
                  <a:gd name="T17" fmla="*/ 0 h 3"/>
                  <a:gd name="T18" fmla="*/ 10 w 11"/>
                  <a:gd name="T19" fmla="*/ 0 h 3"/>
                  <a:gd name="T20" fmla="*/ 11 w 11"/>
                  <a:gd name="T21" fmla="*/ 0 h 3"/>
                  <a:gd name="T22" fmla="*/ 11 w 11"/>
                  <a:gd name="T2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3">
                    <a:moveTo>
                      <a:pt x="1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2"/>
                      <a:pt x="8" y="1"/>
                    </a:cubicBezTo>
                    <a:cubicBezTo>
                      <a:pt x="8" y="1"/>
                      <a:pt x="9" y="0"/>
                      <a:pt x="10" y="0"/>
                    </a:cubicBezTo>
                    <a:moveTo>
                      <a:pt x="1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446">
                <a:extLst>
                  <a:ext uri="{FF2B5EF4-FFF2-40B4-BE49-F238E27FC236}">
                    <a16:creationId xmlns:a16="http://schemas.microsoft.com/office/drawing/2014/main" id="{178BFD43-1F73-4C78-8572-DFDCE910C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4" y="2365"/>
                <a:ext cx="7" cy="64"/>
              </a:xfrm>
              <a:custGeom>
                <a:avLst/>
                <a:gdLst>
                  <a:gd name="T0" fmla="*/ 2 w 14"/>
                  <a:gd name="T1" fmla="*/ 0 h 117"/>
                  <a:gd name="T2" fmla="*/ 2 w 14"/>
                  <a:gd name="T3" fmla="*/ 0 h 117"/>
                  <a:gd name="T4" fmla="*/ 0 w 14"/>
                  <a:gd name="T5" fmla="*/ 1 h 117"/>
                  <a:gd name="T6" fmla="*/ 1 w 14"/>
                  <a:gd name="T7" fmla="*/ 3 h 117"/>
                  <a:gd name="T8" fmla="*/ 1 w 14"/>
                  <a:gd name="T9" fmla="*/ 3 h 117"/>
                  <a:gd name="T10" fmla="*/ 4 w 14"/>
                  <a:gd name="T11" fmla="*/ 40 h 117"/>
                  <a:gd name="T12" fmla="*/ 4 w 14"/>
                  <a:gd name="T13" fmla="*/ 61 h 117"/>
                  <a:gd name="T14" fmla="*/ 4 w 14"/>
                  <a:gd name="T15" fmla="*/ 63 h 117"/>
                  <a:gd name="T16" fmla="*/ 3 w 14"/>
                  <a:gd name="T17" fmla="*/ 86 h 117"/>
                  <a:gd name="T18" fmla="*/ 3 w 14"/>
                  <a:gd name="T19" fmla="*/ 87 h 117"/>
                  <a:gd name="T20" fmla="*/ 1 w 14"/>
                  <a:gd name="T21" fmla="*/ 110 h 117"/>
                  <a:gd name="T22" fmla="*/ 1 w 14"/>
                  <a:gd name="T23" fmla="*/ 112 h 117"/>
                  <a:gd name="T24" fmla="*/ 0 w 14"/>
                  <a:gd name="T25" fmla="*/ 117 h 117"/>
                  <a:gd name="T26" fmla="*/ 5 w 14"/>
                  <a:gd name="T27" fmla="*/ 117 h 117"/>
                  <a:gd name="T28" fmla="*/ 7 w 14"/>
                  <a:gd name="T29" fmla="*/ 117 h 117"/>
                  <a:gd name="T30" fmla="*/ 8 w 14"/>
                  <a:gd name="T31" fmla="*/ 115 h 117"/>
                  <a:gd name="T32" fmla="*/ 7 w 14"/>
                  <a:gd name="T33" fmla="*/ 113 h 117"/>
                  <a:gd name="T34" fmla="*/ 5 w 14"/>
                  <a:gd name="T35" fmla="*/ 112 h 117"/>
                  <a:gd name="T36" fmla="*/ 5 w 14"/>
                  <a:gd name="T37" fmla="*/ 112 h 117"/>
                  <a:gd name="T38" fmla="*/ 5 w 14"/>
                  <a:gd name="T39" fmla="*/ 112 h 117"/>
                  <a:gd name="T40" fmla="*/ 14 w 14"/>
                  <a:gd name="T41" fmla="*/ 39 h 117"/>
                  <a:gd name="T42" fmla="*/ 5 w 14"/>
                  <a:gd name="T43" fmla="*/ 1 h 117"/>
                  <a:gd name="T44" fmla="*/ 3 w 14"/>
                  <a:gd name="T45" fmla="*/ 0 h 117"/>
                  <a:gd name="T46" fmla="*/ 3 w 14"/>
                  <a:gd name="T47" fmla="*/ 0 h 117"/>
                  <a:gd name="T48" fmla="*/ 2 w 14"/>
                  <a:gd name="T49" fmla="*/ 0 h 117"/>
                  <a:gd name="T50" fmla="*/ 2 w 14"/>
                  <a:gd name="T51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" h="117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11"/>
                      <a:pt x="4" y="24"/>
                      <a:pt x="4" y="40"/>
                    </a:cubicBezTo>
                    <a:cubicBezTo>
                      <a:pt x="4" y="47"/>
                      <a:pt x="4" y="54"/>
                      <a:pt x="4" y="61"/>
                    </a:cubicBezTo>
                    <a:cubicBezTo>
                      <a:pt x="4" y="62"/>
                      <a:pt x="4" y="63"/>
                      <a:pt x="4" y="63"/>
                    </a:cubicBezTo>
                    <a:cubicBezTo>
                      <a:pt x="4" y="71"/>
                      <a:pt x="3" y="79"/>
                      <a:pt x="3" y="86"/>
                    </a:cubicBezTo>
                    <a:cubicBezTo>
                      <a:pt x="3" y="86"/>
                      <a:pt x="3" y="87"/>
                      <a:pt x="3" y="87"/>
                    </a:cubicBezTo>
                    <a:cubicBezTo>
                      <a:pt x="2" y="97"/>
                      <a:pt x="1" y="105"/>
                      <a:pt x="1" y="110"/>
                    </a:cubicBezTo>
                    <a:cubicBezTo>
                      <a:pt x="1" y="111"/>
                      <a:pt x="1" y="111"/>
                      <a:pt x="1" y="112"/>
                    </a:cubicBezTo>
                    <a:cubicBezTo>
                      <a:pt x="0" y="115"/>
                      <a:pt x="0" y="117"/>
                      <a:pt x="0" y="117"/>
                    </a:cubicBezTo>
                    <a:cubicBezTo>
                      <a:pt x="0" y="117"/>
                      <a:pt x="3" y="117"/>
                      <a:pt x="5" y="117"/>
                    </a:cubicBezTo>
                    <a:cubicBezTo>
                      <a:pt x="6" y="117"/>
                      <a:pt x="7" y="117"/>
                      <a:pt x="7" y="117"/>
                    </a:cubicBezTo>
                    <a:cubicBezTo>
                      <a:pt x="8" y="116"/>
                      <a:pt x="8" y="116"/>
                      <a:pt x="8" y="115"/>
                    </a:cubicBezTo>
                    <a:cubicBezTo>
                      <a:pt x="8" y="114"/>
                      <a:pt x="8" y="113"/>
                      <a:pt x="7" y="113"/>
                    </a:cubicBezTo>
                    <a:cubicBezTo>
                      <a:pt x="7" y="112"/>
                      <a:pt x="6" y="112"/>
                      <a:pt x="5" y="112"/>
                    </a:cubicBezTo>
                    <a:cubicBezTo>
                      <a:pt x="5" y="112"/>
                      <a:pt x="5" y="112"/>
                      <a:pt x="5" y="112"/>
                    </a:cubicBezTo>
                    <a:cubicBezTo>
                      <a:pt x="5" y="112"/>
                      <a:pt x="5" y="112"/>
                      <a:pt x="5" y="112"/>
                    </a:cubicBezTo>
                    <a:cubicBezTo>
                      <a:pt x="7" y="105"/>
                      <a:pt x="14" y="69"/>
                      <a:pt x="14" y="39"/>
                    </a:cubicBezTo>
                    <a:cubicBezTo>
                      <a:pt x="14" y="22"/>
                      <a:pt x="12" y="8"/>
                      <a:pt x="5" y="1"/>
                    </a:cubicBezTo>
                    <a:cubicBezTo>
                      <a:pt x="5" y="1"/>
                      <a:pt x="4" y="1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447">
                <a:extLst>
                  <a:ext uri="{FF2B5EF4-FFF2-40B4-BE49-F238E27FC236}">
                    <a16:creationId xmlns:a16="http://schemas.microsoft.com/office/drawing/2014/main" id="{DB9D77ED-B32C-4C0D-A146-982D2163D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474"/>
                <a:ext cx="9" cy="59"/>
              </a:xfrm>
              <a:custGeom>
                <a:avLst/>
                <a:gdLst>
                  <a:gd name="T0" fmla="*/ 0 w 18"/>
                  <a:gd name="T1" fmla="*/ 0 h 109"/>
                  <a:gd name="T2" fmla="*/ 0 w 18"/>
                  <a:gd name="T3" fmla="*/ 0 h 109"/>
                  <a:gd name="T4" fmla="*/ 0 w 18"/>
                  <a:gd name="T5" fmla="*/ 106 h 109"/>
                  <a:gd name="T6" fmla="*/ 13 w 18"/>
                  <a:gd name="T7" fmla="*/ 109 h 109"/>
                  <a:gd name="T8" fmla="*/ 13 w 18"/>
                  <a:gd name="T9" fmla="*/ 109 h 109"/>
                  <a:gd name="T10" fmla="*/ 13 w 18"/>
                  <a:gd name="T11" fmla="*/ 109 h 109"/>
                  <a:gd name="T12" fmla="*/ 18 w 18"/>
                  <a:gd name="T13" fmla="*/ 2 h 109"/>
                  <a:gd name="T14" fmla="*/ 0 w 18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09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6" y="106"/>
                      <a:pt x="12" y="107"/>
                      <a:pt x="13" y="109"/>
                    </a:cubicBezTo>
                    <a:cubicBezTo>
                      <a:pt x="13" y="109"/>
                      <a:pt x="13" y="109"/>
                      <a:pt x="13" y="109"/>
                    </a:cubicBezTo>
                    <a:cubicBezTo>
                      <a:pt x="13" y="109"/>
                      <a:pt x="13" y="109"/>
                      <a:pt x="13" y="109"/>
                    </a:cubicBezTo>
                    <a:cubicBezTo>
                      <a:pt x="14" y="72"/>
                      <a:pt x="16" y="46"/>
                      <a:pt x="18" y="2"/>
                    </a:cubicBezTo>
                    <a:cubicBezTo>
                      <a:pt x="18" y="2"/>
                      <a:pt x="9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448">
                <a:extLst>
                  <a:ext uri="{FF2B5EF4-FFF2-40B4-BE49-F238E27FC236}">
                    <a16:creationId xmlns:a16="http://schemas.microsoft.com/office/drawing/2014/main" id="{DFB48736-B053-4E47-8E66-2B69573E2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469"/>
                <a:ext cx="9" cy="4"/>
              </a:xfrm>
              <a:custGeom>
                <a:avLst/>
                <a:gdLst>
                  <a:gd name="T0" fmla="*/ 0 w 18"/>
                  <a:gd name="T1" fmla="*/ 0 h 7"/>
                  <a:gd name="T2" fmla="*/ 0 w 18"/>
                  <a:gd name="T3" fmla="*/ 0 h 7"/>
                  <a:gd name="T4" fmla="*/ 0 w 18"/>
                  <a:gd name="T5" fmla="*/ 5 h 7"/>
                  <a:gd name="T6" fmla="*/ 0 w 18"/>
                  <a:gd name="T7" fmla="*/ 5 h 7"/>
                  <a:gd name="T8" fmla="*/ 18 w 18"/>
                  <a:gd name="T9" fmla="*/ 7 h 7"/>
                  <a:gd name="T10" fmla="*/ 18 w 18"/>
                  <a:gd name="T11" fmla="*/ 7 h 7"/>
                  <a:gd name="T12" fmla="*/ 18 w 18"/>
                  <a:gd name="T13" fmla="*/ 2 h 7"/>
                  <a:gd name="T14" fmla="*/ 0 w 18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7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8" y="5"/>
                      <a:pt x="16" y="6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5"/>
                      <a:pt x="18" y="3"/>
                      <a:pt x="18" y="2"/>
                    </a:cubicBezTo>
                    <a:cubicBezTo>
                      <a:pt x="16" y="1"/>
                      <a:pt x="8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449">
                <a:extLst>
                  <a:ext uri="{FF2B5EF4-FFF2-40B4-BE49-F238E27FC236}">
                    <a16:creationId xmlns:a16="http://schemas.microsoft.com/office/drawing/2014/main" id="{EE67C20A-7262-451F-A13A-4FFB9B317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546"/>
                <a:ext cx="1" cy="5"/>
              </a:xfrm>
              <a:custGeom>
                <a:avLst/>
                <a:gdLst>
                  <a:gd name="T0" fmla="*/ 0 w 2"/>
                  <a:gd name="T1" fmla="*/ 0 h 8"/>
                  <a:gd name="T2" fmla="*/ 0 w 2"/>
                  <a:gd name="T3" fmla="*/ 0 h 8"/>
                  <a:gd name="T4" fmla="*/ 0 w 2"/>
                  <a:gd name="T5" fmla="*/ 8 h 8"/>
                  <a:gd name="T6" fmla="*/ 0 w 2"/>
                  <a:gd name="T7" fmla="*/ 8 h 8"/>
                  <a:gd name="T8" fmla="*/ 2 w 2"/>
                  <a:gd name="T9" fmla="*/ 6 h 8"/>
                  <a:gd name="T10" fmla="*/ 2 w 2"/>
                  <a:gd name="T11" fmla="*/ 0 h 8"/>
                  <a:gd name="T12" fmla="*/ 0 w 2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8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8"/>
                      <a:pt x="2" y="7"/>
                      <a:pt x="2" y="6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450">
                <a:extLst>
                  <a:ext uri="{FF2B5EF4-FFF2-40B4-BE49-F238E27FC236}">
                    <a16:creationId xmlns:a16="http://schemas.microsoft.com/office/drawing/2014/main" id="{19AA9A6F-C13A-4874-B973-48D06D31DD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532"/>
                <a:ext cx="7" cy="14"/>
              </a:xfrm>
              <a:custGeom>
                <a:avLst/>
                <a:gdLst>
                  <a:gd name="T0" fmla="*/ 0 w 13"/>
                  <a:gd name="T1" fmla="*/ 0 h 27"/>
                  <a:gd name="T2" fmla="*/ 0 w 13"/>
                  <a:gd name="T3" fmla="*/ 27 h 27"/>
                  <a:gd name="T4" fmla="*/ 0 w 13"/>
                  <a:gd name="T5" fmla="*/ 27 h 27"/>
                  <a:gd name="T6" fmla="*/ 2 w 13"/>
                  <a:gd name="T7" fmla="*/ 27 h 27"/>
                  <a:gd name="T8" fmla="*/ 2 w 13"/>
                  <a:gd name="T9" fmla="*/ 27 h 27"/>
                  <a:gd name="T10" fmla="*/ 2 w 13"/>
                  <a:gd name="T11" fmla="*/ 27 h 27"/>
                  <a:gd name="T12" fmla="*/ 3 w 13"/>
                  <a:gd name="T13" fmla="*/ 27 h 27"/>
                  <a:gd name="T14" fmla="*/ 13 w 13"/>
                  <a:gd name="T15" fmla="*/ 3 h 27"/>
                  <a:gd name="T16" fmla="*/ 13 w 13"/>
                  <a:gd name="T17" fmla="*/ 3 h 27"/>
                  <a:gd name="T18" fmla="*/ 0 w 13"/>
                  <a:gd name="T1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27">
                    <a:moveTo>
                      <a:pt x="0" y="0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27"/>
                      <a:pt x="1" y="27"/>
                      <a:pt x="2" y="2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7"/>
                      <a:pt x="3" y="27"/>
                      <a:pt x="3" y="27"/>
                    </a:cubicBezTo>
                    <a:cubicBezTo>
                      <a:pt x="6" y="21"/>
                      <a:pt x="12" y="10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2" y="1"/>
                      <a:pt x="6" y="0"/>
                      <a:pt x="0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451">
                <a:extLst>
                  <a:ext uri="{FF2B5EF4-FFF2-40B4-BE49-F238E27FC236}">
                    <a16:creationId xmlns:a16="http://schemas.microsoft.com/office/drawing/2014/main" id="{9E3CC415-918E-4FBB-8B4C-83A60F454C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4" y="2208"/>
                <a:ext cx="385" cy="430"/>
              </a:xfrm>
              <a:custGeom>
                <a:avLst/>
                <a:gdLst>
                  <a:gd name="T0" fmla="*/ 217 w 385"/>
                  <a:gd name="T1" fmla="*/ 0 h 430"/>
                  <a:gd name="T2" fmla="*/ 385 w 385"/>
                  <a:gd name="T3" fmla="*/ 33 h 430"/>
                  <a:gd name="T4" fmla="*/ 364 w 385"/>
                  <a:gd name="T5" fmla="*/ 172 h 430"/>
                  <a:gd name="T6" fmla="*/ 22 w 385"/>
                  <a:gd name="T7" fmla="*/ 430 h 430"/>
                  <a:gd name="T8" fmla="*/ 0 w 385"/>
                  <a:gd name="T9" fmla="*/ 387 h 430"/>
                  <a:gd name="T10" fmla="*/ 217 w 385"/>
                  <a:gd name="T11" fmla="*/ 0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5" h="430">
                    <a:moveTo>
                      <a:pt x="217" y="0"/>
                    </a:moveTo>
                    <a:lnTo>
                      <a:pt x="385" y="33"/>
                    </a:lnTo>
                    <a:lnTo>
                      <a:pt x="364" y="172"/>
                    </a:lnTo>
                    <a:lnTo>
                      <a:pt x="22" y="430"/>
                    </a:lnTo>
                    <a:lnTo>
                      <a:pt x="0" y="387"/>
                    </a:lnTo>
                    <a:lnTo>
                      <a:pt x="217" y="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452">
                <a:extLst>
                  <a:ext uri="{FF2B5EF4-FFF2-40B4-BE49-F238E27FC236}">
                    <a16:creationId xmlns:a16="http://schemas.microsoft.com/office/drawing/2014/main" id="{F0613E80-FB5E-4D05-A633-8025570994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8" y="2110"/>
                <a:ext cx="28" cy="27"/>
              </a:xfrm>
              <a:custGeom>
                <a:avLst/>
                <a:gdLst>
                  <a:gd name="T0" fmla="*/ 14 w 28"/>
                  <a:gd name="T1" fmla="*/ 0 h 27"/>
                  <a:gd name="T2" fmla="*/ 28 w 28"/>
                  <a:gd name="T3" fmla="*/ 13 h 27"/>
                  <a:gd name="T4" fmla="*/ 14 w 28"/>
                  <a:gd name="T5" fmla="*/ 27 h 27"/>
                  <a:gd name="T6" fmla="*/ 0 w 28"/>
                  <a:gd name="T7" fmla="*/ 14 h 27"/>
                  <a:gd name="T8" fmla="*/ 14 w 28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7">
                    <a:moveTo>
                      <a:pt x="14" y="0"/>
                    </a:moveTo>
                    <a:lnTo>
                      <a:pt x="28" y="13"/>
                    </a:lnTo>
                    <a:lnTo>
                      <a:pt x="14" y="27"/>
                    </a:lnTo>
                    <a:lnTo>
                      <a:pt x="0" y="14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6868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453">
                <a:extLst>
                  <a:ext uri="{FF2B5EF4-FFF2-40B4-BE49-F238E27FC236}">
                    <a16:creationId xmlns:a16="http://schemas.microsoft.com/office/drawing/2014/main" id="{8B4F3E16-AFD0-4119-90C0-591B01E65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8" y="2110"/>
                <a:ext cx="28" cy="27"/>
              </a:xfrm>
              <a:custGeom>
                <a:avLst/>
                <a:gdLst>
                  <a:gd name="T0" fmla="*/ 14 w 28"/>
                  <a:gd name="T1" fmla="*/ 0 h 27"/>
                  <a:gd name="T2" fmla="*/ 28 w 28"/>
                  <a:gd name="T3" fmla="*/ 13 h 27"/>
                  <a:gd name="T4" fmla="*/ 14 w 28"/>
                  <a:gd name="T5" fmla="*/ 27 h 27"/>
                  <a:gd name="T6" fmla="*/ 0 w 28"/>
                  <a:gd name="T7" fmla="*/ 14 h 27"/>
                  <a:gd name="T8" fmla="*/ 14 w 28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7">
                    <a:moveTo>
                      <a:pt x="14" y="0"/>
                    </a:moveTo>
                    <a:lnTo>
                      <a:pt x="28" y="13"/>
                    </a:lnTo>
                    <a:lnTo>
                      <a:pt x="14" y="27"/>
                    </a:lnTo>
                    <a:lnTo>
                      <a:pt x="0" y="14"/>
                    </a:lnTo>
                    <a:lnTo>
                      <a:pt x="1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454">
                <a:extLst>
                  <a:ext uri="{FF2B5EF4-FFF2-40B4-BE49-F238E27FC236}">
                    <a16:creationId xmlns:a16="http://schemas.microsoft.com/office/drawing/2014/main" id="{D3E7D7A5-8042-401A-BD13-13236A1BBB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04"/>
                <a:ext cx="24" cy="24"/>
              </a:xfrm>
              <a:custGeom>
                <a:avLst/>
                <a:gdLst>
                  <a:gd name="T0" fmla="*/ 6 w 24"/>
                  <a:gd name="T1" fmla="*/ 0 h 24"/>
                  <a:gd name="T2" fmla="*/ 24 w 24"/>
                  <a:gd name="T3" fmla="*/ 18 h 24"/>
                  <a:gd name="T4" fmla="*/ 18 w 24"/>
                  <a:gd name="T5" fmla="*/ 24 h 24"/>
                  <a:gd name="T6" fmla="*/ 0 w 24"/>
                  <a:gd name="T7" fmla="*/ 5 h 24"/>
                  <a:gd name="T8" fmla="*/ 6 w 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4">
                    <a:moveTo>
                      <a:pt x="6" y="0"/>
                    </a:moveTo>
                    <a:lnTo>
                      <a:pt x="24" y="18"/>
                    </a:lnTo>
                    <a:lnTo>
                      <a:pt x="18" y="24"/>
                    </a:lnTo>
                    <a:lnTo>
                      <a:pt x="0" y="5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455">
                <a:extLst>
                  <a:ext uri="{FF2B5EF4-FFF2-40B4-BE49-F238E27FC236}">
                    <a16:creationId xmlns:a16="http://schemas.microsoft.com/office/drawing/2014/main" id="{9C0C497F-D75E-4359-98A4-465AEE7A6B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04"/>
                <a:ext cx="24" cy="24"/>
              </a:xfrm>
              <a:custGeom>
                <a:avLst/>
                <a:gdLst>
                  <a:gd name="T0" fmla="*/ 6 w 24"/>
                  <a:gd name="T1" fmla="*/ 0 h 24"/>
                  <a:gd name="T2" fmla="*/ 24 w 24"/>
                  <a:gd name="T3" fmla="*/ 18 h 24"/>
                  <a:gd name="T4" fmla="*/ 18 w 24"/>
                  <a:gd name="T5" fmla="*/ 24 h 24"/>
                  <a:gd name="T6" fmla="*/ 0 w 24"/>
                  <a:gd name="T7" fmla="*/ 5 h 24"/>
                  <a:gd name="T8" fmla="*/ 6 w 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4">
                    <a:moveTo>
                      <a:pt x="6" y="0"/>
                    </a:moveTo>
                    <a:lnTo>
                      <a:pt x="24" y="18"/>
                    </a:lnTo>
                    <a:lnTo>
                      <a:pt x="18" y="24"/>
                    </a:lnTo>
                    <a:lnTo>
                      <a:pt x="0" y="5"/>
                    </a:lnTo>
                    <a:lnTo>
                      <a:pt x="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456">
                <a:extLst>
                  <a:ext uri="{FF2B5EF4-FFF2-40B4-BE49-F238E27FC236}">
                    <a16:creationId xmlns:a16="http://schemas.microsoft.com/office/drawing/2014/main" id="{FFA8D5FD-07C3-466A-97FA-4DE89C9BA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0" y="2052"/>
                <a:ext cx="74" cy="73"/>
              </a:xfrm>
              <a:custGeom>
                <a:avLst/>
                <a:gdLst>
                  <a:gd name="T0" fmla="*/ 96 w 135"/>
                  <a:gd name="T1" fmla="*/ 0 h 134"/>
                  <a:gd name="T2" fmla="*/ 135 w 135"/>
                  <a:gd name="T3" fmla="*/ 38 h 134"/>
                  <a:gd name="T4" fmla="*/ 39 w 135"/>
                  <a:gd name="T5" fmla="*/ 134 h 134"/>
                  <a:gd name="T6" fmla="*/ 0 w 135"/>
                  <a:gd name="T7" fmla="*/ 96 h 134"/>
                  <a:gd name="T8" fmla="*/ 96 w 135"/>
                  <a:gd name="T9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5" h="134">
                    <a:moveTo>
                      <a:pt x="96" y="0"/>
                    </a:moveTo>
                    <a:cubicBezTo>
                      <a:pt x="135" y="38"/>
                      <a:pt x="135" y="38"/>
                      <a:pt x="135" y="38"/>
                    </a:cubicBezTo>
                    <a:cubicBezTo>
                      <a:pt x="106" y="79"/>
                      <a:pt x="80" y="106"/>
                      <a:pt x="39" y="134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29" y="55"/>
                      <a:pt x="55" y="28"/>
                      <a:pt x="96" y="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457">
                <a:extLst>
                  <a:ext uri="{FF2B5EF4-FFF2-40B4-BE49-F238E27FC236}">
                    <a16:creationId xmlns:a16="http://schemas.microsoft.com/office/drawing/2014/main" id="{2DEDA6B9-13B8-4068-BB83-A64FD9172F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2067"/>
                <a:ext cx="44" cy="44"/>
              </a:xfrm>
              <a:custGeom>
                <a:avLst/>
                <a:gdLst>
                  <a:gd name="T0" fmla="*/ 78 w 81"/>
                  <a:gd name="T1" fmla="*/ 26 h 80"/>
                  <a:gd name="T2" fmla="*/ 27 w 81"/>
                  <a:gd name="T3" fmla="*/ 77 h 80"/>
                  <a:gd name="T4" fmla="*/ 16 w 81"/>
                  <a:gd name="T5" fmla="*/ 77 h 80"/>
                  <a:gd name="T6" fmla="*/ 3 w 81"/>
                  <a:gd name="T7" fmla="*/ 64 h 80"/>
                  <a:gd name="T8" fmla="*/ 3 w 81"/>
                  <a:gd name="T9" fmla="*/ 54 h 80"/>
                  <a:gd name="T10" fmla="*/ 54 w 81"/>
                  <a:gd name="T11" fmla="*/ 3 h 80"/>
                  <a:gd name="T12" fmla="*/ 65 w 81"/>
                  <a:gd name="T13" fmla="*/ 3 h 80"/>
                  <a:gd name="T14" fmla="*/ 78 w 81"/>
                  <a:gd name="T15" fmla="*/ 16 h 80"/>
                  <a:gd name="T16" fmla="*/ 78 w 81"/>
                  <a:gd name="T17" fmla="*/ 2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80">
                    <a:moveTo>
                      <a:pt x="78" y="26"/>
                    </a:moveTo>
                    <a:cubicBezTo>
                      <a:pt x="27" y="77"/>
                      <a:pt x="27" y="77"/>
                      <a:pt x="27" y="77"/>
                    </a:cubicBezTo>
                    <a:cubicBezTo>
                      <a:pt x="24" y="80"/>
                      <a:pt x="19" y="80"/>
                      <a:pt x="16" y="77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0" y="61"/>
                      <a:pt x="0" y="57"/>
                      <a:pt x="3" y="54"/>
                    </a:cubicBezTo>
                    <a:cubicBezTo>
                      <a:pt x="54" y="3"/>
                      <a:pt x="54" y="3"/>
                      <a:pt x="54" y="3"/>
                    </a:cubicBezTo>
                    <a:cubicBezTo>
                      <a:pt x="57" y="0"/>
                      <a:pt x="62" y="0"/>
                      <a:pt x="65" y="3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81" y="19"/>
                      <a:pt x="81" y="23"/>
                      <a:pt x="78" y="26"/>
                    </a:cubicBezTo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458">
                <a:extLst>
                  <a:ext uri="{FF2B5EF4-FFF2-40B4-BE49-F238E27FC236}">
                    <a16:creationId xmlns:a16="http://schemas.microsoft.com/office/drawing/2014/main" id="{975B9AE6-B436-4511-8B46-0245280CA9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17"/>
                <a:ext cx="5" cy="4"/>
              </a:xfrm>
              <a:custGeom>
                <a:avLst/>
                <a:gdLst>
                  <a:gd name="T0" fmla="*/ 5 w 5"/>
                  <a:gd name="T1" fmla="*/ 2 h 4"/>
                  <a:gd name="T2" fmla="*/ 2 w 5"/>
                  <a:gd name="T3" fmla="*/ 4 h 4"/>
                  <a:gd name="T4" fmla="*/ 0 w 5"/>
                  <a:gd name="T5" fmla="*/ 2 h 4"/>
                  <a:gd name="T6" fmla="*/ 2 w 5"/>
                  <a:gd name="T7" fmla="*/ 0 h 4"/>
                  <a:gd name="T8" fmla="*/ 5 w 5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4">
                    <a:moveTo>
                      <a:pt x="5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2A2A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459">
                <a:extLst>
                  <a:ext uri="{FF2B5EF4-FFF2-40B4-BE49-F238E27FC236}">
                    <a16:creationId xmlns:a16="http://schemas.microsoft.com/office/drawing/2014/main" id="{D2F387AD-0957-4D3C-8725-0DB78847E6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4 w 4"/>
                  <a:gd name="T1" fmla="*/ 2 h 4"/>
                  <a:gd name="T2" fmla="*/ 2 w 4"/>
                  <a:gd name="T3" fmla="*/ 4 h 4"/>
                  <a:gd name="T4" fmla="*/ 0 w 4"/>
                  <a:gd name="T5" fmla="*/ 2 h 4"/>
                  <a:gd name="T6" fmla="*/ 2 w 4"/>
                  <a:gd name="T7" fmla="*/ 0 h 4"/>
                  <a:gd name="T8" fmla="*/ 4 w 4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2A2A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460">
                <a:extLst>
                  <a:ext uri="{FF2B5EF4-FFF2-40B4-BE49-F238E27FC236}">
                    <a16:creationId xmlns:a16="http://schemas.microsoft.com/office/drawing/2014/main" id="{B6FD6709-28AB-4555-A625-0B49E6FF86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4 w 4"/>
                  <a:gd name="T1" fmla="*/ 2 h 4"/>
                  <a:gd name="T2" fmla="*/ 2 w 4"/>
                  <a:gd name="T3" fmla="*/ 4 h 4"/>
                  <a:gd name="T4" fmla="*/ 0 w 4"/>
                  <a:gd name="T5" fmla="*/ 2 h 4"/>
                  <a:gd name="T6" fmla="*/ 2 w 4"/>
                  <a:gd name="T7" fmla="*/ 0 h 4"/>
                  <a:gd name="T8" fmla="*/ 4 w 4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461">
                <a:extLst>
                  <a:ext uri="{FF2B5EF4-FFF2-40B4-BE49-F238E27FC236}">
                    <a16:creationId xmlns:a16="http://schemas.microsoft.com/office/drawing/2014/main" id="{D1BC37D3-EA04-4F1B-9613-BE00CAF458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2" y="2048"/>
                <a:ext cx="26" cy="25"/>
              </a:xfrm>
              <a:custGeom>
                <a:avLst/>
                <a:gdLst>
                  <a:gd name="T0" fmla="*/ 33 w 46"/>
                  <a:gd name="T1" fmla="*/ 13 h 46"/>
                  <a:gd name="T2" fmla="*/ 45 w 46"/>
                  <a:gd name="T3" fmla="*/ 32 h 46"/>
                  <a:gd name="T4" fmla="*/ 39 w 46"/>
                  <a:gd name="T5" fmla="*/ 46 h 46"/>
                  <a:gd name="T6" fmla="*/ 0 w 46"/>
                  <a:gd name="T7" fmla="*/ 8 h 46"/>
                  <a:gd name="T8" fmla="*/ 14 w 46"/>
                  <a:gd name="T9" fmla="*/ 1 h 46"/>
                  <a:gd name="T10" fmla="*/ 33 w 46"/>
                  <a:gd name="T11" fmla="*/ 1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46">
                    <a:moveTo>
                      <a:pt x="33" y="13"/>
                    </a:moveTo>
                    <a:cubicBezTo>
                      <a:pt x="39" y="20"/>
                      <a:pt x="44" y="27"/>
                      <a:pt x="45" y="32"/>
                    </a:cubicBezTo>
                    <a:cubicBezTo>
                      <a:pt x="46" y="36"/>
                      <a:pt x="39" y="46"/>
                      <a:pt x="39" y="46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10" y="0"/>
                      <a:pt x="14" y="1"/>
                    </a:cubicBezTo>
                    <a:cubicBezTo>
                      <a:pt x="19" y="2"/>
                      <a:pt x="27" y="7"/>
                      <a:pt x="33" y="13"/>
                    </a:cubicBezTo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462">
                <a:extLst>
                  <a:ext uri="{FF2B5EF4-FFF2-40B4-BE49-F238E27FC236}">
                    <a16:creationId xmlns:a16="http://schemas.microsoft.com/office/drawing/2014/main" id="{BCDDFEAA-A612-4F86-950C-01F1921BA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6" y="2087"/>
                <a:ext cx="7" cy="6"/>
              </a:xfrm>
              <a:custGeom>
                <a:avLst/>
                <a:gdLst>
                  <a:gd name="T0" fmla="*/ 5 w 7"/>
                  <a:gd name="T1" fmla="*/ 3 h 6"/>
                  <a:gd name="T2" fmla="*/ 2 w 7"/>
                  <a:gd name="T3" fmla="*/ 0 h 6"/>
                  <a:gd name="T4" fmla="*/ 0 w 7"/>
                  <a:gd name="T5" fmla="*/ 1 h 6"/>
                  <a:gd name="T6" fmla="*/ 1 w 7"/>
                  <a:gd name="T7" fmla="*/ 2 h 6"/>
                  <a:gd name="T8" fmla="*/ 2 w 7"/>
                  <a:gd name="T9" fmla="*/ 1 h 6"/>
                  <a:gd name="T10" fmla="*/ 4 w 7"/>
                  <a:gd name="T11" fmla="*/ 5 h 6"/>
                  <a:gd name="T12" fmla="*/ 4 w 7"/>
                  <a:gd name="T13" fmla="*/ 5 h 6"/>
                  <a:gd name="T14" fmla="*/ 4 w 7"/>
                  <a:gd name="T15" fmla="*/ 6 h 6"/>
                  <a:gd name="T16" fmla="*/ 7 w 7"/>
                  <a:gd name="T17" fmla="*/ 3 h 6"/>
                  <a:gd name="T18" fmla="*/ 6 w 7"/>
                  <a:gd name="T19" fmla="*/ 3 h 6"/>
                  <a:gd name="T20" fmla="*/ 5 w 7"/>
                  <a:gd name="T21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6">
                    <a:moveTo>
                      <a:pt x="5" y="3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5" y="3"/>
                    </a:lnTo>
                    <a:close/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463">
                <a:extLst>
                  <a:ext uri="{FF2B5EF4-FFF2-40B4-BE49-F238E27FC236}">
                    <a16:creationId xmlns:a16="http://schemas.microsoft.com/office/drawing/2014/main" id="{94D09D39-114B-4175-B2C8-D49670E6E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6" y="2087"/>
                <a:ext cx="7" cy="6"/>
              </a:xfrm>
              <a:custGeom>
                <a:avLst/>
                <a:gdLst>
                  <a:gd name="T0" fmla="*/ 5 w 7"/>
                  <a:gd name="T1" fmla="*/ 3 h 6"/>
                  <a:gd name="T2" fmla="*/ 2 w 7"/>
                  <a:gd name="T3" fmla="*/ 0 h 6"/>
                  <a:gd name="T4" fmla="*/ 0 w 7"/>
                  <a:gd name="T5" fmla="*/ 1 h 6"/>
                  <a:gd name="T6" fmla="*/ 1 w 7"/>
                  <a:gd name="T7" fmla="*/ 2 h 6"/>
                  <a:gd name="T8" fmla="*/ 2 w 7"/>
                  <a:gd name="T9" fmla="*/ 1 h 6"/>
                  <a:gd name="T10" fmla="*/ 4 w 7"/>
                  <a:gd name="T11" fmla="*/ 5 h 6"/>
                  <a:gd name="T12" fmla="*/ 4 w 7"/>
                  <a:gd name="T13" fmla="*/ 5 h 6"/>
                  <a:gd name="T14" fmla="*/ 4 w 7"/>
                  <a:gd name="T15" fmla="*/ 6 h 6"/>
                  <a:gd name="T16" fmla="*/ 7 w 7"/>
                  <a:gd name="T17" fmla="*/ 3 h 6"/>
                  <a:gd name="T18" fmla="*/ 6 w 7"/>
                  <a:gd name="T19" fmla="*/ 3 h 6"/>
                  <a:gd name="T20" fmla="*/ 5 w 7"/>
                  <a:gd name="T21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6">
                    <a:moveTo>
                      <a:pt x="5" y="3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5" y="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464">
                <a:extLst>
                  <a:ext uri="{FF2B5EF4-FFF2-40B4-BE49-F238E27FC236}">
                    <a16:creationId xmlns:a16="http://schemas.microsoft.com/office/drawing/2014/main" id="{E2250410-A058-4ACF-BA9F-0AB0093835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0" y="2083"/>
                <a:ext cx="6" cy="7"/>
              </a:xfrm>
              <a:custGeom>
                <a:avLst/>
                <a:gdLst>
                  <a:gd name="T0" fmla="*/ 4 w 11"/>
                  <a:gd name="T1" fmla="*/ 5 h 13"/>
                  <a:gd name="T2" fmla="*/ 3 w 11"/>
                  <a:gd name="T3" fmla="*/ 2 h 13"/>
                  <a:gd name="T4" fmla="*/ 3 w 11"/>
                  <a:gd name="T5" fmla="*/ 0 h 13"/>
                  <a:gd name="T6" fmla="*/ 0 w 11"/>
                  <a:gd name="T7" fmla="*/ 2 h 13"/>
                  <a:gd name="T8" fmla="*/ 1 w 11"/>
                  <a:gd name="T9" fmla="*/ 4 h 13"/>
                  <a:gd name="T10" fmla="*/ 2 w 11"/>
                  <a:gd name="T11" fmla="*/ 8 h 13"/>
                  <a:gd name="T12" fmla="*/ 4 w 11"/>
                  <a:gd name="T13" fmla="*/ 11 h 13"/>
                  <a:gd name="T14" fmla="*/ 9 w 11"/>
                  <a:gd name="T15" fmla="*/ 11 h 13"/>
                  <a:gd name="T16" fmla="*/ 9 w 11"/>
                  <a:gd name="T17" fmla="*/ 5 h 13"/>
                  <a:gd name="T18" fmla="*/ 4 w 11"/>
                  <a:gd name="T19" fmla="*/ 5 h 13"/>
                  <a:gd name="T20" fmla="*/ 8 w 11"/>
                  <a:gd name="T21" fmla="*/ 9 h 13"/>
                  <a:gd name="T22" fmla="*/ 6 w 11"/>
                  <a:gd name="T23" fmla="*/ 9 h 13"/>
                  <a:gd name="T24" fmla="*/ 5 w 11"/>
                  <a:gd name="T25" fmla="*/ 7 h 13"/>
                  <a:gd name="T26" fmla="*/ 7 w 11"/>
                  <a:gd name="T27" fmla="*/ 7 h 13"/>
                  <a:gd name="T28" fmla="*/ 8 w 11"/>
                  <a:gd name="T29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3">
                    <a:moveTo>
                      <a:pt x="4" y="5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3" y="9"/>
                      <a:pt x="3" y="10"/>
                      <a:pt x="4" y="11"/>
                    </a:cubicBezTo>
                    <a:cubicBezTo>
                      <a:pt x="5" y="13"/>
                      <a:pt x="8" y="13"/>
                      <a:pt x="9" y="11"/>
                    </a:cubicBezTo>
                    <a:cubicBezTo>
                      <a:pt x="11" y="9"/>
                      <a:pt x="11" y="7"/>
                      <a:pt x="9" y="5"/>
                    </a:cubicBezTo>
                    <a:cubicBezTo>
                      <a:pt x="8" y="3"/>
                      <a:pt x="6" y="3"/>
                      <a:pt x="4" y="5"/>
                    </a:cubicBezTo>
                    <a:moveTo>
                      <a:pt x="8" y="9"/>
                    </a:moveTo>
                    <a:cubicBezTo>
                      <a:pt x="7" y="9"/>
                      <a:pt x="6" y="9"/>
                      <a:pt x="6" y="9"/>
                    </a:cubicBezTo>
                    <a:cubicBezTo>
                      <a:pt x="5" y="8"/>
                      <a:pt x="5" y="7"/>
                      <a:pt x="5" y="7"/>
                    </a:cubicBezTo>
                    <a:cubicBezTo>
                      <a:pt x="6" y="6"/>
                      <a:pt x="7" y="6"/>
                      <a:pt x="7" y="7"/>
                    </a:cubicBezTo>
                    <a:cubicBezTo>
                      <a:pt x="8" y="8"/>
                      <a:pt x="8" y="8"/>
                      <a:pt x="8" y="9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465">
                <a:extLst>
                  <a:ext uri="{FF2B5EF4-FFF2-40B4-BE49-F238E27FC236}">
                    <a16:creationId xmlns:a16="http://schemas.microsoft.com/office/drawing/2014/main" id="{2071BBA6-C37F-4673-B4D4-E3F4B06EA9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3" y="2079"/>
                <a:ext cx="8" cy="7"/>
              </a:xfrm>
              <a:custGeom>
                <a:avLst/>
                <a:gdLst>
                  <a:gd name="T0" fmla="*/ 9 w 14"/>
                  <a:gd name="T1" fmla="*/ 2 h 13"/>
                  <a:gd name="T2" fmla="*/ 6 w 14"/>
                  <a:gd name="T3" fmla="*/ 5 h 13"/>
                  <a:gd name="T4" fmla="*/ 8 w 14"/>
                  <a:gd name="T5" fmla="*/ 7 h 13"/>
                  <a:gd name="T6" fmla="*/ 9 w 14"/>
                  <a:gd name="T7" fmla="*/ 6 h 13"/>
                  <a:gd name="T8" fmla="*/ 9 w 14"/>
                  <a:gd name="T9" fmla="*/ 8 h 13"/>
                  <a:gd name="T10" fmla="*/ 5 w 14"/>
                  <a:gd name="T11" fmla="*/ 7 h 13"/>
                  <a:gd name="T12" fmla="*/ 4 w 14"/>
                  <a:gd name="T13" fmla="*/ 3 h 13"/>
                  <a:gd name="T14" fmla="*/ 6 w 14"/>
                  <a:gd name="T15" fmla="*/ 3 h 13"/>
                  <a:gd name="T16" fmla="*/ 8 w 14"/>
                  <a:gd name="T17" fmla="*/ 1 h 13"/>
                  <a:gd name="T18" fmla="*/ 6 w 14"/>
                  <a:gd name="T19" fmla="*/ 0 h 13"/>
                  <a:gd name="T20" fmla="*/ 2 w 14"/>
                  <a:gd name="T21" fmla="*/ 1 h 13"/>
                  <a:gd name="T22" fmla="*/ 1 w 14"/>
                  <a:gd name="T23" fmla="*/ 6 h 13"/>
                  <a:gd name="T24" fmla="*/ 3 w 14"/>
                  <a:gd name="T25" fmla="*/ 10 h 13"/>
                  <a:gd name="T26" fmla="*/ 11 w 14"/>
                  <a:gd name="T27" fmla="*/ 10 h 13"/>
                  <a:gd name="T28" fmla="*/ 9 w 14"/>
                  <a:gd name="T29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3">
                    <a:moveTo>
                      <a:pt x="9" y="2"/>
                    </a:moveTo>
                    <a:cubicBezTo>
                      <a:pt x="6" y="5"/>
                      <a:pt x="6" y="5"/>
                      <a:pt x="6" y="5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10" y="7"/>
                      <a:pt x="10" y="8"/>
                      <a:pt x="9" y="8"/>
                    </a:cubicBezTo>
                    <a:cubicBezTo>
                      <a:pt x="8" y="9"/>
                      <a:pt x="6" y="9"/>
                      <a:pt x="5" y="7"/>
                    </a:cubicBezTo>
                    <a:cubicBezTo>
                      <a:pt x="3" y="6"/>
                      <a:pt x="3" y="4"/>
                      <a:pt x="4" y="3"/>
                    </a:cubicBezTo>
                    <a:cubicBezTo>
                      <a:pt x="5" y="3"/>
                      <a:pt x="5" y="3"/>
                      <a:pt x="6" y="3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1" y="6"/>
                    </a:cubicBezTo>
                    <a:cubicBezTo>
                      <a:pt x="1" y="7"/>
                      <a:pt x="1" y="8"/>
                      <a:pt x="3" y="10"/>
                    </a:cubicBezTo>
                    <a:cubicBezTo>
                      <a:pt x="5" y="12"/>
                      <a:pt x="9" y="13"/>
                      <a:pt x="11" y="10"/>
                    </a:cubicBezTo>
                    <a:cubicBezTo>
                      <a:pt x="14" y="8"/>
                      <a:pt x="12" y="4"/>
                      <a:pt x="9" y="2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466">
                <a:extLst>
                  <a:ext uri="{FF2B5EF4-FFF2-40B4-BE49-F238E27FC236}">
                    <a16:creationId xmlns:a16="http://schemas.microsoft.com/office/drawing/2014/main" id="{F12699FD-486B-457A-9A26-5FC12EBE18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7" y="2075"/>
                <a:ext cx="8" cy="7"/>
              </a:xfrm>
              <a:custGeom>
                <a:avLst/>
                <a:gdLst>
                  <a:gd name="T0" fmla="*/ 9 w 14"/>
                  <a:gd name="T1" fmla="*/ 4 h 14"/>
                  <a:gd name="T2" fmla="*/ 8 w 14"/>
                  <a:gd name="T3" fmla="*/ 2 h 14"/>
                  <a:gd name="T4" fmla="*/ 7 w 14"/>
                  <a:gd name="T5" fmla="*/ 1 h 14"/>
                  <a:gd name="T6" fmla="*/ 3 w 14"/>
                  <a:gd name="T7" fmla="*/ 2 h 14"/>
                  <a:gd name="T8" fmla="*/ 0 w 14"/>
                  <a:gd name="T9" fmla="*/ 5 h 14"/>
                  <a:gd name="T10" fmla="*/ 8 w 14"/>
                  <a:gd name="T11" fmla="*/ 14 h 14"/>
                  <a:gd name="T12" fmla="*/ 12 w 14"/>
                  <a:gd name="T13" fmla="*/ 10 h 14"/>
                  <a:gd name="T14" fmla="*/ 12 w 14"/>
                  <a:gd name="T15" fmla="*/ 5 h 14"/>
                  <a:gd name="T16" fmla="*/ 9 w 14"/>
                  <a:gd name="T17" fmla="*/ 4 h 14"/>
                  <a:gd name="T18" fmla="*/ 6 w 14"/>
                  <a:gd name="T19" fmla="*/ 4 h 14"/>
                  <a:gd name="T20" fmla="*/ 6 w 14"/>
                  <a:gd name="T21" fmla="*/ 5 h 14"/>
                  <a:gd name="T22" fmla="*/ 5 w 14"/>
                  <a:gd name="T23" fmla="*/ 6 h 14"/>
                  <a:gd name="T24" fmla="*/ 4 w 14"/>
                  <a:gd name="T25" fmla="*/ 5 h 14"/>
                  <a:gd name="T26" fmla="*/ 5 w 14"/>
                  <a:gd name="T27" fmla="*/ 4 h 14"/>
                  <a:gd name="T28" fmla="*/ 6 w 14"/>
                  <a:gd name="T29" fmla="*/ 4 h 14"/>
                  <a:gd name="T30" fmla="*/ 10 w 14"/>
                  <a:gd name="T31" fmla="*/ 8 h 14"/>
                  <a:gd name="T32" fmla="*/ 9 w 14"/>
                  <a:gd name="T33" fmla="*/ 9 h 14"/>
                  <a:gd name="T34" fmla="*/ 7 w 14"/>
                  <a:gd name="T35" fmla="*/ 8 h 14"/>
                  <a:gd name="T36" fmla="*/ 8 w 14"/>
                  <a:gd name="T37" fmla="*/ 7 h 14"/>
                  <a:gd name="T38" fmla="*/ 10 w 14"/>
                  <a:gd name="T39" fmla="*/ 7 h 14"/>
                  <a:gd name="T40" fmla="*/ 10 w 14"/>
                  <a:gd name="T41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" h="14">
                    <a:moveTo>
                      <a:pt x="9" y="4"/>
                    </a:moveTo>
                    <a:cubicBezTo>
                      <a:pt x="9" y="3"/>
                      <a:pt x="9" y="2"/>
                      <a:pt x="8" y="2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5" y="0"/>
                      <a:pt x="4" y="1"/>
                      <a:pt x="3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4" y="9"/>
                      <a:pt x="14" y="6"/>
                      <a:pt x="12" y="5"/>
                    </a:cubicBezTo>
                    <a:cubicBezTo>
                      <a:pt x="11" y="4"/>
                      <a:pt x="10" y="4"/>
                      <a:pt x="9" y="4"/>
                    </a:cubicBezTo>
                    <a:moveTo>
                      <a:pt x="6" y="4"/>
                    </a:moveTo>
                    <a:cubicBezTo>
                      <a:pt x="7" y="4"/>
                      <a:pt x="7" y="5"/>
                      <a:pt x="6" y="5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6" y="3"/>
                      <a:pt x="6" y="4"/>
                    </a:cubicBezTo>
                    <a:moveTo>
                      <a:pt x="10" y="8"/>
                    </a:moveTo>
                    <a:cubicBezTo>
                      <a:pt x="9" y="9"/>
                      <a:pt x="9" y="9"/>
                      <a:pt x="9" y="9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9" y="6"/>
                      <a:pt x="9" y="6"/>
                      <a:pt x="10" y="7"/>
                    </a:cubicBezTo>
                    <a:cubicBezTo>
                      <a:pt x="10" y="7"/>
                      <a:pt x="10" y="8"/>
                      <a:pt x="10" y="8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467">
                <a:extLst>
                  <a:ext uri="{FF2B5EF4-FFF2-40B4-BE49-F238E27FC236}">
                    <a16:creationId xmlns:a16="http://schemas.microsoft.com/office/drawing/2014/main" id="{F2614764-1365-4F27-AEF1-CE127655A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12" y="2124"/>
                <a:ext cx="18" cy="13"/>
              </a:xfrm>
              <a:custGeom>
                <a:avLst/>
                <a:gdLst>
                  <a:gd name="T0" fmla="*/ 12 w 18"/>
                  <a:gd name="T1" fmla="*/ 1 h 13"/>
                  <a:gd name="T2" fmla="*/ 0 w 18"/>
                  <a:gd name="T3" fmla="*/ 13 h 13"/>
                  <a:gd name="T4" fmla="*/ 12 w 18"/>
                  <a:gd name="T5" fmla="*/ 1 h 13"/>
                  <a:gd name="T6" fmla="*/ 14 w 18"/>
                  <a:gd name="T7" fmla="*/ 4 h 13"/>
                  <a:gd name="T8" fmla="*/ 12 w 18"/>
                  <a:gd name="T9" fmla="*/ 1 h 13"/>
                  <a:gd name="T10" fmla="*/ 18 w 18"/>
                  <a:gd name="T11" fmla="*/ 0 h 13"/>
                  <a:gd name="T12" fmla="*/ 14 w 18"/>
                  <a:gd name="T13" fmla="*/ 4 h 13"/>
                  <a:gd name="T14" fmla="*/ 18 w 18"/>
                  <a:gd name="T15" fmla="*/ 0 h 13"/>
                  <a:gd name="T16" fmla="*/ 18 w 1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3">
                    <a:moveTo>
                      <a:pt x="12" y="1"/>
                    </a:moveTo>
                    <a:lnTo>
                      <a:pt x="0" y="13"/>
                    </a:lnTo>
                    <a:lnTo>
                      <a:pt x="12" y="1"/>
                    </a:lnTo>
                    <a:lnTo>
                      <a:pt x="14" y="4"/>
                    </a:lnTo>
                    <a:lnTo>
                      <a:pt x="12" y="1"/>
                    </a:lnTo>
                    <a:close/>
                    <a:moveTo>
                      <a:pt x="18" y="0"/>
                    </a:move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468">
                <a:extLst>
                  <a:ext uri="{FF2B5EF4-FFF2-40B4-BE49-F238E27FC236}">
                    <a16:creationId xmlns:a16="http://schemas.microsoft.com/office/drawing/2014/main" id="{CABADD48-CF9D-4961-8A29-1CD5870E9C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12" y="2124"/>
                <a:ext cx="18" cy="13"/>
              </a:xfrm>
              <a:custGeom>
                <a:avLst/>
                <a:gdLst>
                  <a:gd name="T0" fmla="*/ 12 w 18"/>
                  <a:gd name="T1" fmla="*/ 1 h 13"/>
                  <a:gd name="T2" fmla="*/ 0 w 18"/>
                  <a:gd name="T3" fmla="*/ 13 h 13"/>
                  <a:gd name="T4" fmla="*/ 12 w 18"/>
                  <a:gd name="T5" fmla="*/ 1 h 13"/>
                  <a:gd name="T6" fmla="*/ 14 w 18"/>
                  <a:gd name="T7" fmla="*/ 4 h 13"/>
                  <a:gd name="T8" fmla="*/ 12 w 18"/>
                  <a:gd name="T9" fmla="*/ 1 h 13"/>
                  <a:gd name="T10" fmla="*/ 18 w 18"/>
                  <a:gd name="T11" fmla="*/ 0 h 13"/>
                  <a:gd name="T12" fmla="*/ 14 w 18"/>
                  <a:gd name="T13" fmla="*/ 4 h 13"/>
                  <a:gd name="T14" fmla="*/ 18 w 18"/>
                  <a:gd name="T15" fmla="*/ 0 h 13"/>
                  <a:gd name="T16" fmla="*/ 18 w 1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3">
                    <a:moveTo>
                      <a:pt x="12" y="1"/>
                    </a:moveTo>
                    <a:lnTo>
                      <a:pt x="0" y="13"/>
                    </a:lnTo>
                    <a:lnTo>
                      <a:pt x="12" y="1"/>
                    </a:lnTo>
                    <a:lnTo>
                      <a:pt x="14" y="4"/>
                    </a:lnTo>
                    <a:lnTo>
                      <a:pt x="12" y="1"/>
                    </a:lnTo>
                    <a:moveTo>
                      <a:pt x="18" y="0"/>
                    </a:move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469">
                <a:extLst>
                  <a:ext uri="{FF2B5EF4-FFF2-40B4-BE49-F238E27FC236}">
                    <a16:creationId xmlns:a16="http://schemas.microsoft.com/office/drawing/2014/main" id="{2066793D-4130-455F-9BD9-FD983A6D39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5" y="2118"/>
                <a:ext cx="19" cy="19"/>
              </a:xfrm>
              <a:custGeom>
                <a:avLst/>
                <a:gdLst>
                  <a:gd name="T0" fmla="*/ 12 w 19"/>
                  <a:gd name="T1" fmla="*/ 9 h 19"/>
                  <a:gd name="T2" fmla="*/ 10 w 19"/>
                  <a:gd name="T3" fmla="*/ 7 h 19"/>
                  <a:gd name="T4" fmla="*/ 12 w 19"/>
                  <a:gd name="T5" fmla="*/ 5 h 19"/>
                  <a:gd name="T6" fmla="*/ 14 w 19"/>
                  <a:gd name="T7" fmla="*/ 7 h 19"/>
                  <a:gd name="T8" fmla="*/ 12 w 19"/>
                  <a:gd name="T9" fmla="*/ 9 h 19"/>
                  <a:gd name="T10" fmla="*/ 12 w 19"/>
                  <a:gd name="T11" fmla="*/ 0 h 19"/>
                  <a:gd name="T12" fmla="*/ 0 w 19"/>
                  <a:gd name="T13" fmla="*/ 12 h 19"/>
                  <a:gd name="T14" fmla="*/ 7 w 19"/>
                  <a:gd name="T15" fmla="*/ 19 h 19"/>
                  <a:gd name="T16" fmla="*/ 19 w 19"/>
                  <a:gd name="T17" fmla="*/ 7 h 19"/>
                  <a:gd name="T18" fmla="*/ 12 w 19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9">
                    <a:moveTo>
                      <a:pt x="12" y="9"/>
                    </a:moveTo>
                    <a:lnTo>
                      <a:pt x="10" y="7"/>
                    </a:lnTo>
                    <a:lnTo>
                      <a:pt x="12" y="5"/>
                    </a:lnTo>
                    <a:lnTo>
                      <a:pt x="14" y="7"/>
                    </a:lnTo>
                    <a:lnTo>
                      <a:pt x="12" y="9"/>
                    </a:lnTo>
                    <a:close/>
                    <a:moveTo>
                      <a:pt x="12" y="0"/>
                    </a:moveTo>
                    <a:lnTo>
                      <a:pt x="0" y="12"/>
                    </a:lnTo>
                    <a:lnTo>
                      <a:pt x="7" y="19"/>
                    </a:lnTo>
                    <a:lnTo>
                      <a:pt x="19" y="7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5252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470">
                <a:extLst>
                  <a:ext uri="{FF2B5EF4-FFF2-40B4-BE49-F238E27FC236}">
                    <a16:creationId xmlns:a16="http://schemas.microsoft.com/office/drawing/2014/main" id="{665F8116-5153-46D7-A4A4-BA2725640A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5" y="2118"/>
                <a:ext cx="19" cy="19"/>
              </a:xfrm>
              <a:custGeom>
                <a:avLst/>
                <a:gdLst>
                  <a:gd name="T0" fmla="*/ 12 w 19"/>
                  <a:gd name="T1" fmla="*/ 9 h 19"/>
                  <a:gd name="T2" fmla="*/ 10 w 19"/>
                  <a:gd name="T3" fmla="*/ 7 h 19"/>
                  <a:gd name="T4" fmla="*/ 12 w 19"/>
                  <a:gd name="T5" fmla="*/ 5 h 19"/>
                  <a:gd name="T6" fmla="*/ 14 w 19"/>
                  <a:gd name="T7" fmla="*/ 7 h 19"/>
                  <a:gd name="T8" fmla="*/ 12 w 19"/>
                  <a:gd name="T9" fmla="*/ 9 h 19"/>
                  <a:gd name="T10" fmla="*/ 12 w 19"/>
                  <a:gd name="T11" fmla="*/ 0 h 19"/>
                  <a:gd name="T12" fmla="*/ 0 w 19"/>
                  <a:gd name="T13" fmla="*/ 12 h 19"/>
                  <a:gd name="T14" fmla="*/ 7 w 19"/>
                  <a:gd name="T15" fmla="*/ 19 h 19"/>
                  <a:gd name="T16" fmla="*/ 19 w 19"/>
                  <a:gd name="T17" fmla="*/ 7 h 19"/>
                  <a:gd name="T18" fmla="*/ 12 w 19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9">
                    <a:moveTo>
                      <a:pt x="12" y="9"/>
                    </a:moveTo>
                    <a:lnTo>
                      <a:pt x="10" y="7"/>
                    </a:lnTo>
                    <a:lnTo>
                      <a:pt x="12" y="5"/>
                    </a:lnTo>
                    <a:lnTo>
                      <a:pt x="14" y="7"/>
                    </a:lnTo>
                    <a:lnTo>
                      <a:pt x="12" y="9"/>
                    </a:lnTo>
                    <a:moveTo>
                      <a:pt x="12" y="0"/>
                    </a:moveTo>
                    <a:lnTo>
                      <a:pt x="0" y="12"/>
                    </a:lnTo>
                    <a:lnTo>
                      <a:pt x="7" y="19"/>
                    </a:lnTo>
                    <a:lnTo>
                      <a:pt x="19" y="7"/>
                    </a:lnTo>
                    <a:lnTo>
                      <a:pt x="1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471">
                <a:extLst>
                  <a:ext uri="{FF2B5EF4-FFF2-40B4-BE49-F238E27FC236}">
                    <a16:creationId xmlns:a16="http://schemas.microsoft.com/office/drawing/2014/main" id="{AA418549-5FAE-4EEA-AFCE-A6DF0F898E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7" y="2115"/>
                <a:ext cx="13" cy="13"/>
              </a:xfrm>
              <a:custGeom>
                <a:avLst/>
                <a:gdLst>
                  <a:gd name="T0" fmla="*/ 3 w 13"/>
                  <a:gd name="T1" fmla="*/ 0 h 13"/>
                  <a:gd name="T2" fmla="*/ 0 w 13"/>
                  <a:gd name="T3" fmla="*/ 3 h 13"/>
                  <a:gd name="T4" fmla="*/ 7 w 13"/>
                  <a:gd name="T5" fmla="*/ 10 h 13"/>
                  <a:gd name="T6" fmla="*/ 9 w 13"/>
                  <a:gd name="T7" fmla="*/ 13 h 13"/>
                  <a:gd name="T8" fmla="*/ 13 w 13"/>
                  <a:gd name="T9" fmla="*/ 9 h 13"/>
                  <a:gd name="T10" fmla="*/ 3 w 13"/>
                  <a:gd name="T1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3">
                    <a:moveTo>
                      <a:pt x="3" y="0"/>
                    </a:moveTo>
                    <a:lnTo>
                      <a:pt x="0" y="3"/>
                    </a:lnTo>
                    <a:lnTo>
                      <a:pt x="7" y="10"/>
                    </a:lnTo>
                    <a:lnTo>
                      <a:pt x="9" y="13"/>
                    </a:lnTo>
                    <a:lnTo>
                      <a:pt x="13" y="9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472">
                <a:extLst>
                  <a:ext uri="{FF2B5EF4-FFF2-40B4-BE49-F238E27FC236}">
                    <a16:creationId xmlns:a16="http://schemas.microsoft.com/office/drawing/2014/main" id="{1ED8E840-1F31-4A81-9F17-032BE78894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7" y="2115"/>
                <a:ext cx="13" cy="13"/>
              </a:xfrm>
              <a:custGeom>
                <a:avLst/>
                <a:gdLst>
                  <a:gd name="T0" fmla="*/ 3 w 13"/>
                  <a:gd name="T1" fmla="*/ 0 h 13"/>
                  <a:gd name="T2" fmla="*/ 0 w 13"/>
                  <a:gd name="T3" fmla="*/ 3 h 13"/>
                  <a:gd name="T4" fmla="*/ 7 w 13"/>
                  <a:gd name="T5" fmla="*/ 10 h 13"/>
                  <a:gd name="T6" fmla="*/ 9 w 13"/>
                  <a:gd name="T7" fmla="*/ 13 h 13"/>
                  <a:gd name="T8" fmla="*/ 13 w 13"/>
                  <a:gd name="T9" fmla="*/ 9 h 13"/>
                  <a:gd name="T10" fmla="*/ 3 w 13"/>
                  <a:gd name="T1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3">
                    <a:moveTo>
                      <a:pt x="3" y="0"/>
                    </a:moveTo>
                    <a:lnTo>
                      <a:pt x="0" y="3"/>
                    </a:lnTo>
                    <a:lnTo>
                      <a:pt x="7" y="10"/>
                    </a:lnTo>
                    <a:lnTo>
                      <a:pt x="9" y="13"/>
                    </a:lnTo>
                    <a:lnTo>
                      <a:pt x="13" y="9"/>
                    </a:lnTo>
                    <a:lnTo>
                      <a:pt x="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473">
                <a:extLst>
                  <a:ext uri="{FF2B5EF4-FFF2-40B4-BE49-F238E27FC236}">
                    <a16:creationId xmlns:a16="http://schemas.microsoft.com/office/drawing/2014/main" id="{A2C3C835-DF53-4908-B2DF-AC76CC1CF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2063"/>
                <a:ext cx="64" cy="62"/>
              </a:xfrm>
              <a:custGeom>
                <a:avLst/>
                <a:gdLst>
                  <a:gd name="T0" fmla="*/ 96 w 116"/>
                  <a:gd name="T1" fmla="*/ 0 h 115"/>
                  <a:gd name="T2" fmla="*/ 79 w 116"/>
                  <a:gd name="T3" fmla="*/ 17 h 115"/>
                  <a:gd name="T4" fmla="*/ 86 w 116"/>
                  <a:gd name="T5" fmla="*/ 24 h 115"/>
                  <a:gd name="T6" fmla="*/ 86 w 116"/>
                  <a:gd name="T7" fmla="*/ 34 h 115"/>
                  <a:gd name="T8" fmla="*/ 35 w 116"/>
                  <a:gd name="T9" fmla="*/ 85 h 115"/>
                  <a:gd name="T10" fmla="*/ 29 w 116"/>
                  <a:gd name="T11" fmla="*/ 88 h 115"/>
                  <a:gd name="T12" fmla="*/ 24 w 116"/>
                  <a:gd name="T13" fmla="*/ 85 h 115"/>
                  <a:gd name="T14" fmla="*/ 17 w 116"/>
                  <a:gd name="T15" fmla="*/ 79 h 115"/>
                  <a:gd name="T16" fmla="*/ 0 w 116"/>
                  <a:gd name="T17" fmla="*/ 96 h 115"/>
                  <a:gd name="T18" fmla="*/ 17 w 116"/>
                  <a:gd name="T19" fmla="*/ 113 h 115"/>
                  <a:gd name="T20" fmla="*/ 17 w 116"/>
                  <a:gd name="T21" fmla="*/ 113 h 115"/>
                  <a:gd name="T22" fmla="*/ 20 w 116"/>
                  <a:gd name="T23" fmla="*/ 115 h 115"/>
                  <a:gd name="T24" fmla="*/ 116 w 116"/>
                  <a:gd name="T25" fmla="*/ 19 h 115"/>
                  <a:gd name="T26" fmla="*/ 96 w 116"/>
                  <a:gd name="T27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6" h="115">
                    <a:moveTo>
                      <a:pt x="96" y="0"/>
                    </a:moveTo>
                    <a:cubicBezTo>
                      <a:pt x="79" y="17"/>
                      <a:pt x="79" y="17"/>
                      <a:pt x="79" y="17"/>
                    </a:cubicBezTo>
                    <a:cubicBezTo>
                      <a:pt x="86" y="24"/>
                      <a:pt x="86" y="24"/>
                      <a:pt x="86" y="24"/>
                    </a:cubicBezTo>
                    <a:cubicBezTo>
                      <a:pt x="89" y="27"/>
                      <a:pt x="89" y="31"/>
                      <a:pt x="86" y="34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3" y="87"/>
                      <a:pt x="31" y="88"/>
                      <a:pt x="29" y="88"/>
                    </a:cubicBezTo>
                    <a:cubicBezTo>
                      <a:pt x="27" y="88"/>
                      <a:pt x="25" y="87"/>
                      <a:pt x="24" y="85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17" y="113"/>
                      <a:pt x="17" y="113"/>
                      <a:pt x="17" y="113"/>
                    </a:cubicBezTo>
                    <a:cubicBezTo>
                      <a:pt x="17" y="113"/>
                      <a:pt x="17" y="113"/>
                      <a:pt x="17" y="113"/>
                    </a:cubicBezTo>
                    <a:cubicBezTo>
                      <a:pt x="20" y="115"/>
                      <a:pt x="20" y="115"/>
                      <a:pt x="20" y="115"/>
                    </a:cubicBezTo>
                    <a:cubicBezTo>
                      <a:pt x="61" y="87"/>
                      <a:pt x="87" y="60"/>
                      <a:pt x="116" y="19"/>
                    </a:cubicBezTo>
                    <a:cubicBezTo>
                      <a:pt x="96" y="0"/>
                      <a:pt x="96" y="0"/>
                      <a:pt x="96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474">
                <a:extLst>
                  <a:ext uri="{FF2B5EF4-FFF2-40B4-BE49-F238E27FC236}">
                    <a16:creationId xmlns:a16="http://schemas.microsoft.com/office/drawing/2014/main" id="{D08D8E9F-25FC-4523-94E0-91A5FE877E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30" y="2072"/>
                <a:ext cx="39" cy="39"/>
              </a:xfrm>
              <a:custGeom>
                <a:avLst/>
                <a:gdLst>
                  <a:gd name="T0" fmla="*/ 43 w 72"/>
                  <a:gd name="T1" fmla="*/ 26 h 71"/>
                  <a:gd name="T2" fmla="*/ 42 w 72"/>
                  <a:gd name="T3" fmla="*/ 27 h 71"/>
                  <a:gd name="T4" fmla="*/ 43 w 72"/>
                  <a:gd name="T5" fmla="*/ 29 h 71"/>
                  <a:gd name="T6" fmla="*/ 44 w 72"/>
                  <a:gd name="T7" fmla="*/ 29 h 71"/>
                  <a:gd name="T8" fmla="*/ 45 w 72"/>
                  <a:gd name="T9" fmla="*/ 29 h 71"/>
                  <a:gd name="T10" fmla="*/ 44 w 72"/>
                  <a:gd name="T11" fmla="*/ 27 h 71"/>
                  <a:gd name="T12" fmla="*/ 43 w 72"/>
                  <a:gd name="T13" fmla="*/ 26 h 71"/>
                  <a:gd name="T14" fmla="*/ 62 w 72"/>
                  <a:gd name="T15" fmla="*/ 0 h 71"/>
                  <a:gd name="T16" fmla="*/ 57 w 72"/>
                  <a:gd name="T17" fmla="*/ 6 h 71"/>
                  <a:gd name="T18" fmla="*/ 57 w 72"/>
                  <a:gd name="T19" fmla="*/ 6 h 71"/>
                  <a:gd name="T20" fmla="*/ 58 w 72"/>
                  <a:gd name="T21" fmla="*/ 7 h 71"/>
                  <a:gd name="T22" fmla="*/ 59 w 72"/>
                  <a:gd name="T23" fmla="*/ 9 h 71"/>
                  <a:gd name="T24" fmla="*/ 60 w 72"/>
                  <a:gd name="T25" fmla="*/ 9 h 71"/>
                  <a:gd name="T26" fmla="*/ 62 w 72"/>
                  <a:gd name="T27" fmla="*/ 10 h 71"/>
                  <a:gd name="T28" fmla="*/ 62 w 72"/>
                  <a:gd name="T29" fmla="*/ 15 h 71"/>
                  <a:gd name="T30" fmla="*/ 58 w 72"/>
                  <a:gd name="T31" fmla="*/ 19 h 71"/>
                  <a:gd name="T32" fmla="*/ 51 w 72"/>
                  <a:gd name="T33" fmla="*/ 11 h 71"/>
                  <a:gd name="T34" fmla="*/ 49 w 72"/>
                  <a:gd name="T35" fmla="*/ 13 h 71"/>
                  <a:gd name="T36" fmla="*/ 49 w 72"/>
                  <a:gd name="T37" fmla="*/ 13 h 71"/>
                  <a:gd name="T38" fmla="*/ 51 w 72"/>
                  <a:gd name="T39" fmla="*/ 14 h 71"/>
                  <a:gd name="T40" fmla="*/ 49 w 72"/>
                  <a:gd name="T41" fmla="*/ 16 h 71"/>
                  <a:gd name="T42" fmla="*/ 48 w 72"/>
                  <a:gd name="T43" fmla="*/ 16 h 71"/>
                  <a:gd name="T44" fmla="*/ 47 w 72"/>
                  <a:gd name="T45" fmla="*/ 16 h 71"/>
                  <a:gd name="T46" fmla="*/ 48 w 72"/>
                  <a:gd name="T47" fmla="*/ 20 h 71"/>
                  <a:gd name="T48" fmla="*/ 50 w 72"/>
                  <a:gd name="T49" fmla="*/ 22 h 71"/>
                  <a:gd name="T50" fmla="*/ 52 w 72"/>
                  <a:gd name="T51" fmla="*/ 21 h 71"/>
                  <a:gd name="T52" fmla="*/ 52 w 72"/>
                  <a:gd name="T53" fmla="*/ 19 h 71"/>
                  <a:gd name="T54" fmla="*/ 51 w 72"/>
                  <a:gd name="T55" fmla="*/ 20 h 71"/>
                  <a:gd name="T56" fmla="*/ 49 w 72"/>
                  <a:gd name="T57" fmla="*/ 18 h 71"/>
                  <a:gd name="T58" fmla="*/ 52 w 72"/>
                  <a:gd name="T59" fmla="*/ 15 h 71"/>
                  <a:gd name="T60" fmla="*/ 54 w 72"/>
                  <a:gd name="T61" fmla="*/ 23 h 71"/>
                  <a:gd name="T62" fmla="*/ 50 w 72"/>
                  <a:gd name="T63" fmla="*/ 25 h 71"/>
                  <a:gd name="T64" fmla="*/ 46 w 72"/>
                  <a:gd name="T65" fmla="*/ 23 h 71"/>
                  <a:gd name="T66" fmla="*/ 44 w 72"/>
                  <a:gd name="T67" fmla="*/ 19 h 71"/>
                  <a:gd name="T68" fmla="*/ 44 w 72"/>
                  <a:gd name="T69" fmla="*/ 19 h 71"/>
                  <a:gd name="T70" fmla="*/ 40 w 72"/>
                  <a:gd name="T71" fmla="*/ 22 h 71"/>
                  <a:gd name="T72" fmla="*/ 40 w 72"/>
                  <a:gd name="T73" fmla="*/ 22 h 71"/>
                  <a:gd name="T74" fmla="*/ 41 w 72"/>
                  <a:gd name="T75" fmla="*/ 25 h 71"/>
                  <a:gd name="T76" fmla="*/ 43 w 72"/>
                  <a:gd name="T77" fmla="*/ 23 h 71"/>
                  <a:gd name="T78" fmla="*/ 46 w 72"/>
                  <a:gd name="T79" fmla="*/ 25 h 71"/>
                  <a:gd name="T80" fmla="*/ 46 w 72"/>
                  <a:gd name="T81" fmla="*/ 31 h 71"/>
                  <a:gd name="T82" fmla="*/ 44 w 72"/>
                  <a:gd name="T83" fmla="*/ 32 h 71"/>
                  <a:gd name="T84" fmla="*/ 41 w 72"/>
                  <a:gd name="T85" fmla="*/ 31 h 71"/>
                  <a:gd name="T86" fmla="*/ 39 w 72"/>
                  <a:gd name="T87" fmla="*/ 28 h 71"/>
                  <a:gd name="T88" fmla="*/ 38 w 72"/>
                  <a:gd name="T89" fmla="*/ 24 h 71"/>
                  <a:gd name="T90" fmla="*/ 38 w 72"/>
                  <a:gd name="T91" fmla="*/ 24 h 71"/>
                  <a:gd name="T92" fmla="*/ 34 w 72"/>
                  <a:gd name="T93" fmla="*/ 28 h 71"/>
                  <a:gd name="T94" fmla="*/ 40 w 72"/>
                  <a:gd name="T95" fmla="*/ 34 h 71"/>
                  <a:gd name="T96" fmla="*/ 41 w 72"/>
                  <a:gd name="T97" fmla="*/ 33 h 71"/>
                  <a:gd name="T98" fmla="*/ 43 w 72"/>
                  <a:gd name="T99" fmla="*/ 34 h 71"/>
                  <a:gd name="T100" fmla="*/ 38 w 72"/>
                  <a:gd name="T101" fmla="*/ 39 h 71"/>
                  <a:gd name="T102" fmla="*/ 37 w 72"/>
                  <a:gd name="T103" fmla="*/ 37 h 71"/>
                  <a:gd name="T104" fmla="*/ 38 w 72"/>
                  <a:gd name="T105" fmla="*/ 36 h 71"/>
                  <a:gd name="T106" fmla="*/ 33 w 72"/>
                  <a:gd name="T107" fmla="*/ 30 h 71"/>
                  <a:gd name="T108" fmla="*/ 32 w 72"/>
                  <a:gd name="T109" fmla="*/ 31 h 71"/>
                  <a:gd name="T110" fmla="*/ 31 w 72"/>
                  <a:gd name="T111" fmla="*/ 31 h 71"/>
                  <a:gd name="T112" fmla="*/ 0 w 72"/>
                  <a:gd name="T113" fmla="*/ 62 h 71"/>
                  <a:gd name="T114" fmla="*/ 7 w 72"/>
                  <a:gd name="T115" fmla="*/ 68 h 71"/>
                  <a:gd name="T116" fmla="*/ 12 w 72"/>
                  <a:gd name="T117" fmla="*/ 71 h 71"/>
                  <a:gd name="T118" fmla="*/ 18 w 72"/>
                  <a:gd name="T119" fmla="*/ 68 h 71"/>
                  <a:gd name="T120" fmla="*/ 69 w 72"/>
                  <a:gd name="T121" fmla="*/ 17 h 71"/>
                  <a:gd name="T122" fmla="*/ 69 w 72"/>
                  <a:gd name="T123" fmla="*/ 7 h 71"/>
                  <a:gd name="T124" fmla="*/ 62 w 72"/>
                  <a:gd name="T12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2" h="71">
                    <a:moveTo>
                      <a:pt x="43" y="26"/>
                    </a:moveTo>
                    <a:cubicBezTo>
                      <a:pt x="43" y="26"/>
                      <a:pt x="43" y="26"/>
                      <a:pt x="42" y="27"/>
                    </a:cubicBezTo>
                    <a:cubicBezTo>
                      <a:pt x="42" y="27"/>
                      <a:pt x="42" y="28"/>
                      <a:pt x="43" y="29"/>
                    </a:cubicBezTo>
                    <a:cubicBezTo>
                      <a:pt x="43" y="29"/>
                      <a:pt x="44" y="29"/>
                      <a:pt x="44" y="29"/>
                    </a:cubicBezTo>
                    <a:cubicBezTo>
                      <a:pt x="44" y="29"/>
                      <a:pt x="44" y="29"/>
                      <a:pt x="45" y="29"/>
                    </a:cubicBezTo>
                    <a:cubicBezTo>
                      <a:pt x="45" y="28"/>
                      <a:pt x="45" y="28"/>
                      <a:pt x="44" y="27"/>
                    </a:cubicBezTo>
                    <a:cubicBezTo>
                      <a:pt x="44" y="27"/>
                      <a:pt x="43" y="26"/>
                      <a:pt x="43" y="26"/>
                    </a:cubicBezTo>
                    <a:moveTo>
                      <a:pt x="62" y="0"/>
                    </a:move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58" y="6"/>
                      <a:pt x="58" y="7"/>
                    </a:cubicBezTo>
                    <a:cubicBezTo>
                      <a:pt x="59" y="7"/>
                      <a:pt x="59" y="8"/>
                      <a:pt x="59" y="9"/>
                    </a:cubicBezTo>
                    <a:cubicBezTo>
                      <a:pt x="59" y="9"/>
                      <a:pt x="59" y="9"/>
                      <a:pt x="60" y="9"/>
                    </a:cubicBezTo>
                    <a:cubicBezTo>
                      <a:pt x="60" y="9"/>
                      <a:pt x="61" y="9"/>
                      <a:pt x="62" y="10"/>
                    </a:cubicBezTo>
                    <a:cubicBezTo>
                      <a:pt x="64" y="11"/>
                      <a:pt x="64" y="14"/>
                      <a:pt x="62" y="15"/>
                    </a:cubicBezTo>
                    <a:cubicBezTo>
                      <a:pt x="58" y="19"/>
                      <a:pt x="58" y="19"/>
                      <a:pt x="58" y="19"/>
                    </a:cubicBezTo>
                    <a:cubicBezTo>
                      <a:pt x="51" y="11"/>
                      <a:pt x="51" y="11"/>
                      <a:pt x="51" y="11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50" y="13"/>
                      <a:pt x="51" y="13"/>
                      <a:pt x="51" y="14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9" y="16"/>
                      <a:pt x="49" y="16"/>
                      <a:pt x="48" y="16"/>
                    </a:cubicBezTo>
                    <a:cubicBezTo>
                      <a:pt x="48" y="16"/>
                      <a:pt x="47" y="16"/>
                      <a:pt x="47" y="16"/>
                    </a:cubicBezTo>
                    <a:cubicBezTo>
                      <a:pt x="46" y="17"/>
                      <a:pt x="46" y="19"/>
                      <a:pt x="48" y="20"/>
                    </a:cubicBezTo>
                    <a:cubicBezTo>
                      <a:pt x="49" y="21"/>
                      <a:pt x="50" y="22"/>
                      <a:pt x="50" y="22"/>
                    </a:cubicBezTo>
                    <a:cubicBezTo>
                      <a:pt x="51" y="22"/>
                      <a:pt x="52" y="22"/>
                      <a:pt x="52" y="21"/>
                    </a:cubicBezTo>
                    <a:cubicBezTo>
                      <a:pt x="53" y="21"/>
                      <a:pt x="53" y="20"/>
                      <a:pt x="52" y="19"/>
                    </a:cubicBezTo>
                    <a:cubicBezTo>
                      <a:pt x="51" y="20"/>
                      <a:pt x="51" y="20"/>
                      <a:pt x="51" y="20"/>
                    </a:cubicBezTo>
                    <a:cubicBezTo>
                      <a:pt x="49" y="18"/>
                      <a:pt x="49" y="18"/>
                      <a:pt x="49" y="18"/>
                    </a:cubicBezTo>
                    <a:cubicBezTo>
                      <a:pt x="52" y="15"/>
                      <a:pt x="52" y="15"/>
                      <a:pt x="52" y="15"/>
                    </a:cubicBezTo>
                    <a:cubicBezTo>
                      <a:pt x="55" y="17"/>
                      <a:pt x="57" y="21"/>
                      <a:pt x="54" y="23"/>
                    </a:cubicBezTo>
                    <a:cubicBezTo>
                      <a:pt x="53" y="24"/>
                      <a:pt x="52" y="25"/>
                      <a:pt x="50" y="25"/>
                    </a:cubicBezTo>
                    <a:cubicBezTo>
                      <a:pt x="49" y="25"/>
                      <a:pt x="47" y="24"/>
                      <a:pt x="46" y="23"/>
                    </a:cubicBezTo>
                    <a:cubicBezTo>
                      <a:pt x="44" y="21"/>
                      <a:pt x="44" y="20"/>
                      <a:pt x="44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2" y="24"/>
                      <a:pt x="43" y="23"/>
                      <a:pt x="43" y="23"/>
                    </a:cubicBezTo>
                    <a:cubicBezTo>
                      <a:pt x="44" y="23"/>
                      <a:pt x="45" y="24"/>
                      <a:pt x="46" y="25"/>
                    </a:cubicBezTo>
                    <a:cubicBezTo>
                      <a:pt x="48" y="27"/>
                      <a:pt x="48" y="29"/>
                      <a:pt x="46" y="31"/>
                    </a:cubicBezTo>
                    <a:cubicBezTo>
                      <a:pt x="46" y="32"/>
                      <a:pt x="45" y="32"/>
                      <a:pt x="44" y="32"/>
                    </a:cubicBezTo>
                    <a:cubicBezTo>
                      <a:pt x="43" y="32"/>
                      <a:pt x="42" y="32"/>
                      <a:pt x="41" y="31"/>
                    </a:cubicBezTo>
                    <a:cubicBezTo>
                      <a:pt x="40" y="30"/>
                      <a:pt x="40" y="29"/>
                      <a:pt x="39" y="28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4" y="28"/>
                      <a:pt x="34" y="28"/>
                      <a:pt x="34" y="28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43" y="34"/>
                      <a:pt x="43" y="34"/>
                      <a:pt x="43" y="34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7" y="37"/>
                      <a:pt x="37" y="37"/>
                      <a:pt x="37" y="37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1" y="31"/>
                      <a:pt x="31" y="31"/>
                      <a:pt x="31" y="31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7" y="68"/>
                      <a:pt x="7" y="68"/>
                      <a:pt x="7" y="68"/>
                    </a:cubicBezTo>
                    <a:cubicBezTo>
                      <a:pt x="8" y="70"/>
                      <a:pt x="10" y="71"/>
                      <a:pt x="12" y="71"/>
                    </a:cubicBezTo>
                    <a:cubicBezTo>
                      <a:pt x="14" y="71"/>
                      <a:pt x="16" y="70"/>
                      <a:pt x="18" y="68"/>
                    </a:cubicBezTo>
                    <a:cubicBezTo>
                      <a:pt x="69" y="17"/>
                      <a:pt x="69" y="17"/>
                      <a:pt x="69" y="17"/>
                    </a:cubicBezTo>
                    <a:cubicBezTo>
                      <a:pt x="72" y="14"/>
                      <a:pt x="72" y="10"/>
                      <a:pt x="69" y="7"/>
                    </a:cubicBezTo>
                    <a:cubicBezTo>
                      <a:pt x="62" y="0"/>
                      <a:pt x="62" y="0"/>
                      <a:pt x="62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475">
                <a:extLst>
                  <a:ext uri="{FF2B5EF4-FFF2-40B4-BE49-F238E27FC236}">
                    <a16:creationId xmlns:a16="http://schemas.microsoft.com/office/drawing/2014/main" id="{31173EE4-93C5-4D06-835D-24D95BAF6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2 h 4"/>
                  <a:gd name="T4" fmla="*/ 2 w 4"/>
                  <a:gd name="T5" fmla="*/ 4 h 4"/>
                  <a:gd name="T6" fmla="*/ 4 w 4"/>
                  <a:gd name="T7" fmla="*/ 2 h 4"/>
                  <a:gd name="T8" fmla="*/ 2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2121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Freeform 476">
                <a:extLst>
                  <a:ext uri="{FF2B5EF4-FFF2-40B4-BE49-F238E27FC236}">
                    <a16:creationId xmlns:a16="http://schemas.microsoft.com/office/drawing/2014/main" id="{47CB574F-8205-4692-8F4A-4816A3761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2 h 4"/>
                  <a:gd name="T4" fmla="*/ 2 w 4"/>
                  <a:gd name="T5" fmla="*/ 4 h 4"/>
                  <a:gd name="T6" fmla="*/ 4 w 4"/>
                  <a:gd name="T7" fmla="*/ 2 h 4"/>
                  <a:gd name="T8" fmla="*/ 2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477">
                <a:extLst>
                  <a:ext uri="{FF2B5EF4-FFF2-40B4-BE49-F238E27FC236}">
                    <a16:creationId xmlns:a16="http://schemas.microsoft.com/office/drawing/2014/main" id="{AB30515E-C711-4F72-9542-AB954CF37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3" y="2055"/>
                <a:ext cx="14" cy="18"/>
              </a:xfrm>
              <a:custGeom>
                <a:avLst/>
                <a:gdLst>
                  <a:gd name="T0" fmla="*/ 14 w 26"/>
                  <a:gd name="T1" fmla="*/ 0 h 33"/>
                  <a:gd name="T2" fmla="*/ 0 w 26"/>
                  <a:gd name="T3" fmla="*/ 14 h 33"/>
                  <a:gd name="T4" fmla="*/ 20 w 26"/>
                  <a:gd name="T5" fmla="*/ 33 h 33"/>
                  <a:gd name="T6" fmla="*/ 20 w 26"/>
                  <a:gd name="T7" fmla="*/ 33 h 33"/>
                  <a:gd name="T8" fmla="*/ 26 w 26"/>
                  <a:gd name="T9" fmla="*/ 20 h 33"/>
                  <a:gd name="T10" fmla="*/ 26 w 26"/>
                  <a:gd name="T11" fmla="*/ 19 h 33"/>
                  <a:gd name="T12" fmla="*/ 14 w 26"/>
                  <a:gd name="T13" fmla="*/ 0 h 33"/>
                  <a:gd name="T14" fmla="*/ 14 w 26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3">
                    <a:moveTo>
                      <a:pt x="14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20" y="33"/>
                      <a:pt x="26" y="24"/>
                      <a:pt x="26" y="20"/>
                    </a:cubicBezTo>
                    <a:cubicBezTo>
                      <a:pt x="26" y="20"/>
                      <a:pt x="26" y="20"/>
                      <a:pt x="26" y="19"/>
                    </a:cubicBezTo>
                    <a:cubicBezTo>
                      <a:pt x="25" y="14"/>
                      <a:pt x="20" y="7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478">
                <a:extLst>
                  <a:ext uri="{FF2B5EF4-FFF2-40B4-BE49-F238E27FC236}">
                    <a16:creationId xmlns:a16="http://schemas.microsoft.com/office/drawing/2014/main" id="{FF114925-86BC-48BE-89A6-A26EAC5E91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7" y="2087"/>
                <a:ext cx="6" cy="6"/>
              </a:xfrm>
              <a:custGeom>
                <a:avLst/>
                <a:gdLst>
                  <a:gd name="T0" fmla="*/ 1 w 6"/>
                  <a:gd name="T1" fmla="*/ 0 h 6"/>
                  <a:gd name="T2" fmla="*/ 0 w 6"/>
                  <a:gd name="T3" fmla="*/ 2 h 6"/>
                  <a:gd name="T4" fmla="*/ 0 w 6"/>
                  <a:gd name="T5" fmla="*/ 2 h 6"/>
                  <a:gd name="T6" fmla="*/ 1 w 6"/>
                  <a:gd name="T7" fmla="*/ 1 h 6"/>
                  <a:gd name="T8" fmla="*/ 3 w 6"/>
                  <a:gd name="T9" fmla="*/ 5 h 6"/>
                  <a:gd name="T10" fmla="*/ 3 w 6"/>
                  <a:gd name="T11" fmla="*/ 5 h 6"/>
                  <a:gd name="T12" fmla="*/ 3 w 6"/>
                  <a:gd name="T13" fmla="*/ 6 h 6"/>
                  <a:gd name="T14" fmla="*/ 6 w 6"/>
                  <a:gd name="T15" fmla="*/ 3 h 6"/>
                  <a:gd name="T16" fmla="*/ 5 w 6"/>
                  <a:gd name="T17" fmla="*/ 3 h 6"/>
                  <a:gd name="T18" fmla="*/ 4 w 6"/>
                  <a:gd name="T19" fmla="*/ 3 h 6"/>
                  <a:gd name="T20" fmla="*/ 1 w 6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479">
                <a:extLst>
                  <a:ext uri="{FF2B5EF4-FFF2-40B4-BE49-F238E27FC236}">
                    <a16:creationId xmlns:a16="http://schemas.microsoft.com/office/drawing/2014/main" id="{3EC4FAC2-A67E-4FE4-AAFF-47960A718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7" y="2087"/>
                <a:ext cx="6" cy="6"/>
              </a:xfrm>
              <a:custGeom>
                <a:avLst/>
                <a:gdLst>
                  <a:gd name="T0" fmla="*/ 1 w 6"/>
                  <a:gd name="T1" fmla="*/ 0 h 6"/>
                  <a:gd name="T2" fmla="*/ 0 w 6"/>
                  <a:gd name="T3" fmla="*/ 2 h 6"/>
                  <a:gd name="T4" fmla="*/ 0 w 6"/>
                  <a:gd name="T5" fmla="*/ 2 h 6"/>
                  <a:gd name="T6" fmla="*/ 1 w 6"/>
                  <a:gd name="T7" fmla="*/ 1 h 6"/>
                  <a:gd name="T8" fmla="*/ 3 w 6"/>
                  <a:gd name="T9" fmla="*/ 5 h 6"/>
                  <a:gd name="T10" fmla="*/ 3 w 6"/>
                  <a:gd name="T11" fmla="*/ 5 h 6"/>
                  <a:gd name="T12" fmla="*/ 3 w 6"/>
                  <a:gd name="T13" fmla="*/ 6 h 6"/>
                  <a:gd name="T14" fmla="*/ 6 w 6"/>
                  <a:gd name="T15" fmla="*/ 3 h 6"/>
                  <a:gd name="T16" fmla="*/ 5 w 6"/>
                  <a:gd name="T17" fmla="*/ 3 h 6"/>
                  <a:gd name="T18" fmla="*/ 4 w 6"/>
                  <a:gd name="T19" fmla="*/ 3 h 6"/>
                  <a:gd name="T20" fmla="*/ 1 w 6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480">
                <a:extLst>
                  <a:ext uri="{FF2B5EF4-FFF2-40B4-BE49-F238E27FC236}">
                    <a16:creationId xmlns:a16="http://schemas.microsoft.com/office/drawing/2014/main" id="{383433D8-8C96-4051-9300-1318DD64E6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0" y="2084"/>
                <a:ext cx="6" cy="5"/>
              </a:xfrm>
              <a:custGeom>
                <a:avLst/>
                <a:gdLst>
                  <a:gd name="T0" fmla="*/ 6 w 10"/>
                  <a:gd name="T1" fmla="*/ 7 h 10"/>
                  <a:gd name="T2" fmla="*/ 5 w 10"/>
                  <a:gd name="T3" fmla="*/ 7 h 10"/>
                  <a:gd name="T4" fmla="*/ 4 w 10"/>
                  <a:gd name="T5" fmla="*/ 5 h 10"/>
                  <a:gd name="T6" fmla="*/ 5 w 10"/>
                  <a:gd name="T7" fmla="*/ 4 h 10"/>
                  <a:gd name="T8" fmla="*/ 6 w 10"/>
                  <a:gd name="T9" fmla="*/ 5 h 10"/>
                  <a:gd name="T10" fmla="*/ 7 w 10"/>
                  <a:gd name="T11" fmla="*/ 7 h 10"/>
                  <a:gd name="T12" fmla="*/ 6 w 10"/>
                  <a:gd name="T13" fmla="*/ 7 h 10"/>
                  <a:gd name="T14" fmla="*/ 2 w 10"/>
                  <a:gd name="T15" fmla="*/ 0 h 10"/>
                  <a:gd name="T16" fmla="*/ 0 w 10"/>
                  <a:gd name="T17" fmla="*/ 2 h 10"/>
                  <a:gd name="T18" fmla="*/ 0 w 10"/>
                  <a:gd name="T19" fmla="*/ 2 h 10"/>
                  <a:gd name="T20" fmla="*/ 1 w 10"/>
                  <a:gd name="T21" fmla="*/ 6 h 10"/>
                  <a:gd name="T22" fmla="*/ 3 w 10"/>
                  <a:gd name="T23" fmla="*/ 9 h 10"/>
                  <a:gd name="T24" fmla="*/ 6 w 10"/>
                  <a:gd name="T25" fmla="*/ 10 h 10"/>
                  <a:gd name="T26" fmla="*/ 8 w 10"/>
                  <a:gd name="T27" fmla="*/ 9 h 10"/>
                  <a:gd name="T28" fmla="*/ 8 w 10"/>
                  <a:gd name="T29" fmla="*/ 3 h 10"/>
                  <a:gd name="T30" fmla="*/ 5 w 10"/>
                  <a:gd name="T31" fmla="*/ 1 h 10"/>
                  <a:gd name="T32" fmla="*/ 3 w 10"/>
                  <a:gd name="T33" fmla="*/ 3 h 10"/>
                  <a:gd name="T34" fmla="*/ 2 w 10"/>
                  <a:gd name="T35" fmla="*/ 0 h 10"/>
                  <a:gd name="T36" fmla="*/ 2 w 10"/>
                  <a:gd name="T3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" h="10">
                    <a:moveTo>
                      <a:pt x="6" y="7"/>
                    </a:moveTo>
                    <a:cubicBezTo>
                      <a:pt x="6" y="7"/>
                      <a:pt x="5" y="7"/>
                      <a:pt x="5" y="7"/>
                    </a:cubicBezTo>
                    <a:cubicBezTo>
                      <a:pt x="4" y="6"/>
                      <a:pt x="4" y="5"/>
                      <a:pt x="4" y="5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6" y="5"/>
                      <a:pt x="6" y="5"/>
                    </a:cubicBezTo>
                    <a:cubicBezTo>
                      <a:pt x="7" y="6"/>
                      <a:pt x="7" y="6"/>
                      <a:pt x="7" y="7"/>
                    </a:cubicBezTo>
                    <a:cubicBezTo>
                      <a:pt x="6" y="7"/>
                      <a:pt x="6" y="7"/>
                      <a:pt x="6" y="7"/>
                    </a:cubicBezTo>
                    <a:moveTo>
                      <a:pt x="2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2" y="7"/>
                      <a:pt x="2" y="8"/>
                      <a:pt x="3" y="9"/>
                    </a:cubicBezTo>
                    <a:cubicBezTo>
                      <a:pt x="4" y="10"/>
                      <a:pt x="5" y="10"/>
                      <a:pt x="6" y="10"/>
                    </a:cubicBezTo>
                    <a:cubicBezTo>
                      <a:pt x="7" y="10"/>
                      <a:pt x="8" y="10"/>
                      <a:pt x="8" y="9"/>
                    </a:cubicBezTo>
                    <a:cubicBezTo>
                      <a:pt x="10" y="7"/>
                      <a:pt x="10" y="5"/>
                      <a:pt x="8" y="3"/>
                    </a:cubicBezTo>
                    <a:cubicBezTo>
                      <a:pt x="7" y="2"/>
                      <a:pt x="6" y="1"/>
                      <a:pt x="5" y="1"/>
                    </a:cubicBezTo>
                    <a:cubicBezTo>
                      <a:pt x="5" y="1"/>
                      <a:pt x="4" y="2"/>
                      <a:pt x="3" y="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481">
                <a:extLst>
                  <a:ext uri="{FF2B5EF4-FFF2-40B4-BE49-F238E27FC236}">
                    <a16:creationId xmlns:a16="http://schemas.microsoft.com/office/drawing/2014/main" id="{8C2A99D8-D6A7-4F92-956C-6FA00F7A3F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" y="2079"/>
                <a:ext cx="7" cy="7"/>
              </a:xfrm>
              <a:custGeom>
                <a:avLst/>
                <a:gdLst>
                  <a:gd name="T0" fmla="*/ 5 w 13"/>
                  <a:gd name="T1" fmla="*/ 0 h 12"/>
                  <a:gd name="T2" fmla="*/ 0 w 13"/>
                  <a:gd name="T3" fmla="*/ 6 h 12"/>
                  <a:gd name="T4" fmla="*/ 0 w 13"/>
                  <a:gd name="T5" fmla="*/ 6 h 12"/>
                  <a:gd name="T6" fmla="*/ 2 w 13"/>
                  <a:gd name="T7" fmla="*/ 10 h 12"/>
                  <a:gd name="T8" fmla="*/ 6 w 13"/>
                  <a:gd name="T9" fmla="*/ 12 h 12"/>
                  <a:gd name="T10" fmla="*/ 10 w 13"/>
                  <a:gd name="T11" fmla="*/ 10 h 12"/>
                  <a:gd name="T12" fmla="*/ 8 w 13"/>
                  <a:gd name="T13" fmla="*/ 2 h 12"/>
                  <a:gd name="T14" fmla="*/ 5 w 13"/>
                  <a:gd name="T15" fmla="*/ 5 h 12"/>
                  <a:gd name="T16" fmla="*/ 7 w 13"/>
                  <a:gd name="T17" fmla="*/ 7 h 12"/>
                  <a:gd name="T18" fmla="*/ 8 w 13"/>
                  <a:gd name="T19" fmla="*/ 6 h 12"/>
                  <a:gd name="T20" fmla="*/ 8 w 13"/>
                  <a:gd name="T21" fmla="*/ 8 h 12"/>
                  <a:gd name="T22" fmla="*/ 6 w 13"/>
                  <a:gd name="T23" fmla="*/ 9 h 12"/>
                  <a:gd name="T24" fmla="*/ 4 w 13"/>
                  <a:gd name="T25" fmla="*/ 7 h 12"/>
                  <a:gd name="T26" fmla="*/ 3 w 13"/>
                  <a:gd name="T27" fmla="*/ 3 h 12"/>
                  <a:gd name="T28" fmla="*/ 4 w 13"/>
                  <a:gd name="T29" fmla="*/ 3 h 12"/>
                  <a:gd name="T30" fmla="*/ 5 w 13"/>
                  <a:gd name="T31" fmla="*/ 3 h 12"/>
                  <a:gd name="T32" fmla="*/ 7 w 13"/>
                  <a:gd name="T33" fmla="*/ 1 h 12"/>
                  <a:gd name="T34" fmla="*/ 5 w 13"/>
                  <a:gd name="T35" fmla="*/ 0 h 12"/>
                  <a:gd name="T36" fmla="*/ 5 w 13"/>
                  <a:gd name="T3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12">
                    <a:moveTo>
                      <a:pt x="5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8"/>
                      <a:pt x="2" y="10"/>
                    </a:cubicBezTo>
                    <a:cubicBezTo>
                      <a:pt x="3" y="11"/>
                      <a:pt x="5" y="12"/>
                      <a:pt x="6" y="12"/>
                    </a:cubicBezTo>
                    <a:cubicBezTo>
                      <a:pt x="8" y="12"/>
                      <a:pt x="9" y="11"/>
                      <a:pt x="10" y="10"/>
                    </a:cubicBezTo>
                    <a:cubicBezTo>
                      <a:pt x="13" y="8"/>
                      <a:pt x="11" y="4"/>
                      <a:pt x="8" y="2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7"/>
                      <a:pt x="9" y="8"/>
                      <a:pt x="8" y="8"/>
                    </a:cubicBezTo>
                    <a:cubicBezTo>
                      <a:pt x="8" y="9"/>
                      <a:pt x="7" y="9"/>
                      <a:pt x="6" y="9"/>
                    </a:cubicBezTo>
                    <a:cubicBezTo>
                      <a:pt x="6" y="9"/>
                      <a:pt x="5" y="8"/>
                      <a:pt x="4" y="7"/>
                    </a:cubicBezTo>
                    <a:cubicBezTo>
                      <a:pt x="2" y="6"/>
                      <a:pt x="2" y="4"/>
                      <a:pt x="3" y="3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0"/>
                      <a:pt x="6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482">
                <a:extLst>
                  <a:ext uri="{FF2B5EF4-FFF2-40B4-BE49-F238E27FC236}">
                    <a16:creationId xmlns:a16="http://schemas.microsoft.com/office/drawing/2014/main" id="{50342975-A6CF-48F1-961C-B73C9BF50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9" y="2076"/>
                <a:ext cx="3" cy="4"/>
              </a:xfrm>
              <a:custGeom>
                <a:avLst/>
                <a:gdLst>
                  <a:gd name="T0" fmla="*/ 5 w 6"/>
                  <a:gd name="T1" fmla="*/ 4 h 6"/>
                  <a:gd name="T2" fmla="*/ 4 w 6"/>
                  <a:gd name="T3" fmla="*/ 4 h 6"/>
                  <a:gd name="T4" fmla="*/ 3 w 6"/>
                  <a:gd name="T5" fmla="*/ 5 h 6"/>
                  <a:gd name="T6" fmla="*/ 5 w 6"/>
                  <a:gd name="T7" fmla="*/ 6 h 6"/>
                  <a:gd name="T8" fmla="*/ 6 w 6"/>
                  <a:gd name="T9" fmla="*/ 5 h 6"/>
                  <a:gd name="T10" fmla="*/ 6 w 6"/>
                  <a:gd name="T11" fmla="*/ 4 h 6"/>
                  <a:gd name="T12" fmla="*/ 5 w 6"/>
                  <a:gd name="T13" fmla="*/ 4 h 6"/>
                  <a:gd name="T14" fmla="*/ 1 w 6"/>
                  <a:gd name="T15" fmla="*/ 0 h 6"/>
                  <a:gd name="T16" fmla="*/ 1 w 6"/>
                  <a:gd name="T17" fmla="*/ 1 h 6"/>
                  <a:gd name="T18" fmla="*/ 0 w 6"/>
                  <a:gd name="T19" fmla="*/ 2 h 6"/>
                  <a:gd name="T20" fmla="*/ 1 w 6"/>
                  <a:gd name="T21" fmla="*/ 3 h 6"/>
                  <a:gd name="T22" fmla="*/ 2 w 6"/>
                  <a:gd name="T23" fmla="*/ 2 h 6"/>
                  <a:gd name="T24" fmla="*/ 2 w 6"/>
                  <a:gd name="T25" fmla="*/ 1 h 6"/>
                  <a:gd name="T26" fmla="*/ 1 w 6"/>
                  <a:gd name="T2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6">
                    <a:moveTo>
                      <a:pt x="5" y="4"/>
                    </a:moveTo>
                    <a:cubicBezTo>
                      <a:pt x="5" y="4"/>
                      <a:pt x="4" y="4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4"/>
                      <a:pt x="6" y="4"/>
                    </a:cubicBezTo>
                    <a:cubicBezTo>
                      <a:pt x="5" y="4"/>
                      <a:pt x="5" y="4"/>
                      <a:pt x="5" y="4"/>
                    </a:cubicBezTo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483">
                <a:extLst>
                  <a:ext uri="{FF2B5EF4-FFF2-40B4-BE49-F238E27FC236}">
                    <a16:creationId xmlns:a16="http://schemas.microsoft.com/office/drawing/2014/main" id="{0AD79C15-9410-49EA-A0B7-001956844B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7" y="2075"/>
                <a:ext cx="8" cy="7"/>
              </a:xfrm>
              <a:custGeom>
                <a:avLst/>
                <a:gdLst>
                  <a:gd name="T0" fmla="*/ 8 w 13"/>
                  <a:gd name="T1" fmla="*/ 8 h 13"/>
                  <a:gd name="T2" fmla="*/ 6 w 13"/>
                  <a:gd name="T3" fmla="*/ 7 h 13"/>
                  <a:gd name="T4" fmla="*/ 7 w 13"/>
                  <a:gd name="T5" fmla="*/ 6 h 13"/>
                  <a:gd name="T6" fmla="*/ 8 w 13"/>
                  <a:gd name="T7" fmla="*/ 6 h 13"/>
                  <a:gd name="T8" fmla="*/ 9 w 13"/>
                  <a:gd name="T9" fmla="*/ 6 h 13"/>
                  <a:gd name="T10" fmla="*/ 9 w 13"/>
                  <a:gd name="T11" fmla="*/ 7 h 13"/>
                  <a:gd name="T12" fmla="*/ 8 w 13"/>
                  <a:gd name="T13" fmla="*/ 8 h 13"/>
                  <a:gd name="T14" fmla="*/ 4 w 13"/>
                  <a:gd name="T15" fmla="*/ 5 h 13"/>
                  <a:gd name="T16" fmla="*/ 3 w 13"/>
                  <a:gd name="T17" fmla="*/ 4 h 13"/>
                  <a:gd name="T18" fmla="*/ 4 w 13"/>
                  <a:gd name="T19" fmla="*/ 3 h 13"/>
                  <a:gd name="T20" fmla="*/ 4 w 13"/>
                  <a:gd name="T21" fmla="*/ 2 h 13"/>
                  <a:gd name="T22" fmla="*/ 5 w 13"/>
                  <a:gd name="T23" fmla="*/ 3 h 13"/>
                  <a:gd name="T24" fmla="*/ 5 w 13"/>
                  <a:gd name="T25" fmla="*/ 4 h 13"/>
                  <a:gd name="T26" fmla="*/ 4 w 13"/>
                  <a:gd name="T27" fmla="*/ 5 h 13"/>
                  <a:gd name="T28" fmla="*/ 6 w 13"/>
                  <a:gd name="T29" fmla="*/ 0 h 13"/>
                  <a:gd name="T30" fmla="*/ 0 w 13"/>
                  <a:gd name="T31" fmla="*/ 5 h 13"/>
                  <a:gd name="T32" fmla="*/ 7 w 13"/>
                  <a:gd name="T33" fmla="*/ 13 h 13"/>
                  <a:gd name="T34" fmla="*/ 11 w 13"/>
                  <a:gd name="T35" fmla="*/ 9 h 13"/>
                  <a:gd name="T36" fmla="*/ 11 w 13"/>
                  <a:gd name="T37" fmla="*/ 4 h 13"/>
                  <a:gd name="T38" fmla="*/ 9 w 13"/>
                  <a:gd name="T39" fmla="*/ 3 h 13"/>
                  <a:gd name="T40" fmla="*/ 8 w 13"/>
                  <a:gd name="T41" fmla="*/ 3 h 13"/>
                  <a:gd name="T42" fmla="*/ 7 w 13"/>
                  <a:gd name="T43" fmla="*/ 1 h 13"/>
                  <a:gd name="T44" fmla="*/ 6 w 13"/>
                  <a:gd name="T45" fmla="*/ 0 h 13"/>
                  <a:gd name="T46" fmla="*/ 6 w 13"/>
                  <a:gd name="T4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" h="13">
                    <a:moveTo>
                      <a:pt x="8" y="8"/>
                    </a:moveTo>
                    <a:cubicBezTo>
                      <a:pt x="6" y="7"/>
                      <a:pt x="6" y="7"/>
                      <a:pt x="6" y="7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9" y="6"/>
                    </a:cubicBezTo>
                    <a:cubicBezTo>
                      <a:pt x="9" y="6"/>
                      <a:pt x="9" y="7"/>
                      <a:pt x="9" y="7"/>
                    </a:cubicBezTo>
                    <a:cubicBezTo>
                      <a:pt x="8" y="8"/>
                      <a:pt x="8" y="8"/>
                      <a:pt x="8" y="8"/>
                    </a:cubicBezTo>
                    <a:moveTo>
                      <a:pt x="4" y="5"/>
                    </a:moveTo>
                    <a:cubicBezTo>
                      <a:pt x="3" y="4"/>
                      <a:pt x="3" y="4"/>
                      <a:pt x="3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2"/>
                      <a:pt x="4" y="2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6" y="3"/>
                      <a:pt x="6" y="4"/>
                      <a:pt x="5" y="4"/>
                    </a:cubicBezTo>
                    <a:cubicBezTo>
                      <a:pt x="4" y="5"/>
                      <a:pt x="4" y="5"/>
                      <a:pt x="4" y="5"/>
                    </a:cubicBezTo>
                    <a:moveTo>
                      <a:pt x="6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3" y="8"/>
                      <a:pt x="13" y="5"/>
                      <a:pt x="11" y="4"/>
                    </a:cubicBezTo>
                    <a:cubicBezTo>
                      <a:pt x="10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7" y="1"/>
                    </a:cubicBezTo>
                    <a:cubicBezTo>
                      <a:pt x="7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484">
                <a:extLst>
                  <a:ext uri="{FF2B5EF4-FFF2-40B4-BE49-F238E27FC236}">
                    <a16:creationId xmlns:a16="http://schemas.microsoft.com/office/drawing/2014/main" id="{436BE7DE-BF7D-482B-9611-959F43F05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4" y="2209"/>
                <a:ext cx="452" cy="412"/>
              </a:xfrm>
              <a:custGeom>
                <a:avLst/>
                <a:gdLst>
                  <a:gd name="T0" fmla="*/ 452 w 452"/>
                  <a:gd name="T1" fmla="*/ 159 h 412"/>
                  <a:gd name="T2" fmla="*/ 122 w 452"/>
                  <a:gd name="T3" fmla="*/ 412 h 412"/>
                  <a:gd name="T4" fmla="*/ 0 w 452"/>
                  <a:gd name="T5" fmla="*/ 253 h 412"/>
                  <a:gd name="T6" fmla="*/ 331 w 452"/>
                  <a:gd name="T7" fmla="*/ 0 h 412"/>
                  <a:gd name="T8" fmla="*/ 452 w 452"/>
                  <a:gd name="T9" fmla="*/ 159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2" h="412">
                    <a:moveTo>
                      <a:pt x="452" y="159"/>
                    </a:moveTo>
                    <a:lnTo>
                      <a:pt x="122" y="412"/>
                    </a:lnTo>
                    <a:lnTo>
                      <a:pt x="0" y="253"/>
                    </a:lnTo>
                    <a:lnTo>
                      <a:pt x="331" y="0"/>
                    </a:lnTo>
                    <a:lnTo>
                      <a:pt x="452" y="159"/>
                    </a:ln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485">
                <a:extLst>
                  <a:ext uri="{FF2B5EF4-FFF2-40B4-BE49-F238E27FC236}">
                    <a16:creationId xmlns:a16="http://schemas.microsoft.com/office/drawing/2014/main" id="{1EADEE1F-E248-4F77-8BBF-B1FD33108A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1" y="2216"/>
                <a:ext cx="401" cy="348"/>
              </a:xfrm>
              <a:custGeom>
                <a:avLst/>
                <a:gdLst>
                  <a:gd name="T0" fmla="*/ 401 w 401"/>
                  <a:gd name="T1" fmla="*/ 103 h 348"/>
                  <a:gd name="T2" fmla="*/ 79 w 401"/>
                  <a:gd name="T3" fmla="*/ 348 h 348"/>
                  <a:gd name="T4" fmla="*/ 0 w 401"/>
                  <a:gd name="T5" fmla="*/ 245 h 348"/>
                  <a:gd name="T6" fmla="*/ 322 w 401"/>
                  <a:gd name="T7" fmla="*/ 0 h 348"/>
                  <a:gd name="T8" fmla="*/ 401 w 401"/>
                  <a:gd name="T9" fmla="*/ 103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1" h="348">
                    <a:moveTo>
                      <a:pt x="401" y="103"/>
                    </a:moveTo>
                    <a:lnTo>
                      <a:pt x="79" y="348"/>
                    </a:lnTo>
                    <a:lnTo>
                      <a:pt x="0" y="245"/>
                    </a:lnTo>
                    <a:lnTo>
                      <a:pt x="322" y="0"/>
                    </a:lnTo>
                    <a:lnTo>
                      <a:pt x="401" y="103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486">
                <a:extLst>
                  <a:ext uri="{FF2B5EF4-FFF2-40B4-BE49-F238E27FC236}">
                    <a16:creationId xmlns:a16="http://schemas.microsoft.com/office/drawing/2014/main" id="{8FF5C2D7-99C0-4F20-B148-73A501517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7" y="2416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487">
                <a:extLst>
                  <a:ext uri="{FF2B5EF4-FFF2-40B4-BE49-F238E27FC236}">
                    <a16:creationId xmlns:a16="http://schemas.microsoft.com/office/drawing/2014/main" id="{2B0822BE-066C-4318-AE89-D9E7FB9BC6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6" y="2401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488">
                <a:extLst>
                  <a:ext uri="{FF2B5EF4-FFF2-40B4-BE49-F238E27FC236}">
                    <a16:creationId xmlns:a16="http://schemas.microsoft.com/office/drawing/2014/main" id="{EDE935F6-67DA-4E07-9DBF-3E9781969D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5" y="2386"/>
                <a:ext cx="20" cy="17"/>
              </a:xfrm>
              <a:custGeom>
                <a:avLst/>
                <a:gdLst>
                  <a:gd name="T0" fmla="*/ 33 w 35"/>
                  <a:gd name="T1" fmla="*/ 14 h 31"/>
                  <a:gd name="T2" fmla="*/ 12 w 35"/>
                  <a:gd name="T3" fmla="*/ 31 h 31"/>
                  <a:gd name="T4" fmla="*/ 9 w 35"/>
                  <a:gd name="T5" fmla="*/ 30 h 31"/>
                  <a:gd name="T6" fmla="*/ 1 w 35"/>
                  <a:gd name="T7" fmla="*/ 21 h 31"/>
                  <a:gd name="T8" fmla="*/ 2 w 35"/>
                  <a:gd name="T9" fmla="*/ 18 h 31"/>
                  <a:gd name="T10" fmla="*/ 24 w 35"/>
                  <a:gd name="T11" fmla="*/ 1 h 31"/>
                  <a:gd name="T12" fmla="*/ 27 w 35"/>
                  <a:gd name="T13" fmla="*/ 1 h 31"/>
                  <a:gd name="T14" fmla="*/ 34 w 35"/>
                  <a:gd name="T15" fmla="*/ 11 h 31"/>
                  <a:gd name="T16" fmla="*/ 33 w 35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1">
                    <a:moveTo>
                      <a:pt x="33" y="14"/>
                    </a:moveTo>
                    <a:cubicBezTo>
                      <a:pt x="12" y="31"/>
                      <a:pt x="12" y="31"/>
                      <a:pt x="12" y="31"/>
                    </a:cubicBezTo>
                    <a:cubicBezTo>
                      <a:pt x="11" y="31"/>
                      <a:pt x="9" y="31"/>
                      <a:pt x="9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0"/>
                      <a:pt x="27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489">
                <a:extLst>
                  <a:ext uri="{FF2B5EF4-FFF2-40B4-BE49-F238E27FC236}">
                    <a16:creationId xmlns:a16="http://schemas.microsoft.com/office/drawing/2014/main" id="{155EEAF4-F3B2-42D9-B9AA-4891C2A1A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5" y="2372"/>
                <a:ext cx="19" cy="17"/>
              </a:xfrm>
              <a:custGeom>
                <a:avLst/>
                <a:gdLst>
                  <a:gd name="T0" fmla="*/ 33 w 34"/>
                  <a:gd name="T1" fmla="*/ 14 h 32"/>
                  <a:gd name="T2" fmla="*/ 11 w 34"/>
                  <a:gd name="T3" fmla="*/ 31 h 32"/>
                  <a:gd name="T4" fmla="*/ 8 w 34"/>
                  <a:gd name="T5" fmla="*/ 30 h 32"/>
                  <a:gd name="T6" fmla="*/ 1 w 34"/>
                  <a:gd name="T7" fmla="*/ 21 h 32"/>
                  <a:gd name="T8" fmla="*/ 1 w 34"/>
                  <a:gd name="T9" fmla="*/ 18 h 32"/>
                  <a:gd name="T10" fmla="*/ 23 w 34"/>
                  <a:gd name="T11" fmla="*/ 1 h 32"/>
                  <a:gd name="T12" fmla="*/ 26 w 34"/>
                  <a:gd name="T13" fmla="*/ 2 h 32"/>
                  <a:gd name="T14" fmla="*/ 33 w 34"/>
                  <a:gd name="T15" fmla="*/ 11 h 32"/>
                  <a:gd name="T16" fmla="*/ 33 w 34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2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2"/>
                      <a:pt x="9" y="31"/>
                      <a:pt x="8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490">
                <a:extLst>
                  <a:ext uri="{FF2B5EF4-FFF2-40B4-BE49-F238E27FC236}">
                    <a16:creationId xmlns:a16="http://schemas.microsoft.com/office/drawing/2014/main" id="{0E5549F8-F970-4F47-AAF6-632987E02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4" y="2357"/>
                <a:ext cx="19" cy="17"/>
              </a:xfrm>
              <a:custGeom>
                <a:avLst/>
                <a:gdLst>
                  <a:gd name="T0" fmla="*/ 33 w 34"/>
                  <a:gd name="T1" fmla="*/ 13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4 w 34"/>
                  <a:gd name="T15" fmla="*/ 10 h 31"/>
                  <a:gd name="T16" fmla="*/ 33 w 34"/>
                  <a:gd name="T17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3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34" y="11"/>
                      <a:pt x="34" y="13"/>
                      <a:pt x="33" y="13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491">
                <a:extLst>
                  <a:ext uri="{FF2B5EF4-FFF2-40B4-BE49-F238E27FC236}">
                    <a16:creationId xmlns:a16="http://schemas.microsoft.com/office/drawing/2014/main" id="{0E1A9E02-6759-4F2D-A8D1-057EFE21D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4" y="2343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492">
                <a:extLst>
                  <a:ext uri="{FF2B5EF4-FFF2-40B4-BE49-F238E27FC236}">
                    <a16:creationId xmlns:a16="http://schemas.microsoft.com/office/drawing/2014/main" id="{BDA19D22-8617-4E29-89EC-0AC1F185FD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232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4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493">
                <a:extLst>
                  <a:ext uri="{FF2B5EF4-FFF2-40B4-BE49-F238E27FC236}">
                    <a16:creationId xmlns:a16="http://schemas.microsoft.com/office/drawing/2014/main" id="{9BC25345-D233-4999-A289-D8C5D2C41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2313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494">
                <a:extLst>
                  <a:ext uri="{FF2B5EF4-FFF2-40B4-BE49-F238E27FC236}">
                    <a16:creationId xmlns:a16="http://schemas.microsoft.com/office/drawing/2014/main" id="{61175883-ECDA-48C9-B066-2C8AE3CCF2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2" y="229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1 h 31"/>
                  <a:gd name="T8" fmla="*/ 1 w 34"/>
                  <a:gd name="T9" fmla="*/ 18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495">
                <a:extLst>
                  <a:ext uri="{FF2B5EF4-FFF2-40B4-BE49-F238E27FC236}">
                    <a16:creationId xmlns:a16="http://schemas.microsoft.com/office/drawing/2014/main" id="{C6AB355F-B11F-4464-B555-B26BF17B61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1" y="2284"/>
                <a:ext cx="19" cy="17"/>
              </a:xfrm>
              <a:custGeom>
                <a:avLst/>
                <a:gdLst>
                  <a:gd name="T0" fmla="*/ 33 w 35"/>
                  <a:gd name="T1" fmla="*/ 14 h 32"/>
                  <a:gd name="T2" fmla="*/ 12 w 35"/>
                  <a:gd name="T3" fmla="*/ 31 h 32"/>
                  <a:gd name="T4" fmla="*/ 9 w 35"/>
                  <a:gd name="T5" fmla="*/ 31 h 32"/>
                  <a:gd name="T6" fmla="*/ 1 w 35"/>
                  <a:gd name="T7" fmla="*/ 21 h 32"/>
                  <a:gd name="T8" fmla="*/ 2 w 35"/>
                  <a:gd name="T9" fmla="*/ 18 h 32"/>
                  <a:gd name="T10" fmla="*/ 23 w 35"/>
                  <a:gd name="T11" fmla="*/ 1 h 32"/>
                  <a:gd name="T12" fmla="*/ 26 w 35"/>
                  <a:gd name="T13" fmla="*/ 2 h 32"/>
                  <a:gd name="T14" fmla="*/ 34 w 35"/>
                  <a:gd name="T15" fmla="*/ 11 h 32"/>
                  <a:gd name="T16" fmla="*/ 33 w 35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2">
                    <a:moveTo>
                      <a:pt x="33" y="14"/>
                    </a:moveTo>
                    <a:cubicBezTo>
                      <a:pt x="12" y="31"/>
                      <a:pt x="12" y="31"/>
                      <a:pt x="12" y="31"/>
                    </a:cubicBezTo>
                    <a:cubicBezTo>
                      <a:pt x="11" y="32"/>
                      <a:pt x="9" y="31"/>
                      <a:pt x="9" y="31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9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496">
                <a:extLst>
                  <a:ext uri="{FF2B5EF4-FFF2-40B4-BE49-F238E27FC236}">
                    <a16:creationId xmlns:a16="http://schemas.microsoft.com/office/drawing/2014/main" id="{9FD5B91F-8A30-4D75-BDCF-4DACA62B3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1" y="2270"/>
                <a:ext cx="18" cy="16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497">
                <a:extLst>
                  <a:ext uri="{FF2B5EF4-FFF2-40B4-BE49-F238E27FC236}">
                    <a16:creationId xmlns:a16="http://schemas.microsoft.com/office/drawing/2014/main" id="{5A292DBB-296B-4ECF-A134-A8E328B6B3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7" y="2407"/>
                <a:ext cx="130" cy="102"/>
              </a:xfrm>
              <a:custGeom>
                <a:avLst/>
                <a:gdLst>
                  <a:gd name="T0" fmla="*/ 237 w 239"/>
                  <a:gd name="T1" fmla="*/ 18 h 187"/>
                  <a:gd name="T2" fmla="*/ 14 w 239"/>
                  <a:gd name="T3" fmla="*/ 187 h 187"/>
                  <a:gd name="T4" fmla="*/ 11 w 239"/>
                  <a:gd name="T5" fmla="*/ 186 h 187"/>
                  <a:gd name="T6" fmla="*/ 1 w 239"/>
                  <a:gd name="T7" fmla="*/ 172 h 187"/>
                  <a:gd name="T8" fmla="*/ 1 w 239"/>
                  <a:gd name="T9" fmla="*/ 169 h 187"/>
                  <a:gd name="T10" fmla="*/ 224 w 239"/>
                  <a:gd name="T11" fmla="*/ 1 h 187"/>
                  <a:gd name="T12" fmla="*/ 227 w 239"/>
                  <a:gd name="T13" fmla="*/ 1 h 187"/>
                  <a:gd name="T14" fmla="*/ 238 w 239"/>
                  <a:gd name="T15" fmla="*/ 15 h 187"/>
                  <a:gd name="T16" fmla="*/ 237 w 239"/>
                  <a:gd name="T17" fmla="*/ 18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9" h="187">
                    <a:moveTo>
                      <a:pt x="237" y="18"/>
                    </a:moveTo>
                    <a:cubicBezTo>
                      <a:pt x="14" y="187"/>
                      <a:pt x="14" y="187"/>
                      <a:pt x="14" y="187"/>
                    </a:cubicBezTo>
                    <a:cubicBezTo>
                      <a:pt x="13" y="187"/>
                      <a:pt x="12" y="187"/>
                      <a:pt x="11" y="186"/>
                    </a:cubicBezTo>
                    <a:cubicBezTo>
                      <a:pt x="1" y="172"/>
                      <a:pt x="1" y="172"/>
                      <a:pt x="1" y="172"/>
                    </a:cubicBezTo>
                    <a:cubicBezTo>
                      <a:pt x="0" y="172"/>
                      <a:pt x="0" y="170"/>
                      <a:pt x="1" y="169"/>
                    </a:cubicBezTo>
                    <a:cubicBezTo>
                      <a:pt x="224" y="1"/>
                      <a:pt x="224" y="1"/>
                      <a:pt x="224" y="1"/>
                    </a:cubicBezTo>
                    <a:cubicBezTo>
                      <a:pt x="225" y="0"/>
                      <a:pt x="227" y="0"/>
                      <a:pt x="227" y="1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9" y="16"/>
                      <a:pt x="238" y="17"/>
                      <a:pt x="237" y="18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498">
                <a:extLst>
                  <a:ext uri="{FF2B5EF4-FFF2-40B4-BE49-F238E27FC236}">
                    <a16:creationId xmlns:a16="http://schemas.microsoft.com/office/drawing/2014/main" id="{1E3D1821-8A29-4535-BD29-514176A27E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9" y="245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499">
                <a:extLst>
                  <a:ext uri="{FF2B5EF4-FFF2-40B4-BE49-F238E27FC236}">
                    <a16:creationId xmlns:a16="http://schemas.microsoft.com/office/drawing/2014/main" id="{CB282EC0-17B8-470E-91A5-09209140FA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8" y="244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500">
                <a:extLst>
                  <a:ext uri="{FF2B5EF4-FFF2-40B4-BE49-F238E27FC236}">
                    <a16:creationId xmlns:a16="http://schemas.microsoft.com/office/drawing/2014/main" id="{5BB13A33-D987-4164-A63B-29BA31DE9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8" y="242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501">
                <a:extLst>
                  <a:ext uri="{FF2B5EF4-FFF2-40B4-BE49-F238E27FC236}">
                    <a16:creationId xmlns:a16="http://schemas.microsoft.com/office/drawing/2014/main" id="{981703FC-41DE-4399-BBCA-3670431F6F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7" y="241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502">
                <a:extLst>
                  <a:ext uri="{FF2B5EF4-FFF2-40B4-BE49-F238E27FC236}">
                    <a16:creationId xmlns:a16="http://schemas.microsoft.com/office/drawing/2014/main" id="{A2FF5D8C-B542-4609-9A7E-70728CC82D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7" y="2396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503">
                <a:extLst>
                  <a:ext uri="{FF2B5EF4-FFF2-40B4-BE49-F238E27FC236}">
                    <a16:creationId xmlns:a16="http://schemas.microsoft.com/office/drawing/2014/main" id="{58600792-0054-4E5C-A9A6-2722C224C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6" y="2381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504">
                <a:extLst>
                  <a:ext uri="{FF2B5EF4-FFF2-40B4-BE49-F238E27FC236}">
                    <a16:creationId xmlns:a16="http://schemas.microsoft.com/office/drawing/2014/main" id="{D30A34DC-1E2A-4AF8-91A4-4AFA246AD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5" y="2366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505">
                <a:extLst>
                  <a:ext uri="{FF2B5EF4-FFF2-40B4-BE49-F238E27FC236}">
                    <a16:creationId xmlns:a16="http://schemas.microsoft.com/office/drawing/2014/main" id="{B0CA9F79-537B-4ACB-A3DA-4D02B28C1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235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506">
                <a:extLst>
                  <a:ext uri="{FF2B5EF4-FFF2-40B4-BE49-F238E27FC236}">
                    <a16:creationId xmlns:a16="http://schemas.microsoft.com/office/drawing/2014/main" id="{63270E50-EC83-4105-9B6F-C16C66324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4" y="233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507">
                <a:extLst>
                  <a:ext uri="{FF2B5EF4-FFF2-40B4-BE49-F238E27FC236}">
                    <a16:creationId xmlns:a16="http://schemas.microsoft.com/office/drawing/2014/main" id="{F819293F-35DA-4F52-9C37-E83D03F6F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4" y="2323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508">
                <a:extLst>
                  <a:ext uri="{FF2B5EF4-FFF2-40B4-BE49-F238E27FC236}">
                    <a16:creationId xmlns:a16="http://schemas.microsoft.com/office/drawing/2014/main" id="{6C6267B3-D53A-4054-BBBE-C992E830E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0" y="2279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509">
                <a:extLst>
                  <a:ext uri="{FF2B5EF4-FFF2-40B4-BE49-F238E27FC236}">
                    <a16:creationId xmlns:a16="http://schemas.microsoft.com/office/drawing/2014/main" id="{B035BFA6-3278-40F6-A55C-3F51C147F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0" y="2265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510">
                <a:extLst>
                  <a:ext uri="{FF2B5EF4-FFF2-40B4-BE49-F238E27FC236}">
                    <a16:creationId xmlns:a16="http://schemas.microsoft.com/office/drawing/2014/main" id="{010D9C33-F8FF-4801-BAC9-9CF602BAC1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9" y="225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511">
                <a:extLst>
                  <a:ext uri="{FF2B5EF4-FFF2-40B4-BE49-F238E27FC236}">
                    <a16:creationId xmlns:a16="http://schemas.microsoft.com/office/drawing/2014/main" id="{59B7C4A9-D2A8-4EF6-ABB3-C622EF890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230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512">
                <a:extLst>
                  <a:ext uri="{FF2B5EF4-FFF2-40B4-BE49-F238E27FC236}">
                    <a16:creationId xmlns:a16="http://schemas.microsoft.com/office/drawing/2014/main" id="{75A5B207-F356-4E05-8955-D6977037DF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5" y="228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513">
                <a:extLst>
                  <a:ext uri="{FF2B5EF4-FFF2-40B4-BE49-F238E27FC236}">
                    <a16:creationId xmlns:a16="http://schemas.microsoft.com/office/drawing/2014/main" id="{74CD231D-CA52-415A-ADBA-C283072ED2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4" y="2270"/>
                <a:ext cx="25" cy="24"/>
              </a:xfrm>
              <a:custGeom>
                <a:avLst/>
                <a:gdLst>
                  <a:gd name="T0" fmla="*/ 43 w 45"/>
                  <a:gd name="T1" fmla="*/ 27 h 44"/>
                  <a:gd name="T2" fmla="*/ 22 w 45"/>
                  <a:gd name="T3" fmla="*/ 44 h 44"/>
                  <a:gd name="T4" fmla="*/ 19 w 45"/>
                  <a:gd name="T5" fmla="*/ 43 h 44"/>
                  <a:gd name="T6" fmla="*/ 1 w 45"/>
                  <a:gd name="T7" fmla="*/ 20 h 44"/>
                  <a:gd name="T8" fmla="*/ 2 w 45"/>
                  <a:gd name="T9" fmla="*/ 17 h 44"/>
                  <a:gd name="T10" fmla="*/ 24 w 45"/>
                  <a:gd name="T11" fmla="*/ 1 h 44"/>
                  <a:gd name="T12" fmla="*/ 27 w 45"/>
                  <a:gd name="T13" fmla="*/ 1 h 44"/>
                  <a:gd name="T14" fmla="*/ 44 w 45"/>
                  <a:gd name="T15" fmla="*/ 24 h 44"/>
                  <a:gd name="T16" fmla="*/ 43 w 45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4">
                    <a:moveTo>
                      <a:pt x="43" y="27"/>
                    </a:moveTo>
                    <a:cubicBezTo>
                      <a:pt x="22" y="44"/>
                      <a:pt x="22" y="44"/>
                      <a:pt x="22" y="44"/>
                    </a:cubicBezTo>
                    <a:cubicBezTo>
                      <a:pt x="21" y="44"/>
                      <a:pt x="19" y="44"/>
                      <a:pt x="19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1" y="18"/>
                      <a:pt x="2" y="17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514">
                <a:extLst>
                  <a:ext uri="{FF2B5EF4-FFF2-40B4-BE49-F238E27FC236}">
                    <a16:creationId xmlns:a16="http://schemas.microsoft.com/office/drawing/2014/main" id="{B4D0927E-FF76-4381-8F9A-36C8D34D8C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1" y="2320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515">
                <a:extLst>
                  <a:ext uri="{FF2B5EF4-FFF2-40B4-BE49-F238E27FC236}">
                    <a16:creationId xmlns:a16="http://schemas.microsoft.com/office/drawing/2014/main" id="{6307E5C2-3AFC-4492-95F8-0986C64DC9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0" y="230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516">
                <a:extLst>
                  <a:ext uri="{FF2B5EF4-FFF2-40B4-BE49-F238E27FC236}">
                    <a16:creationId xmlns:a16="http://schemas.microsoft.com/office/drawing/2014/main" id="{C781957B-4280-4F56-8AE2-1610F2F77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9" y="229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517">
                <a:extLst>
                  <a:ext uri="{FF2B5EF4-FFF2-40B4-BE49-F238E27FC236}">
                    <a16:creationId xmlns:a16="http://schemas.microsoft.com/office/drawing/2014/main" id="{2CDBB2D5-4952-426D-88C6-EA603E618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0" y="2494"/>
                <a:ext cx="24" cy="25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518">
                <a:extLst>
                  <a:ext uri="{FF2B5EF4-FFF2-40B4-BE49-F238E27FC236}">
                    <a16:creationId xmlns:a16="http://schemas.microsoft.com/office/drawing/2014/main" id="{7869C014-92FB-40C9-B701-B426E3E85E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9" y="248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519">
                <a:extLst>
                  <a:ext uri="{FF2B5EF4-FFF2-40B4-BE49-F238E27FC236}">
                    <a16:creationId xmlns:a16="http://schemas.microsoft.com/office/drawing/2014/main" id="{0953934B-FD9D-454F-A027-FF4C80338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8" y="2465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1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520">
                <a:extLst>
                  <a:ext uri="{FF2B5EF4-FFF2-40B4-BE49-F238E27FC236}">
                    <a16:creationId xmlns:a16="http://schemas.microsoft.com/office/drawing/2014/main" id="{11289C28-335F-4C3D-8467-CF68F0B433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8" y="2450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521">
                <a:extLst>
                  <a:ext uri="{FF2B5EF4-FFF2-40B4-BE49-F238E27FC236}">
                    <a16:creationId xmlns:a16="http://schemas.microsoft.com/office/drawing/2014/main" id="{591DB9BA-5B21-48BF-A319-CF24A2081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7" y="243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522">
                <a:extLst>
                  <a:ext uri="{FF2B5EF4-FFF2-40B4-BE49-F238E27FC236}">
                    <a16:creationId xmlns:a16="http://schemas.microsoft.com/office/drawing/2014/main" id="{01C91A6B-858F-43D6-8080-3FC0FEA4F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6" y="2421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523">
                <a:extLst>
                  <a:ext uri="{FF2B5EF4-FFF2-40B4-BE49-F238E27FC236}">
                    <a16:creationId xmlns:a16="http://schemas.microsoft.com/office/drawing/2014/main" id="{E90A2A1C-B981-4614-8CD2-DCF1803EAD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6" y="240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524">
                <a:extLst>
                  <a:ext uri="{FF2B5EF4-FFF2-40B4-BE49-F238E27FC236}">
                    <a16:creationId xmlns:a16="http://schemas.microsoft.com/office/drawing/2014/main" id="{47C80186-DFA5-458B-86D5-2C2D86AB2F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5" y="2392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525">
                <a:extLst>
                  <a:ext uri="{FF2B5EF4-FFF2-40B4-BE49-F238E27FC236}">
                    <a16:creationId xmlns:a16="http://schemas.microsoft.com/office/drawing/2014/main" id="{48D9EBA5-2329-4945-9540-E68A52CFCC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4" y="2377"/>
                <a:ext cx="25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526">
                <a:extLst>
                  <a:ext uri="{FF2B5EF4-FFF2-40B4-BE49-F238E27FC236}">
                    <a16:creationId xmlns:a16="http://schemas.microsoft.com/office/drawing/2014/main" id="{6D0CFF16-A71B-41BF-9B8B-55947D38A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" y="2362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527">
                <a:extLst>
                  <a:ext uri="{FF2B5EF4-FFF2-40B4-BE49-F238E27FC236}">
                    <a16:creationId xmlns:a16="http://schemas.microsoft.com/office/drawing/2014/main" id="{CC335629-A293-4B3D-A78C-87D54024C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4" y="248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528">
                <a:extLst>
                  <a:ext uri="{FF2B5EF4-FFF2-40B4-BE49-F238E27FC236}">
                    <a16:creationId xmlns:a16="http://schemas.microsoft.com/office/drawing/2014/main" id="{EC46FF70-8DB6-4F4A-A660-68F11B2EC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4" y="246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1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529">
                <a:extLst>
                  <a:ext uri="{FF2B5EF4-FFF2-40B4-BE49-F238E27FC236}">
                    <a16:creationId xmlns:a16="http://schemas.microsoft.com/office/drawing/2014/main" id="{9E8BF80A-0B56-436C-9337-18E1BEB383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3" y="245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530">
                <a:extLst>
                  <a:ext uri="{FF2B5EF4-FFF2-40B4-BE49-F238E27FC236}">
                    <a16:creationId xmlns:a16="http://schemas.microsoft.com/office/drawing/2014/main" id="{72F17F5B-7B3C-45B3-BDD2-0D1F337E4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2" y="243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531">
                <a:extLst>
                  <a:ext uri="{FF2B5EF4-FFF2-40B4-BE49-F238E27FC236}">
                    <a16:creationId xmlns:a16="http://schemas.microsoft.com/office/drawing/2014/main" id="{FBCAE7E7-4C34-4349-A244-C5D4FF730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2" y="2423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532">
                <a:extLst>
                  <a:ext uri="{FF2B5EF4-FFF2-40B4-BE49-F238E27FC236}">
                    <a16:creationId xmlns:a16="http://schemas.microsoft.com/office/drawing/2014/main" id="{2FB73896-2048-40F7-905B-FC9CF1117F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" y="2408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533">
                <a:extLst>
                  <a:ext uri="{FF2B5EF4-FFF2-40B4-BE49-F238E27FC236}">
                    <a16:creationId xmlns:a16="http://schemas.microsoft.com/office/drawing/2014/main" id="{5B6108C1-7C25-497D-9879-8FD11A232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1" y="2394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534">
                <a:extLst>
                  <a:ext uri="{FF2B5EF4-FFF2-40B4-BE49-F238E27FC236}">
                    <a16:creationId xmlns:a16="http://schemas.microsoft.com/office/drawing/2014/main" id="{AE3B850E-9E63-4287-AE9C-1756B5FA7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0" y="237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535">
                <a:extLst>
                  <a:ext uri="{FF2B5EF4-FFF2-40B4-BE49-F238E27FC236}">
                    <a16:creationId xmlns:a16="http://schemas.microsoft.com/office/drawing/2014/main" id="{459645BC-DA68-44F9-932F-4A9FDA15F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9" y="23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536">
                <a:extLst>
                  <a:ext uri="{FF2B5EF4-FFF2-40B4-BE49-F238E27FC236}">
                    <a16:creationId xmlns:a16="http://schemas.microsoft.com/office/drawing/2014/main" id="{B772567E-FBC8-420E-BAE1-8E6BE4D47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9" y="23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537">
                <a:extLst>
                  <a:ext uri="{FF2B5EF4-FFF2-40B4-BE49-F238E27FC236}">
                    <a16:creationId xmlns:a16="http://schemas.microsoft.com/office/drawing/2014/main" id="{64FF99C4-D0D1-4B7B-B2AC-026A45504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8" y="2335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538">
                <a:extLst>
                  <a:ext uri="{FF2B5EF4-FFF2-40B4-BE49-F238E27FC236}">
                    <a16:creationId xmlns:a16="http://schemas.microsoft.com/office/drawing/2014/main" id="{2BBEE087-504A-4EFE-B80D-9FCFDB9501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0" y="2468"/>
                <a:ext cx="34" cy="32"/>
              </a:xfrm>
              <a:custGeom>
                <a:avLst/>
                <a:gdLst>
                  <a:gd name="T0" fmla="*/ 61 w 63"/>
                  <a:gd name="T1" fmla="*/ 27 h 59"/>
                  <a:gd name="T2" fmla="*/ 21 w 63"/>
                  <a:gd name="T3" fmla="*/ 58 h 59"/>
                  <a:gd name="T4" fmla="*/ 18 w 63"/>
                  <a:gd name="T5" fmla="*/ 58 h 59"/>
                  <a:gd name="T6" fmla="*/ 1 w 63"/>
                  <a:gd name="T7" fmla="*/ 35 h 59"/>
                  <a:gd name="T8" fmla="*/ 1 w 63"/>
                  <a:gd name="T9" fmla="*/ 32 h 59"/>
                  <a:gd name="T10" fmla="*/ 42 w 63"/>
                  <a:gd name="T11" fmla="*/ 1 h 59"/>
                  <a:gd name="T12" fmla="*/ 45 w 63"/>
                  <a:gd name="T13" fmla="*/ 2 h 59"/>
                  <a:gd name="T14" fmla="*/ 62 w 63"/>
                  <a:gd name="T15" fmla="*/ 24 h 59"/>
                  <a:gd name="T16" fmla="*/ 61 w 63"/>
                  <a:gd name="T17" fmla="*/ 27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9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9"/>
                      <a:pt x="19" y="59"/>
                      <a:pt x="18" y="58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0" y="34"/>
                      <a:pt x="0" y="32"/>
                      <a:pt x="1" y="32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2" y="0"/>
                      <a:pt x="44" y="1"/>
                      <a:pt x="45" y="2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7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539">
                <a:extLst>
                  <a:ext uri="{FF2B5EF4-FFF2-40B4-BE49-F238E27FC236}">
                    <a16:creationId xmlns:a16="http://schemas.microsoft.com/office/drawing/2014/main" id="{18AF95A4-D1F9-46ED-A4D9-247F9DAE2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3" y="2300"/>
                <a:ext cx="34" cy="32"/>
              </a:xfrm>
              <a:custGeom>
                <a:avLst/>
                <a:gdLst>
                  <a:gd name="T0" fmla="*/ 62 w 63"/>
                  <a:gd name="T1" fmla="*/ 27 h 58"/>
                  <a:gd name="T2" fmla="*/ 21 w 63"/>
                  <a:gd name="T3" fmla="*/ 58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1 h 58"/>
                  <a:gd name="T12" fmla="*/ 45 w 63"/>
                  <a:gd name="T13" fmla="*/ 1 h 58"/>
                  <a:gd name="T14" fmla="*/ 62 w 63"/>
                  <a:gd name="T15" fmla="*/ 24 h 58"/>
                  <a:gd name="T16" fmla="*/ 62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2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3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540">
                <a:extLst>
                  <a:ext uri="{FF2B5EF4-FFF2-40B4-BE49-F238E27FC236}">
                    <a16:creationId xmlns:a16="http://schemas.microsoft.com/office/drawing/2014/main" id="{561CC3DF-7059-4DBB-ADFA-EE8F50B33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5" y="2496"/>
                <a:ext cx="25" cy="25"/>
              </a:xfrm>
              <a:custGeom>
                <a:avLst/>
                <a:gdLst>
                  <a:gd name="T0" fmla="*/ 44 w 45"/>
                  <a:gd name="T1" fmla="*/ 27 h 45"/>
                  <a:gd name="T2" fmla="*/ 21 w 45"/>
                  <a:gd name="T3" fmla="*/ 44 h 45"/>
                  <a:gd name="T4" fmla="*/ 18 w 45"/>
                  <a:gd name="T5" fmla="*/ 43 h 45"/>
                  <a:gd name="T6" fmla="*/ 1 w 45"/>
                  <a:gd name="T7" fmla="*/ 21 h 45"/>
                  <a:gd name="T8" fmla="*/ 1 w 45"/>
                  <a:gd name="T9" fmla="*/ 18 h 45"/>
                  <a:gd name="T10" fmla="*/ 24 w 45"/>
                  <a:gd name="T11" fmla="*/ 0 h 45"/>
                  <a:gd name="T12" fmla="*/ 27 w 45"/>
                  <a:gd name="T13" fmla="*/ 1 h 45"/>
                  <a:gd name="T14" fmla="*/ 44 w 45"/>
                  <a:gd name="T15" fmla="*/ 24 h 45"/>
                  <a:gd name="T16" fmla="*/ 44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4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5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5" y="26"/>
                      <a:pt x="44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541">
                <a:extLst>
                  <a:ext uri="{FF2B5EF4-FFF2-40B4-BE49-F238E27FC236}">
                    <a16:creationId xmlns:a16="http://schemas.microsoft.com/office/drawing/2014/main" id="{300CAD8E-3CA3-4973-B7E0-A49E421477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8" y="2320"/>
                <a:ext cx="24" cy="25"/>
              </a:xfrm>
              <a:custGeom>
                <a:avLst/>
                <a:gdLst>
                  <a:gd name="T0" fmla="*/ 43 w 45"/>
                  <a:gd name="T1" fmla="*/ 27 h 45"/>
                  <a:gd name="T2" fmla="*/ 21 w 45"/>
                  <a:gd name="T3" fmla="*/ 44 h 45"/>
                  <a:gd name="T4" fmla="*/ 18 w 45"/>
                  <a:gd name="T5" fmla="*/ 44 h 45"/>
                  <a:gd name="T6" fmla="*/ 0 w 45"/>
                  <a:gd name="T7" fmla="*/ 21 h 45"/>
                  <a:gd name="T8" fmla="*/ 1 w 45"/>
                  <a:gd name="T9" fmla="*/ 18 h 45"/>
                  <a:gd name="T10" fmla="*/ 23 w 45"/>
                  <a:gd name="T11" fmla="*/ 1 h 45"/>
                  <a:gd name="T12" fmla="*/ 26 w 45"/>
                  <a:gd name="T13" fmla="*/ 1 h 45"/>
                  <a:gd name="T14" fmla="*/ 44 w 45"/>
                  <a:gd name="T15" fmla="*/ 24 h 45"/>
                  <a:gd name="T16" fmla="*/ 43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542">
                <a:extLst>
                  <a:ext uri="{FF2B5EF4-FFF2-40B4-BE49-F238E27FC236}">
                    <a16:creationId xmlns:a16="http://schemas.microsoft.com/office/drawing/2014/main" id="{F7D20588-F415-41DF-904E-397147B324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" y="2509"/>
                <a:ext cx="33" cy="31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8 h 58"/>
                  <a:gd name="T4" fmla="*/ 18 w 62"/>
                  <a:gd name="T5" fmla="*/ 57 h 58"/>
                  <a:gd name="T6" fmla="*/ 0 w 62"/>
                  <a:gd name="T7" fmla="*/ 34 h 58"/>
                  <a:gd name="T8" fmla="*/ 1 w 62"/>
                  <a:gd name="T9" fmla="*/ 31 h 58"/>
                  <a:gd name="T10" fmla="*/ 41 w 62"/>
                  <a:gd name="T11" fmla="*/ 1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8" y="58"/>
                      <a:pt x="18" y="57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543">
                <a:extLst>
                  <a:ext uri="{FF2B5EF4-FFF2-40B4-BE49-F238E27FC236}">
                    <a16:creationId xmlns:a16="http://schemas.microsoft.com/office/drawing/2014/main" id="{2D73A50B-5CF6-4A79-AB8E-FE340E18A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3" y="2341"/>
                <a:ext cx="34" cy="31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7 h 58"/>
                  <a:gd name="T4" fmla="*/ 18 w 62"/>
                  <a:gd name="T5" fmla="*/ 57 h 58"/>
                  <a:gd name="T6" fmla="*/ 1 w 62"/>
                  <a:gd name="T7" fmla="*/ 34 h 58"/>
                  <a:gd name="T8" fmla="*/ 1 w 62"/>
                  <a:gd name="T9" fmla="*/ 31 h 58"/>
                  <a:gd name="T10" fmla="*/ 41 w 62"/>
                  <a:gd name="T11" fmla="*/ 0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544">
                <a:extLst>
                  <a:ext uri="{FF2B5EF4-FFF2-40B4-BE49-F238E27FC236}">
                    <a16:creationId xmlns:a16="http://schemas.microsoft.com/office/drawing/2014/main" id="{31749532-E181-4F8F-9BBC-905634E31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5" y="2415"/>
                <a:ext cx="19" cy="18"/>
              </a:xfrm>
              <a:custGeom>
                <a:avLst/>
                <a:gdLst>
                  <a:gd name="T0" fmla="*/ 33 w 34"/>
                  <a:gd name="T1" fmla="*/ 14 h 32"/>
                  <a:gd name="T2" fmla="*/ 11 w 34"/>
                  <a:gd name="T3" fmla="*/ 31 h 32"/>
                  <a:gd name="T4" fmla="*/ 8 w 34"/>
                  <a:gd name="T5" fmla="*/ 31 h 32"/>
                  <a:gd name="T6" fmla="*/ 0 w 34"/>
                  <a:gd name="T7" fmla="*/ 21 h 32"/>
                  <a:gd name="T8" fmla="*/ 1 w 34"/>
                  <a:gd name="T9" fmla="*/ 18 h 32"/>
                  <a:gd name="T10" fmla="*/ 23 w 34"/>
                  <a:gd name="T11" fmla="*/ 1 h 32"/>
                  <a:gd name="T12" fmla="*/ 26 w 34"/>
                  <a:gd name="T13" fmla="*/ 2 h 32"/>
                  <a:gd name="T14" fmla="*/ 33 w 34"/>
                  <a:gd name="T15" fmla="*/ 11 h 32"/>
                  <a:gd name="T16" fmla="*/ 33 w 34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2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2"/>
                      <a:pt x="8" y="31"/>
                      <a:pt x="8" y="3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545">
                <a:extLst>
                  <a:ext uri="{FF2B5EF4-FFF2-40B4-BE49-F238E27FC236}">
                    <a16:creationId xmlns:a16="http://schemas.microsoft.com/office/drawing/2014/main" id="{D192B3A2-3BA2-4280-8C11-45485EDB6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" y="2401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546">
                <a:extLst>
                  <a:ext uri="{FF2B5EF4-FFF2-40B4-BE49-F238E27FC236}">
                    <a16:creationId xmlns:a16="http://schemas.microsoft.com/office/drawing/2014/main" id="{D1FE8AB4-3DEE-4950-BE7A-AD2CC12B09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4" y="2386"/>
                <a:ext cx="19" cy="17"/>
              </a:xfrm>
              <a:custGeom>
                <a:avLst/>
                <a:gdLst>
                  <a:gd name="T0" fmla="*/ 32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2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2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3" y="13"/>
                      <a:pt x="32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547">
                <a:extLst>
                  <a:ext uri="{FF2B5EF4-FFF2-40B4-BE49-F238E27FC236}">
                    <a16:creationId xmlns:a16="http://schemas.microsoft.com/office/drawing/2014/main" id="{FB47BC66-84DB-4A03-92DB-7A0851320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3" y="2372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548">
                <a:extLst>
                  <a:ext uri="{FF2B5EF4-FFF2-40B4-BE49-F238E27FC236}">
                    <a16:creationId xmlns:a16="http://schemas.microsoft.com/office/drawing/2014/main" id="{06878301-4F65-4E0F-ADD0-17B8D6C4B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3" y="2357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4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549">
                <a:extLst>
                  <a:ext uri="{FF2B5EF4-FFF2-40B4-BE49-F238E27FC236}">
                    <a16:creationId xmlns:a16="http://schemas.microsoft.com/office/drawing/2014/main" id="{CE0BCD4A-36B0-4954-926B-6B5CDA6CA2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" y="2342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0 w 34"/>
                  <a:gd name="T7" fmla="*/ 21 h 31"/>
                  <a:gd name="T8" fmla="*/ 1 w 34"/>
                  <a:gd name="T9" fmla="*/ 18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550">
                <a:extLst>
                  <a:ext uri="{FF2B5EF4-FFF2-40B4-BE49-F238E27FC236}">
                    <a16:creationId xmlns:a16="http://schemas.microsoft.com/office/drawing/2014/main" id="{7E2F856C-7573-42F0-AD91-55F4D3E2C1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1" y="2328"/>
                <a:ext cx="19" cy="17"/>
              </a:xfrm>
              <a:custGeom>
                <a:avLst/>
                <a:gdLst>
                  <a:gd name="T0" fmla="*/ 33 w 34"/>
                  <a:gd name="T1" fmla="*/ 13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4 w 34"/>
                  <a:gd name="T15" fmla="*/ 10 h 31"/>
                  <a:gd name="T16" fmla="*/ 33 w 34"/>
                  <a:gd name="T17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3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0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34" y="11"/>
                      <a:pt x="34" y="13"/>
                      <a:pt x="33" y="13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551">
                <a:extLst>
                  <a:ext uri="{FF2B5EF4-FFF2-40B4-BE49-F238E27FC236}">
                    <a16:creationId xmlns:a16="http://schemas.microsoft.com/office/drawing/2014/main" id="{BDEEF76D-6F0F-4D9E-BCD0-550C2C327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1" y="2313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552">
                <a:extLst>
                  <a:ext uri="{FF2B5EF4-FFF2-40B4-BE49-F238E27FC236}">
                    <a16:creationId xmlns:a16="http://schemas.microsoft.com/office/drawing/2014/main" id="{C76D42C8-B9E7-4623-BB60-F99C670A2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0" y="229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553">
                <a:extLst>
                  <a:ext uri="{FF2B5EF4-FFF2-40B4-BE49-F238E27FC236}">
                    <a16:creationId xmlns:a16="http://schemas.microsoft.com/office/drawing/2014/main" id="{57863703-4CCF-4B4F-9757-B79E44645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" y="2284"/>
                <a:ext cx="19" cy="17"/>
              </a:xfrm>
              <a:custGeom>
                <a:avLst/>
                <a:gdLst>
                  <a:gd name="T0" fmla="*/ 33 w 35"/>
                  <a:gd name="T1" fmla="*/ 14 h 31"/>
                  <a:gd name="T2" fmla="*/ 12 w 35"/>
                  <a:gd name="T3" fmla="*/ 30 h 31"/>
                  <a:gd name="T4" fmla="*/ 9 w 35"/>
                  <a:gd name="T5" fmla="*/ 30 h 31"/>
                  <a:gd name="T6" fmla="*/ 1 w 35"/>
                  <a:gd name="T7" fmla="*/ 20 h 31"/>
                  <a:gd name="T8" fmla="*/ 2 w 35"/>
                  <a:gd name="T9" fmla="*/ 17 h 31"/>
                  <a:gd name="T10" fmla="*/ 23 w 35"/>
                  <a:gd name="T11" fmla="*/ 1 h 31"/>
                  <a:gd name="T12" fmla="*/ 26 w 35"/>
                  <a:gd name="T13" fmla="*/ 1 h 31"/>
                  <a:gd name="T14" fmla="*/ 34 w 35"/>
                  <a:gd name="T15" fmla="*/ 11 h 31"/>
                  <a:gd name="T16" fmla="*/ 33 w 35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1">
                    <a:moveTo>
                      <a:pt x="33" y="14"/>
                    </a:moveTo>
                    <a:cubicBezTo>
                      <a:pt x="12" y="30"/>
                      <a:pt x="12" y="30"/>
                      <a:pt x="12" y="30"/>
                    </a:cubicBezTo>
                    <a:cubicBezTo>
                      <a:pt x="11" y="31"/>
                      <a:pt x="9" y="31"/>
                      <a:pt x="9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554">
                <a:extLst>
                  <a:ext uri="{FF2B5EF4-FFF2-40B4-BE49-F238E27FC236}">
                    <a16:creationId xmlns:a16="http://schemas.microsoft.com/office/drawing/2014/main" id="{1BAC271B-4331-4195-933B-0807D2A77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9" y="2269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555">
                <a:extLst>
                  <a:ext uri="{FF2B5EF4-FFF2-40B4-BE49-F238E27FC236}">
                    <a16:creationId xmlns:a16="http://schemas.microsoft.com/office/drawing/2014/main" id="{9E3BE345-E8A4-4DF4-83EF-29A57E2CB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" y="2407"/>
                <a:ext cx="131" cy="102"/>
              </a:xfrm>
              <a:custGeom>
                <a:avLst/>
                <a:gdLst>
                  <a:gd name="T0" fmla="*/ 237 w 239"/>
                  <a:gd name="T1" fmla="*/ 18 h 188"/>
                  <a:gd name="T2" fmla="*/ 14 w 239"/>
                  <a:gd name="T3" fmla="*/ 187 h 188"/>
                  <a:gd name="T4" fmla="*/ 11 w 239"/>
                  <a:gd name="T5" fmla="*/ 187 h 188"/>
                  <a:gd name="T6" fmla="*/ 1 w 239"/>
                  <a:gd name="T7" fmla="*/ 173 h 188"/>
                  <a:gd name="T8" fmla="*/ 1 w 239"/>
                  <a:gd name="T9" fmla="*/ 170 h 188"/>
                  <a:gd name="T10" fmla="*/ 224 w 239"/>
                  <a:gd name="T11" fmla="*/ 1 h 188"/>
                  <a:gd name="T12" fmla="*/ 227 w 239"/>
                  <a:gd name="T13" fmla="*/ 2 h 188"/>
                  <a:gd name="T14" fmla="*/ 238 w 239"/>
                  <a:gd name="T15" fmla="*/ 15 h 188"/>
                  <a:gd name="T16" fmla="*/ 237 w 239"/>
                  <a:gd name="T17" fmla="*/ 1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9" h="188">
                    <a:moveTo>
                      <a:pt x="237" y="18"/>
                    </a:moveTo>
                    <a:cubicBezTo>
                      <a:pt x="14" y="187"/>
                      <a:pt x="14" y="187"/>
                      <a:pt x="14" y="187"/>
                    </a:cubicBezTo>
                    <a:cubicBezTo>
                      <a:pt x="13" y="188"/>
                      <a:pt x="12" y="188"/>
                      <a:pt x="11" y="187"/>
                    </a:cubicBezTo>
                    <a:cubicBezTo>
                      <a:pt x="1" y="173"/>
                      <a:pt x="1" y="173"/>
                      <a:pt x="1" y="173"/>
                    </a:cubicBezTo>
                    <a:cubicBezTo>
                      <a:pt x="0" y="172"/>
                      <a:pt x="0" y="171"/>
                      <a:pt x="1" y="170"/>
                    </a:cubicBezTo>
                    <a:cubicBezTo>
                      <a:pt x="224" y="1"/>
                      <a:pt x="224" y="1"/>
                      <a:pt x="224" y="1"/>
                    </a:cubicBezTo>
                    <a:cubicBezTo>
                      <a:pt x="225" y="0"/>
                      <a:pt x="227" y="1"/>
                      <a:pt x="227" y="2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9" y="16"/>
                      <a:pt x="238" y="17"/>
                      <a:pt x="237" y="18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556">
                <a:extLst>
                  <a:ext uri="{FF2B5EF4-FFF2-40B4-BE49-F238E27FC236}">
                    <a16:creationId xmlns:a16="http://schemas.microsoft.com/office/drawing/2014/main" id="{316E814B-1C85-4AD3-B2D9-64350F6481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7" y="2454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557">
                <a:extLst>
                  <a:ext uri="{FF2B5EF4-FFF2-40B4-BE49-F238E27FC236}">
                    <a16:creationId xmlns:a16="http://schemas.microsoft.com/office/drawing/2014/main" id="{302CDC22-9F83-4578-BE8C-9F129BD40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43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558">
                <a:extLst>
                  <a:ext uri="{FF2B5EF4-FFF2-40B4-BE49-F238E27FC236}">
                    <a16:creationId xmlns:a16="http://schemas.microsoft.com/office/drawing/2014/main" id="{020789DA-9842-4918-BE57-E0C3B1FC6F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6" y="2425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Freeform 559">
                <a:extLst>
                  <a:ext uri="{FF2B5EF4-FFF2-40B4-BE49-F238E27FC236}">
                    <a16:creationId xmlns:a16="http://schemas.microsoft.com/office/drawing/2014/main" id="{5B081819-FA59-4AC6-9E40-A369E196D8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" y="241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Freeform 560">
                <a:extLst>
                  <a:ext uri="{FF2B5EF4-FFF2-40B4-BE49-F238E27FC236}">
                    <a16:creationId xmlns:a16="http://schemas.microsoft.com/office/drawing/2014/main" id="{433DBDB2-5094-417D-8E50-EE0C5D0BC0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" y="2396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561">
                <a:extLst>
                  <a:ext uri="{FF2B5EF4-FFF2-40B4-BE49-F238E27FC236}">
                    <a16:creationId xmlns:a16="http://schemas.microsoft.com/office/drawing/2014/main" id="{FAF954B3-FBB0-40FA-98BC-93320C228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4" y="238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562">
                <a:extLst>
                  <a:ext uri="{FF2B5EF4-FFF2-40B4-BE49-F238E27FC236}">
                    <a16:creationId xmlns:a16="http://schemas.microsoft.com/office/drawing/2014/main" id="{58C24E26-F294-49DF-B976-6A8EEFB49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236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563">
                <a:extLst>
                  <a:ext uri="{FF2B5EF4-FFF2-40B4-BE49-F238E27FC236}">
                    <a16:creationId xmlns:a16="http://schemas.microsoft.com/office/drawing/2014/main" id="{61D88D73-D038-4214-B4E0-0DF8ADF635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" y="235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564">
                <a:extLst>
                  <a:ext uri="{FF2B5EF4-FFF2-40B4-BE49-F238E27FC236}">
                    <a16:creationId xmlns:a16="http://schemas.microsoft.com/office/drawing/2014/main" id="{89DF9584-EA07-4E49-B2A9-84E23DF22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2" y="2337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565">
                <a:extLst>
                  <a:ext uri="{FF2B5EF4-FFF2-40B4-BE49-F238E27FC236}">
                    <a16:creationId xmlns:a16="http://schemas.microsoft.com/office/drawing/2014/main" id="{BCDCACA9-5549-4BB1-A051-7274986A9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2" y="2322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566">
                <a:extLst>
                  <a:ext uri="{FF2B5EF4-FFF2-40B4-BE49-F238E27FC236}">
                    <a16:creationId xmlns:a16="http://schemas.microsoft.com/office/drawing/2014/main" id="{DBE333B4-A466-4C0E-924C-7B18823F6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9" y="227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567">
                <a:extLst>
                  <a:ext uri="{FF2B5EF4-FFF2-40B4-BE49-F238E27FC236}">
                    <a16:creationId xmlns:a16="http://schemas.microsoft.com/office/drawing/2014/main" id="{A7D397F7-5467-4A7C-B10B-036B8F5848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8" y="22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568">
                <a:extLst>
                  <a:ext uri="{FF2B5EF4-FFF2-40B4-BE49-F238E27FC236}">
                    <a16:creationId xmlns:a16="http://schemas.microsoft.com/office/drawing/2014/main" id="{0C480BAD-71EC-41D8-9834-853D640544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8" y="22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569">
                <a:extLst>
                  <a:ext uri="{FF2B5EF4-FFF2-40B4-BE49-F238E27FC236}">
                    <a16:creationId xmlns:a16="http://schemas.microsoft.com/office/drawing/2014/main" id="{6706C141-F2AF-4C28-9B89-AE609FB7C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4" y="2299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570">
                <a:extLst>
                  <a:ext uri="{FF2B5EF4-FFF2-40B4-BE49-F238E27FC236}">
                    <a16:creationId xmlns:a16="http://schemas.microsoft.com/office/drawing/2014/main" id="{C37F81D3-D340-44E9-96E7-806463E8D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3" y="228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4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571">
                <a:extLst>
                  <a:ext uri="{FF2B5EF4-FFF2-40B4-BE49-F238E27FC236}">
                    <a16:creationId xmlns:a16="http://schemas.microsoft.com/office/drawing/2014/main" id="{3CCCA222-B227-432D-9D5C-19ADF7EF3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2270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572">
                <a:extLst>
                  <a:ext uri="{FF2B5EF4-FFF2-40B4-BE49-F238E27FC236}">
                    <a16:creationId xmlns:a16="http://schemas.microsoft.com/office/drawing/2014/main" id="{BD77A952-0C1E-4C65-9251-0E026364D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9" y="2319"/>
                <a:ext cx="25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573">
                <a:extLst>
                  <a:ext uri="{FF2B5EF4-FFF2-40B4-BE49-F238E27FC236}">
                    <a16:creationId xmlns:a16="http://schemas.microsoft.com/office/drawing/2014/main" id="{41DA7B2B-C81A-4ACF-BD23-45C1012EE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9" y="230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574">
                <a:extLst>
                  <a:ext uri="{FF2B5EF4-FFF2-40B4-BE49-F238E27FC236}">
                    <a16:creationId xmlns:a16="http://schemas.microsoft.com/office/drawing/2014/main" id="{914993AE-F037-432F-B036-CD2831814F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" y="229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575">
                <a:extLst>
                  <a:ext uri="{FF2B5EF4-FFF2-40B4-BE49-F238E27FC236}">
                    <a16:creationId xmlns:a16="http://schemas.microsoft.com/office/drawing/2014/main" id="{256C5CC4-3A51-45C9-BBAE-D457BEA09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8" y="249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576">
                <a:extLst>
                  <a:ext uri="{FF2B5EF4-FFF2-40B4-BE49-F238E27FC236}">
                    <a16:creationId xmlns:a16="http://schemas.microsoft.com/office/drawing/2014/main" id="{61A35434-F835-467D-B28F-08A928293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7" y="248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577">
                <a:extLst>
                  <a:ext uri="{FF2B5EF4-FFF2-40B4-BE49-F238E27FC236}">
                    <a16:creationId xmlns:a16="http://schemas.microsoft.com/office/drawing/2014/main" id="{1E4F6551-CDB6-471B-B32D-032D7F936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6" y="24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1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578">
                <a:extLst>
                  <a:ext uri="{FF2B5EF4-FFF2-40B4-BE49-F238E27FC236}">
                    <a16:creationId xmlns:a16="http://schemas.microsoft.com/office/drawing/2014/main" id="{27BC30B5-9C98-497F-AC0A-B902E35A7C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6" y="24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579">
                <a:extLst>
                  <a:ext uri="{FF2B5EF4-FFF2-40B4-BE49-F238E27FC236}">
                    <a16:creationId xmlns:a16="http://schemas.microsoft.com/office/drawing/2014/main" id="{E1E7D166-3B6D-451B-BAB9-258710ADD0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5" y="243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580">
                <a:extLst>
                  <a:ext uri="{FF2B5EF4-FFF2-40B4-BE49-F238E27FC236}">
                    <a16:creationId xmlns:a16="http://schemas.microsoft.com/office/drawing/2014/main" id="{9916FB65-B040-4773-B3C7-079B0426D2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421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581">
                <a:extLst>
                  <a:ext uri="{FF2B5EF4-FFF2-40B4-BE49-F238E27FC236}">
                    <a16:creationId xmlns:a16="http://schemas.microsoft.com/office/drawing/2014/main" id="{BDCC5EE5-46FF-4906-8E69-BD7955F969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2407"/>
                <a:ext cx="24" cy="24"/>
              </a:xfrm>
              <a:custGeom>
                <a:avLst/>
                <a:gdLst>
                  <a:gd name="T0" fmla="*/ 43 w 44"/>
                  <a:gd name="T1" fmla="*/ 26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3 h 44"/>
                  <a:gd name="T16" fmla="*/ 43 w 44"/>
                  <a:gd name="T17" fmla="*/ 2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6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3"/>
                      <a:pt x="43" y="23"/>
                      <a:pt x="43" y="23"/>
                    </a:cubicBezTo>
                    <a:cubicBezTo>
                      <a:pt x="44" y="24"/>
                      <a:pt x="44" y="26"/>
                      <a:pt x="43" y="26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582">
                <a:extLst>
                  <a:ext uri="{FF2B5EF4-FFF2-40B4-BE49-F238E27FC236}">
                    <a16:creationId xmlns:a16="http://schemas.microsoft.com/office/drawing/2014/main" id="{C06D843A-1491-4BF6-84E4-4EE8CA846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" y="2392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583">
                <a:extLst>
                  <a:ext uri="{FF2B5EF4-FFF2-40B4-BE49-F238E27FC236}">
                    <a16:creationId xmlns:a16="http://schemas.microsoft.com/office/drawing/2014/main" id="{8C16E6A0-1BA9-40F1-AB2E-019BBDD6A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3" y="237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584">
                <a:extLst>
                  <a:ext uri="{FF2B5EF4-FFF2-40B4-BE49-F238E27FC236}">
                    <a16:creationId xmlns:a16="http://schemas.microsoft.com/office/drawing/2014/main" id="{B366D578-3570-4ACC-B9EF-0F9ED2D84D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2" y="236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585">
                <a:extLst>
                  <a:ext uri="{FF2B5EF4-FFF2-40B4-BE49-F238E27FC236}">
                    <a16:creationId xmlns:a16="http://schemas.microsoft.com/office/drawing/2014/main" id="{9001624C-1FEE-4C90-8111-D18F5FA0A0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3" y="248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586">
                <a:extLst>
                  <a:ext uri="{FF2B5EF4-FFF2-40B4-BE49-F238E27FC236}">
                    <a16:creationId xmlns:a16="http://schemas.microsoft.com/office/drawing/2014/main" id="{D05E39D6-35F8-4A70-80C2-88413387C4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2" y="2467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1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587">
                <a:extLst>
                  <a:ext uri="{FF2B5EF4-FFF2-40B4-BE49-F238E27FC236}">
                    <a16:creationId xmlns:a16="http://schemas.microsoft.com/office/drawing/2014/main" id="{91E2C48B-F149-4548-8CED-A7BB7B7CB2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2" y="2452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588">
                <a:extLst>
                  <a:ext uri="{FF2B5EF4-FFF2-40B4-BE49-F238E27FC236}">
                    <a16:creationId xmlns:a16="http://schemas.microsoft.com/office/drawing/2014/main" id="{E67CA0A7-E3C2-466D-AC43-B29B7050E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1" y="243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589">
                <a:extLst>
                  <a:ext uri="{FF2B5EF4-FFF2-40B4-BE49-F238E27FC236}">
                    <a16:creationId xmlns:a16="http://schemas.microsoft.com/office/drawing/2014/main" id="{F4F064AE-FCDF-4691-A1F0-37695AA132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0" y="2423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590">
                <a:extLst>
                  <a:ext uri="{FF2B5EF4-FFF2-40B4-BE49-F238E27FC236}">
                    <a16:creationId xmlns:a16="http://schemas.microsoft.com/office/drawing/2014/main" id="{2EF8E9D8-3F28-46FD-8517-0F8B086752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0" y="240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591">
                <a:extLst>
                  <a:ext uri="{FF2B5EF4-FFF2-40B4-BE49-F238E27FC236}">
                    <a16:creationId xmlns:a16="http://schemas.microsoft.com/office/drawing/2014/main" id="{39070184-863B-46E8-8CCA-DDBC900E90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9" y="2393"/>
                <a:ext cx="24" cy="25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592">
                <a:extLst>
                  <a:ext uri="{FF2B5EF4-FFF2-40B4-BE49-F238E27FC236}">
                    <a16:creationId xmlns:a16="http://schemas.microsoft.com/office/drawing/2014/main" id="{BB7FA9C7-0A08-44FB-BF60-554E7D2F9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8" y="2379"/>
                <a:ext cx="25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593">
                <a:extLst>
                  <a:ext uri="{FF2B5EF4-FFF2-40B4-BE49-F238E27FC236}">
                    <a16:creationId xmlns:a16="http://schemas.microsoft.com/office/drawing/2014/main" id="{545FE0E4-EE72-4D3D-9519-CE3F4323E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8" y="2365"/>
                <a:ext cx="24" cy="24"/>
              </a:xfrm>
              <a:custGeom>
                <a:avLst/>
                <a:gdLst>
                  <a:gd name="T0" fmla="*/ 43 w 44"/>
                  <a:gd name="T1" fmla="*/ 26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3 h 44"/>
                  <a:gd name="T16" fmla="*/ 43 w 44"/>
                  <a:gd name="T17" fmla="*/ 2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6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24"/>
                      <a:pt x="44" y="26"/>
                      <a:pt x="43" y="26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594">
                <a:extLst>
                  <a:ext uri="{FF2B5EF4-FFF2-40B4-BE49-F238E27FC236}">
                    <a16:creationId xmlns:a16="http://schemas.microsoft.com/office/drawing/2014/main" id="{D9660B5A-974B-4448-BE3B-0022A5ACE2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7" y="23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595">
                <a:extLst>
                  <a:ext uri="{FF2B5EF4-FFF2-40B4-BE49-F238E27FC236}">
                    <a16:creationId xmlns:a16="http://schemas.microsoft.com/office/drawing/2014/main" id="{56AB09C3-3BC1-41EE-9302-85B3BDD0D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" y="2335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596">
                <a:extLst>
                  <a:ext uri="{FF2B5EF4-FFF2-40B4-BE49-F238E27FC236}">
                    <a16:creationId xmlns:a16="http://schemas.microsoft.com/office/drawing/2014/main" id="{94319A51-A7D3-4754-A719-0517C95BF9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8" y="2468"/>
                <a:ext cx="35" cy="32"/>
              </a:xfrm>
              <a:custGeom>
                <a:avLst/>
                <a:gdLst>
                  <a:gd name="T0" fmla="*/ 61 w 63"/>
                  <a:gd name="T1" fmla="*/ 27 h 58"/>
                  <a:gd name="T2" fmla="*/ 21 w 63"/>
                  <a:gd name="T3" fmla="*/ 58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1 h 58"/>
                  <a:gd name="T12" fmla="*/ 45 w 63"/>
                  <a:gd name="T13" fmla="*/ 1 h 58"/>
                  <a:gd name="T14" fmla="*/ 62 w 63"/>
                  <a:gd name="T15" fmla="*/ 24 h 58"/>
                  <a:gd name="T16" fmla="*/ 61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2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597">
                <a:extLst>
                  <a:ext uri="{FF2B5EF4-FFF2-40B4-BE49-F238E27FC236}">
                    <a16:creationId xmlns:a16="http://schemas.microsoft.com/office/drawing/2014/main" id="{C9F8D29E-0972-4A11-A80D-D8807E3E5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1" y="2300"/>
                <a:ext cx="35" cy="32"/>
              </a:xfrm>
              <a:custGeom>
                <a:avLst/>
                <a:gdLst>
                  <a:gd name="T0" fmla="*/ 62 w 63"/>
                  <a:gd name="T1" fmla="*/ 27 h 58"/>
                  <a:gd name="T2" fmla="*/ 21 w 63"/>
                  <a:gd name="T3" fmla="*/ 57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0 h 58"/>
                  <a:gd name="T12" fmla="*/ 45 w 63"/>
                  <a:gd name="T13" fmla="*/ 1 h 58"/>
                  <a:gd name="T14" fmla="*/ 62 w 63"/>
                  <a:gd name="T15" fmla="*/ 24 h 58"/>
                  <a:gd name="T16" fmla="*/ 62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2" y="27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3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598">
                <a:extLst>
                  <a:ext uri="{FF2B5EF4-FFF2-40B4-BE49-F238E27FC236}">
                    <a16:creationId xmlns:a16="http://schemas.microsoft.com/office/drawing/2014/main" id="{DE89F5A4-270C-41B1-8EB3-4600906761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4" y="2496"/>
                <a:ext cx="24" cy="24"/>
              </a:xfrm>
              <a:custGeom>
                <a:avLst/>
                <a:gdLst>
                  <a:gd name="T0" fmla="*/ 44 w 45"/>
                  <a:gd name="T1" fmla="*/ 27 h 45"/>
                  <a:gd name="T2" fmla="*/ 21 w 45"/>
                  <a:gd name="T3" fmla="*/ 44 h 45"/>
                  <a:gd name="T4" fmla="*/ 18 w 45"/>
                  <a:gd name="T5" fmla="*/ 44 h 45"/>
                  <a:gd name="T6" fmla="*/ 1 w 45"/>
                  <a:gd name="T7" fmla="*/ 21 h 45"/>
                  <a:gd name="T8" fmla="*/ 1 w 45"/>
                  <a:gd name="T9" fmla="*/ 18 h 45"/>
                  <a:gd name="T10" fmla="*/ 24 w 45"/>
                  <a:gd name="T11" fmla="*/ 1 h 45"/>
                  <a:gd name="T12" fmla="*/ 27 w 45"/>
                  <a:gd name="T13" fmla="*/ 1 h 45"/>
                  <a:gd name="T14" fmla="*/ 44 w 45"/>
                  <a:gd name="T15" fmla="*/ 24 h 45"/>
                  <a:gd name="T16" fmla="*/ 44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4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5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5" y="26"/>
                      <a:pt x="44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599">
                <a:extLst>
                  <a:ext uri="{FF2B5EF4-FFF2-40B4-BE49-F238E27FC236}">
                    <a16:creationId xmlns:a16="http://schemas.microsoft.com/office/drawing/2014/main" id="{E1CEA497-EB10-4F76-8649-FF380148E9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6" y="2320"/>
                <a:ext cx="25" cy="24"/>
              </a:xfrm>
              <a:custGeom>
                <a:avLst/>
                <a:gdLst>
                  <a:gd name="T0" fmla="*/ 43 w 45"/>
                  <a:gd name="T1" fmla="*/ 27 h 45"/>
                  <a:gd name="T2" fmla="*/ 21 w 45"/>
                  <a:gd name="T3" fmla="*/ 45 h 45"/>
                  <a:gd name="T4" fmla="*/ 18 w 45"/>
                  <a:gd name="T5" fmla="*/ 44 h 45"/>
                  <a:gd name="T6" fmla="*/ 0 w 45"/>
                  <a:gd name="T7" fmla="*/ 21 h 45"/>
                  <a:gd name="T8" fmla="*/ 1 w 45"/>
                  <a:gd name="T9" fmla="*/ 18 h 45"/>
                  <a:gd name="T10" fmla="*/ 24 w 45"/>
                  <a:gd name="T11" fmla="*/ 1 h 45"/>
                  <a:gd name="T12" fmla="*/ 26 w 45"/>
                  <a:gd name="T13" fmla="*/ 2 h 45"/>
                  <a:gd name="T14" fmla="*/ 44 w 45"/>
                  <a:gd name="T15" fmla="*/ 24 h 45"/>
                  <a:gd name="T16" fmla="*/ 43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3" y="27"/>
                    </a:moveTo>
                    <a:cubicBezTo>
                      <a:pt x="21" y="45"/>
                      <a:pt x="21" y="45"/>
                      <a:pt x="21" y="45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600">
                <a:extLst>
                  <a:ext uri="{FF2B5EF4-FFF2-40B4-BE49-F238E27FC236}">
                    <a16:creationId xmlns:a16="http://schemas.microsoft.com/office/drawing/2014/main" id="{43A61379-8AAC-4CBC-BE77-F9FF02D3F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9" y="2508"/>
                <a:ext cx="34" cy="32"/>
              </a:xfrm>
              <a:custGeom>
                <a:avLst/>
                <a:gdLst>
                  <a:gd name="T0" fmla="*/ 61 w 62"/>
                  <a:gd name="T1" fmla="*/ 27 h 59"/>
                  <a:gd name="T2" fmla="*/ 21 w 62"/>
                  <a:gd name="T3" fmla="*/ 58 h 59"/>
                  <a:gd name="T4" fmla="*/ 18 w 62"/>
                  <a:gd name="T5" fmla="*/ 58 h 59"/>
                  <a:gd name="T6" fmla="*/ 0 w 62"/>
                  <a:gd name="T7" fmla="*/ 35 h 59"/>
                  <a:gd name="T8" fmla="*/ 1 w 62"/>
                  <a:gd name="T9" fmla="*/ 32 h 59"/>
                  <a:gd name="T10" fmla="*/ 41 w 62"/>
                  <a:gd name="T11" fmla="*/ 1 h 59"/>
                  <a:gd name="T12" fmla="*/ 44 w 62"/>
                  <a:gd name="T13" fmla="*/ 2 h 59"/>
                  <a:gd name="T14" fmla="*/ 62 w 62"/>
                  <a:gd name="T15" fmla="*/ 24 h 59"/>
                  <a:gd name="T16" fmla="*/ 61 w 62"/>
                  <a:gd name="T17" fmla="*/ 27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9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9"/>
                      <a:pt x="18" y="59"/>
                      <a:pt x="18" y="58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4"/>
                      <a:pt x="0" y="33"/>
                      <a:pt x="1" y="32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1"/>
                      <a:pt x="44" y="2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7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601">
                <a:extLst>
                  <a:ext uri="{FF2B5EF4-FFF2-40B4-BE49-F238E27FC236}">
                    <a16:creationId xmlns:a16="http://schemas.microsoft.com/office/drawing/2014/main" id="{95717062-E9AB-468A-BBF7-253587CDCB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2" y="2340"/>
                <a:ext cx="34" cy="32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8 h 58"/>
                  <a:gd name="T4" fmla="*/ 18 w 62"/>
                  <a:gd name="T5" fmla="*/ 57 h 58"/>
                  <a:gd name="T6" fmla="*/ 1 w 62"/>
                  <a:gd name="T7" fmla="*/ 34 h 58"/>
                  <a:gd name="T8" fmla="*/ 1 w 62"/>
                  <a:gd name="T9" fmla="*/ 31 h 58"/>
                  <a:gd name="T10" fmla="*/ 41 w 62"/>
                  <a:gd name="T11" fmla="*/ 1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4"/>
                      <a:pt x="0" y="32"/>
                      <a:pt x="1" y="31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602">
                <a:extLst>
                  <a:ext uri="{FF2B5EF4-FFF2-40B4-BE49-F238E27FC236}">
                    <a16:creationId xmlns:a16="http://schemas.microsoft.com/office/drawing/2014/main" id="{73BF71A9-D903-47A6-BBE3-01A398E892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3" y="2100"/>
                <a:ext cx="432" cy="362"/>
              </a:xfrm>
              <a:custGeom>
                <a:avLst/>
                <a:gdLst>
                  <a:gd name="T0" fmla="*/ 101 w 432"/>
                  <a:gd name="T1" fmla="*/ 362 h 362"/>
                  <a:gd name="T2" fmla="*/ 0 w 432"/>
                  <a:gd name="T3" fmla="*/ 316 h 362"/>
                  <a:gd name="T4" fmla="*/ 413 w 432"/>
                  <a:gd name="T5" fmla="*/ 0 h 362"/>
                  <a:gd name="T6" fmla="*/ 432 w 432"/>
                  <a:gd name="T7" fmla="*/ 109 h 362"/>
                  <a:gd name="T8" fmla="*/ 101 w 432"/>
                  <a:gd name="T9" fmla="*/ 3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2" h="362">
                    <a:moveTo>
                      <a:pt x="101" y="362"/>
                    </a:moveTo>
                    <a:lnTo>
                      <a:pt x="0" y="316"/>
                    </a:lnTo>
                    <a:lnTo>
                      <a:pt x="413" y="0"/>
                    </a:lnTo>
                    <a:lnTo>
                      <a:pt x="432" y="109"/>
                    </a:lnTo>
                    <a:lnTo>
                      <a:pt x="101" y="362"/>
                    </a:ln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603">
                <a:extLst>
                  <a:ext uri="{FF2B5EF4-FFF2-40B4-BE49-F238E27FC236}">
                    <a16:creationId xmlns:a16="http://schemas.microsoft.com/office/drawing/2014/main" id="{DBEBAA07-5EB5-4B80-B0A3-EEF813845D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2" y="2108"/>
                <a:ext cx="419" cy="350"/>
              </a:xfrm>
              <a:custGeom>
                <a:avLst/>
                <a:gdLst>
                  <a:gd name="T0" fmla="*/ 92 w 419"/>
                  <a:gd name="T1" fmla="*/ 350 h 350"/>
                  <a:gd name="T2" fmla="*/ 0 w 419"/>
                  <a:gd name="T3" fmla="*/ 307 h 350"/>
                  <a:gd name="T4" fmla="*/ 401 w 419"/>
                  <a:gd name="T5" fmla="*/ 0 h 350"/>
                  <a:gd name="T6" fmla="*/ 419 w 419"/>
                  <a:gd name="T7" fmla="*/ 100 h 350"/>
                  <a:gd name="T8" fmla="*/ 92 w 419"/>
                  <a:gd name="T9" fmla="*/ 35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9" h="350">
                    <a:moveTo>
                      <a:pt x="92" y="350"/>
                    </a:moveTo>
                    <a:lnTo>
                      <a:pt x="0" y="307"/>
                    </a:lnTo>
                    <a:lnTo>
                      <a:pt x="401" y="0"/>
                    </a:lnTo>
                    <a:lnTo>
                      <a:pt x="419" y="100"/>
                    </a:lnTo>
                    <a:lnTo>
                      <a:pt x="92" y="350"/>
                    </a:lnTo>
                    <a:close/>
                  </a:path>
                </a:pathLst>
              </a:custGeom>
              <a:solidFill>
                <a:srgbClr val="4849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604">
                <a:extLst>
                  <a:ext uri="{FF2B5EF4-FFF2-40B4-BE49-F238E27FC236}">
                    <a16:creationId xmlns:a16="http://schemas.microsoft.com/office/drawing/2014/main" id="{29E30B18-E14C-46AF-9209-C1071BEE47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7" y="2113"/>
                <a:ext cx="395" cy="305"/>
              </a:xfrm>
              <a:custGeom>
                <a:avLst/>
                <a:gdLst>
                  <a:gd name="T0" fmla="*/ 11 w 395"/>
                  <a:gd name="T1" fmla="*/ 305 h 305"/>
                  <a:gd name="T2" fmla="*/ 0 w 395"/>
                  <a:gd name="T3" fmla="*/ 300 h 305"/>
                  <a:gd name="T4" fmla="*/ 393 w 395"/>
                  <a:gd name="T5" fmla="*/ 0 h 305"/>
                  <a:gd name="T6" fmla="*/ 395 w 395"/>
                  <a:gd name="T7" fmla="*/ 12 h 305"/>
                  <a:gd name="T8" fmla="*/ 11 w 395"/>
                  <a:gd name="T9" fmla="*/ 305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05">
                    <a:moveTo>
                      <a:pt x="11" y="305"/>
                    </a:moveTo>
                    <a:lnTo>
                      <a:pt x="0" y="300"/>
                    </a:lnTo>
                    <a:lnTo>
                      <a:pt x="393" y="0"/>
                    </a:lnTo>
                    <a:lnTo>
                      <a:pt x="395" y="12"/>
                    </a:lnTo>
                    <a:lnTo>
                      <a:pt x="11" y="305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605">
                <a:extLst>
                  <a:ext uri="{FF2B5EF4-FFF2-40B4-BE49-F238E27FC236}">
                    <a16:creationId xmlns:a16="http://schemas.microsoft.com/office/drawing/2014/main" id="{771DFA5F-2B43-4889-8997-6DDC5912F1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1" y="2404"/>
                <a:ext cx="91" cy="51"/>
              </a:xfrm>
              <a:custGeom>
                <a:avLst/>
                <a:gdLst>
                  <a:gd name="T0" fmla="*/ 91 w 91"/>
                  <a:gd name="T1" fmla="*/ 37 h 51"/>
                  <a:gd name="T2" fmla="*/ 74 w 91"/>
                  <a:gd name="T3" fmla="*/ 51 h 51"/>
                  <a:gd name="T4" fmla="*/ 0 w 91"/>
                  <a:gd name="T5" fmla="*/ 16 h 51"/>
                  <a:gd name="T6" fmla="*/ 21 w 91"/>
                  <a:gd name="T7" fmla="*/ 0 h 51"/>
                  <a:gd name="T8" fmla="*/ 91 w 91"/>
                  <a:gd name="T9" fmla="*/ 3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51">
                    <a:moveTo>
                      <a:pt x="91" y="37"/>
                    </a:moveTo>
                    <a:lnTo>
                      <a:pt x="74" y="51"/>
                    </a:lnTo>
                    <a:lnTo>
                      <a:pt x="0" y="16"/>
                    </a:lnTo>
                    <a:lnTo>
                      <a:pt x="21" y="0"/>
                    </a:lnTo>
                    <a:lnTo>
                      <a:pt x="91" y="37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606">
                <a:extLst>
                  <a:ext uri="{FF2B5EF4-FFF2-40B4-BE49-F238E27FC236}">
                    <a16:creationId xmlns:a16="http://schemas.microsoft.com/office/drawing/2014/main" id="{D51B12FC-72A0-4A27-93A7-8699ED5F1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2" y="2129"/>
                <a:ext cx="35" cy="92"/>
              </a:xfrm>
              <a:custGeom>
                <a:avLst/>
                <a:gdLst>
                  <a:gd name="T0" fmla="*/ 35 w 35"/>
                  <a:gd name="T1" fmla="*/ 79 h 92"/>
                  <a:gd name="T2" fmla="*/ 18 w 35"/>
                  <a:gd name="T3" fmla="*/ 92 h 92"/>
                  <a:gd name="T4" fmla="*/ 0 w 35"/>
                  <a:gd name="T5" fmla="*/ 16 h 92"/>
                  <a:gd name="T6" fmla="*/ 21 w 35"/>
                  <a:gd name="T7" fmla="*/ 0 h 92"/>
                  <a:gd name="T8" fmla="*/ 35 w 35"/>
                  <a:gd name="T9" fmla="*/ 7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92">
                    <a:moveTo>
                      <a:pt x="35" y="79"/>
                    </a:moveTo>
                    <a:lnTo>
                      <a:pt x="18" y="92"/>
                    </a:lnTo>
                    <a:lnTo>
                      <a:pt x="0" y="16"/>
                    </a:lnTo>
                    <a:lnTo>
                      <a:pt x="21" y="0"/>
                    </a:lnTo>
                    <a:lnTo>
                      <a:pt x="35" y="79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" name="Freeform 608">
              <a:extLst>
                <a:ext uri="{FF2B5EF4-FFF2-40B4-BE49-F238E27FC236}">
                  <a16:creationId xmlns:a16="http://schemas.microsoft.com/office/drawing/2014/main" id="{1C033AF9-1F6B-4543-A719-DD0B422BA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7550" y="3503613"/>
              <a:ext cx="333375" cy="284163"/>
            </a:xfrm>
            <a:custGeom>
              <a:avLst/>
              <a:gdLst>
                <a:gd name="T0" fmla="*/ 210 w 210"/>
                <a:gd name="T1" fmla="*/ 53 h 179"/>
                <a:gd name="T2" fmla="*/ 46 w 210"/>
                <a:gd name="T3" fmla="*/ 179 h 179"/>
                <a:gd name="T4" fmla="*/ 0 w 210"/>
                <a:gd name="T5" fmla="*/ 143 h 179"/>
                <a:gd name="T6" fmla="*/ 187 w 210"/>
                <a:gd name="T7" fmla="*/ 0 h 179"/>
                <a:gd name="T8" fmla="*/ 210 w 210"/>
                <a:gd name="T9" fmla="*/ 5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179">
                  <a:moveTo>
                    <a:pt x="210" y="53"/>
                  </a:moveTo>
                  <a:lnTo>
                    <a:pt x="46" y="179"/>
                  </a:lnTo>
                  <a:lnTo>
                    <a:pt x="0" y="143"/>
                  </a:lnTo>
                  <a:lnTo>
                    <a:pt x="187" y="0"/>
                  </a:lnTo>
                  <a:lnTo>
                    <a:pt x="210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09">
              <a:extLst>
                <a:ext uri="{FF2B5EF4-FFF2-40B4-BE49-F238E27FC236}">
                  <a16:creationId xmlns:a16="http://schemas.microsoft.com/office/drawing/2014/main" id="{BA64B51C-C1B5-477D-A7B6-8262EAFEA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1238" y="3489326"/>
              <a:ext cx="138113" cy="134938"/>
            </a:xfrm>
            <a:custGeom>
              <a:avLst/>
              <a:gdLst>
                <a:gd name="T0" fmla="*/ 87 w 87"/>
                <a:gd name="T1" fmla="*/ 28 h 85"/>
                <a:gd name="T2" fmla="*/ 12 w 87"/>
                <a:gd name="T3" fmla="*/ 85 h 85"/>
                <a:gd name="T4" fmla="*/ 0 w 87"/>
                <a:gd name="T5" fmla="*/ 61 h 85"/>
                <a:gd name="T6" fmla="*/ 80 w 87"/>
                <a:gd name="T7" fmla="*/ 0 h 85"/>
                <a:gd name="T8" fmla="*/ 87 w 87"/>
                <a:gd name="T9" fmla="*/ 2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5">
                  <a:moveTo>
                    <a:pt x="87" y="28"/>
                  </a:moveTo>
                  <a:lnTo>
                    <a:pt x="12" y="85"/>
                  </a:lnTo>
                  <a:lnTo>
                    <a:pt x="0" y="61"/>
                  </a:lnTo>
                  <a:lnTo>
                    <a:pt x="80" y="0"/>
                  </a:lnTo>
                  <a:lnTo>
                    <a:pt x="87" y="28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10">
              <a:extLst>
                <a:ext uri="{FF2B5EF4-FFF2-40B4-BE49-F238E27FC236}">
                  <a16:creationId xmlns:a16="http://schemas.microsoft.com/office/drawing/2014/main" id="{0527022F-535B-4DD9-89B6-4D65BF587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650" y="3484563"/>
              <a:ext cx="128588" cy="101600"/>
            </a:xfrm>
            <a:custGeom>
              <a:avLst/>
              <a:gdLst>
                <a:gd name="T0" fmla="*/ 81 w 81"/>
                <a:gd name="T1" fmla="*/ 0 h 64"/>
                <a:gd name="T2" fmla="*/ 0 w 81"/>
                <a:gd name="T3" fmla="*/ 62 h 64"/>
                <a:gd name="T4" fmla="*/ 1 w 81"/>
                <a:gd name="T5" fmla="*/ 64 h 64"/>
                <a:gd name="T6" fmla="*/ 81 w 81"/>
                <a:gd name="T7" fmla="*/ 3 h 64"/>
                <a:gd name="T8" fmla="*/ 81 w 81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64">
                  <a:moveTo>
                    <a:pt x="81" y="0"/>
                  </a:moveTo>
                  <a:lnTo>
                    <a:pt x="0" y="62"/>
                  </a:lnTo>
                  <a:lnTo>
                    <a:pt x="1" y="64"/>
                  </a:lnTo>
                  <a:lnTo>
                    <a:pt x="81" y="3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565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611">
              <a:extLst>
                <a:ext uri="{FF2B5EF4-FFF2-40B4-BE49-F238E27FC236}">
                  <a16:creationId xmlns:a16="http://schemas.microsoft.com/office/drawing/2014/main" id="{676A0FFC-AFD5-4A9A-B9A5-3686F89988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0763" y="3568701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2 w 16"/>
                <a:gd name="T3" fmla="*/ 14 h 14"/>
                <a:gd name="T4" fmla="*/ 0 w 16"/>
                <a:gd name="T5" fmla="*/ 11 h 14"/>
                <a:gd name="T6" fmla="*/ 14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2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F5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12">
              <a:extLst>
                <a:ext uri="{FF2B5EF4-FFF2-40B4-BE49-F238E27FC236}">
                  <a16:creationId xmlns:a16="http://schemas.microsoft.com/office/drawing/2014/main" id="{6C93903C-03B2-4706-A562-55EE8543C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0925" y="3546476"/>
              <a:ext cx="25400" cy="23813"/>
            </a:xfrm>
            <a:custGeom>
              <a:avLst/>
              <a:gdLst>
                <a:gd name="T0" fmla="*/ 16 w 16"/>
                <a:gd name="T1" fmla="*/ 3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3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3"/>
                  </a:lnTo>
                  <a:close/>
                </a:path>
              </a:pathLst>
            </a:custGeom>
            <a:solidFill>
              <a:srgbClr val="FFE0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613">
              <a:extLst>
                <a:ext uri="{FF2B5EF4-FFF2-40B4-BE49-F238E27FC236}">
                  <a16:creationId xmlns:a16="http://schemas.microsoft.com/office/drawing/2014/main" id="{DC35686E-620F-42C6-8BA3-46D1B3686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9663" y="3500438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14">
              <a:extLst>
                <a:ext uri="{FF2B5EF4-FFF2-40B4-BE49-F238E27FC236}">
                  <a16:creationId xmlns:a16="http://schemas.microsoft.com/office/drawing/2014/main" id="{827AC62D-B1B5-41F2-9B17-D26774D43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9500" y="3522663"/>
              <a:ext cx="25400" cy="25400"/>
            </a:xfrm>
            <a:custGeom>
              <a:avLst/>
              <a:gdLst>
                <a:gd name="T0" fmla="*/ 16 w 16"/>
                <a:gd name="T1" fmla="*/ 5 h 16"/>
                <a:gd name="T2" fmla="*/ 2 w 16"/>
                <a:gd name="T3" fmla="*/ 16 h 16"/>
                <a:gd name="T4" fmla="*/ 0 w 16"/>
                <a:gd name="T5" fmla="*/ 11 h 16"/>
                <a:gd name="T6" fmla="*/ 15 w 16"/>
                <a:gd name="T7" fmla="*/ 0 h 16"/>
                <a:gd name="T8" fmla="*/ 16 w 16"/>
                <a:gd name="T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6" y="5"/>
                  </a:moveTo>
                  <a:lnTo>
                    <a:pt x="2" y="16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5"/>
                  </a:lnTo>
                  <a:close/>
                </a:path>
              </a:pathLst>
            </a:custGeom>
            <a:solidFill>
              <a:srgbClr val="E3C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15">
              <a:extLst>
                <a:ext uri="{FF2B5EF4-FFF2-40B4-BE49-F238E27FC236}">
                  <a16:creationId xmlns:a16="http://schemas.microsoft.com/office/drawing/2014/main" id="{6160D349-D2DE-44CE-AF40-D681FBECF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3938" y="3576638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2 w 16"/>
                <a:gd name="T3" fmla="*/ 15 h 15"/>
                <a:gd name="T4" fmla="*/ 0 w 16"/>
                <a:gd name="T5" fmla="*/ 11 h 15"/>
                <a:gd name="T6" fmla="*/ 15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F1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16">
              <a:extLst>
                <a:ext uri="{FF2B5EF4-FFF2-40B4-BE49-F238E27FC236}">
                  <a16:creationId xmlns:a16="http://schemas.microsoft.com/office/drawing/2014/main" id="{06D22AD4-72E1-4832-82B5-7E09B6538F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4100" y="3554413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FFD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17">
              <a:extLst>
                <a:ext uri="{FF2B5EF4-FFF2-40B4-BE49-F238E27FC236}">
                  <a16:creationId xmlns:a16="http://schemas.microsoft.com/office/drawing/2014/main" id="{216D32CE-0916-4096-8AD1-78C07D997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2838" y="3509963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A6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618">
              <a:extLst>
                <a:ext uri="{FF2B5EF4-FFF2-40B4-BE49-F238E27FC236}">
                  <a16:creationId xmlns:a16="http://schemas.microsoft.com/office/drawing/2014/main" id="{5CA55864-B949-4EA3-9161-FEF99405E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2675" y="3532188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2 w 16"/>
                <a:gd name="T3" fmla="*/ 15 h 15"/>
                <a:gd name="T4" fmla="*/ 0 w 16"/>
                <a:gd name="T5" fmla="*/ 11 h 15"/>
                <a:gd name="T6" fmla="*/ 15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E3B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19">
              <a:extLst>
                <a:ext uri="{FF2B5EF4-FFF2-40B4-BE49-F238E27FC236}">
                  <a16:creationId xmlns:a16="http://schemas.microsoft.com/office/drawing/2014/main" id="{0D60DE89-A7E8-4100-9D37-0288D2279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8700" y="3584576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EE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620">
              <a:extLst>
                <a:ext uri="{FF2B5EF4-FFF2-40B4-BE49-F238E27FC236}">
                  <a16:creationId xmlns:a16="http://schemas.microsoft.com/office/drawing/2014/main" id="{659895D8-C548-497F-A1FA-24BF93DA3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7275" y="3562351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CA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21">
              <a:extLst>
                <a:ext uri="{FF2B5EF4-FFF2-40B4-BE49-F238E27FC236}">
                  <a16:creationId xmlns:a16="http://schemas.microsoft.com/office/drawing/2014/main" id="{963DC246-A006-4DCF-A071-253A0474D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4425" y="3519488"/>
              <a:ext cx="25400" cy="22225"/>
            </a:xfrm>
            <a:custGeom>
              <a:avLst/>
              <a:gdLst>
                <a:gd name="T0" fmla="*/ 16 w 16"/>
                <a:gd name="T1" fmla="*/ 3 h 14"/>
                <a:gd name="T2" fmla="*/ 1 w 16"/>
                <a:gd name="T3" fmla="*/ 14 h 14"/>
                <a:gd name="T4" fmla="*/ 0 w 16"/>
                <a:gd name="T5" fmla="*/ 11 h 14"/>
                <a:gd name="T6" fmla="*/ 15 w 16"/>
                <a:gd name="T7" fmla="*/ 0 h 14"/>
                <a:gd name="T8" fmla="*/ 16 w 16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3"/>
                  </a:moveTo>
                  <a:lnTo>
                    <a:pt x="1" y="14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3"/>
                  </a:lnTo>
                  <a:close/>
                </a:path>
              </a:pathLst>
            </a:custGeom>
            <a:solidFill>
              <a:srgbClr val="E68B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22">
              <a:extLst>
                <a:ext uri="{FF2B5EF4-FFF2-40B4-BE49-F238E27FC236}">
                  <a16:creationId xmlns:a16="http://schemas.microsoft.com/office/drawing/2014/main" id="{676B4274-BD0F-4CBC-B5B2-227CA324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5850" y="3541713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1 w 16"/>
                <a:gd name="T3" fmla="*/ 14 h 14"/>
                <a:gd name="T4" fmla="*/ 0 w 16"/>
                <a:gd name="T5" fmla="*/ 10 h 14"/>
                <a:gd name="T6" fmla="*/ 15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E39E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23">
              <a:extLst>
                <a:ext uri="{FF2B5EF4-FFF2-40B4-BE49-F238E27FC236}">
                  <a16:creationId xmlns:a16="http://schemas.microsoft.com/office/drawing/2014/main" id="{7C75FA3E-26B3-4C74-B513-6C618AD3C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1875" y="3592513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2 w 16"/>
                <a:gd name="T3" fmla="*/ 14 h 14"/>
                <a:gd name="T4" fmla="*/ 0 w 16"/>
                <a:gd name="T5" fmla="*/ 11 h 14"/>
                <a:gd name="T6" fmla="*/ 14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2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E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24">
              <a:extLst>
                <a:ext uri="{FF2B5EF4-FFF2-40B4-BE49-F238E27FC236}">
                  <a16:creationId xmlns:a16="http://schemas.microsoft.com/office/drawing/2014/main" id="{0DAAA780-59AE-458A-BD71-2955C208C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0450" y="3570288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2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CCC7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25">
              <a:extLst>
                <a:ext uri="{FF2B5EF4-FFF2-40B4-BE49-F238E27FC236}">
                  <a16:creationId xmlns:a16="http://schemas.microsoft.com/office/drawing/2014/main" id="{635FAE51-2045-47DB-ABB6-B8832FBFC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7600" y="3527426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26">
              <a:extLst>
                <a:ext uri="{FF2B5EF4-FFF2-40B4-BE49-F238E27FC236}">
                  <a16:creationId xmlns:a16="http://schemas.microsoft.com/office/drawing/2014/main" id="{5AE8E328-48AB-45AB-A7AE-7EE5B04367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9025" y="3549651"/>
              <a:ext cx="23813" cy="22225"/>
            </a:xfrm>
            <a:custGeom>
              <a:avLst/>
              <a:gdLst>
                <a:gd name="T0" fmla="*/ 15 w 15"/>
                <a:gd name="T1" fmla="*/ 4 h 14"/>
                <a:gd name="T2" fmla="*/ 1 w 15"/>
                <a:gd name="T3" fmla="*/ 14 h 14"/>
                <a:gd name="T4" fmla="*/ 0 w 15"/>
                <a:gd name="T5" fmla="*/ 11 h 14"/>
                <a:gd name="T6" fmla="*/ 14 w 15"/>
                <a:gd name="T7" fmla="*/ 0 h 14"/>
                <a:gd name="T8" fmla="*/ 15 w 15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15" y="4"/>
                  </a:moveTo>
                  <a:lnTo>
                    <a:pt x="1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39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27">
              <a:extLst>
                <a:ext uri="{FF2B5EF4-FFF2-40B4-BE49-F238E27FC236}">
                  <a16:creationId xmlns:a16="http://schemas.microsoft.com/office/drawing/2014/main" id="{D319F6EA-9460-43FD-AD85-AAAD443A9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3489326"/>
              <a:ext cx="7938" cy="7938"/>
            </a:xfrm>
            <a:custGeom>
              <a:avLst/>
              <a:gdLst>
                <a:gd name="T0" fmla="*/ 5 w 5"/>
                <a:gd name="T1" fmla="*/ 2 h 5"/>
                <a:gd name="T2" fmla="*/ 0 w 5"/>
                <a:gd name="T3" fmla="*/ 5 h 5"/>
                <a:gd name="T4" fmla="*/ 0 w 5"/>
                <a:gd name="T5" fmla="*/ 3 h 5"/>
                <a:gd name="T6" fmla="*/ 5 w 5"/>
                <a:gd name="T7" fmla="*/ 0 h 5"/>
                <a:gd name="T8" fmla="*/ 5 w 5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5" y="2"/>
                  </a:moveTo>
                  <a:lnTo>
                    <a:pt x="0" y="5"/>
                  </a:lnTo>
                  <a:lnTo>
                    <a:pt x="0" y="3"/>
                  </a:lnTo>
                  <a:lnTo>
                    <a:pt x="5" y="0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28">
              <a:extLst>
                <a:ext uri="{FF2B5EF4-FFF2-40B4-BE49-F238E27FC236}">
                  <a16:creationId xmlns:a16="http://schemas.microsoft.com/office/drawing/2014/main" id="{AF6BDD5D-060D-45F9-9F95-2F67E3521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3490913"/>
              <a:ext cx="4763" cy="4763"/>
            </a:xfrm>
            <a:custGeom>
              <a:avLst/>
              <a:gdLst>
                <a:gd name="T0" fmla="*/ 1 w 3"/>
                <a:gd name="T1" fmla="*/ 3 h 3"/>
                <a:gd name="T2" fmla="*/ 0 w 3"/>
                <a:gd name="T3" fmla="*/ 3 h 3"/>
                <a:gd name="T4" fmla="*/ 0 w 3"/>
                <a:gd name="T5" fmla="*/ 3 h 3"/>
                <a:gd name="T6" fmla="*/ 3 w 3"/>
                <a:gd name="T7" fmla="*/ 0 h 3"/>
                <a:gd name="T8" fmla="*/ 3 w 3"/>
                <a:gd name="T9" fmla="*/ 0 h 3"/>
                <a:gd name="T10" fmla="*/ 3 w 3"/>
                <a:gd name="T11" fmla="*/ 0 h 3"/>
                <a:gd name="T12" fmla="*/ 1 w 3"/>
                <a:gd name="T13" fmla="*/ 3 h 3"/>
                <a:gd name="T14" fmla="*/ 1 w 3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3"/>
                  </a:lnTo>
                  <a:lnTo>
                    <a:pt x="1" y="3"/>
                  </a:lnTo>
                  <a:close/>
                </a:path>
              </a:pathLst>
            </a:custGeom>
            <a:solidFill>
              <a:srgbClr val="4849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629">
              <a:extLst>
                <a:ext uri="{FF2B5EF4-FFF2-40B4-BE49-F238E27FC236}">
                  <a16:creationId xmlns:a16="http://schemas.microsoft.com/office/drawing/2014/main" id="{451361B5-F0C6-447C-9DB5-1D230D128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3492501"/>
              <a:ext cx="4763" cy="1588"/>
            </a:xfrm>
            <a:custGeom>
              <a:avLst/>
              <a:gdLst>
                <a:gd name="T0" fmla="*/ 3 w 3"/>
                <a:gd name="T1" fmla="*/ 0 h 1"/>
                <a:gd name="T2" fmla="*/ 3 w 3"/>
                <a:gd name="T3" fmla="*/ 1 h 1"/>
                <a:gd name="T4" fmla="*/ 0 w 3"/>
                <a:gd name="T5" fmla="*/ 1 h 1"/>
                <a:gd name="T6" fmla="*/ 0 w 3"/>
                <a:gd name="T7" fmla="*/ 1 h 1"/>
                <a:gd name="T8" fmla="*/ 1 w 3"/>
                <a:gd name="T9" fmla="*/ 1 h 1"/>
                <a:gd name="T10" fmla="*/ 3 w 3"/>
                <a:gd name="T11" fmla="*/ 0 h 1"/>
                <a:gd name="T12" fmla="*/ 3 w 3"/>
                <a:gd name="T13" fmla="*/ 0 h 1"/>
                <a:gd name="T14" fmla="*/ 3 w 3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lnTo>
                    <a:pt x="3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4849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630">
              <a:extLst>
                <a:ext uri="{FF2B5EF4-FFF2-40B4-BE49-F238E27FC236}">
                  <a16:creationId xmlns:a16="http://schemas.microsoft.com/office/drawing/2014/main" id="{398C4447-9083-4DB6-BC77-B9CA5FE9D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175" y="3330576"/>
              <a:ext cx="657225" cy="504825"/>
            </a:xfrm>
            <a:custGeom>
              <a:avLst/>
              <a:gdLst>
                <a:gd name="T0" fmla="*/ 718 w 756"/>
                <a:gd name="T1" fmla="*/ 21 h 583"/>
                <a:gd name="T2" fmla="*/ 27 w 756"/>
                <a:gd name="T3" fmla="*/ 550 h 583"/>
                <a:gd name="T4" fmla="*/ 1 w 756"/>
                <a:gd name="T5" fmla="*/ 583 h 583"/>
                <a:gd name="T6" fmla="*/ 756 w 756"/>
                <a:gd name="T7" fmla="*/ 5 h 583"/>
                <a:gd name="T8" fmla="*/ 718 w 756"/>
                <a:gd name="T9" fmla="*/ 21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6" h="583">
                  <a:moveTo>
                    <a:pt x="718" y="21"/>
                  </a:moveTo>
                  <a:cubicBezTo>
                    <a:pt x="27" y="550"/>
                    <a:pt x="27" y="550"/>
                    <a:pt x="27" y="550"/>
                  </a:cubicBezTo>
                  <a:cubicBezTo>
                    <a:pt x="14" y="560"/>
                    <a:pt x="0" y="567"/>
                    <a:pt x="1" y="583"/>
                  </a:cubicBezTo>
                  <a:cubicBezTo>
                    <a:pt x="756" y="5"/>
                    <a:pt x="756" y="5"/>
                    <a:pt x="756" y="5"/>
                  </a:cubicBezTo>
                  <a:cubicBezTo>
                    <a:pt x="741" y="0"/>
                    <a:pt x="731" y="11"/>
                    <a:pt x="718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31">
              <a:extLst>
                <a:ext uri="{FF2B5EF4-FFF2-40B4-BE49-F238E27FC236}">
                  <a16:creationId xmlns:a16="http://schemas.microsoft.com/office/drawing/2014/main" id="{03531EE7-D46C-4161-9530-DC499F742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8063" y="3836988"/>
              <a:ext cx="176213" cy="161925"/>
            </a:xfrm>
            <a:custGeom>
              <a:avLst/>
              <a:gdLst>
                <a:gd name="T0" fmla="*/ 111 w 111"/>
                <a:gd name="T1" fmla="*/ 40 h 102"/>
                <a:gd name="T2" fmla="*/ 31 w 111"/>
                <a:gd name="T3" fmla="*/ 102 h 102"/>
                <a:gd name="T4" fmla="*/ 0 w 111"/>
                <a:gd name="T5" fmla="*/ 61 h 102"/>
                <a:gd name="T6" fmla="*/ 80 w 111"/>
                <a:gd name="T7" fmla="*/ 0 h 102"/>
                <a:gd name="T8" fmla="*/ 111 w 111"/>
                <a:gd name="T9" fmla="*/ 4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02">
                  <a:moveTo>
                    <a:pt x="111" y="40"/>
                  </a:moveTo>
                  <a:lnTo>
                    <a:pt x="31" y="102"/>
                  </a:lnTo>
                  <a:lnTo>
                    <a:pt x="0" y="61"/>
                  </a:lnTo>
                  <a:lnTo>
                    <a:pt x="80" y="0"/>
                  </a:lnTo>
                  <a:lnTo>
                    <a:pt x="111" y="4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632">
              <a:extLst>
                <a:ext uri="{FF2B5EF4-FFF2-40B4-BE49-F238E27FC236}">
                  <a16:creationId xmlns:a16="http://schemas.microsoft.com/office/drawing/2014/main" id="{DFF6CF30-4281-46B8-89A4-D9E9633B7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0738" y="4129088"/>
              <a:ext cx="403225" cy="577850"/>
            </a:xfrm>
            <a:custGeom>
              <a:avLst/>
              <a:gdLst>
                <a:gd name="T0" fmla="*/ 293 w 464"/>
                <a:gd name="T1" fmla="*/ 478 h 665"/>
                <a:gd name="T2" fmla="*/ 70 w 464"/>
                <a:gd name="T3" fmla="*/ 26 h 665"/>
                <a:gd name="T4" fmla="*/ 62 w 464"/>
                <a:gd name="T5" fmla="*/ 0 h 665"/>
                <a:gd name="T6" fmla="*/ 0 w 464"/>
                <a:gd name="T7" fmla="*/ 20 h 665"/>
                <a:gd name="T8" fmla="*/ 143 w 464"/>
                <a:gd name="T9" fmla="*/ 573 h 665"/>
                <a:gd name="T10" fmla="*/ 411 w 464"/>
                <a:gd name="T11" fmla="*/ 641 h 665"/>
                <a:gd name="T12" fmla="*/ 293 w 464"/>
                <a:gd name="T13" fmla="*/ 478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4" h="665">
                  <a:moveTo>
                    <a:pt x="293" y="478"/>
                  </a:moveTo>
                  <a:cubicBezTo>
                    <a:pt x="293" y="478"/>
                    <a:pt x="126" y="140"/>
                    <a:pt x="70" y="26"/>
                  </a:cubicBezTo>
                  <a:cubicBezTo>
                    <a:pt x="66" y="18"/>
                    <a:pt x="63" y="9"/>
                    <a:pt x="62" y="0"/>
                  </a:cubicBezTo>
                  <a:cubicBezTo>
                    <a:pt x="41" y="6"/>
                    <a:pt x="20" y="11"/>
                    <a:pt x="0" y="20"/>
                  </a:cubicBezTo>
                  <a:cubicBezTo>
                    <a:pt x="44" y="209"/>
                    <a:pt x="125" y="551"/>
                    <a:pt x="143" y="573"/>
                  </a:cubicBezTo>
                  <a:cubicBezTo>
                    <a:pt x="203" y="644"/>
                    <a:pt x="276" y="665"/>
                    <a:pt x="411" y="641"/>
                  </a:cubicBezTo>
                  <a:cubicBezTo>
                    <a:pt x="462" y="631"/>
                    <a:pt x="464" y="511"/>
                    <a:pt x="293" y="478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633">
              <a:extLst>
                <a:ext uri="{FF2B5EF4-FFF2-40B4-BE49-F238E27FC236}">
                  <a16:creationId xmlns:a16="http://schemas.microsoft.com/office/drawing/2014/main" id="{EB889C93-F9D8-4A34-B5AE-D20C1FD40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2488" y="3984626"/>
              <a:ext cx="60325" cy="120650"/>
            </a:xfrm>
            <a:custGeom>
              <a:avLst/>
              <a:gdLst>
                <a:gd name="T0" fmla="*/ 0 w 69"/>
                <a:gd name="T1" fmla="*/ 64 h 139"/>
                <a:gd name="T2" fmla="*/ 56 w 69"/>
                <a:gd name="T3" fmla="*/ 3 h 139"/>
                <a:gd name="T4" fmla="*/ 65 w 69"/>
                <a:gd name="T5" fmla="*/ 15 h 139"/>
                <a:gd name="T6" fmla="*/ 25 w 69"/>
                <a:gd name="T7" fmla="*/ 139 h 139"/>
                <a:gd name="T8" fmla="*/ 0 w 69"/>
                <a:gd name="T9" fmla="*/ 64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39">
                  <a:moveTo>
                    <a:pt x="0" y="64"/>
                  </a:moveTo>
                  <a:cubicBezTo>
                    <a:pt x="56" y="3"/>
                    <a:pt x="56" y="3"/>
                    <a:pt x="56" y="3"/>
                  </a:cubicBezTo>
                  <a:cubicBezTo>
                    <a:pt x="63" y="0"/>
                    <a:pt x="69" y="8"/>
                    <a:pt x="65" y="15"/>
                  </a:cubicBezTo>
                  <a:cubicBezTo>
                    <a:pt x="25" y="139"/>
                    <a:pt x="25" y="139"/>
                    <a:pt x="25" y="139"/>
                  </a:cubicBezTo>
                  <a:lnTo>
                    <a:pt x="0" y="6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34">
              <a:extLst>
                <a:ext uri="{FF2B5EF4-FFF2-40B4-BE49-F238E27FC236}">
                  <a16:creationId xmlns:a16="http://schemas.microsoft.com/office/drawing/2014/main" id="{DC216905-5A27-4939-A250-36C96EF56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825" y="3862388"/>
              <a:ext cx="128588" cy="325438"/>
            </a:xfrm>
            <a:custGeom>
              <a:avLst/>
              <a:gdLst>
                <a:gd name="T0" fmla="*/ 76 w 147"/>
                <a:gd name="T1" fmla="*/ 364 h 375"/>
                <a:gd name="T2" fmla="*/ 4 w 147"/>
                <a:gd name="T3" fmla="*/ 188 h 375"/>
                <a:gd name="T4" fmla="*/ 21 w 147"/>
                <a:gd name="T5" fmla="*/ 71 h 375"/>
                <a:gd name="T6" fmla="*/ 100 w 147"/>
                <a:gd name="T7" fmla="*/ 12 h 375"/>
                <a:gd name="T8" fmla="*/ 118 w 147"/>
                <a:gd name="T9" fmla="*/ 196 h 375"/>
                <a:gd name="T10" fmla="*/ 139 w 147"/>
                <a:gd name="T11" fmla="*/ 264 h 375"/>
                <a:gd name="T12" fmla="*/ 132 w 147"/>
                <a:gd name="T13" fmla="*/ 310 h 375"/>
                <a:gd name="T14" fmla="*/ 141 w 147"/>
                <a:gd name="T15" fmla="*/ 375 h 375"/>
                <a:gd name="T16" fmla="*/ 76 w 147"/>
                <a:gd name="T17" fmla="*/ 36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375">
                  <a:moveTo>
                    <a:pt x="76" y="364"/>
                  </a:moveTo>
                  <a:cubicBezTo>
                    <a:pt x="76" y="364"/>
                    <a:pt x="9" y="235"/>
                    <a:pt x="4" y="188"/>
                  </a:cubicBezTo>
                  <a:cubicBezTo>
                    <a:pt x="0" y="152"/>
                    <a:pt x="21" y="71"/>
                    <a:pt x="21" y="71"/>
                  </a:cubicBezTo>
                  <a:cubicBezTo>
                    <a:pt x="24" y="65"/>
                    <a:pt x="85" y="0"/>
                    <a:pt x="100" y="12"/>
                  </a:cubicBezTo>
                  <a:cubicBezTo>
                    <a:pt x="139" y="42"/>
                    <a:pt x="118" y="196"/>
                    <a:pt x="118" y="196"/>
                  </a:cubicBezTo>
                  <a:cubicBezTo>
                    <a:pt x="118" y="196"/>
                    <a:pt x="147" y="237"/>
                    <a:pt x="139" y="264"/>
                  </a:cubicBezTo>
                  <a:cubicBezTo>
                    <a:pt x="132" y="310"/>
                    <a:pt x="132" y="310"/>
                    <a:pt x="132" y="310"/>
                  </a:cubicBezTo>
                  <a:cubicBezTo>
                    <a:pt x="141" y="375"/>
                    <a:pt x="141" y="375"/>
                    <a:pt x="141" y="375"/>
                  </a:cubicBezTo>
                  <a:lnTo>
                    <a:pt x="76" y="36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35">
              <a:extLst>
                <a:ext uri="{FF2B5EF4-FFF2-40B4-BE49-F238E27FC236}">
                  <a16:creationId xmlns:a16="http://schemas.microsoft.com/office/drawing/2014/main" id="{C3923817-D74E-4B33-8C58-146872B63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2125" y="1884363"/>
              <a:ext cx="125413" cy="74613"/>
            </a:xfrm>
            <a:custGeom>
              <a:avLst/>
              <a:gdLst>
                <a:gd name="T0" fmla="*/ 102 w 143"/>
                <a:gd name="T1" fmla="*/ 80 h 85"/>
                <a:gd name="T2" fmla="*/ 8 w 143"/>
                <a:gd name="T3" fmla="*/ 85 h 85"/>
                <a:gd name="T4" fmla="*/ 10 w 143"/>
                <a:gd name="T5" fmla="*/ 67 h 85"/>
                <a:gd name="T6" fmla="*/ 143 w 143"/>
                <a:gd name="T7" fmla="*/ 0 h 85"/>
                <a:gd name="T8" fmla="*/ 102 w 143"/>
                <a:gd name="T9" fmla="*/ 8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85">
                  <a:moveTo>
                    <a:pt x="102" y="80"/>
                  </a:moveTo>
                  <a:cubicBezTo>
                    <a:pt x="8" y="85"/>
                    <a:pt x="8" y="85"/>
                    <a:pt x="8" y="85"/>
                  </a:cubicBezTo>
                  <a:cubicBezTo>
                    <a:pt x="0" y="81"/>
                    <a:pt x="2" y="69"/>
                    <a:pt x="10" y="67"/>
                  </a:cubicBezTo>
                  <a:cubicBezTo>
                    <a:pt x="143" y="0"/>
                    <a:pt x="143" y="0"/>
                    <a:pt x="143" y="0"/>
                  </a:cubicBezTo>
                  <a:lnTo>
                    <a:pt x="102" y="8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36">
              <a:extLst>
                <a:ext uri="{FF2B5EF4-FFF2-40B4-BE49-F238E27FC236}">
                  <a16:creationId xmlns:a16="http://schemas.microsoft.com/office/drawing/2014/main" id="{7426A101-A58E-46C2-B49A-4FE6C36D8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0" y="1812926"/>
              <a:ext cx="269875" cy="300038"/>
            </a:xfrm>
            <a:custGeom>
              <a:avLst/>
              <a:gdLst>
                <a:gd name="T0" fmla="*/ 310 w 310"/>
                <a:gd name="T1" fmla="*/ 62 h 347"/>
                <a:gd name="T2" fmla="*/ 227 w 310"/>
                <a:gd name="T3" fmla="*/ 262 h 347"/>
                <a:gd name="T4" fmla="*/ 119 w 310"/>
                <a:gd name="T5" fmla="*/ 341 h 347"/>
                <a:gd name="T6" fmla="*/ 7 w 310"/>
                <a:gd name="T7" fmla="*/ 325 h 347"/>
                <a:gd name="T8" fmla="*/ 141 w 310"/>
                <a:gd name="T9" fmla="*/ 163 h 347"/>
                <a:gd name="T10" fmla="*/ 179 w 310"/>
                <a:gd name="T11" fmla="*/ 91 h 347"/>
                <a:gd name="T12" fmla="*/ 222 w 310"/>
                <a:gd name="T13" fmla="*/ 60 h 347"/>
                <a:gd name="T14" fmla="*/ 266 w 310"/>
                <a:gd name="T15" fmla="*/ 0 h 347"/>
                <a:gd name="T16" fmla="*/ 310 w 310"/>
                <a:gd name="T17" fmla="*/ 6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0" h="347">
                  <a:moveTo>
                    <a:pt x="310" y="62"/>
                  </a:moveTo>
                  <a:cubicBezTo>
                    <a:pt x="310" y="62"/>
                    <a:pt x="261" y="219"/>
                    <a:pt x="227" y="262"/>
                  </a:cubicBezTo>
                  <a:cubicBezTo>
                    <a:pt x="201" y="293"/>
                    <a:pt x="119" y="341"/>
                    <a:pt x="119" y="341"/>
                  </a:cubicBezTo>
                  <a:cubicBezTo>
                    <a:pt x="112" y="343"/>
                    <a:pt x="10" y="347"/>
                    <a:pt x="7" y="325"/>
                  </a:cubicBezTo>
                  <a:cubicBezTo>
                    <a:pt x="0" y="270"/>
                    <a:pt x="141" y="163"/>
                    <a:pt x="141" y="163"/>
                  </a:cubicBezTo>
                  <a:cubicBezTo>
                    <a:pt x="141" y="163"/>
                    <a:pt x="151" y="107"/>
                    <a:pt x="179" y="91"/>
                  </a:cubicBezTo>
                  <a:cubicBezTo>
                    <a:pt x="222" y="60"/>
                    <a:pt x="222" y="60"/>
                    <a:pt x="222" y="60"/>
                  </a:cubicBezTo>
                  <a:cubicBezTo>
                    <a:pt x="266" y="0"/>
                    <a:pt x="266" y="0"/>
                    <a:pt x="266" y="0"/>
                  </a:cubicBezTo>
                  <a:lnTo>
                    <a:pt x="310" y="62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37">
              <a:extLst>
                <a:ext uri="{FF2B5EF4-FFF2-40B4-BE49-F238E27FC236}">
                  <a16:creationId xmlns:a16="http://schemas.microsoft.com/office/drawing/2014/main" id="{B39A04E4-C18F-40C2-A08C-09B14B453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0" y="2178051"/>
              <a:ext cx="53975" cy="130175"/>
            </a:xfrm>
            <a:custGeom>
              <a:avLst/>
              <a:gdLst>
                <a:gd name="T0" fmla="*/ 62 w 62"/>
                <a:gd name="T1" fmla="*/ 57 h 150"/>
                <a:gd name="T2" fmla="*/ 43 w 62"/>
                <a:gd name="T3" fmla="*/ 144 h 150"/>
                <a:gd name="T4" fmla="*/ 28 w 62"/>
                <a:gd name="T5" fmla="*/ 137 h 150"/>
                <a:gd name="T6" fmla="*/ 0 w 62"/>
                <a:gd name="T7" fmla="*/ 0 h 150"/>
                <a:gd name="T8" fmla="*/ 62 w 62"/>
                <a:gd name="T9" fmla="*/ 5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50">
                  <a:moveTo>
                    <a:pt x="62" y="57"/>
                  </a:moveTo>
                  <a:cubicBezTo>
                    <a:pt x="43" y="144"/>
                    <a:pt x="43" y="144"/>
                    <a:pt x="43" y="144"/>
                  </a:cubicBezTo>
                  <a:cubicBezTo>
                    <a:pt x="37" y="150"/>
                    <a:pt x="27" y="146"/>
                    <a:pt x="28" y="13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2" y="57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38">
              <a:extLst>
                <a:ext uri="{FF2B5EF4-FFF2-40B4-BE49-F238E27FC236}">
                  <a16:creationId xmlns:a16="http://schemas.microsoft.com/office/drawing/2014/main" id="{01117919-1C8D-4BA7-896A-2781C973E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3863" y="2085976"/>
              <a:ext cx="236538" cy="296863"/>
            </a:xfrm>
            <a:custGeom>
              <a:avLst/>
              <a:gdLst>
                <a:gd name="T0" fmla="*/ 66 w 272"/>
                <a:gd name="T1" fmla="*/ 0 h 344"/>
                <a:gd name="T2" fmla="*/ 227 w 272"/>
                <a:gd name="T3" fmla="*/ 126 h 344"/>
                <a:gd name="T4" fmla="*/ 272 w 272"/>
                <a:gd name="T5" fmla="*/ 243 h 344"/>
                <a:gd name="T6" fmla="*/ 230 w 272"/>
                <a:gd name="T7" fmla="*/ 341 h 344"/>
                <a:gd name="T8" fmla="*/ 116 w 272"/>
                <a:gd name="T9" fmla="*/ 178 h 344"/>
                <a:gd name="T10" fmla="*/ 60 w 272"/>
                <a:gd name="T11" fmla="*/ 126 h 344"/>
                <a:gd name="T12" fmla="*/ 43 w 272"/>
                <a:gd name="T13" fmla="*/ 80 h 344"/>
                <a:gd name="T14" fmla="*/ 0 w 272"/>
                <a:gd name="T15" fmla="*/ 24 h 344"/>
                <a:gd name="T16" fmla="*/ 66 w 272"/>
                <a:gd name="T17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44">
                  <a:moveTo>
                    <a:pt x="66" y="0"/>
                  </a:moveTo>
                  <a:cubicBezTo>
                    <a:pt x="66" y="0"/>
                    <a:pt x="197" y="84"/>
                    <a:pt x="227" y="126"/>
                  </a:cubicBezTo>
                  <a:cubicBezTo>
                    <a:pt x="249" y="156"/>
                    <a:pt x="272" y="243"/>
                    <a:pt x="272" y="243"/>
                  </a:cubicBezTo>
                  <a:cubicBezTo>
                    <a:pt x="272" y="250"/>
                    <a:pt x="250" y="344"/>
                    <a:pt x="230" y="341"/>
                  </a:cubicBezTo>
                  <a:cubicBezTo>
                    <a:pt x="178" y="333"/>
                    <a:pt x="116" y="178"/>
                    <a:pt x="116" y="178"/>
                  </a:cubicBezTo>
                  <a:cubicBezTo>
                    <a:pt x="116" y="178"/>
                    <a:pt x="67" y="156"/>
                    <a:pt x="60" y="126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0" y="24"/>
                    <a:pt x="0" y="24"/>
                    <a:pt x="0" y="24"/>
                  </a:cubicBezTo>
                  <a:lnTo>
                    <a:pt x="66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639">
              <a:extLst>
                <a:ext uri="{FF2B5EF4-FFF2-40B4-BE49-F238E27FC236}">
                  <a16:creationId xmlns:a16="http://schemas.microsoft.com/office/drawing/2014/main" id="{629DDDCB-389A-4C3F-B8C2-B1975DE17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300" y="3663951"/>
              <a:ext cx="136525" cy="68263"/>
            </a:xfrm>
            <a:custGeom>
              <a:avLst/>
              <a:gdLst>
                <a:gd name="T0" fmla="*/ 84 w 157"/>
                <a:gd name="T1" fmla="*/ 0 h 79"/>
                <a:gd name="T2" fmla="*/ 155 w 157"/>
                <a:gd name="T3" fmla="*/ 63 h 79"/>
                <a:gd name="T4" fmla="*/ 141 w 157"/>
                <a:gd name="T5" fmla="*/ 74 h 79"/>
                <a:gd name="T6" fmla="*/ 0 w 157"/>
                <a:gd name="T7" fmla="*/ 28 h 79"/>
                <a:gd name="T8" fmla="*/ 84 w 157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79">
                  <a:moveTo>
                    <a:pt x="84" y="0"/>
                  </a:moveTo>
                  <a:cubicBezTo>
                    <a:pt x="155" y="63"/>
                    <a:pt x="155" y="63"/>
                    <a:pt x="155" y="63"/>
                  </a:cubicBezTo>
                  <a:cubicBezTo>
                    <a:pt x="157" y="72"/>
                    <a:pt x="148" y="79"/>
                    <a:pt x="141" y="74"/>
                  </a:cubicBezTo>
                  <a:cubicBezTo>
                    <a:pt x="0" y="28"/>
                    <a:pt x="0" y="28"/>
                    <a:pt x="0" y="28"/>
                  </a:cubicBezTo>
                  <a:lnTo>
                    <a:pt x="84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640">
              <a:extLst>
                <a:ext uri="{FF2B5EF4-FFF2-40B4-BE49-F238E27FC236}">
                  <a16:creationId xmlns:a16="http://schemas.microsoft.com/office/drawing/2014/main" id="{7D37F57B-F65F-47C1-B204-0BE47F5BA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8638" y="3557588"/>
              <a:ext cx="369888" cy="144463"/>
            </a:xfrm>
            <a:custGeom>
              <a:avLst/>
              <a:gdLst>
                <a:gd name="T0" fmla="*/ 12 w 427"/>
                <a:gd name="T1" fmla="*/ 86 h 167"/>
                <a:gd name="T2" fmla="*/ 213 w 427"/>
                <a:gd name="T3" fmla="*/ 4 h 167"/>
                <a:gd name="T4" fmla="*/ 346 w 427"/>
                <a:gd name="T5" fmla="*/ 24 h 167"/>
                <a:gd name="T6" fmla="*/ 413 w 427"/>
                <a:gd name="T7" fmla="*/ 114 h 167"/>
                <a:gd name="T8" fmla="*/ 203 w 427"/>
                <a:gd name="T9" fmla="*/ 135 h 167"/>
                <a:gd name="T10" fmla="*/ 125 w 427"/>
                <a:gd name="T11" fmla="*/ 159 h 167"/>
                <a:gd name="T12" fmla="*/ 74 w 427"/>
                <a:gd name="T13" fmla="*/ 150 h 167"/>
                <a:gd name="T14" fmla="*/ 0 w 427"/>
                <a:gd name="T15" fmla="*/ 161 h 167"/>
                <a:gd name="T16" fmla="*/ 12 w 427"/>
                <a:gd name="T17" fmla="*/ 86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7" h="167">
                  <a:moveTo>
                    <a:pt x="12" y="86"/>
                  </a:moveTo>
                  <a:cubicBezTo>
                    <a:pt x="12" y="86"/>
                    <a:pt x="159" y="10"/>
                    <a:pt x="213" y="4"/>
                  </a:cubicBezTo>
                  <a:cubicBezTo>
                    <a:pt x="253" y="0"/>
                    <a:pt x="346" y="24"/>
                    <a:pt x="346" y="24"/>
                  </a:cubicBezTo>
                  <a:cubicBezTo>
                    <a:pt x="352" y="28"/>
                    <a:pt x="427" y="97"/>
                    <a:pt x="413" y="114"/>
                  </a:cubicBezTo>
                  <a:cubicBezTo>
                    <a:pt x="379" y="159"/>
                    <a:pt x="203" y="135"/>
                    <a:pt x="203" y="135"/>
                  </a:cubicBezTo>
                  <a:cubicBezTo>
                    <a:pt x="203" y="135"/>
                    <a:pt x="157" y="167"/>
                    <a:pt x="125" y="159"/>
                  </a:cubicBezTo>
                  <a:cubicBezTo>
                    <a:pt x="74" y="150"/>
                    <a:pt x="74" y="150"/>
                    <a:pt x="74" y="150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12" y="86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641">
              <a:extLst>
                <a:ext uri="{FF2B5EF4-FFF2-40B4-BE49-F238E27FC236}">
                  <a16:creationId xmlns:a16="http://schemas.microsoft.com/office/drawing/2014/main" id="{5EAD9F2B-E034-48BD-A535-033A20B88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8675" y="3889376"/>
              <a:ext cx="79375" cy="123825"/>
            </a:xfrm>
            <a:custGeom>
              <a:avLst/>
              <a:gdLst>
                <a:gd name="T0" fmla="*/ 91 w 91"/>
                <a:gd name="T1" fmla="*/ 55 h 143"/>
                <a:gd name="T2" fmla="*/ 14 w 91"/>
                <a:gd name="T3" fmla="*/ 0 h 143"/>
                <a:gd name="T4" fmla="*/ 6 w 91"/>
                <a:gd name="T5" fmla="*/ 16 h 143"/>
                <a:gd name="T6" fmla="*/ 83 w 91"/>
                <a:gd name="T7" fmla="*/ 143 h 143"/>
                <a:gd name="T8" fmla="*/ 91 w 91"/>
                <a:gd name="T9" fmla="*/ 5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43">
                  <a:moveTo>
                    <a:pt x="91" y="55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5" y="0"/>
                    <a:pt x="0" y="10"/>
                    <a:pt x="6" y="16"/>
                  </a:cubicBezTo>
                  <a:cubicBezTo>
                    <a:pt x="83" y="143"/>
                    <a:pt x="83" y="143"/>
                    <a:pt x="83" y="143"/>
                  </a:cubicBezTo>
                  <a:lnTo>
                    <a:pt x="91" y="5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642">
              <a:extLst>
                <a:ext uri="{FF2B5EF4-FFF2-40B4-BE49-F238E27FC236}">
                  <a16:creationId xmlns:a16="http://schemas.microsoft.com/office/drawing/2014/main" id="{C156ADCF-6464-4258-AFE9-156634CFA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9788" y="3733801"/>
              <a:ext cx="169863" cy="373063"/>
            </a:xfrm>
            <a:custGeom>
              <a:avLst/>
              <a:gdLst>
                <a:gd name="T0" fmla="*/ 154 w 195"/>
                <a:gd name="T1" fmla="*/ 401 h 430"/>
                <a:gd name="T2" fmla="*/ 188 w 195"/>
                <a:gd name="T3" fmla="*/ 187 h 430"/>
                <a:gd name="T4" fmla="*/ 139 w 195"/>
                <a:gd name="T5" fmla="*/ 62 h 430"/>
                <a:gd name="T6" fmla="*/ 36 w 195"/>
                <a:gd name="T7" fmla="*/ 17 h 430"/>
                <a:gd name="T8" fmla="*/ 64 w 195"/>
                <a:gd name="T9" fmla="*/ 226 h 430"/>
                <a:gd name="T10" fmla="*/ 58 w 195"/>
                <a:gd name="T11" fmla="*/ 307 h 430"/>
                <a:gd name="T12" fmla="*/ 78 w 195"/>
                <a:gd name="T13" fmla="*/ 356 h 430"/>
                <a:gd name="T14" fmla="*/ 84 w 195"/>
                <a:gd name="T15" fmla="*/ 430 h 430"/>
                <a:gd name="T16" fmla="*/ 154 w 195"/>
                <a:gd name="T17" fmla="*/ 401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5" h="430">
                  <a:moveTo>
                    <a:pt x="154" y="401"/>
                  </a:moveTo>
                  <a:cubicBezTo>
                    <a:pt x="154" y="401"/>
                    <a:pt x="195" y="241"/>
                    <a:pt x="188" y="187"/>
                  </a:cubicBezTo>
                  <a:cubicBezTo>
                    <a:pt x="183" y="147"/>
                    <a:pt x="139" y="62"/>
                    <a:pt x="139" y="62"/>
                  </a:cubicBezTo>
                  <a:cubicBezTo>
                    <a:pt x="134" y="57"/>
                    <a:pt x="49" y="0"/>
                    <a:pt x="36" y="17"/>
                  </a:cubicBezTo>
                  <a:cubicBezTo>
                    <a:pt x="0" y="60"/>
                    <a:pt x="64" y="226"/>
                    <a:pt x="64" y="226"/>
                  </a:cubicBezTo>
                  <a:cubicBezTo>
                    <a:pt x="64" y="226"/>
                    <a:pt x="42" y="278"/>
                    <a:pt x="58" y="307"/>
                  </a:cubicBezTo>
                  <a:cubicBezTo>
                    <a:pt x="78" y="356"/>
                    <a:pt x="78" y="356"/>
                    <a:pt x="78" y="356"/>
                  </a:cubicBezTo>
                  <a:cubicBezTo>
                    <a:pt x="84" y="430"/>
                    <a:pt x="84" y="430"/>
                    <a:pt x="84" y="430"/>
                  </a:cubicBezTo>
                  <a:lnTo>
                    <a:pt x="154" y="401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43">
              <a:extLst>
                <a:ext uri="{FF2B5EF4-FFF2-40B4-BE49-F238E27FC236}">
                  <a16:creationId xmlns:a16="http://schemas.microsoft.com/office/drawing/2014/main" id="{D6E74FD4-7AEA-4F20-8A93-3423D736D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2563" y="1601788"/>
              <a:ext cx="141288" cy="46038"/>
            </a:xfrm>
            <a:custGeom>
              <a:avLst/>
              <a:gdLst>
                <a:gd name="T0" fmla="*/ 72 w 163"/>
                <a:gd name="T1" fmla="*/ 54 h 54"/>
                <a:gd name="T2" fmla="*/ 158 w 163"/>
                <a:gd name="T3" fmla="*/ 17 h 54"/>
                <a:gd name="T4" fmla="*/ 149 w 163"/>
                <a:gd name="T5" fmla="*/ 2 h 54"/>
                <a:gd name="T6" fmla="*/ 0 w 163"/>
                <a:gd name="T7" fmla="*/ 1 h 54"/>
                <a:gd name="T8" fmla="*/ 72 w 163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" h="54">
                  <a:moveTo>
                    <a:pt x="72" y="54"/>
                  </a:moveTo>
                  <a:cubicBezTo>
                    <a:pt x="158" y="17"/>
                    <a:pt x="158" y="17"/>
                    <a:pt x="158" y="17"/>
                  </a:cubicBezTo>
                  <a:cubicBezTo>
                    <a:pt x="163" y="10"/>
                    <a:pt x="157" y="0"/>
                    <a:pt x="149" y="2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72" y="5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44">
              <a:extLst>
                <a:ext uri="{FF2B5EF4-FFF2-40B4-BE49-F238E27FC236}">
                  <a16:creationId xmlns:a16="http://schemas.microsoft.com/office/drawing/2014/main" id="{2C72BB08-AA58-4219-96BB-3C81A4177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725" y="1563688"/>
              <a:ext cx="346075" cy="207963"/>
            </a:xfrm>
            <a:custGeom>
              <a:avLst/>
              <a:gdLst>
                <a:gd name="T0" fmla="*/ 0 w 397"/>
                <a:gd name="T1" fmla="*/ 75 h 240"/>
                <a:gd name="T2" fmla="*/ 164 w 397"/>
                <a:gd name="T3" fmla="*/ 216 h 240"/>
                <a:gd name="T4" fmla="*/ 296 w 397"/>
                <a:gd name="T5" fmla="*/ 240 h 240"/>
                <a:gd name="T6" fmla="*/ 389 w 397"/>
                <a:gd name="T7" fmla="*/ 176 h 240"/>
                <a:gd name="T8" fmla="*/ 197 w 397"/>
                <a:gd name="T9" fmla="*/ 90 h 240"/>
                <a:gd name="T10" fmla="*/ 130 w 397"/>
                <a:gd name="T11" fmla="*/ 42 h 240"/>
                <a:gd name="T12" fmla="*/ 79 w 397"/>
                <a:gd name="T13" fmla="*/ 34 h 240"/>
                <a:gd name="T14" fmla="*/ 12 w 397"/>
                <a:gd name="T15" fmla="*/ 0 h 240"/>
                <a:gd name="T16" fmla="*/ 0 w 397"/>
                <a:gd name="T17" fmla="*/ 75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7" h="240">
                  <a:moveTo>
                    <a:pt x="0" y="75"/>
                  </a:moveTo>
                  <a:cubicBezTo>
                    <a:pt x="0" y="75"/>
                    <a:pt x="115" y="194"/>
                    <a:pt x="164" y="216"/>
                  </a:cubicBezTo>
                  <a:cubicBezTo>
                    <a:pt x="201" y="233"/>
                    <a:pt x="296" y="240"/>
                    <a:pt x="296" y="240"/>
                  </a:cubicBezTo>
                  <a:cubicBezTo>
                    <a:pt x="304" y="238"/>
                    <a:pt x="397" y="196"/>
                    <a:pt x="389" y="176"/>
                  </a:cubicBezTo>
                  <a:cubicBezTo>
                    <a:pt x="371" y="123"/>
                    <a:pt x="197" y="90"/>
                    <a:pt x="197" y="90"/>
                  </a:cubicBezTo>
                  <a:cubicBezTo>
                    <a:pt x="197" y="90"/>
                    <a:pt x="163" y="44"/>
                    <a:pt x="130" y="42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0" y="7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45">
              <a:extLst>
                <a:ext uri="{FF2B5EF4-FFF2-40B4-BE49-F238E27FC236}">
                  <a16:creationId xmlns:a16="http://schemas.microsoft.com/office/drawing/2014/main" id="{892207D4-6937-4F24-8EC5-7F4C7EF1C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3350" y="3654426"/>
              <a:ext cx="560388" cy="444500"/>
            </a:xfrm>
            <a:custGeom>
              <a:avLst/>
              <a:gdLst>
                <a:gd name="T0" fmla="*/ 457 w 645"/>
                <a:gd name="T1" fmla="*/ 331 h 513"/>
                <a:gd name="T2" fmla="*/ 25 w 645"/>
                <a:gd name="T3" fmla="*/ 70 h 513"/>
                <a:gd name="T4" fmla="*/ 0 w 645"/>
                <a:gd name="T5" fmla="*/ 60 h 513"/>
                <a:gd name="T6" fmla="*/ 25 w 645"/>
                <a:gd name="T7" fmla="*/ 0 h 513"/>
                <a:gd name="T8" fmla="*/ 564 w 645"/>
                <a:gd name="T9" fmla="*/ 189 h 513"/>
                <a:gd name="T10" fmla="*/ 609 w 645"/>
                <a:gd name="T11" fmla="*/ 463 h 513"/>
                <a:gd name="T12" fmla="*/ 457 w 645"/>
                <a:gd name="T13" fmla="*/ 331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5" h="513">
                  <a:moveTo>
                    <a:pt x="457" y="331"/>
                  </a:moveTo>
                  <a:cubicBezTo>
                    <a:pt x="457" y="331"/>
                    <a:pt x="135" y="136"/>
                    <a:pt x="25" y="70"/>
                  </a:cubicBezTo>
                  <a:cubicBezTo>
                    <a:pt x="18" y="65"/>
                    <a:pt x="9" y="62"/>
                    <a:pt x="0" y="60"/>
                  </a:cubicBezTo>
                  <a:cubicBezTo>
                    <a:pt x="8" y="40"/>
                    <a:pt x="15" y="19"/>
                    <a:pt x="25" y="0"/>
                  </a:cubicBezTo>
                  <a:cubicBezTo>
                    <a:pt x="210" y="59"/>
                    <a:pt x="544" y="170"/>
                    <a:pt x="564" y="189"/>
                  </a:cubicBezTo>
                  <a:cubicBezTo>
                    <a:pt x="630" y="255"/>
                    <a:pt x="645" y="331"/>
                    <a:pt x="609" y="463"/>
                  </a:cubicBezTo>
                  <a:cubicBezTo>
                    <a:pt x="595" y="513"/>
                    <a:pt x="475" y="504"/>
                    <a:pt x="457" y="331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46">
              <a:extLst>
                <a:ext uri="{FF2B5EF4-FFF2-40B4-BE49-F238E27FC236}">
                  <a16:creationId xmlns:a16="http://schemas.microsoft.com/office/drawing/2014/main" id="{AC7C4A95-0C82-49AA-B03E-AF87CC52F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5713" y="3678238"/>
              <a:ext cx="122238" cy="53975"/>
            </a:xfrm>
            <a:custGeom>
              <a:avLst/>
              <a:gdLst>
                <a:gd name="T0" fmla="*/ 69 w 141"/>
                <a:gd name="T1" fmla="*/ 0 h 63"/>
                <a:gd name="T2" fmla="*/ 3 w 141"/>
                <a:gd name="T3" fmla="*/ 49 h 63"/>
                <a:gd name="T4" fmla="*/ 14 w 141"/>
                <a:gd name="T5" fmla="*/ 60 h 63"/>
                <a:gd name="T6" fmla="*/ 141 w 141"/>
                <a:gd name="T7" fmla="*/ 30 h 63"/>
                <a:gd name="T8" fmla="*/ 69 w 141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63">
                  <a:moveTo>
                    <a:pt x="69" y="0"/>
                  </a:moveTo>
                  <a:cubicBezTo>
                    <a:pt x="3" y="49"/>
                    <a:pt x="3" y="49"/>
                    <a:pt x="3" y="49"/>
                  </a:cubicBezTo>
                  <a:cubicBezTo>
                    <a:pt x="0" y="56"/>
                    <a:pt x="7" y="63"/>
                    <a:pt x="14" y="60"/>
                  </a:cubicBezTo>
                  <a:cubicBezTo>
                    <a:pt x="141" y="30"/>
                    <a:pt x="141" y="30"/>
                    <a:pt x="141" y="30"/>
                  </a:cubicBezTo>
                  <a:lnTo>
                    <a:pt x="69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47">
              <a:extLst>
                <a:ext uri="{FF2B5EF4-FFF2-40B4-BE49-F238E27FC236}">
                  <a16:creationId xmlns:a16="http://schemas.microsoft.com/office/drawing/2014/main" id="{5805AC09-5D4C-4B51-A1D5-01A485911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8238" y="3581401"/>
              <a:ext cx="320675" cy="138113"/>
            </a:xfrm>
            <a:custGeom>
              <a:avLst/>
              <a:gdLst>
                <a:gd name="T0" fmla="*/ 364 w 369"/>
                <a:gd name="T1" fmla="*/ 94 h 160"/>
                <a:gd name="T2" fmla="*/ 194 w 369"/>
                <a:gd name="T3" fmla="*/ 7 h 160"/>
                <a:gd name="T4" fmla="*/ 77 w 369"/>
                <a:gd name="T5" fmla="*/ 14 h 160"/>
                <a:gd name="T6" fmla="*/ 11 w 369"/>
                <a:gd name="T7" fmla="*/ 88 h 160"/>
                <a:gd name="T8" fmla="*/ 193 w 369"/>
                <a:gd name="T9" fmla="*/ 121 h 160"/>
                <a:gd name="T10" fmla="*/ 259 w 369"/>
                <a:gd name="T11" fmla="*/ 148 h 160"/>
                <a:gd name="T12" fmla="*/ 305 w 369"/>
                <a:gd name="T13" fmla="*/ 145 h 160"/>
                <a:gd name="T14" fmla="*/ 369 w 369"/>
                <a:gd name="T15" fmla="*/ 160 h 160"/>
                <a:gd name="T16" fmla="*/ 364 w 369"/>
                <a:gd name="T17" fmla="*/ 9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9" h="160">
                  <a:moveTo>
                    <a:pt x="364" y="94"/>
                  </a:moveTo>
                  <a:cubicBezTo>
                    <a:pt x="364" y="94"/>
                    <a:pt x="241" y="16"/>
                    <a:pt x="194" y="7"/>
                  </a:cubicBezTo>
                  <a:cubicBezTo>
                    <a:pt x="160" y="0"/>
                    <a:pt x="77" y="14"/>
                    <a:pt x="77" y="14"/>
                  </a:cubicBezTo>
                  <a:cubicBezTo>
                    <a:pt x="71" y="17"/>
                    <a:pt x="0" y="72"/>
                    <a:pt x="11" y="88"/>
                  </a:cubicBezTo>
                  <a:cubicBezTo>
                    <a:pt x="37" y="129"/>
                    <a:pt x="193" y="121"/>
                    <a:pt x="193" y="121"/>
                  </a:cubicBezTo>
                  <a:cubicBezTo>
                    <a:pt x="193" y="121"/>
                    <a:pt x="231" y="154"/>
                    <a:pt x="259" y="148"/>
                  </a:cubicBezTo>
                  <a:cubicBezTo>
                    <a:pt x="305" y="145"/>
                    <a:pt x="305" y="145"/>
                    <a:pt x="305" y="145"/>
                  </a:cubicBezTo>
                  <a:cubicBezTo>
                    <a:pt x="369" y="160"/>
                    <a:pt x="369" y="160"/>
                    <a:pt x="369" y="160"/>
                  </a:cubicBezTo>
                  <a:lnTo>
                    <a:pt x="364" y="9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48">
              <a:extLst>
                <a:ext uri="{FF2B5EF4-FFF2-40B4-BE49-F238E27FC236}">
                  <a16:creationId xmlns:a16="http://schemas.microsoft.com/office/drawing/2014/main" id="{6E8DDD96-A420-4C14-9DDB-137E1B5A7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7413" y="4410076"/>
              <a:ext cx="741363" cy="619125"/>
            </a:xfrm>
            <a:custGeom>
              <a:avLst/>
              <a:gdLst>
                <a:gd name="T0" fmla="*/ 782 w 853"/>
                <a:gd name="T1" fmla="*/ 595 h 715"/>
                <a:gd name="T2" fmla="*/ 50 w 853"/>
                <a:gd name="T3" fmla="*/ 266 h 715"/>
                <a:gd name="T4" fmla="*/ 0 w 853"/>
                <a:gd name="T5" fmla="*/ 45 h 715"/>
                <a:gd name="T6" fmla="*/ 145 w 853"/>
                <a:gd name="T7" fmla="*/ 0 h 715"/>
                <a:gd name="T8" fmla="*/ 217 w 853"/>
                <a:gd name="T9" fmla="*/ 138 h 715"/>
                <a:gd name="T10" fmla="*/ 658 w 853"/>
                <a:gd name="T11" fmla="*/ 337 h 715"/>
                <a:gd name="T12" fmla="*/ 782 w 853"/>
                <a:gd name="T13" fmla="*/ 59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3" h="715">
                  <a:moveTo>
                    <a:pt x="782" y="595"/>
                  </a:moveTo>
                  <a:cubicBezTo>
                    <a:pt x="611" y="715"/>
                    <a:pt x="352" y="499"/>
                    <a:pt x="50" y="26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658" y="337"/>
                    <a:pt x="658" y="337"/>
                    <a:pt x="658" y="337"/>
                  </a:cubicBezTo>
                  <a:cubicBezTo>
                    <a:pt x="658" y="337"/>
                    <a:pt x="853" y="545"/>
                    <a:pt x="782" y="595"/>
                  </a:cubicBezTo>
                  <a:close/>
                </a:path>
              </a:pathLst>
            </a:custGeom>
            <a:solidFill>
              <a:srgbClr val="F0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49">
              <a:extLst>
                <a:ext uri="{FF2B5EF4-FFF2-40B4-BE49-F238E27FC236}">
                  <a16:creationId xmlns:a16="http://schemas.microsoft.com/office/drawing/2014/main" id="{AD094C47-0B90-4A5F-ACB0-A77873E8A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8463" y="3744913"/>
              <a:ext cx="541338" cy="803275"/>
            </a:xfrm>
            <a:custGeom>
              <a:avLst/>
              <a:gdLst>
                <a:gd name="T0" fmla="*/ 475 w 623"/>
                <a:gd name="T1" fmla="*/ 866 h 927"/>
                <a:gd name="T2" fmla="*/ 277 w 623"/>
                <a:gd name="T3" fmla="*/ 87 h 927"/>
                <a:gd name="T4" fmla="*/ 69 w 623"/>
                <a:gd name="T5" fmla="*/ 0 h 927"/>
                <a:gd name="T6" fmla="*/ 0 w 623"/>
                <a:gd name="T7" fmla="*/ 135 h 927"/>
                <a:gd name="T8" fmla="*/ 123 w 623"/>
                <a:gd name="T9" fmla="*/ 230 h 927"/>
                <a:gd name="T10" fmla="*/ 242 w 623"/>
                <a:gd name="T11" fmla="*/ 698 h 927"/>
                <a:gd name="T12" fmla="*/ 475 w 623"/>
                <a:gd name="T13" fmla="*/ 866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3" h="927">
                  <a:moveTo>
                    <a:pt x="475" y="866"/>
                  </a:moveTo>
                  <a:cubicBezTo>
                    <a:pt x="623" y="718"/>
                    <a:pt x="455" y="426"/>
                    <a:pt x="277" y="87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23" y="230"/>
                    <a:pt x="123" y="230"/>
                    <a:pt x="123" y="230"/>
                  </a:cubicBezTo>
                  <a:cubicBezTo>
                    <a:pt x="242" y="698"/>
                    <a:pt x="242" y="698"/>
                    <a:pt x="242" y="698"/>
                  </a:cubicBezTo>
                  <a:cubicBezTo>
                    <a:pt x="242" y="698"/>
                    <a:pt x="413" y="927"/>
                    <a:pt x="475" y="866"/>
                  </a:cubicBezTo>
                  <a:close/>
                </a:path>
              </a:pathLst>
            </a:custGeom>
            <a:solidFill>
              <a:srgbClr val="F0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50">
              <a:extLst>
                <a:ext uri="{FF2B5EF4-FFF2-40B4-BE49-F238E27FC236}">
                  <a16:creationId xmlns:a16="http://schemas.microsoft.com/office/drawing/2014/main" id="{C0B1BB2C-C3ED-4B61-9DA1-C7072BB18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8125" y="4386263"/>
              <a:ext cx="647700" cy="642938"/>
            </a:xfrm>
            <a:custGeom>
              <a:avLst/>
              <a:gdLst>
                <a:gd name="T0" fmla="*/ 126 w 744"/>
                <a:gd name="T1" fmla="*/ 592 h 742"/>
                <a:gd name="T2" fmla="*/ 144 w 744"/>
                <a:gd name="T3" fmla="*/ 114 h 742"/>
                <a:gd name="T4" fmla="*/ 618 w 744"/>
                <a:gd name="T5" fmla="*/ 179 h 742"/>
                <a:gd name="T6" fmla="*/ 536 w 744"/>
                <a:gd name="T7" fmla="*/ 581 h 742"/>
                <a:gd name="T8" fmla="*/ 126 w 744"/>
                <a:gd name="T9" fmla="*/ 59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4" h="742">
                  <a:moveTo>
                    <a:pt x="126" y="592"/>
                  </a:moveTo>
                  <a:cubicBezTo>
                    <a:pt x="0" y="442"/>
                    <a:pt x="8" y="228"/>
                    <a:pt x="144" y="114"/>
                  </a:cubicBezTo>
                  <a:cubicBezTo>
                    <a:pt x="280" y="0"/>
                    <a:pt x="492" y="30"/>
                    <a:pt x="618" y="179"/>
                  </a:cubicBezTo>
                  <a:cubicBezTo>
                    <a:pt x="744" y="329"/>
                    <a:pt x="672" y="467"/>
                    <a:pt x="536" y="581"/>
                  </a:cubicBezTo>
                  <a:cubicBezTo>
                    <a:pt x="400" y="695"/>
                    <a:pt x="252" y="742"/>
                    <a:pt x="126" y="592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651">
              <a:extLst>
                <a:ext uri="{FF2B5EF4-FFF2-40B4-BE49-F238E27FC236}">
                  <a16:creationId xmlns:a16="http://schemas.microsoft.com/office/drawing/2014/main" id="{62EA7D3A-2C6D-4703-B938-1A72813270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4446588"/>
              <a:ext cx="128588" cy="127000"/>
            </a:xfrm>
            <a:custGeom>
              <a:avLst/>
              <a:gdLst>
                <a:gd name="T0" fmla="*/ 65 w 147"/>
                <a:gd name="T1" fmla="*/ 12 h 147"/>
                <a:gd name="T2" fmla="*/ 147 w 147"/>
                <a:gd name="T3" fmla="*/ 41 h 147"/>
                <a:gd name="T4" fmla="*/ 21 w 147"/>
                <a:gd name="T5" fmla="*/ 147 h 147"/>
                <a:gd name="T6" fmla="*/ 6 w 147"/>
                <a:gd name="T7" fmla="*/ 61 h 147"/>
                <a:gd name="T8" fmla="*/ 65 w 147"/>
                <a:gd name="T9" fmla="*/ 1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47">
                  <a:moveTo>
                    <a:pt x="65" y="12"/>
                  </a:moveTo>
                  <a:cubicBezTo>
                    <a:pt x="147" y="41"/>
                    <a:pt x="147" y="41"/>
                    <a:pt x="147" y="41"/>
                  </a:cubicBezTo>
                  <a:cubicBezTo>
                    <a:pt x="21" y="147"/>
                    <a:pt x="21" y="147"/>
                    <a:pt x="21" y="147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0" y="28"/>
                    <a:pt x="33" y="0"/>
                    <a:pt x="65" y="12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652">
              <a:extLst>
                <a:ext uri="{FF2B5EF4-FFF2-40B4-BE49-F238E27FC236}">
                  <a16:creationId xmlns:a16="http://schemas.microsoft.com/office/drawing/2014/main" id="{F0B7242C-F351-458A-8869-A197E91EE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8938" y="4338638"/>
              <a:ext cx="515938" cy="568325"/>
            </a:xfrm>
            <a:custGeom>
              <a:avLst/>
              <a:gdLst>
                <a:gd name="T0" fmla="*/ 160 w 595"/>
                <a:gd name="T1" fmla="*/ 442 h 656"/>
                <a:gd name="T2" fmla="*/ 386 w 595"/>
                <a:gd name="T3" fmla="*/ 656 h 656"/>
                <a:gd name="T4" fmla="*/ 480 w 595"/>
                <a:gd name="T5" fmla="*/ 214 h 656"/>
                <a:gd name="T6" fmla="*/ 7 w 595"/>
                <a:gd name="T7" fmla="*/ 2 h 656"/>
                <a:gd name="T8" fmla="*/ 75 w 595"/>
                <a:gd name="T9" fmla="*/ 125 h 656"/>
                <a:gd name="T10" fmla="*/ 0 w 595"/>
                <a:gd name="T11" fmla="*/ 259 h 656"/>
                <a:gd name="T12" fmla="*/ 160 w 595"/>
                <a:gd name="T13" fmla="*/ 442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5" h="656">
                  <a:moveTo>
                    <a:pt x="160" y="442"/>
                  </a:moveTo>
                  <a:cubicBezTo>
                    <a:pt x="201" y="515"/>
                    <a:pt x="315" y="605"/>
                    <a:pt x="386" y="656"/>
                  </a:cubicBezTo>
                  <a:cubicBezTo>
                    <a:pt x="510" y="548"/>
                    <a:pt x="595" y="352"/>
                    <a:pt x="480" y="214"/>
                  </a:cubicBezTo>
                  <a:cubicBezTo>
                    <a:pt x="300" y="0"/>
                    <a:pt x="7" y="1"/>
                    <a:pt x="7" y="2"/>
                  </a:cubicBezTo>
                  <a:cubicBezTo>
                    <a:pt x="50" y="45"/>
                    <a:pt x="77" y="72"/>
                    <a:pt x="75" y="125"/>
                  </a:cubicBezTo>
                  <a:cubicBezTo>
                    <a:pt x="72" y="191"/>
                    <a:pt x="6" y="209"/>
                    <a:pt x="0" y="259"/>
                  </a:cubicBezTo>
                  <a:cubicBezTo>
                    <a:pt x="72" y="330"/>
                    <a:pt x="137" y="401"/>
                    <a:pt x="160" y="442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53">
              <a:extLst>
                <a:ext uri="{FF2B5EF4-FFF2-40B4-BE49-F238E27FC236}">
                  <a16:creationId xmlns:a16="http://schemas.microsoft.com/office/drawing/2014/main" id="{568C3011-C16C-47F4-AAEF-A0553EBB5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7163" y="4548188"/>
              <a:ext cx="561975" cy="501650"/>
            </a:xfrm>
            <a:custGeom>
              <a:avLst/>
              <a:gdLst>
                <a:gd name="T0" fmla="*/ 645 w 646"/>
                <a:gd name="T1" fmla="*/ 419 h 580"/>
                <a:gd name="T2" fmla="*/ 646 w 646"/>
                <a:gd name="T3" fmla="*/ 418 h 580"/>
                <a:gd name="T4" fmla="*/ 420 w 646"/>
                <a:gd name="T5" fmla="*/ 203 h 580"/>
                <a:gd name="T6" fmla="*/ 262 w 646"/>
                <a:gd name="T7" fmla="*/ 22 h 580"/>
                <a:gd name="T8" fmla="*/ 221 w 646"/>
                <a:gd name="T9" fmla="*/ 71 h 580"/>
                <a:gd name="T10" fmla="*/ 115 w 646"/>
                <a:gd name="T11" fmla="*/ 1 h 580"/>
                <a:gd name="T12" fmla="*/ 207 w 646"/>
                <a:gd name="T13" fmla="*/ 451 h 580"/>
                <a:gd name="T14" fmla="*/ 645 w 646"/>
                <a:gd name="T15" fmla="*/ 419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6" h="580">
                  <a:moveTo>
                    <a:pt x="645" y="419"/>
                  </a:moveTo>
                  <a:cubicBezTo>
                    <a:pt x="646" y="418"/>
                    <a:pt x="646" y="418"/>
                    <a:pt x="646" y="418"/>
                  </a:cubicBezTo>
                  <a:cubicBezTo>
                    <a:pt x="575" y="366"/>
                    <a:pt x="461" y="276"/>
                    <a:pt x="420" y="203"/>
                  </a:cubicBezTo>
                  <a:cubicBezTo>
                    <a:pt x="397" y="162"/>
                    <a:pt x="333" y="93"/>
                    <a:pt x="262" y="22"/>
                  </a:cubicBezTo>
                  <a:cubicBezTo>
                    <a:pt x="248" y="44"/>
                    <a:pt x="234" y="59"/>
                    <a:pt x="221" y="71"/>
                  </a:cubicBezTo>
                  <a:cubicBezTo>
                    <a:pt x="174" y="114"/>
                    <a:pt x="135" y="30"/>
                    <a:pt x="115" y="1"/>
                  </a:cubicBezTo>
                  <a:cubicBezTo>
                    <a:pt x="114" y="0"/>
                    <a:pt x="0" y="211"/>
                    <a:pt x="207" y="451"/>
                  </a:cubicBezTo>
                  <a:cubicBezTo>
                    <a:pt x="317" y="580"/>
                    <a:pt x="525" y="520"/>
                    <a:pt x="645" y="419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654">
              <a:extLst>
                <a:ext uri="{FF2B5EF4-FFF2-40B4-BE49-F238E27FC236}">
                  <a16:creationId xmlns:a16="http://schemas.microsoft.com/office/drawing/2014/main" id="{5DF74336-67F6-43D6-9FAF-C2B88F801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188" y="4548188"/>
              <a:ext cx="488950" cy="501650"/>
            </a:xfrm>
            <a:custGeom>
              <a:avLst/>
              <a:gdLst>
                <a:gd name="T0" fmla="*/ 124 w 563"/>
                <a:gd name="T1" fmla="*/ 451 h 580"/>
                <a:gd name="T2" fmla="*/ 37 w 563"/>
                <a:gd name="T3" fmla="*/ 317 h 580"/>
                <a:gd name="T4" fmla="*/ 28 w 563"/>
                <a:gd name="T5" fmla="*/ 297 h 580"/>
                <a:gd name="T6" fmla="*/ 10 w 563"/>
                <a:gd name="T7" fmla="*/ 238 h 580"/>
                <a:gd name="T8" fmla="*/ 6 w 563"/>
                <a:gd name="T9" fmla="*/ 220 h 580"/>
                <a:gd name="T10" fmla="*/ 2 w 563"/>
                <a:gd name="T11" fmla="*/ 193 h 580"/>
                <a:gd name="T12" fmla="*/ 1 w 563"/>
                <a:gd name="T13" fmla="*/ 176 h 580"/>
                <a:gd name="T14" fmla="*/ 0 w 563"/>
                <a:gd name="T15" fmla="*/ 167 h 580"/>
                <a:gd name="T16" fmla="*/ 0 w 563"/>
                <a:gd name="T17" fmla="*/ 151 h 580"/>
                <a:gd name="T18" fmla="*/ 0 w 563"/>
                <a:gd name="T19" fmla="*/ 128 h 580"/>
                <a:gd name="T20" fmla="*/ 1 w 563"/>
                <a:gd name="T21" fmla="*/ 114 h 580"/>
                <a:gd name="T22" fmla="*/ 32 w 563"/>
                <a:gd name="T23" fmla="*/ 1 h 580"/>
                <a:gd name="T24" fmla="*/ 89 w 563"/>
                <a:gd name="T25" fmla="*/ 43 h 580"/>
                <a:gd name="T26" fmla="*/ 179 w 563"/>
                <a:gd name="T27" fmla="*/ 22 h 580"/>
                <a:gd name="T28" fmla="*/ 337 w 563"/>
                <a:gd name="T29" fmla="*/ 203 h 580"/>
                <a:gd name="T30" fmla="*/ 552 w 563"/>
                <a:gd name="T31" fmla="*/ 410 h 580"/>
                <a:gd name="T32" fmla="*/ 563 w 563"/>
                <a:gd name="T33" fmla="*/ 418 h 580"/>
                <a:gd name="T34" fmla="*/ 562 w 563"/>
                <a:gd name="T35" fmla="*/ 419 h 580"/>
                <a:gd name="T36" fmla="*/ 124 w 563"/>
                <a:gd name="T37" fmla="*/ 451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3" h="580">
                  <a:moveTo>
                    <a:pt x="124" y="451"/>
                  </a:moveTo>
                  <a:cubicBezTo>
                    <a:pt x="84" y="405"/>
                    <a:pt x="56" y="360"/>
                    <a:pt x="37" y="317"/>
                  </a:cubicBezTo>
                  <a:cubicBezTo>
                    <a:pt x="34" y="310"/>
                    <a:pt x="31" y="303"/>
                    <a:pt x="28" y="297"/>
                  </a:cubicBezTo>
                  <a:cubicBezTo>
                    <a:pt x="21" y="276"/>
                    <a:pt x="15" y="257"/>
                    <a:pt x="10" y="238"/>
                  </a:cubicBezTo>
                  <a:cubicBezTo>
                    <a:pt x="9" y="232"/>
                    <a:pt x="8" y="226"/>
                    <a:pt x="6" y="220"/>
                  </a:cubicBezTo>
                  <a:cubicBezTo>
                    <a:pt x="5" y="211"/>
                    <a:pt x="3" y="202"/>
                    <a:pt x="2" y="193"/>
                  </a:cubicBezTo>
                  <a:cubicBezTo>
                    <a:pt x="2" y="187"/>
                    <a:pt x="1" y="181"/>
                    <a:pt x="1" y="176"/>
                  </a:cubicBezTo>
                  <a:cubicBezTo>
                    <a:pt x="1" y="173"/>
                    <a:pt x="0" y="170"/>
                    <a:pt x="0" y="167"/>
                  </a:cubicBezTo>
                  <a:cubicBezTo>
                    <a:pt x="0" y="162"/>
                    <a:pt x="0" y="156"/>
                    <a:pt x="0" y="151"/>
                  </a:cubicBezTo>
                  <a:cubicBezTo>
                    <a:pt x="0" y="143"/>
                    <a:pt x="0" y="136"/>
                    <a:pt x="0" y="128"/>
                  </a:cubicBezTo>
                  <a:cubicBezTo>
                    <a:pt x="0" y="123"/>
                    <a:pt x="1" y="118"/>
                    <a:pt x="1" y="114"/>
                  </a:cubicBezTo>
                  <a:cubicBezTo>
                    <a:pt x="8" y="44"/>
                    <a:pt x="31" y="0"/>
                    <a:pt x="32" y="1"/>
                  </a:cubicBezTo>
                  <a:cubicBezTo>
                    <a:pt x="51" y="27"/>
                    <a:pt x="70" y="39"/>
                    <a:pt x="89" y="43"/>
                  </a:cubicBezTo>
                  <a:cubicBezTo>
                    <a:pt x="126" y="52"/>
                    <a:pt x="160" y="31"/>
                    <a:pt x="179" y="22"/>
                  </a:cubicBezTo>
                  <a:cubicBezTo>
                    <a:pt x="250" y="93"/>
                    <a:pt x="314" y="162"/>
                    <a:pt x="337" y="203"/>
                  </a:cubicBezTo>
                  <a:cubicBezTo>
                    <a:pt x="376" y="273"/>
                    <a:pt x="480" y="357"/>
                    <a:pt x="552" y="410"/>
                  </a:cubicBezTo>
                  <a:cubicBezTo>
                    <a:pt x="556" y="413"/>
                    <a:pt x="559" y="415"/>
                    <a:pt x="563" y="418"/>
                  </a:cubicBezTo>
                  <a:cubicBezTo>
                    <a:pt x="562" y="419"/>
                    <a:pt x="562" y="419"/>
                    <a:pt x="562" y="419"/>
                  </a:cubicBezTo>
                  <a:cubicBezTo>
                    <a:pt x="442" y="520"/>
                    <a:pt x="234" y="580"/>
                    <a:pt x="124" y="451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655">
              <a:extLst>
                <a:ext uri="{FF2B5EF4-FFF2-40B4-BE49-F238E27FC236}">
                  <a16:creationId xmlns:a16="http://schemas.microsoft.com/office/drawing/2014/main" id="{6A6653D2-E8D9-4538-8A45-F09A8A86C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188" y="4548188"/>
              <a:ext cx="522288" cy="501650"/>
            </a:xfrm>
            <a:custGeom>
              <a:avLst/>
              <a:gdLst>
                <a:gd name="T0" fmla="*/ 124 w 602"/>
                <a:gd name="T1" fmla="*/ 451 h 580"/>
                <a:gd name="T2" fmla="*/ 37 w 602"/>
                <a:gd name="T3" fmla="*/ 317 h 580"/>
                <a:gd name="T4" fmla="*/ 28 w 602"/>
                <a:gd name="T5" fmla="*/ 297 h 580"/>
                <a:gd name="T6" fmla="*/ 10 w 602"/>
                <a:gd name="T7" fmla="*/ 238 h 580"/>
                <a:gd name="T8" fmla="*/ 6 w 602"/>
                <a:gd name="T9" fmla="*/ 220 h 580"/>
                <a:gd name="T10" fmla="*/ 2 w 602"/>
                <a:gd name="T11" fmla="*/ 193 h 580"/>
                <a:gd name="T12" fmla="*/ 1 w 602"/>
                <a:gd name="T13" fmla="*/ 176 h 580"/>
                <a:gd name="T14" fmla="*/ 0 w 602"/>
                <a:gd name="T15" fmla="*/ 167 h 580"/>
                <a:gd name="T16" fmla="*/ 0 w 602"/>
                <a:gd name="T17" fmla="*/ 151 h 580"/>
                <a:gd name="T18" fmla="*/ 0 w 602"/>
                <a:gd name="T19" fmla="*/ 128 h 580"/>
                <a:gd name="T20" fmla="*/ 1 w 602"/>
                <a:gd name="T21" fmla="*/ 114 h 580"/>
                <a:gd name="T22" fmla="*/ 32 w 602"/>
                <a:gd name="T23" fmla="*/ 1 h 580"/>
                <a:gd name="T24" fmla="*/ 89 w 602"/>
                <a:gd name="T25" fmla="*/ 43 h 580"/>
                <a:gd name="T26" fmla="*/ 207 w 602"/>
                <a:gd name="T27" fmla="*/ 381 h 580"/>
                <a:gd name="T28" fmla="*/ 552 w 602"/>
                <a:gd name="T29" fmla="*/ 410 h 580"/>
                <a:gd name="T30" fmla="*/ 602 w 602"/>
                <a:gd name="T31" fmla="*/ 381 h 580"/>
                <a:gd name="T32" fmla="*/ 567 w 602"/>
                <a:gd name="T33" fmla="*/ 414 h 580"/>
                <a:gd name="T34" fmla="*/ 563 w 602"/>
                <a:gd name="T35" fmla="*/ 418 h 580"/>
                <a:gd name="T36" fmla="*/ 562 w 602"/>
                <a:gd name="T37" fmla="*/ 419 h 580"/>
                <a:gd name="T38" fmla="*/ 124 w 602"/>
                <a:gd name="T39" fmla="*/ 451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02" h="580">
                  <a:moveTo>
                    <a:pt x="124" y="451"/>
                  </a:moveTo>
                  <a:cubicBezTo>
                    <a:pt x="84" y="405"/>
                    <a:pt x="56" y="360"/>
                    <a:pt x="37" y="317"/>
                  </a:cubicBezTo>
                  <a:cubicBezTo>
                    <a:pt x="34" y="310"/>
                    <a:pt x="31" y="303"/>
                    <a:pt x="28" y="297"/>
                  </a:cubicBezTo>
                  <a:cubicBezTo>
                    <a:pt x="21" y="276"/>
                    <a:pt x="15" y="257"/>
                    <a:pt x="10" y="238"/>
                  </a:cubicBezTo>
                  <a:cubicBezTo>
                    <a:pt x="9" y="232"/>
                    <a:pt x="8" y="226"/>
                    <a:pt x="6" y="220"/>
                  </a:cubicBezTo>
                  <a:cubicBezTo>
                    <a:pt x="5" y="211"/>
                    <a:pt x="3" y="202"/>
                    <a:pt x="2" y="193"/>
                  </a:cubicBezTo>
                  <a:cubicBezTo>
                    <a:pt x="2" y="187"/>
                    <a:pt x="1" y="181"/>
                    <a:pt x="1" y="176"/>
                  </a:cubicBezTo>
                  <a:cubicBezTo>
                    <a:pt x="1" y="173"/>
                    <a:pt x="0" y="170"/>
                    <a:pt x="0" y="167"/>
                  </a:cubicBezTo>
                  <a:cubicBezTo>
                    <a:pt x="0" y="162"/>
                    <a:pt x="0" y="156"/>
                    <a:pt x="0" y="151"/>
                  </a:cubicBezTo>
                  <a:cubicBezTo>
                    <a:pt x="0" y="143"/>
                    <a:pt x="0" y="136"/>
                    <a:pt x="0" y="128"/>
                  </a:cubicBezTo>
                  <a:cubicBezTo>
                    <a:pt x="1" y="123"/>
                    <a:pt x="1" y="118"/>
                    <a:pt x="1" y="114"/>
                  </a:cubicBezTo>
                  <a:cubicBezTo>
                    <a:pt x="8" y="44"/>
                    <a:pt x="31" y="0"/>
                    <a:pt x="32" y="1"/>
                  </a:cubicBezTo>
                  <a:cubicBezTo>
                    <a:pt x="51" y="27"/>
                    <a:pt x="70" y="39"/>
                    <a:pt x="89" y="43"/>
                  </a:cubicBezTo>
                  <a:cubicBezTo>
                    <a:pt x="88" y="125"/>
                    <a:pt x="106" y="264"/>
                    <a:pt x="207" y="381"/>
                  </a:cubicBezTo>
                  <a:cubicBezTo>
                    <a:pt x="292" y="481"/>
                    <a:pt x="436" y="467"/>
                    <a:pt x="552" y="410"/>
                  </a:cubicBezTo>
                  <a:cubicBezTo>
                    <a:pt x="569" y="401"/>
                    <a:pt x="586" y="392"/>
                    <a:pt x="602" y="381"/>
                  </a:cubicBezTo>
                  <a:cubicBezTo>
                    <a:pt x="591" y="393"/>
                    <a:pt x="579" y="404"/>
                    <a:pt x="567" y="414"/>
                  </a:cubicBezTo>
                  <a:cubicBezTo>
                    <a:pt x="566" y="415"/>
                    <a:pt x="565" y="417"/>
                    <a:pt x="563" y="418"/>
                  </a:cubicBezTo>
                  <a:cubicBezTo>
                    <a:pt x="562" y="419"/>
                    <a:pt x="562" y="419"/>
                    <a:pt x="562" y="419"/>
                  </a:cubicBezTo>
                  <a:cubicBezTo>
                    <a:pt x="442" y="520"/>
                    <a:pt x="234" y="580"/>
                    <a:pt x="124" y="451"/>
                  </a:cubicBezTo>
                  <a:close/>
                </a:path>
              </a:pathLst>
            </a:custGeom>
            <a:solidFill>
              <a:srgbClr val="D7A3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656">
              <a:extLst>
                <a:ext uri="{FF2B5EF4-FFF2-40B4-BE49-F238E27FC236}">
                  <a16:creationId xmlns:a16="http://schemas.microsoft.com/office/drawing/2014/main" id="{8CBD6E65-77C0-40CA-BC11-C7B16780A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5763" y="4562476"/>
              <a:ext cx="338138" cy="347663"/>
            </a:xfrm>
            <a:custGeom>
              <a:avLst/>
              <a:gdLst>
                <a:gd name="T0" fmla="*/ 158 w 389"/>
                <a:gd name="T1" fmla="*/ 186 h 401"/>
                <a:gd name="T2" fmla="*/ 384 w 389"/>
                <a:gd name="T3" fmla="*/ 401 h 401"/>
                <a:gd name="T4" fmla="*/ 389 w 389"/>
                <a:gd name="T5" fmla="*/ 397 h 401"/>
                <a:gd name="T6" fmla="*/ 163 w 389"/>
                <a:gd name="T7" fmla="*/ 183 h 401"/>
                <a:gd name="T8" fmla="*/ 3 w 389"/>
                <a:gd name="T9" fmla="*/ 0 h 401"/>
                <a:gd name="T10" fmla="*/ 0 w 389"/>
                <a:gd name="T11" fmla="*/ 5 h 401"/>
                <a:gd name="T12" fmla="*/ 158 w 389"/>
                <a:gd name="T13" fmla="*/ 186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9" h="401">
                  <a:moveTo>
                    <a:pt x="158" y="186"/>
                  </a:moveTo>
                  <a:cubicBezTo>
                    <a:pt x="199" y="259"/>
                    <a:pt x="313" y="349"/>
                    <a:pt x="384" y="401"/>
                  </a:cubicBezTo>
                  <a:cubicBezTo>
                    <a:pt x="386" y="400"/>
                    <a:pt x="387" y="398"/>
                    <a:pt x="389" y="397"/>
                  </a:cubicBezTo>
                  <a:cubicBezTo>
                    <a:pt x="318" y="346"/>
                    <a:pt x="204" y="256"/>
                    <a:pt x="163" y="183"/>
                  </a:cubicBezTo>
                  <a:cubicBezTo>
                    <a:pt x="140" y="142"/>
                    <a:pt x="75" y="71"/>
                    <a:pt x="3" y="0"/>
                  </a:cubicBezTo>
                  <a:cubicBezTo>
                    <a:pt x="2" y="2"/>
                    <a:pt x="1" y="4"/>
                    <a:pt x="0" y="5"/>
                  </a:cubicBezTo>
                  <a:cubicBezTo>
                    <a:pt x="71" y="76"/>
                    <a:pt x="135" y="145"/>
                    <a:pt x="158" y="186"/>
                  </a:cubicBezTo>
                  <a:close/>
                </a:path>
              </a:pathLst>
            </a:custGeom>
            <a:solidFill>
              <a:srgbClr val="CC99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57">
              <a:extLst>
                <a:ext uri="{FF2B5EF4-FFF2-40B4-BE49-F238E27FC236}">
                  <a16:creationId xmlns:a16="http://schemas.microsoft.com/office/drawing/2014/main" id="{C8CD7856-4367-4F68-8B17-6AD0BD279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3725" y="546101"/>
              <a:ext cx="449263" cy="1344613"/>
            </a:xfrm>
            <a:custGeom>
              <a:avLst/>
              <a:gdLst>
                <a:gd name="T0" fmla="*/ 102 w 516"/>
                <a:gd name="T1" fmla="*/ 9 h 1552"/>
                <a:gd name="T2" fmla="*/ 516 w 516"/>
                <a:gd name="T3" fmla="*/ 885 h 1552"/>
                <a:gd name="T4" fmla="*/ 144 w 516"/>
                <a:gd name="T5" fmla="*/ 1552 h 1552"/>
                <a:gd name="T6" fmla="*/ 57 w 516"/>
                <a:gd name="T7" fmla="*/ 1492 h 1552"/>
                <a:gd name="T8" fmla="*/ 267 w 516"/>
                <a:gd name="T9" fmla="*/ 873 h 1552"/>
                <a:gd name="T10" fmla="*/ 18 w 516"/>
                <a:gd name="T11" fmla="*/ 345 h 1552"/>
                <a:gd name="T12" fmla="*/ 102 w 516"/>
                <a:gd name="T13" fmla="*/ 9 h 1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6" h="1552">
                  <a:moveTo>
                    <a:pt x="102" y="9"/>
                  </a:moveTo>
                  <a:cubicBezTo>
                    <a:pt x="349" y="31"/>
                    <a:pt x="419" y="433"/>
                    <a:pt x="516" y="885"/>
                  </a:cubicBezTo>
                  <a:cubicBezTo>
                    <a:pt x="144" y="1552"/>
                    <a:pt x="144" y="1552"/>
                    <a:pt x="144" y="1552"/>
                  </a:cubicBezTo>
                  <a:cubicBezTo>
                    <a:pt x="57" y="1492"/>
                    <a:pt x="57" y="1492"/>
                    <a:pt x="57" y="1492"/>
                  </a:cubicBezTo>
                  <a:cubicBezTo>
                    <a:pt x="267" y="873"/>
                    <a:pt x="267" y="873"/>
                    <a:pt x="267" y="873"/>
                  </a:cubicBezTo>
                  <a:cubicBezTo>
                    <a:pt x="18" y="345"/>
                    <a:pt x="18" y="345"/>
                    <a:pt x="18" y="345"/>
                  </a:cubicBezTo>
                  <a:cubicBezTo>
                    <a:pt x="18" y="345"/>
                    <a:pt x="0" y="0"/>
                    <a:pt x="102" y="9"/>
                  </a:cubicBezTo>
                  <a:close/>
                </a:path>
              </a:pathLst>
            </a:custGeom>
            <a:solidFill>
              <a:srgbClr val="E3C8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658">
              <a:extLst>
                <a:ext uri="{FF2B5EF4-FFF2-40B4-BE49-F238E27FC236}">
                  <a16:creationId xmlns:a16="http://schemas.microsoft.com/office/drawing/2014/main" id="{2A5E03E3-E048-41E3-8DF3-B5A2A4DAB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1688" y="546101"/>
              <a:ext cx="620713" cy="1123950"/>
            </a:xfrm>
            <a:custGeom>
              <a:avLst/>
              <a:gdLst>
                <a:gd name="T0" fmla="*/ 410 w 714"/>
                <a:gd name="T1" fmla="*/ 9 h 1297"/>
                <a:gd name="T2" fmla="*/ 0 w 714"/>
                <a:gd name="T3" fmla="*/ 940 h 1297"/>
                <a:gd name="T4" fmla="*/ 673 w 714"/>
                <a:gd name="T5" fmla="*/ 1297 h 1297"/>
                <a:gd name="T6" fmla="*/ 714 w 714"/>
                <a:gd name="T7" fmla="*/ 1197 h 1297"/>
                <a:gd name="T8" fmla="*/ 244 w 714"/>
                <a:gd name="T9" fmla="*/ 873 h 1297"/>
                <a:gd name="T10" fmla="*/ 493 w 714"/>
                <a:gd name="T11" fmla="*/ 345 h 1297"/>
                <a:gd name="T12" fmla="*/ 410 w 714"/>
                <a:gd name="T13" fmla="*/ 9 h 1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4" h="1297">
                  <a:moveTo>
                    <a:pt x="410" y="9"/>
                  </a:moveTo>
                  <a:cubicBezTo>
                    <a:pt x="162" y="31"/>
                    <a:pt x="55" y="639"/>
                    <a:pt x="0" y="940"/>
                  </a:cubicBezTo>
                  <a:cubicBezTo>
                    <a:pt x="69" y="1093"/>
                    <a:pt x="673" y="1297"/>
                    <a:pt x="673" y="1297"/>
                  </a:cubicBezTo>
                  <a:cubicBezTo>
                    <a:pt x="714" y="1197"/>
                    <a:pt x="714" y="1197"/>
                    <a:pt x="714" y="1197"/>
                  </a:cubicBezTo>
                  <a:cubicBezTo>
                    <a:pt x="244" y="873"/>
                    <a:pt x="244" y="873"/>
                    <a:pt x="244" y="873"/>
                  </a:cubicBezTo>
                  <a:cubicBezTo>
                    <a:pt x="493" y="345"/>
                    <a:pt x="493" y="345"/>
                    <a:pt x="493" y="345"/>
                  </a:cubicBezTo>
                  <a:cubicBezTo>
                    <a:pt x="493" y="345"/>
                    <a:pt x="512" y="0"/>
                    <a:pt x="410" y="9"/>
                  </a:cubicBezTo>
                  <a:close/>
                </a:path>
              </a:pathLst>
            </a:custGeom>
            <a:solidFill>
              <a:srgbClr val="E3C8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659">
              <a:extLst>
                <a:ext uri="{FF2B5EF4-FFF2-40B4-BE49-F238E27FC236}">
                  <a16:creationId xmlns:a16="http://schemas.microsoft.com/office/drawing/2014/main" id="{F67704D2-2BBE-4007-965C-BA02F0300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5825" y="3567113"/>
              <a:ext cx="950913" cy="954088"/>
            </a:xfrm>
            <a:custGeom>
              <a:avLst/>
              <a:gdLst>
                <a:gd name="T0" fmla="*/ 175 w 1094"/>
                <a:gd name="T1" fmla="*/ 1027 h 1100"/>
                <a:gd name="T2" fmla="*/ 422 w 1094"/>
                <a:gd name="T3" fmla="*/ 90 h 1100"/>
                <a:gd name="T4" fmla="*/ 1087 w 1094"/>
                <a:gd name="T5" fmla="*/ 50 h 1100"/>
                <a:gd name="T6" fmla="*/ 1094 w 1094"/>
                <a:gd name="T7" fmla="*/ 160 h 1100"/>
                <a:gd name="T8" fmla="*/ 604 w 1094"/>
                <a:gd name="T9" fmla="*/ 259 h 1100"/>
                <a:gd name="T10" fmla="*/ 455 w 1094"/>
                <a:gd name="T11" fmla="*/ 823 h 1100"/>
                <a:gd name="T12" fmla="*/ 175 w 1094"/>
                <a:gd name="T13" fmla="*/ 1027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4" h="1100">
                  <a:moveTo>
                    <a:pt x="175" y="1027"/>
                  </a:moveTo>
                  <a:cubicBezTo>
                    <a:pt x="0" y="851"/>
                    <a:pt x="209" y="410"/>
                    <a:pt x="422" y="90"/>
                  </a:cubicBezTo>
                  <a:cubicBezTo>
                    <a:pt x="565" y="0"/>
                    <a:pt x="1087" y="50"/>
                    <a:pt x="1087" y="50"/>
                  </a:cubicBezTo>
                  <a:cubicBezTo>
                    <a:pt x="1094" y="160"/>
                    <a:pt x="1094" y="160"/>
                    <a:pt x="1094" y="160"/>
                  </a:cubicBezTo>
                  <a:cubicBezTo>
                    <a:pt x="604" y="259"/>
                    <a:pt x="604" y="259"/>
                    <a:pt x="604" y="259"/>
                  </a:cubicBezTo>
                  <a:cubicBezTo>
                    <a:pt x="455" y="823"/>
                    <a:pt x="455" y="823"/>
                    <a:pt x="455" y="823"/>
                  </a:cubicBezTo>
                  <a:cubicBezTo>
                    <a:pt x="455" y="823"/>
                    <a:pt x="248" y="1100"/>
                    <a:pt x="175" y="1027"/>
                  </a:cubicBezTo>
                  <a:close/>
                </a:path>
              </a:pathLst>
            </a:custGeom>
            <a:solidFill>
              <a:srgbClr val="447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660">
              <a:extLst>
                <a:ext uri="{FF2B5EF4-FFF2-40B4-BE49-F238E27FC236}">
                  <a16:creationId xmlns:a16="http://schemas.microsoft.com/office/drawing/2014/main" id="{0ACAE47F-9501-4224-A15B-0E1CE7FA5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3213" y="4067176"/>
              <a:ext cx="901700" cy="1023938"/>
            </a:xfrm>
            <a:custGeom>
              <a:avLst/>
              <a:gdLst>
                <a:gd name="T0" fmla="*/ 84 w 1037"/>
                <a:gd name="T1" fmla="*/ 1040 h 1182"/>
                <a:gd name="T2" fmla="*/ 977 w 1037"/>
                <a:gd name="T3" fmla="*/ 675 h 1182"/>
                <a:gd name="T4" fmla="*/ 790 w 1037"/>
                <a:gd name="T5" fmla="*/ 0 h 1182"/>
                <a:gd name="T6" fmla="*/ 679 w 1037"/>
                <a:gd name="T7" fmla="*/ 10 h 1182"/>
                <a:gd name="T8" fmla="*/ 767 w 1037"/>
                <a:gd name="T9" fmla="*/ 548 h 1182"/>
                <a:gd name="T10" fmla="*/ 237 w 1037"/>
                <a:gd name="T11" fmla="*/ 728 h 1182"/>
                <a:gd name="T12" fmla="*/ 84 w 1037"/>
                <a:gd name="T13" fmla="*/ 1040 h 1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7" h="1182">
                  <a:moveTo>
                    <a:pt x="84" y="1040"/>
                  </a:moveTo>
                  <a:cubicBezTo>
                    <a:pt x="288" y="1182"/>
                    <a:pt x="785" y="863"/>
                    <a:pt x="977" y="675"/>
                  </a:cubicBezTo>
                  <a:cubicBezTo>
                    <a:pt x="1037" y="482"/>
                    <a:pt x="790" y="0"/>
                    <a:pt x="790" y="0"/>
                  </a:cubicBezTo>
                  <a:cubicBezTo>
                    <a:pt x="679" y="10"/>
                    <a:pt x="679" y="10"/>
                    <a:pt x="679" y="10"/>
                  </a:cubicBezTo>
                  <a:cubicBezTo>
                    <a:pt x="767" y="548"/>
                    <a:pt x="767" y="548"/>
                    <a:pt x="767" y="548"/>
                  </a:cubicBezTo>
                  <a:cubicBezTo>
                    <a:pt x="237" y="728"/>
                    <a:pt x="237" y="728"/>
                    <a:pt x="237" y="728"/>
                  </a:cubicBezTo>
                  <a:cubicBezTo>
                    <a:pt x="237" y="728"/>
                    <a:pt x="0" y="981"/>
                    <a:pt x="84" y="1040"/>
                  </a:cubicBezTo>
                  <a:close/>
                </a:path>
              </a:pathLst>
            </a:custGeom>
            <a:solidFill>
              <a:srgbClr val="447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661">
              <a:extLst>
                <a:ext uri="{FF2B5EF4-FFF2-40B4-BE49-F238E27FC236}">
                  <a16:creationId xmlns:a16="http://schemas.microsoft.com/office/drawing/2014/main" id="{86036990-83B2-495D-AF96-FB939CD37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3038" y="2300288"/>
              <a:ext cx="628650" cy="561975"/>
            </a:xfrm>
            <a:custGeom>
              <a:avLst/>
              <a:gdLst>
                <a:gd name="T0" fmla="*/ 697 w 724"/>
                <a:gd name="T1" fmla="*/ 212 h 648"/>
                <a:gd name="T2" fmla="*/ 204 w 724"/>
                <a:gd name="T3" fmla="*/ 8 h 648"/>
                <a:gd name="T4" fmla="*/ 158 w 724"/>
                <a:gd name="T5" fmla="*/ 27 h 648"/>
                <a:gd name="T6" fmla="*/ 8 w 724"/>
                <a:gd name="T7" fmla="*/ 391 h 648"/>
                <a:gd name="T8" fmla="*/ 27 w 724"/>
                <a:gd name="T9" fmla="*/ 437 h 648"/>
                <a:gd name="T10" fmla="*/ 520 w 724"/>
                <a:gd name="T11" fmla="*/ 641 h 648"/>
                <a:gd name="T12" fmla="*/ 565 w 724"/>
                <a:gd name="T13" fmla="*/ 622 h 648"/>
                <a:gd name="T14" fmla="*/ 716 w 724"/>
                <a:gd name="T15" fmla="*/ 258 h 648"/>
                <a:gd name="T16" fmla="*/ 697 w 724"/>
                <a:gd name="T17" fmla="*/ 212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4" h="648">
                  <a:moveTo>
                    <a:pt x="697" y="212"/>
                  </a:moveTo>
                  <a:cubicBezTo>
                    <a:pt x="204" y="8"/>
                    <a:pt x="204" y="8"/>
                    <a:pt x="204" y="8"/>
                  </a:cubicBezTo>
                  <a:cubicBezTo>
                    <a:pt x="186" y="0"/>
                    <a:pt x="166" y="9"/>
                    <a:pt x="158" y="27"/>
                  </a:cubicBezTo>
                  <a:cubicBezTo>
                    <a:pt x="8" y="391"/>
                    <a:pt x="8" y="391"/>
                    <a:pt x="8" y="391"/>
                  </a:cubicBezTo>
                  <a:cubicBezTo>
                    <a:pt x="0" y="409"/>
                    <a:pt x="9" y="429"/>
                    <a:pt x="27" y="437"/>
                  </a:cubicBezTo>
                  <a:cubicBezTo>
                    <a:pt x="520" y="641"/>
                    <a:pt x="520" y="641"/>
                    <a:pt x="520" y="641"/>
                  </a:cubicBezTo>
                  <a:cubicBezTo>
                    <a:pt x="538" y="648"/>
                    <a:pt x="558" y="640"/>
                    <a:pt x="565" y="622"/>
                  </a:cubicBezTo>
                  <a:cubicBezTo>
                    <a:pt x="716" y="258"/>
                    <a:pt x="716" y="258"/>
                    <a:pt x="716" y="258"/>
                  </a:cubicBezTo>
                  <a:cubicBezTo>
                    <a:pt x="724" y="240"/>
                    <a:pt x="715" y="219"/>
                    <a:pt x="697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662">
              <a:extLst>
                <a:ext uri="{FF2B5EF4-FFF2-40B4-BE49-F238E27FC236}">
                  <a16:creationId xmlns:a16="http://schemas.microsoft.com/office/drawing/2014/main" id="{15F777DB-869B-4765-9BDF-6C4AD221C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3513" y="2274888"/>
              <a:ext cx="627063" cy="561975"/>
            </a:xfrm>
            <a:custGeom>
              <a:avLst/>
              <a:gdLst>
                <a:gd name="T0" fmla="*/ 7 w 723"/>
                <a:gd name="T1" fmla="*/ 391 h 648"/>
                <a:gd name="T2" fmla="*/ 158 w 723"/>
                <a:gd name="T3" fmla="*/ 27 h 648"/>
                <a:gd name="T4" fmla="*/ 204 w 723"/>
                <a:gd name="T5" fmla="*/ 8 h 648"/>
                <a:gd name="T6" fmla="*/ 697 w 723"/>
                <a:gd name="T7" fmla="*/ 212 h 648"/>
                <a:gd name="T8" fmla="*/ 716 w 723"/>
                <a:gd name="T9" fmla="*/ 258 h 648"/>
                <a:gd name="T10" fmla="*/ 565 w 723"/>
                <a:gd name="T11" fmla="*/ 622 h 648"/>
                <a:gd name="T12" fmla="*/ 519 w 723"/>
                <a:gd name="T13" fmla="*/ 641 h 648"/>
                <a:gd name="T14" fmla="*/ 26 w 723"/>
                <a:gd name="T15" fmla="*/ 437 h 648"/>
                <a:gd name="T16" fmla="*/ 7 w 723"/>
                <a:gd name="T17" fmla="*/ 391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3" h="648">
                  <a:moveTo>
                    <a:pt x="7" y="391"/>
                  </a:moveTo>
                  <a:cubicBezTo>
                    <a:pt x="158" y="27"/>
                    <a:pt x="158" y="27"/>
                    <a:pt x="158" y="27"/>
                  </a:cubicBezTo>
                  <a:cubicBezTo>
                    <a:pt x="165" y="9"/>
                    <a:pt x="186" y="0"/>
                    <a:pt x="204" y="8"/>
                  </a:cubicBezTo>
                  <a:cubicBezTo>
                    <a:pt x="697" y="212"/>
                    <a:pt x="697" y="212"/>
                    <a:pt x="697" y="212"/>
                  </a:cubicBezTo>
                  <a:cubicBezTo>
                    <a:pt x="714" y="219"/>
                    <a:pt x="723" y="240"/>
                    <a:pt x="716" y="258"/>
                  </a:cubicBezTo>
                  <a:cubicBezTo>
                    <a:pt x="565" y="622"/>
                    <a:pt x="565" y="622"/>
                    <a:pt x="565" y="622"/>
                  </a:cubicBezTo>
                  <a:cubicBezTo>
                    <a:pt x="557" y="640"/>
                    <a:pt x="537" y="648"/>
                    <a:pt x="519" y="641"/>
                  </a:cubicBezTo>
                  <a:cubicBezTo>
                    <a:pt x="26" y="437"/>
                    <a:pt x="26" y="437"/>
                    <a:pt x="26" y="437"/>
                  </a:cubicBezTo>
                  <a:cubicBezTo>
                    <a:pt x="8" y="429"/>
                    <a:pt x="0" y="409"/>
                    <a:pt x="7" y="39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663">
              <a:extLst>
                <a:ext uri="{FF2B5EF4-FFF2-40B4-BE49-F238E27FC236}">
                  <a16:creationId xmlns:a16="http://schemas.microsoft.com/office/drawing/2014/main" id="{AE618E9A-4AB3-4DF8-9531-DFA4339C4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2250" y="2314576"/>
              <a:ext cx="542925" cy="496888"/>
            </a:xfrm>
            <a:custGeom>
              <a:avLst/>
              <a:gdLst>
                <a:gd name="T0" fmla="*/ 0 w 342"/>
                <a:gd name="T1" fmla="*/ 207 h 313"/>
                <a:gd name="T2" fmla="*/ 85 w 342"/>
                <a:gd name="T3" fmla="*/ 0 h 313"/>
                <a:gd name="T4" fmla="*/ 342 w 342"/>
                <a:gd name="T5" fmla="*/ 106 h 313"/>
                <a:gd name="T6" fmla="*/ 257 w 342"/>
                <a:gd name="T7" fmla="*/ 313 h 313"/>
                <a:gd name="T8" fmla="*/ 0 w 342"/>
                <a:gd name="T9" fmla="*/ 207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" h="313">
                  <a:moveTo>
                    <a:pt x="0" y="207"/>
                  </a:moveTo>
                  <a:lnTo>
                    <a:pt x="85" y="0"/>
                  </a:lnTo>
                  <a:lnTo>
                    <a:pt x="342" y="106"/>
                  </a:lnTo>
                  <a:lnTo>
                    <a:pt x="257" y="313"/>
                  </a:lnTo>
                  <a:lnTo>
                    <a:pt x="0" y="207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64">
              <a:extLst>
                <a:ext uri="{FF2B5EF4-FFF2-40B4-BE49-F238E27FC236}">
                  <a16:creationId xmlns:a16="http://schemas.microsoft.com/office/drawing/2014/main" id="{2540A740-164E-4394-852E-FF0D9373E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6063" y="2449513"/>
              <a:ext cx="36513" cy="36513"/>
            </a:xfrm>
            <a:custGeom>
              <a:avLst/>
              <a:gdLst>
                <a:gd name="T0" fmla="*/ 14 w 42"/>
                <a:gd name="T1" fmla="*/ 38 h 41"/>
                <a:gd name="T2" fmla="*/ 4 w 42"/>
                <a:gd name="T3" fmla="*/ 14 h 41"/>
                <a:gd name="T4" fmla="*/ 28 w 42"/>
                <a:gd name="T5" fmla="*/ 4 h 41"/>
                <a:gd name="T6" fmla="*/ 38 w 42"/>
                <a:gd name="T7" fmla="*/ 28 h 41"/>
                <a:gd name="T8" fmla="*/ 14 w 42"/>
                <a:gd name="T9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1">
                  <a:moveTo>
                    <a:pt x="14" y="38"/>
                  </a:moveTo>
                  <a:cubicBezTo>
                    <a:pt x="5" y="34"/>
                    <a:pt x="0" y="23"/>
                    <a:pt x="4" y="14"/>
                  </a:cubicBezTo>
                  <a:cubicBezTo>
                    <a:pt x="8" y="4"/>
                    <a:pt x="19" y="0"/>
                    <a:pt x="28" y="4"/>
                  </a:cubicBezTo>
                  <a:cubicBezTo>
                    <a:pt x="38" y="8"/>
                    <a:pt x="42" y="18"/>
                    <a:pt x="38" y="28"/>
                  </a:cubicBezTo>
                  <a:cubicBezTo>
                    <a:pt x="34" y="37"/>
                    <a:pt x="24" y="41"/>
                    <a:pt x="14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665">
              <a:extLst>
                <a:ext uri="{FF2B5EF4-FFF2-40B4-BE49-F238E27FC236}">
                  <a16:creationId xmlns:a16="http://schemas.microsoft.com/office/drawing/2014/main" id="{62CFE098-D376-4ADA-AFE9-E91EE07CD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7825" y="2363788"/>
              <a:ext cx="234950" cy="100013"/>
            </a:xfrm>
            <a:custGeom>
              <a:avLst/>
              <a:gdLst>
                <a:gd name="T0" fmla="*/ 0 w 270"/>
                <a:gd name="T1" fmla="*/ 1 h 114"/>
                <a:gd name="T2" fmla="*/ 2 w 270"/>
                <a:gd name="T3" fmla="*/ 1 h 114"/>
                <a:gd name="T4" fmla="*/ 269 w 270"/>
                <a:gd name="T5" fmla="*/ 111 h 114"/>
                <a:gd name="T6" fmla="*/ 270 w 270"/>
                <a:gd name="T7" fmla="*/ 113 h 114"/>
                <a:gd name="T8" fmla="*/ 268 w 270"/>
                <a:gd name="T9" fmla="*/ 114 h 114"/>
                <a:gd name="T10" fmla="*/ 1 w 270"/>
                <a:gd name="T11" fmla="*/ 3 h 114"/>
                <a:gd name="T12" fmla="*/ 0 w 270"/>
                <a:gd name="T13" fmla="*/ 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114">
                  <a:moveTo>
                    <a:pt x="0" y="1"/>
                  </a:moveTo>
                  <a:cubicBezTo>
                    <a:pt x="1" y="1"/>
                    <a:pt x="1" y="0"/>
                    <a:pt x="2" y="1"/>
                  </a:cubicBezTo>
                  <a:cubicBezTo>
                    <a:pt x="269" y="111"/>
                    <a:pt x="269" y="111"/>
                    <a:pt x="269" y="111"/>
                  </a:cubicBezTo>
                  <a:cubicBezTo>
                    <a:pt x="270" y="112"/>
                    <a:pt x="270" y="112"/>
                    <a:pt x="270" y="113"/>
                  </a:cubicBezTo>
                  <a:cubicBezTo>
                    <a:pt x="270" y="114"/>
                    <a:pt x="269" y="114"/>
                    <a:pt x="268" y="11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666">
              <a:extLst>
                <a:ext uri="{FF2B5EF4-FFF2-40B4-BE49-F238E27FC236}">
                  <a16:creationId xmlns:a16="http://schemas.microsoft.com/office/drawing/2014/main" id="{EF23600E-87F0-4170-B8E8-A309285BE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8450" y="2357438"/>
              <a:ext cx="100013" cy="234950"/>
            </a:xfrm>
            <a:custGeom>
              <a:avLst/>
              <a:gdLst>
                <a:gd name="T0" fmla="*/ 1 w 115"/>
                <a:gd name="T1" fmla="*/ 270 h 272"/>
                <a:gd name="T2" fmla="*/ 112 w 115"/>
                <a:gd name="T3" fmla="*/ 2 h 272"/>
                <a:gd name="T4" fmla="*/ 114 w 115"/>
                <a:gd name="T5" fmla="*/ 1 h 272"/>
                <a:gd name="T6" fmla="*/ 115 w 115"/>
                <a:gd name="T7" fmla="*/ 3 h 272"/>
                <a:gd name="T8" fmla="*/ 3 w 115"/>
                <a:gd name="T9" fmla="*/ 271 h 272"/>
                <a:gd name="T10" fmla="*/ 2 w 115"/>
                <a:gd name="T11" fmla="*/ 272 h 272"/>
                <a:gd name="T12" fmla="*/ 1 w 115"/>
                <a:gd name="T13" fmla="*/ 27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272">
                  <a:moveTo>
                    <a:pt x="1" y="270"/>
                  </a:moveTo>
                  <a:cubicBezTo>
                    <a:pt x="112" y="2"/>
                    <a:pt x="112" y="2"/>
                    <a:pt x="112" y="2"/>
                  </a:cubicBezTo>
                  <a:cubicBezTo>
                    <a:pt x="112" y="1"/>
                    <a:pt x="113" y="0"/>
                    <a:pt x="114" y="1"/>
                  </a:cubicBezTo>
                  <a:cubicBezTo>
                    <a:pt x="115" y="1"/>
                    <a:pt x="115" y="2"/>
                    <a:pt x="115" y="3"/>
                  </a:cubicBezTo>
                  <a:cubicBezTo>
                    <a:pt x="3" y="271"/>
                    <a:pt x="3" y="271"/>
                    <a:pt x="3" y="271"/>
                  </a:cubicBezTo>
                  <a:cubicBezTo>
                    <a:pt x="3" y="272"/>
                    <a:pt x="2" y="272"/>
                    <a:pt x="2" y="272"/>
                  </a:cubicBezTo>
                  <a:cubicBezTo>
                    <a:pt x="1" y="272"/>
                    <a:pt x="0" y="271"/>
                    <a:pt x="1" y="270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667">
              <a:extLst>
                <a:ext uri="{FF2B5EF4-FFF2-40B4-BE49-F238E27FC236}">
                  <a16:creationId xmlns:a16="http://schemas.microsoft.com/office/drawing/2014/main" id="{0D9C8F8D-54A8-4F0F-BE42-2A667EDF5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7825" y="2400301"/>
              <a:ext cx="144463" cy="282575"/>
            </a:xfrm>
            <a:custGeom>
              <a:avLst/>
              <a:gdLst>
                <a:gd name="T0" fmla="*/ 38 w 165"/>
                <a:gd name="T1" fmla="*/ 2 h 326"/>
                <a:gd name="T2" fmla="*/ 39 w 165"/>
                <a:gd name="T3" fmla="*/ 1 h 326"/>
                <a:gd name="T4" fmla="*/ 41 w 165"/>
                <a:gd name="T5" fmla="*/ 1 h 326"/>
                <a:gd name="T6" fmla="*/ 99 w 165"/>
                <a:gd name="T7" fmla="*/ 85 h 326"/>
                <a:gd name="T8" fmla="*/ 100 w 165"/>
                <a:gd name="T9" fmla="*/ 86 h 326"/>
                <a:gd name="T10" fmla="*/ 99 w 165"/>
                <a:gd name="T11" fmla="*/ 87 h 326"/>
                <a:gd name="T12" fmla="*/ 69 w 165"/>
                <a:gd name="T13" fmla="*/ 106 h 326"/>
                <a:gd name="T14" fmla="*/ 133 w 165"/>
                <a:gd name="T15" fmla="*/ 165 h 326"/>
                <a:gd name="T16" fmla="*/ 133 w 165"/>
                <a:gd name="T17" fmla="*/ 167 h 326"/>
                <a:gd name="T18" fmla="*/ 133 w 165"/>
                <a:gd name="T19" fmla="*/ 167 h 326"/>
                <a:gd name="T20" fmla="*/ 132 w 165"/>
                <a:gd name="T21" fmla="*/ 168 h 326"/>
                <a:gd name="T22" fmla="*/ 7 w 165"/>
                <a:gd name="T23" fmla="*/ 160 h 326"/>
                <a:gd name="T24" fmla="*/ 72 w 165"/>
                <a:gd name="T25" fmla="*/ 206 h 326"/>
                <a:gd name="T26" fmla="*/ 72 w 165"/>
                <a:gd name="T27" fmla="*/ 208 h 326"/>
                <a:gd name="T28" fmla="*/ 71 w 165"/>
                <a:gd name="T29" fmla="*/ 209 h 326"/>
                <a:gd name="T30" fmla="*/ 42 w 165"/>
                <a:gd name="T31" fmla="*/ 214 h 326"/>
                <a:gd name="T32" fmla="*/ 112 w 165"/>
                <a:gd name="T33" fmla="*/ 260 h 326"/>
                <a:gd name="T34" fmla="*/ 113 w 165"/>
                <a:gd name="T35" fmla="*/ 261 h 326"/>
                <a:gd name="T36" fmla="*/ 111 w 165"/>
                <a:gd name="T37" fmla="*/ 262 h 326"/>
                <a:gd name="T38" fmla="*/ 94 w 165"/>
                <a:gd name="T39" fmla="*/ 267 h 326"/>
                <a:gd name="T40" fmla="*/ 164 w 165"/>
                <a:gd name="T41" fmla="*/ 324 h 326"/>
                <a:gd name="T42" fmla="*/ 164 w 165"/>
                <a:gd name="T43" fmla="*/ 326 h 326"/>
                <a:gd name="T44" fmla="*/ 162 w 165"/>
                <a:gd name="T45" fmla="*/ 326 h 326"/>
                <a:gd name="T46" fmla="*/ 90 w 165"/>
                <a:gd name="T47" fmla="*/ 267 h 326"/>
                <a:gd name="T48" fmla="*/ 90 w 165"/>
                <a:gd name="T49" fmla="*/ 266 h 326"/>
                <a:gd name="T50" fmla="*/ 91 w 165"/>
                <a:gd name="T51" fmla="*/ 265 h 326"/>
                <a:gd name="T52" fmla="*/ 108 w 165"/>
                <a:gd name="T53" fmla="*/ 260 h 326"/>
                <a:gd name="T54" fmla="*/ 37 w 165"/>
                <a:gd name="T55" fmla="*/ 215 h 326"/>
                <a:gd name="T56" fmla="*/ 36 w 165"/>
                <a:gd name="T57" fmla="*/ 213 h 326"/>
                <a:gd name="T58" fmla="*/ 37 w 165"/>
                <a:gd name="T59" fmla="*/ 212 h 326"/>
                <a:gd name="T60" fmla="*/ 67 w 165"/>
                <a:gd name="T61" fmla="*/ 207 h 326"/>
                <a:gd name="T62" fmla="*/ 1 w 165"/>
                <a:gd name="T63" fmla="*/ 159 h 326"/>
                <a:gd name="T64" fmla="*/ 0 w 165"/>
                <a:gd name="T65" fmla="*/ 158 h 326"/>
                <a:gd name="T66" fmla="*/ 2 w 165"/>
                <a:gd name="T67" fmla="*/ 157 h 326"/>
                <a:gd name="T68" fmla="*/ 128 w 165"/>
                <a:gd name="T69" fmla="*/ 164 h 326"/>
                <a:gd name="T70" fmla="*/ 65 w 165"/>
                <a:gd name="T71" fmla="*/ 107 h 326"/>
                <a:gd name="T72" fmla="*/ 65 w 165"/>
                <a:gd name="T73" fmla="*/ 106 h 326"/>
                <a:gd name="T74" fmla="*/ 66 w 165"/>
                <a:gd name="T75" fmla="*/ 104 h 326"/>
                <a:gd name="T76" fmla="*/ 96 w 165"/>
                <a:gd name="T77" fmla="*/ 85 h 326"/>
                <a:gd name="T78" fmla="*/ 38 w 165"/>
                <a:gd name="T79" fmla="*/ 3 h 326"/>
                <a:gd name="T80" fmla="*/ 38 w 165"/>
                <a:gd name="T81" fmla="*/ 2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5" h="326">
                  <a:moveTo>
                    <a:pt x="38" y="2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39" y="0"/>
                    <a:pt x="40" y="1"/>
                    <a:pt x="41" y="1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100" y="85"/>
                    <a:pt x="100" y="85"/>
                    <a:pt x="100" y="86"/>
                  </a:cubicBezTo>
                  <a:cubicBezTo>
                    <a:pt x="100" y="86"/>
                    <a:pt x="99" y="87"/>
                    <a:pt x="99" y="87"/>
                  </a:cubicBezTo>
                  <a:cubicBezTo>
                    <a:pt x="69" y="106"/>
                    <a:pt x="69" y="106"/>
                    <a:pt x="69" y="106"/>
                  </a:cubicBezTo>
                  <a:cubicBezTo>
                    <a:pt x="133" y="165"/>
                    <a:pt x="133" y="165"/>
                    <a:pt x="133" y="165"/>
                  </a:cubicBezTo>
                  <a:cubicBezTo>
                    <a:pt x="133" y="165"/>
                    <a:pt x="133" y="166"/>
                    <a:pt x="133" y="167"/>
                  </a:cubicBezTo>
                  <a:cubicBezTo>
                    <a:pt x="133" y="167"/>
                    <a:pt x="133" y="167"/>
                    <a:pt x="133" y="167"/>
                  </a:cubicBezTo>
                  <a:cubicBezTo>
                    <a:pt x="133" y="167"/>
                    <a:pt x="132" y="168"/>
                    <a:pt x="132" y="168"/>
                  </a:cubicBezTo>
                  <a:cubicBezTo>
                    <a:pt x="7" y="160"/>
                    <a:pt x="7" y="160"/>
                    <a:pt x="7" y="160"/>
                  </a:cubicBezTo>
                  <a:cubicBezTo>
                    <a:pt x="72" y="206"/>
                    <a:pt x="72" y="206"/>
                    <a:pt x="72" y="206"/>
                  </a:cubicBezTo>
                  <a:cubicBezTo>
                    <a:pt x="72" y="207"/>
                    <a:pt x="72" y="207"/>
                    <a:pt x="72" y="208"/>
                  </a:cubicBezTo>
                  <a:cubicBezTo>
                    <a:pt x="72" y="208"/>
                    <a:pt x="72" y="209"/>
                    <a:pt x="71" y="209"/>
                  </a:cubicBezTo>
                  <a:cubicBezTo>
                    <a:pt x="42" y="214"/>
                    <a:pt x="42" y="214"/>
                    <a:pt x="42" y="214"/>
                  </a:cubicBezTo>
                  <a:cubicBezTo>
                    <a:pt x="112" y="260"/>
                    <a:pt x="112" y="260"/>
                    <a:pt x="112" y="260"/>
                  </a:cubicBezTo>
                  <a:cubicBezTo>
                    <a:pt x="112" y="260"/>
                    <a:pt x="113" y="260"/>
                    <a:pt x="113" y="261"/>
                  </a:cubicBezTo>
                  <a:cubicBezTo>
                    <a:pt x="112" y="262"/>
                    <a:pt x="112" y="262"/>
                    <a:pt x="111" y="262"/>
                  </a:cubicBezTo>
                  <a:cubicBezTo>
                    <a:pt x="94" y="267"/>
                    <a:pt x="94" y="267"/>
                    <a:pt x="94" y="267"/>
                  </a:cubicBezTo>
                  <a:cubicBezTo>
                    <a:pt x="164" y="324"/>
                    <a:pt x="164" y="324"/>
                    <a:pt x="164" y="324"/>
                  </a:cubicBezTo>
                  <a:cubicBezTo>
                    <a:pt x="165" y="324"/>
                    <a:pt x="165" y="325"/>
                    <a:pt x="164" y="326"/>
                  </a:cubicBezTo>
                  <a:cubicBezTo>
                    <a:pt x="164" y="326"/>
                    <a:pt x="163" y="326"/>
                    <a:pt x="162" y="326"/>
                  </a:cubicBezTo>
                  <a:cubicBezTo>
                    <a:pt x="90" y="267"/>
                    <a:pt x="90" y="267"/>
                    <a:pt x="90" y="267"/>
                  </a:cubicBezTo>
                  <a:cubicBezTo>
                    <a:pt x="90" y="267"/>
                    <a:pt x="90" y="266"/>
                    <a:pt x="90" y="266"/>
                  </a:cubicBezTo>
                  <a:cubicBezTo>
                    <a:pt x="90" y="265"/>
                    <a:pt x="91" y="265"/>
                    <a:pt x="91" y="265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37" y="215"/>
                    <a:pt x="37" y="215"/>
                    <a:pt x="37" y="215"/>
                  </a:cubicBezTo>
                  <a:cubicBezTo>
                    <a:pt x="36" y="215"/>
                    <a:pt x="36" y="214"/>
                    <a:pt x="36" y="213"/>
                  </a:cubicBezTo>
                  <a:cubicBezTo>
                    <a:pt x="36" y="213"/>
                    <a:pt x="37" y="212"/>
                    <a:pt x="37" y="212"/>
                  </a:cubicBezTo>
                  <a:cubicBezTo>
                    <a:pt x="67" y="207"/>
                    <a:pt x="67" y="207"/>
                    <a:pt x="67" y="207"/>
                  </a:cubicBezTo>
                  <a:cubicBezTo>
                    <a:pt x="1" y="159"/>
                    <a:pt x="1" y="159"/>
                    <a:pt x="1" y="159"/>
                  </a:cubicBezTo>
                  <a:cubicBezTo>
                    <a:pt x="0" y="159"/>
                    <a:pt x="0" y="158"/>
                    <a:pt x="0" y="158"/>
                  </a:cubicBezTo>
                  <a:cubicBezTo>
                    <a:pt x="1" y="157"/>
                    <a:pt x="1" y="157"/>
                    <a:pt x="2" y="157"/>
                  </a:cubicBezTo>
                  <a:cubicBezTo>
                    <a:pt x="128" y="164"/>
                    <a:pt x="128" y="164"/>
                    <a:pt x="128" y="164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65" y="106"/>
                    <a:pt x="65" y="106"/>
                    <a:pt x="65" y="106"/>
                  </a:cubicBezTo>
                  <a:cubicBezTo>
                    <a:pt x="65" y="105"/>
                    <a:pt x="65" y="105"/>
                    <a:pt x="66" y="104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2"/>
                    <a:pt x="38" y="2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668">
              <a:extLst>
                <a:ext uri="{FF2B5EF4-FFF2-40B4-BE49-F238E27FC236}">
                  <a16:creationId xmlns:a16="http://schemas.microsoft.com/office/drawing/2014/main" id="{B0C16853-D4E6-4DEA-A4D9-A35895DB4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3238" y="2665413"/>
              <a:ext cx="19050" cy="17463"/>
            </a:xfrm>
            <a:custGeom>
              <a:avLst/>
              <a:gdLst>
                <a:gd name="T0" fmla="*/ 0 w 22"/>
                <a:gd name="T1" fmla="*/ 11 h 20"/>
                <a:gd name="T2" fmla="*/ 2 w 22"/>
                <a:gd name="T3" fmla="*/ 11 h 20"/>
                <a:gd name="T4" fmla="*/ 17 w 22"/>
                <a:gd name="T5" fmla="*/ 16 h 20"/>
                <a:gd name="T6" fmla="*/ 8 w 22"/>
                <a:gd name="T7" fmla="*/ 3 h 20"/>
                <a:gd name="T8" fmla="*/ 9 w 22"/>
                <a:gd name="T9" fmla="*/ 1 h 20"/>
                <a:gd name="T10" fmla="*/ 11 w 22"/>
                <a:gd name="T11" fmla="*/ 1 h 20"/>
                <a:gd name="T12" fmla="*/ 21 w 22"/>
                <a:gd name="T13" fmla="*/ 18 h 20"/>
                <a:gd name="T14" fmla="*/ 21 w 22"/>
                <a:gd name="T15" fmla="*/ 20 h 20"/>
                <a:gd name="T16" fmla="*/ 20 w 22"/>
                <a:gd name="T17" fmla="*/ 20 h 20"/>
                <a:gd name="T18" fmla="*/ 1 w 22"/>
                <a:gd name="T19" fmla="*/ 13 h 20"/>
                <a:gd name="T20" fmla="*/ 0 w 22"/>
                <a:gd name="T21" fmla="*/ 12 h 20"/>
                <a:gd name="T22" fmla="*/ 0 w 22"/>
                <a:gd name="T2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0">
                  <a:moveTo>
                    <a:pt x="0" y="11"/>
                  </a:moveTo>
                  <a:cubicBezTo>
                    <a:pt x="0" y="11"/>
                    <a:pt x="1" y="10"/>
                    <a:pt x="2" y="11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9" y="1"/>
                  </a:cubicBezTo>
                  <a:cubicBezTo>
                    <a:pt x="10" y="0"/>
                    <a:pt x="10" y="0"/>
                    <a:pt x="11" y="1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2" y="19"/>
                    <a:pt x="22" y="19"/>
                    <a:pt x="21" y="20"/>
                  </a:cubicBezTo>
                  <a:cubicBezTo>
                    <a:pt x="21" y="20"/>
                    <a:pt x="20" y="20"/>
                    <a:pt x="20" y="20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2"/>
                    <a:pt x="0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669">
              <a:extLst>
                <a:ext uri="{FF2B5EF4-FFF2-40B4-BE49-F238E27FC236}">
                  <a16:creationId xmlns:a16="http://schemas.microsoft.com/office/drawing/2014/main" id="{6A9346AD-CE65-4540-B12A-EA6C0EC42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5950" y="2506663"/>
              <a:ext cx="111125" cy="260350"/>
            </a:xfrm>
            <a:custGeom>
              <a:avLst/>
              <a:gdLst>
                <a:gd name="T0" fmla="*/ 0 w 70"/>
                <a:gd name="T1" fmla="*/ 163 h 164"/>
                <a:gd name="T2" fmla="*/ 68 w 70"/>
                <a:gd name="T3" fmla="*/ 0 h 164"/>
                <a:gd name="T4" fmla="*/ 70 w 70"/>
                <a:gd name="T5" fmla="*/ 1 h 164"/>
                <a:gd name="T6" fmla="*/ 3 w 70"/>
                <a:gd name="T7" fmla="*/ 164 h 164"/>
                <a:gd name="T8" fmla="*/ 0 w 70"/>
                <a:gd name="T9" fmla="*/ 16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3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3" y="164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670">
              <a:extLst>
                <a:ext uri="{FF2B5EF4-FFF2-40B4-BE49-F238E27FC236}">
                  <a16:creationId xmlns:a16="http://schemas.microsoft.com/office/drawing/2014/main" id="{5B894938-C742-4699-A96B-875E3AC4C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5313" y="2497138"/>
              <a:ext cx="111125" cy="260350"/>
            </a:xfrm>
            <a:custGeom>
              <a:avLst/>
              <a:gdLst>
                <a:gd name="T0" fmla="*/ 0 w 70"/>
                <a:gd name="T1" fmla="*/ 164 h 164"/>
                <a:gd name="T2" fmla="*/ 68 w 70"/>
                <a:gd name="T3" fmla="*/ 0 h 164"/>
                <a:gd name="T4" fmla="*/ 70 w 70"/>
                <a:gd name="T5" fmla="*/ 1 h 164"/>
                <a:gd name="T6" fmla="*/ 2 w 70"/>
                <a:gd name="T7" fmla="*/ 164 h 164"/>
                <a:gd name="T8" fmla="*/ 0 w 70"/>
                <a:gd name="T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4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2" y="164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671">
              <a:extLst>
                <a:ext uri="{FF2B5EF4-FFF2-40B4-BE49-F238E27FC236}">
                  <a16:creationId xmlns:a16="http://schemas.microsoft.com/office/drawing/2014/main" id="{FE5E4E1D-04CC-4787-AFA0-EEA774A2E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3088" y="2487613"/>
              <a:ext cx="111125" cy="261938"/>
            </a:xfrm>
            <a:custGeom>
              <a:avLst/>
              <a:gdLst>
                <a:gd name="T0" fmla="*/ 0 w 70"/>
                <a:gd name="T1" fmla="*/ 164 h 165"/>
                <a:gd name="T2" fmla="*/ 68 w 70"/>
                <a:gd name="T3" fmla="*/ 0 h 165"/>
                <a:gd name="T4" fmla="*/ 70 w 70"/>
                <a:gd name="T5" fmla="*/ 2 h 165"/>
                <a:gd name="T6" fmla="*/ 2 w 70"/>
                <a:gd name="T7" fmla="*/ 165 h 165"/>
                <a:gd name="T8" fmla="*/ 0 w 70"/>
                <a:gd name="T9" fmla="*/ 16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5">
                  <a:moveTo>
                    <a:pt x="0" y="164"/>
                  </a:moveTo>
                  <a:lnTo>
                    <a:pt x="68" y="0"/>
                  </a:lnTo>
                  <a:lnTo>
                    <a:pt x="70" y="2"/>
                  </a:lnTo>
                  <a:lnTo>
                    <a:pt x="2" y="165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72">
              <a:extLst>
                <a:ext uri="{FF2B5EF4-FFF2-40B4-BE49-F238E27FC236}">
                  <a16:creationId xmlns:a16="http://schemas.microsoft.com/office/drawing/2014/main" id="{47003382-97CB-4D6D-8E8A-237950B8F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0863" y="2479676"/>
              <a:ext cx="111125" cy="260350"/>
            </a:xfrm>
            <a:custGeom>
              <a:avLst/>
              <a:gdLst>
                <a:gd name="T0" fmla="*/ 0 w 70"/>
                <a:gd name="T1" fmla="*/ 163 h 164"/>
                <a:gd name="T2" fmla="*/ 68 w 70"/>
                <a:gd name="T3" fmla="*/ 0 h 164"/>
                <a:gd name="T4" fmla="*/ 70 w 70"/>
                <a:gd name="T5" fmla="*/ 1 h 164"/>
                <a:gd name="T6" fmla="*/ 2 w 70"/>
                <a:gd name="T7" fmla="*/ 164 h 164"/>
                <a:gd name="T8" fmla="*/ 0 w 70"/>
                <a:gd name="T9" fmla="*/ 16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3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2" y="164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673">
              <a:extLst>
                <a:ext uri="{FF2B5EF4-FFF2-40B4-BE49-F238E27FC236}">
                  <a16:creationId xmlns:a16="http://schemas.microsoft.com/office/drawing/2014/main" id="{51A5FAD9-E0A9-4E46-BAA1-F26EB94A2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9800" y="2497138"/>
              <a:ext cx="585788" cy="461963"/>
            </a:xfrm>
            <a:custGeom>
              <a:avLst/>
              <a:gdLst>
                <a:gd name="T0" fmla="*/ 652 w 675"/>
                <a:gd name="T1" fmla="*/ 37 h 533"/>
                <a:gd name="T2" fmla="*/ 674 w 675"/>
                <a:gd name="T3" fmla="*/ 462 h 533"/>
                <a:gd name="T4" fmla="*/ 638 w 675"/>
                <a:gd name="T5" fmla="*/ 502 h 533"/>
                <a:gd name="T6" fmla="*/ 63 w 675"/>
                <a:gd name="T7" fmla="*/ 531 h 533"/>
                <a:gd name="T8" fmla="*/ 23 w 675"/>
                <a:gd name="T9" fmla="*/ 496 h 533"/>
                <a:gd name="T10" fmla="*/ 1 w 675"/>
                <a:gd name="T11" fmla="*/ 71 h 533"/>
                <a:gd name="T12" fmla="*/ 37 w 675"/>
                <a:gd name="T13" fmla="*/ 31 h 533"/>
                <a:gd name="T14" fmla="*/ 612 w 675"/>
                <a:gd name="T15" fmla="*/ 1 h 533"/>
                <a:gd name="T16" fmla="*/ 652 w 675"/>
                <a:gd name="T17" fmla="*/ 3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533">
                  <a:moveTo>
                    <a:pt x="652" y="37"/>
                  </a:moveTo>
                  <a:cubicBezTo>
                    <a:pt x="674" y="462"/>
                    <a:pt x="674" y="462"/>
                    <a:pt x="674" y="462"/>
                  </a:cubicBezTo>
                  <a:cubicBezTo>
                    <a:pt x="675" y="483"/>
                    <a:pt x="659" y="500"/>
                    <a:pt x="638" y="502"/>
                  </a:cubicBezTo>
                  <a:cubicBezTo>
                    <a:pt x="63" y="531"/>
                    <a:pt x="63" y="531"/>
                    <a:pt x="63" y="531"/>
                  </a:cubicBezTo>
                  <a:cubicBezTo>
                    <a:pt x="42" y="533"/>
                    <a:pt x="24" y="516"/>
                    <a:pt x="23" y="496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50"/>
                    <a:pt x="16" y="32"/>
                    <a:pt x="37" y="31"/>
                  </a:cubicBezTo>
                  <a:cubicBezTo>
                    <a:pt x="612" y="1"/>
                    <a:pt x="612" y="1"/>
                    <a:pt x="612" y="1"/>
                  </a:cubicBezTo>
                  <a:cubicBezTo>
                    <a:pt x="633" y="0"/>
                    <a:pt x="651" y="16"/>
                    <a:pt x="652" y="37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74">
              <a:extLst>
                <a:ext uri="{FF2B5EF4-FFF2-40B4-BE49-F238E27FC236}">
                  <a16:creationId xmlns:a16="http://schemas.microsoft.com/office/drawing/2014/main" id="{C7C10F7B-2DBC-498B-BCD0-1D4763CB4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5200" y="2525713"/>
              <a:ext cx="527050" cy="406400"/>
            </a:xfrm>
            <a:custGeom>
              <a:avLst/>
              <a:gdLst>
                <a:gd name="T0" fmla="*/ 320 w 332"/>
                <a:gd name="T1" fmla="*/ 0 h 256"/>
                <a:gd name="T2" fmla="*/ 332 w 332"/>
                <a:gd name="T3" fmla="*/ 240 h 256"/>
                <a:gd name="T4" fmla="*/ 13 w 332"/>
                <a:gd name="T5" fmla="*/ 256 h 256"/>
                <a:gd name="T6" fmla="*/ 0 w 332"/>
                <a:gd name="T7" fmla="*/ 15 h 256"/>
                <a:gd name="T8" fmla="*/ 320 w 332"/>
                <a:gd name="T9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2" h="256">
                  <a:moveTo>
                    <a:pt x="320" y="0"/>
                  </a:moveTo>
                  <a:lnTo>
                    <a:pt x="332" y="240"/>
                  </a:lnTo>
                  <a:lnTo>
                    <a:pt x="13" y="256"/>
                  </a:lnTo>
                  <a:lnTo>
                    <a:pt x="0" y="15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675">
              <a:extLst>
                <a:ext uri="{FF2B5EF4-FFF2-40B4-BE49-F238E27FC236}">
                  <a16:creationId xmlns:a16="http://schemas.microsoft.com/office/drawing/2014/main" id="{0D688104-C53E-4BF3-AAC7-3FD9D34BF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9163" y="2058988"/>
              <a:ext cx="585788" cy="461963"/>
            </a:xfrm>
            <a:custGeom>
              <a:avLst/>
              <a:gdLst>
                <a:gd name="T0" fmla="*/ 652 w 675"/>
                <a:gd name="T1" fmla="*/ 37 h 533"/>
                <a:gd name="T2" fmla="*/ 674 w 675"/>
                <a:gd name="T3" fmla="*/ 462 h 533"/>
                <a:gd name="T4" fmla="*/ 638 w 675"/>
                <a:gd name="T5" fmla="*/ 502 h 533"/>
                <a:gd name="T6" fmla="*/ 63 w 675"/>
                <a:gd name="T7" fmla="*/ 532 h 533"/>
                <a:gd name="T8" fmla="*/ 23 w 675"/>
                <a:gd name="T9" fmla="*/ 496 h 533"/>
                <a:gd name="T10" fmla="*/ 1 w 675"/>
                <a:gd name="T11" fmla="*/ 71 h 533"/>
                <a:gd name="T12" fmla="*/ 37 w 675"/>
                <a:gd name="T13" fmla="*/ 31 h 533"/>
                <a:gd name="T14" fmla="*/ 612 w 675"/>
                <a:gd name="T15" fmla="*/ 1 h 533"/>
                <a:gd name="T16" fmla="*/ 652 w 675"/>
                <a:gd name="T17" fmla="*/ 3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533">
                  <a:moveTo>
                    <a:pt x="652" y="37"/>
                  </a:moveTo>
                  <a:cubicBezTo>
                    <a:pt x="674" y="462"/>
                    <a:pt x="674" y="462"/>
                    <a:pt x="674" y="462"/>
                  </a:cubicBezTo>
                  <a:cubicBezTo>
                    <a:pt x="675" y="483"/>
                    <a:pt x="659" y="501"/>
                    <a:pt x="638" y="502"/>
                  </a:cubicBezTo>
                  <a:cubicBezTo>
                    <a:pt x="63" y="532"/>
                    <a:pt x="63" y="532"/>
                    <a:pt x="63" y="532"/>
                  </a:cubicBezTo>
                  <a:cubicBezTo>
                    <a:pt x="42" y="533"/>
                    <a:pt x="24" y="517"/>
                    <a:pt x="23" y="496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50"/>
                    <a:pt x="16" y="32"/>
                    <a:pt x="37" y="31"/>
                  </a:cubicBezTo>
                  <a:cubicBezTo>
                    <a:pt x="612" y="1"/>
                    <a:pt x="612" y="1"/>
                    <a:pt x="612" y="1"/>
                  </a:cubicBezTo>
                  <a:cubicBezTo>
                    <a:pt x="633" y="0"/>
                    <a:pt x="651" y="16"/>
                    <a:pt x="652" y="37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676">
              <a:extLst>
                <a:ext uri="{FF2B5EF4-FFF2-40B4-BE49-F238E27FC236}">
                  <a16:creationId xmlns:a16="http://schemas.microsoft.com/office/drawing/2014/main" id="{BE48FF14-8BEE-44AF-BA9F-526F2ED4F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4563" y="2087563"/>
              <a:ext cx="527050" cy="406400"/>
            </a:xfrm>
            <a:custGeom>
              <a:avLst/>
              <a:gdLst>
                <a:gd name="T0" fmla="*/ 320 w 332"/>
                <a:gd name="T1" fmla="*/ 0 h 256"/>
                <a:gd name="T2" fmla="*/ 332 w 332"/>
                <a:gd name="T3" fmla="*/ 240 h 256"/>
                <a:gd name="T4" fmla="*/ 13 w 332"/>
                <a:gd name="T5" fmla="*/ 256 h 256"/>
                <a:gd name="T6" fmla="*/ 0 w 332"/>
                <a:gd name="T7" fmla="*/ 15 h 256"/>
                <a:gd name="T8" fmla="*/ 320 w 332"/>
                <a:gd name="T9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2" h="256">
                  <a:moveTo>
                    <a:pt x="320" y="0"/>
                  </a:moveTo>
                  <a:lnTo>
                    <a:pt x="332" y="240"/>
                  </a:lnTo>
                  <a:lnTo>
                    <a:pt x="13" y="256"/>
                  </a:lnTo>
                  <a:lnTo>
                    <a:pt x="0" y="15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677">
              <a:extLst>
                <a:ext uri="{FF2B5EF4-FFF2-40B4-BE49-F238E27FC236}">
                  <a16:creationId xmlns:a16="http://schemas.microsoft.com/office/drawing/2014/main" id="{02BA105E-F192-47DE-AF1A-ADDAEA148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7450" y="2865438"/>
              <a:ext cx="274638" cy="17463"/>
            </a:xfrm>
            <a:custGeom>
              <a:avLst/>
              <a:gdLst>
                <a:gd name="T0" fmla="*/ 315 w 315"/>
                <a:gd name="T1" fmla="*/ 2 h 20"/>
                <a:gd name="T2" fmla="*/ 313 w 315"/>
                <a:gd name="T3" fmla="*/ 4 h 20"/>
                <a:gd name="T4" fmla="*/ 2 w 315"/>
                <a:gd name="T5" fmla="*/ 20 h 20"/>
                <a:gd name="T6" fmla="*/ 0 w 315"/>
                <a:gd name="T7" fmla="*/ 18 h 20"/>
                <a:gd name="T8" fmla="*/ 1 w 315"/>
                <a:gd name="T9" fmla="*/ 17 h 20"/>
                <a:gd name="T10" fmla="*/ 313 w 315"/>
                <a:gd name="T11" fmla="*/ 0 h 20"/>
                <a:gd name="T12" fmla="*/ 315 w 315"/>
                <a:gd name="T13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5" h="20">
                  <a:moveTo>
                    <a:pt x="315" y="2"/>
                  </a:moveTo>
                  <a:cubicBezTo>
                    <a:pt x="315" y="3"/>
                    <a:pt x="314" y="4"/>
                    <a:pt x="313" y="4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17"/>
                    <a:pt x="1" y="17"/>
                    <a:pt x="1" y="17"/>
                  </a:cubicBezTo>
                  <a:cubicBezTo>
                    <a:pt x="313" y="0"/>
                    <a:pt x="313" y="0"/>
                    <a:pt x="313" y="0"/>
                  </a:cubicBezTo>
                  <a:cubicBezTo>
                    <a:pt x="314" y="0"/>
                    <a:pt x="315" y="1"/>
                    <a:pt x="315" y="2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678">
              <a:extLst>
                <a:ext uri="{FF2B5EF4-FFF2-40B4-BE49-F238E27FC236}">
                  <a16:creationId xmlns:a16="http://schemas.microsoft.com/office/drawing/2014/main" id="{26A379BE-9E95-4F43-B1F2-83BF325B6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1925" y="2609851"/>
              <a:ext cx="15875" cy="274638"/>
            </a:xfrm>
            <a:custGeom>
              <a:avLst/>
              <a:gdLst>
                <a:gd name="T0" fmla="*/ 3 w 19"/>
                <a:gd name="T1" fmla="*/ 1 h 317"/>
                <a:gd name="T2" fmla="*/ 19 w 19"/>
                <a:gd name="T3" fmla="*/ 315 h 317"/>
                <a:gd name="T4" fmla="*/ 18 w 19"/>
                <a:gd name="T5" fmla="*/ 316 h 317"/>
                <a:gd name="T6" fmla="*/ 16 w 19"/>
                <a:gd name="T7" fmla="*/ 315 h 317"/>
                <a:gd name="T8" fmla="*/ 0 w 19"/>
                <a:gd name="T9" fmla="*/ 2 h 317"/>
                <a:gd name="T10" fmla="*/ 1 w 19"/>
                <a:gd name="T11" fmla="*/ 0 h 317"/>
                <a:gd name="T12" fmla="*/ 3 w 19"/>
                <a:gd name="T13" fmla="*/ 1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17">
                  <a:moveTo>
                    <a:pt x="3" y="1"/>
                  </a:moveTo>
                  <a:cubicBezTo>
                    <a:pt x="19" y="315"/>
                    <a:pt x="19" y="315"/>
                    <a:pt x="19" y="315"/>
                  </a:cubicBezTo>
                  <a:cubicBezTo>
                    <a:pt x="19" y="316"/>
                    <a:pt x="18" y="316"/>
                    <a:pt x="18" y="316"/>
                  </a:cubicBezTo>
                  <a:cubicBezTo>
                    <a:pt x="17" y="317"/>
                    <a:pt x="16" y="316"/>
                    <a:pt x="16" y="31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679">
              <a:extLst>
                <a:ext uri="{FF2B5EF4-FFF2-40B4-BE49-F238E27FC236}">
                  <a16:creationId xmlns:a16="http://schemas.microsoft.com/office/drawing/2014/main" id="{B45F720B-232D-4E42-9282-F1773E913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4750" y="2624138"/>
              <a:ext cx="238125" cy="225425"/>
            </a:xfrm>
            <a:custGeom>
              <a:avLst/>
              <a:gdLst>
                <a:gd name="T0" fmla="*/ 274 w 274"/>
                <a:gd name="T1" fmla="*/ 259 h 260"/>
                <a:gd name="T2" fmla="*/ 274 w 274"/>
                <a:gd name="T3" fmla="*/ 259 h 260"/>
                <a:gd name="T4" fmla="*/ 272 w 274"/>
                <a:gd name="T5" fmla="*/ 260 h 260"/>
                <a:gd name="T6" fmla="*/ 176 w 274"/>
                <a:gd name="T7" fmla="*/ 206 h 260"/>
                <a:gd name="T8" fmla="*/ 175 w 274"/>
                <a:gd name="T9" fmla="*/ 205 h 260"/>
                <a:gd name="T10" fmla="*/ 175 w 274"/>
                <a:gd name="T11" fmla="*/ 204 h 260"/>
                <a:gd name="T12" fmla="*/ 196 w 274"/>
                <a:gd name="T13" fmla="*/ 171 h 260"/>
                <a:gd name="T14" fmla="*/ 106 w 274"/>
                <a:gd name="T15" fmla="*/ 143 h 260"/>
                <a:gd name="T16" fmla="*/ 105 w 274"/>
                <a:gd name="T17" fmla="*/ 142 h 260"/>
                <a:gd name="T18" fmla="*/ 105 w 274"/>
                <a:gd name="T19" fmla="*/ 142 h 260"/>
                <a:gd name="T20" fmla="*/ 106 w 274"/>
                <a:gd name="T21" fmla="*/ 140 h 260"/>
                <a:gd name="T22" fmla="*/ 231 w 274"/>
                <a:gd name="T23" fmla="*/ 90 h 260"/>
                <a:gd name="T24" fmla="*/ 146 w 274"/>
                <a:gd name="T25" fmla="*/ 74 h 260"/>
                <a:gd name="T26" fmla="*/ 145 w 274"/>
                <a:gd name="T27" fmla="*/ 73 h 260"/>
                <a:gd name="T28" fmla="*/ 146 w 274"/>
                <a:gd name="T29" fmla="*/ 72 h 260"/>
                <a:gd name="T30" fmla="*/ 172 w 274"/>
                <a:gd name="T31" fmla="*/ 53 h 260"/>
                <a:gd name="T32" fmla="*/ 82 w 274"/>
                <a:gd name="T33" fmla="*/ 41 h 260"/>
                <a:gd name="T34" fmla="*/ 81 w 274"/>
                <a:gd name="T35" fmla="*/ 40 h 260"/>
                <a:gd name="T36" fmla="*/ 82 w 274"/>
                <a:gd name="T37" fmla="*/ 39 h 260"/>
                <a:gd name="T38" fmla="*/ 96 w 274"/>
                <a:gd name="T39" fmla="*/ 26 h 260"/>
                <a:gd name="T40" fmla="*/ 2 w 274"/>
                <a:gd name="T41" fmla="*/ 3 h 260"/>
                <a:gd name="T42" fmla="*/ 1 w 274"/>
                <a:gd name="T43" fmla="*/ 1 h 260"/>
                <a:gd name="T44" fmla="*/ 2 w 274"/>
                <a:gd name="T45" fmla="*/ 0 h 260"/>
                <a:gd name="T46" fmla="*/ 100 w 274"/>
                <a:gd name="T47" fmla="*/ 24 h 260"/>
                <a:gd name="T48" fmla="*/ 101 w 274"/>
                <a:gd name="T49" fmla="*/ 25 h 260"/>
                <a:gd name="T50" fmla="*/ 100 w 274"/>
                <a:gd name="T51" fmla="*/ 26 h 260"/>
                <a:gd name="T52" fmla="*/ 86 w 274"/>
                <a:gd name="T53" fmla="*/ 39 h 260"/>
                <a:gd name="T54" fmla="*/ 176 w 274"/>
                <a:gd name="T55" fmla="*/ 50 h 260"/>
                <a:gd name="T56" fmla="*/ 178 w 274"/>
                <a:gd name="T57" fmla="*/ 51 h 260"/>
                <a:gd name="T58" fmla="*/ 177 w 274"/>
                <a:gd name="T59" fmla="*/ 53 h 260"/>
                <a:gd name="T60" fmla="*/ 151 w 274"/>
                <a:gd name="T61" fmla="*/ 72 h 260"/>
                <a:gd name="T62" fmla="*/ 237 w 274"/>
                <a:gd name="T63" fmla="*/ 87 h 260"/>
                <a:gd name="T64" fmla="*/ 239 w 274"/>
                <a:gd name="T65" fmla="*/ 89 h 260"/>
                <a:gd name="T66" fmla="*/ 238 w 274"/>
                <a:gd name="T67" fmla="*/ 90 h 260"/>
                <a:gd name="T68" fmla="*/ 111 w 274"/>
                <a:gd name="T69" fmla="*/ 141 h 260"/>
                <a:gd name="T70" fmla="*/ 199 w 274"/>
                <a:gd name="T71" fmla="*/ 169 h 260"/>
                <a:gd name="T72" fmla="*/ 200 w 274"/>
                <a:gd name="T73" fmla="*/ 170 h 260"/>
                <a:gd name="T74" fmla="*/ 200 w 274"/>
                <a:gd name="T75" fmla="*/ 171 h 260"/>
                <a:gd name="T76" fmla="*/ 179 w 274"/>
                <a:gd name="T77" fmla="*/ 204 h 260"/>
                <a:gd name="T78" fmla="*/ 273 w 274"/>
                <a:gd name="T79" fmla="*/ 257 h 260"/>
                <a:gd name="T80" fmla="*/ 274 w 274"/>
                <a:gd name="T81" fmla="*/ 259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4" h="260"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3" y="260"/>
                    <a:pt x="273" y="260"/>
                    <a:pt x="272" y="260"/>
                  </a:cubicBezTo>
                  <a:cubicBezTo>
                    <a:pt x="176" y="206"/>
                    <a:pt x="176" y="206"/>
                    <a:pt x="176" y="206"/>
                  </a:cubicBezTo>
                  <a:cubicBezTo>
                    <a:pt x="175" y="206"/>
                    <a:pt x="175" y="205"/>
                    <a:pt x="175" y="205"/>
                  </a:cubicBezTo>
                  <a:cubicBezTo>
                    <a:pt x="175" y="205"/>
                    <a:pt x="175" y="204"/>
                    <a:pt x="175" y="204"/>
                  </a:cubicBezTo>
                  <a:cubicBezTo>
                    <a:pt x="196" y="171"/>
                    <a:pt x="196" y="171"/>
                    <a:pt x="196" y="171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5" y="143"/>
                    <a:pt x="105" y="142"/>
                    <a:pt x="105" y="142"/>
                  </a:cubicBezTo>
                  <a:cubicBezTo>
                    <a:pt x="105" y="142"/>
                    <a:pt x="105" y="142"/>
                    <a:pt x="105" y="142"/>
                  </a:cubicBezTo>
                  <a:cubicBezTo>
                    <a:pt x="105" y="141"/>
                    <a:pt x="105" y="140"/>
                    <a:pt x="106" y="140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146" y="74"/>
                    <a:pt x="146" y="74"/>
                    <a:pt x="146" y="74"/>
                  </a:cubicBezTo>
                  <a:cubicBezTo>
                    <a:pt x="146" y="74"/>
                    <a:pt x="145" y="74"/>
                    <a:pt x="145" y="73"/>
                  </a:cubicBezTo>
                  <a:cubicBezTo>
                    <a:pt x="145" y="73"/>
                    <a:pt x="145" y="72"/>
                    <a:pt x="146" y="72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41"/>
                    <a:pt x="81" y="41"/>
                    <a:pt x="81" y="40"/>
                  </a:cubicBezTo>
                  <a:cubicBezTo>
                    <a:pt x="81" y="40"/>
                    <a:pt x="81" y="39"/>
                    <a:pt x="82" y="39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0" y="24"/>
                    <a:pt x="101" y="24"/>
                    <a:pt x="101" y="25"/>
                  </a:cubicBezTo>
                  <a:cubicBezTo>
                    <a:pt x="101" y="25"/>
                    <a:pt x="101" y="26"/>
                    <a:pt x="100" y="26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176" y="50"/>
                    <a:pt x="176" y="50"/>
                    <a:pt x="176" y="50"/>
                  </a:cubicBezTo>
                  <a:cubicBezTo>
                    <a:pt x="177" y="50"/>
                    <a:pt x="177" y="51"/>
                    <a:pt x="178" y="51"/>
                  </a:cubicBezTo>
                  <a:cubicBezTo>
                    <a:pt x="178" y="52"/>
                    <a:pt x="177" y="52"/>
                    <a:pt x="177" y="53"/>
                  </a:cubicBezTo>
                  <a:cubicBezTo>
                    <a:pt x="151" y="72"/>
                    <a:pt x="151" y="72"/>
                    <a:pt x="151" y="72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38" y="88"/>
                    <a:pt x="239" y="88"/>
                    <a:pt x="239" y="89"/>
                  </a:cubicBezTo>
                  <a:cubicBezTo>
                    <a:pt x="239" y="90"/>
                    <a:pt x="238" y="90"/>
                    <a:pt x="238" y="90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99" y="169"/>
                    <a:pt x="199" y="169"/>
                    <a:pt x="199" y="169"/>
                  </a:cubicBezTo>
                  <a:cubicBezTo>
                    <a:pt x="199" y="169"/>
                    <a:pt x="200" y="169"/>
                    <a:pt x="200" y="170"/>
                  </a:cubicBezTo>
                  <a:cubicBezTo>
                    <a:pt x="200" y="170"/>
                    <a:pt x="200" y="171"/>
                    <a:pt x="200" y="171"/>
                  </a:cubicBezTo>
                  <a:cubicBezTo>
                    <a:pt x="179" y="204"/>
                    <a:pt x="179" y="204"/>
                    <a:pt x="179" y="204"/>
                  </a:cubicBezTo>
                  <a:cubicBezTo>
                    <a:pt x="273" y="257"/>
                    <a:pt x="273" y="257"/>
                    <a:pt x="273" y="257"/>
                  </a:cubicBezTo>
                  <a:cubicBezTo>
                    <a:pt x="274" y="258"/>
                    <a:pt x="274" y="258"/>
                    <a:pt x="274" y="259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680">
              <a:extLst>
                <a:ext uri="{FF2B5EF4-FFF2-40B4-BE49-F238E27FC236}">
                  <a16:creationId xmlns:a16="http://schemas.microsoft.com/office/drawing/2014/main" id="{6DDFAC12-54FE-457B-ADBF-E160BEC74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4750" y="2622551"/>
              <a:ext cx="20638" cy="14288"/>
            </a:xfrm>
            <a:custGeom>
              <a:avLst/>
              <a:gdLst>
                <a:gd name="T0" fmla="*/ 25 w 25"/>
                <a:gd name="T1" fmla="*/ 1 h 17"/>
                <a:gd name="T2" fmla="*/ 24 w 25"/>
                <a:gd name="T3" fmla="*/ 3 h 17"/>
                <a:gd name="T4" fmla="*/ 7 w 25"/>
                <a:gd name="T5" fmla="*/ 5 h 17"/>
                <a:gd name="T6" fmla="*/ 21 w 25"/>
                <a:gd name="T7" fmla="*/ 14 h 17"/>
                <a:gd name="T8" fmla="*/ 22 w 25"/>
                <a:gd name="T9" fmla="*/ 16 h 17"/>
                <a:gd name="T10" fmla="*/ 19 w 25"/>
                <a:gd name="T11" fmla="*/ 16 h 17"/>
                <a:gd name="T12" fmla="*/ 1 w 25"/>
                <a:gd name="T13" fmla="*/ 5 h 17"/>
                <a:gd name="T14" fmla="*/ 1 w 25"/>
                <a:gd name="T15" fmla="*/ 3 h 17"/>
                <a:gd name="T16" fmla="*/ 2 w 25"/>
                <a:gd name="T17" fmla="*/ 2 h 17"/>
                <a:gd name="T18" fmla="*/ 24 w 25"/>
                <a:gd name="T19" fmla="*/ 0 h 17"/>
                <a:gd name="T20" fmla="*/ 25 w 25"/>
                <a:gd name="T2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2"/>
                    <a:pt x="25" y="3"/>
                    <a:pt x="24" y="3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2" y="14"/>
                    <a:pt x="22" y="15"/>
                    <a:pt x="22" y="16"/>
                  </a:cubicBezTo>
                  <a:cubicBezTo>
                    <a:pt x="21" y="17"/>
                    <a:pt x="20" y="17"/>
                    <a:pt x="19" y="1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0" y="4"/>
                    <a:pt x="1" y="3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5" y="0"/>
                    <a:pt x="25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681">
              <a:extLst>
                <a:ext uri="{FF2B5EF4-FFF2-40B4-BE49-F238E27FC236}">
                  <a16:creationId xmlns:a16="http://schemas.microsoft.com/office/drawing/2014/main" id="{0C2AE36B-24FD-4910-B93F-094BE0F47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5363" y="258762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682">
              <a:extLst>
                <a:ext uri="{FF2B5EF4-FFF2-40B4-BE49-F238E27FC236}">
                  <a16:creationId xmlns:a16="http://schemas.microsoft.com/office/drawing/2014/main" id="{7E6A49CC-7461-480E-A3F6-2559FBAEC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0763" y="2587626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683">
              <a:extLst>
                <a:ext uri="{FF2B5EF4-FFF2-40B4-BE49-F238E27FC236}">
                  <a16:creationId xmlns:a16="http://schemas.microsoft.com/office/drawing/2014/main" id="{D5101D08-9F7D-4FB6-A857-7A8601D9F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6163" y="2586038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684">
              <a:extLst>
                <a:ext uri="{FF2B5EF4-FFF2-40B4-BE49-F238E27FC236}">
                  <a16:creationId xmlns:a16="http://schemas.microsoft.com/office/drawing/2014/main" id="{E447A855-61A7-4E98-88D1-F005CE314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1563" y="2584451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685">
              <a:extLst>
                <a:ext uri="{FF2B5EF4-FFF2-40B4-BE49-F238E27FC236}">
                  <a16:creationId xmlns:a16="http://schemas.microsoft.com/office/drawing/2014/main" id="{CDC8842D-CE02-4E54-BF49-A1D54F50D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6963" y="2586038"/>
              <a:ext cx="19050" cy="301625"/>
            </a:xfrm>
            <a:custGeom>
              <a:avLst/>
              <a:gdLst>
                <a:gd name="T0" fmla="*/ 3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3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3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686">
              <a:extLst>
                <a:ext uri="{FF2B5EF4-FFF2-40B4-BE49-F238E27FC236}">
                  <a16:creationId xmlns:a16="http://schemas.microsoft.com/office/drawing/2014/main" id="{EF58B84E-0EFE-4B3F-BC0C-B051C8D28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2363" y="2584451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687">
              <a:extLst>
                <a:ext uri="{FF2B5EF4-FFF2-40B4-BE49-F238E27FC236}">
                  <a16:creationId xmlns:a16="http://schemas.microsoft.com/office/drawing/2014/main" id="{601E2CC2-6FEF-40F9-85FF-81863B1DC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63138" y="214947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0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0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688">
              <a:extLst>
                <a:ext uri="{FF2B5EF4-FFF2-40B4-BE49-F238E27FC236}">
                  <a16:creationId xmlns:a16="http://schemas.microsoft.com/office/drawing/2014/main" id="{EF483B1F-A61A-42D0-88D4-A4513E02B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8538" y="2147888"/>
              <a:ext cx="20638" cy="303213"/>
            </a:xfrm>
            <a:custGeom>
              <a:avLst/>
              <a:gdLst>
                <a:gd name="T0" fmla="*/ 2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2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2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689">
              <a:extLst>
                <a:ext uri="{FF2B5EF4-FFF2-40B4-BE49-F238E27FC236}">
                  <a16:creationId xmlns:a16="http://schemas.microsoft.com/office/drawing/2014/main" id="{74098FF4-6074-4F6B-A491-73049DEC5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3938" y="2146301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690">
              <a:extLst>
                <a:ext uri="{FF2B5EF4-FFF2-40B4-BE49-F238E27FC236}">
                  <a16:creationId xmlns:a16="http://schemas.microsoft.com/office/drawing/2014/main" id="{C2822E90-E0F3-4C3B-BBBC-9A6C518D39D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9338" y="2146301"/>
              <a:ext cx="20638" cy="301625"/>
            </a:xfrm>
            <a:custGeom>
              <a:avLst/>
              <a:gdLst>
                <a:gd name="T0" fmla="*/ 3 w 13"/>
                <a:gd name="T1" fmla="*/ 0 h 190"/>
                <a:gd name="T2" fmla="*/ 13 w 13"/>
                <a:gd name="T3" fmla="*/ 190 h 190"/>
                <a:gd name="T4" fmla="*/ 10 w 13"/>
                <a:gd name="T5" fmla="*/ 190 h 190"/>
                <a:gd name="T6" fmla="*/ 0 w 13"/>
                <a:gd name="T7" fmla="*/ 0 h 190"/>
                <a:gd name="T8" fmla="*/ 3 w 13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0">
                  <a:moveTo>
                    <a:pt x="3" y="0"/>
                  </a:moveTo>
                  <a:lnTo>
                    <a:pt x="13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691">
              <a:extLst>
                <a:ext uri="{FF2B5EF4-FFF2-40B4-BE49-F238E27FC236}">
                  <a16:creationId xmlns:a16="http://schemas.microsoft.com/office/drawing/2014/main" id="{D7B7F628-44EC-4D45-AC5B-E48A7FED1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4738" y="2146301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692">
              <a:extLst>
                <a:ext uri="{FF2B5EF4-FFF2-40B4-BE49-F238E27FC236}">
                  <a16:creationId xmlns:a16="http://schemas.microsoft.com/office/drawing/2014/main" id="{A37D8B84-975A-43CC-9FCB-8362274E2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1725" y="2146301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9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9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693">
              <a:extLst>
                <a:ext uri="{FF2B5EF4-FFF2-40B4-BE49-F238E27FC236}">
                  <a16:creationId xmlns:a16="http://schemas.microsoft.com/office/drawing/2014/main" id="{9BDCB92C-3142-4E46-BA6F-20BA670BF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214312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694">
              <a:extLst>
                <a:ext uri="{FF2B5EF4-FFF2-40B4-BE49-F238E27FC236}">
                  <a16:creationId xmlns:a16="http://schemas.microsoft.com/office/drawing/2014/main" id="{CA55041B-68A4-4738-97EF-6B0E1F25A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2525" y="2141538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695">
              <a:extLst>
                <a:ext uri="{FF2B5EF4-FFF2-40B4-BE49-F238E27FC236}">
                  <a16:creationId xmlns:a16="http://schemas.microsoft.com/office/drawing/2014/main" id="{484832CE-638E-481B-8951-8F4ED8BF1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7925" y="2139951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696">
              <a:extLst>
                <a:ext uri="{FF2B5EF4-FFF2-40B4-BE49-F238E27FC236}">
                  <a16:creationId xmlns:a16="http://schemas.microsoft.com/office/drawing/2014/main" id="{A35E5C8F-F539-4DBC-891C-0D5A6F53A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3325" y="2138363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1 w 13"/>
                <a:gd name="T5" fmla="*/ 191 h 191"/>
                <a:gd name="T6" fmla="*/ 0 w 13"/>
                <a:gd name="T7" fmla="*/ 0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1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697">
              <a:extLst>
                <a:ext uri="{FF2B5EF4-FFF2-40B4-BE49-F238E27FC236}">
                  <a16:creationId xmlns:a16="http://schemas.microsoft.com/office/drawing/2014/main" id="{993256EB-5248-4B29-94B5-08171ED96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8725" y="2139951"/>
              <a:ext cx="20638" cy="303213"/>
            </a:xfrm>
            <a:custGeom>
              <a:avLst/>
              <a:gdLst>
                <a:gd name="T0" fmla="*/ 2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2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2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698">
              <a:extLst>
                <a:ext uri="{FF2B5EF4-FFF2-40B4-BE49-F238E27FC236}">
                  <a16:creationId xmlns:a16="http://schemas.microsoft.com/office/drawing/2014/main" id="{51D4617A-4C05-4EAE-A1FC-C855DF876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5713" y="2138363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9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9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699">
              <a:extLst>
                <a:ext uri="{FF2B5EF4-FFF2-40B4-BE49-F238E27FC236}">
                  <a16:creationId xmlns:a16="http://schemas.microsoft.com/office/drawing/2014/main" id="{568BECF8-F95B-428D-A64F-7EB6237BC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9525" y="2133601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1 w 13"/>
                <a:gd name="T5" fmla="*/ 191 h 191"/>
                <a:gd name="T6" fmla="*/ 0 w 13"/>
                <a:gd name="T7" fmla="*/ 1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1" y="191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700">
              <a:extLst>
                <a:ext uri="{FF2B5EF4-FFF2-40B4-BE49-F238E27FC236}">
                  <a16:creationId xmlns:a16="http://schemas.microsoft.com/office/drawing/2014/main" id="{403FA11D-7F9A-494D-9222-DAB7600EC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6513" y="2133601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701">
              <a:extLst>
                <a:ext uri="{FF2B5EF4-FFF2-40B4-BE49-F238E27FC236}">
                  <a16:creationId xmlns:a16="http://schemas.microsoft.com/office/drawing/2014/main" id="{EACF65AD-0871-495B-AC1A-910A46202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1913" y="2130426"/>
              <a:ext cx="19050" cy="304800"/>
            </a:xfrm>
            <a:custGeom>
              <a:avLst/>
              <a:gdLst>
                <a:gd name="T0" fmla="*/ 2 w 12"/>
                <a:gd name="T1" fmla="*/ 0 h 192"/>
                <a:gd name="T2" fmla="*/ 12 w 12"/>
                <a:gd name="T3" fmla="*/ 191 h 192"/>
                <a:gd name="T4" fmla="*/ 10 w 12"/>
                <a:gd name="T5" fmla="*/ 192 h 192"/>
                <a:gd name="T6" fmla="*/ 0 w 12"/>
                <a:gd name="T7" fmla="*/ 1 h 192"/>
                <a:gd name="T8" fmla="*/ 2 w 12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2">
                  <a:moveTo>
                    <a:pt x="2" y="0"/>
                  </a:moveTo>
                  <a:lnTo>
                    <a:pt x="12" y="191"/>
                  </a:lnTo>
                  <a:lnTo>
                    <a:pt x="10" y="192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702">
              <a:extLst>
                <a:ext uri="{FF2B5EF4-FFF2-40B4-BE49-F238E27FC236}">
                  <a16:creationId xmlns:a16="http://schemas.microsoft.com/office/drawing/2014/main" id="{99D4AF95-35F1-45B0-A542-23E387C4E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7313" y="2130426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703">
              <a:extLst>
                <a:ext uri="{FF2B5EF4-FFF2-40B4-BE49-F238E27FC236}">
                  <a16:creationId xmlns:a16="http://schemas.microsoft.com/office/drawing/2014/main" id="{8C141A24-830D-402E-9EB3-2DB022DC6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2713" y="2130426"/>
              <a:ext cx="19050" cy="304800"/>
            </a:xfrm>
            <a:custGeom>
              <a:avLst/>
              <a:gdLst>
                <a:gd name="T0" fmla="*/ 2 w 12"/>
                <a:gd name="T1" fmla="*/ 0 h 192"/>
                <a:gd name="T2" fmla="*/ 12 w 12"/>
                <a:gd name="T3" fmla="*/ 191 h 192"/>
                <a:gd name="T4" fmla="*/ 10 w 12"/>
                <a:gd name="T5" fmla="*/ 192 h 192"/>
                <a:gd name="T6" fmla="*/ 0 w 12"/>
                <a:gd name="T7" fmla="*/ 1 h 192"/>
                <a:gd name="T8" fmla="*/ 2 w 12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2">
                  <a:moveTo>
                    <a:pt x="2" y="0"/>
                  </a:moveTo>
                  <a:lnTo>
                    <a:pt x="12" y="191"/>
                  </a:lnTo>
                  <a:lnTo>
                    <a:pt x="10" y="192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704">
              <a:extLst>
                <a:ext uri="{FF2B5EF4-FFF2-40B4-BE49-F238E27FC236}">
                  <a16:creationId xmlns:a16="http://schemas.microsoft.com/office/drawing/2014/main" id="{216D591F-C126-4B03-A444-BABE71D56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8113" y="2130426"/>
              <a:ext cx="19050" cy="301625"/>
            </a:xfrm>
            <a:custGeom>
              <a:avLst/>
              <a:gdLst>
                <a:gd name="T0" fmla="*/ 3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3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3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705">
              <a:extLst>
                <a:ext uri="{FF2B5EF4-FFF2-40B4-BE49-F238E27FC236}">
                  <a16:creationId xmlns:a16="http://schemas.microsoft.com/office/drawing/2014/main" id="{379D3C38-4A25-4F8E-B3A1-FF966A8B6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4888" y="2500313"/>
              <a:ext cx="100013" cy="33338"/>
            </a:xfrm>
            <a:custGeom>
              <a:avLst/>
              <a:gdLst>
                <a:gd name="T0" fmla="*/ 2 w 63"/>
                <a:gd name="T1" fmla="*/ 21 h 21"/>
                <a:gd name="T2" fmla="*/ 63 w 63"/>
                <a:gd name="T3" fmla="*/ 18 h 21"/>
                <a:gd name="T4" fmla="*/ 61 w 63"/>
                <a:gd name="T5" fmla="*/ 0 h 21"/>
                <a:gd name="T6" fmla="*/ 0 w 63"/>
                <a:gd name="T7" fmla="*/ 4 h 21"/>
                <a:gd name="T8" fmla="*/ 2 w 63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1">
                  <a:moveTo>
                    <a:pt x="2" y="21"/>
                  </a:moveTo>
                  <a:lnTo>
                    <a:pt x="63" y="18"/>
                  </a:lnTo>
                  <a:lnTo>
                    <a:pt x="61" y="0"/>
                  </a:lnTo>
                  <a:lnTo>
                    <a:pt x="0" y="4"/>
                  </a:lnTo>
                  <a:lnTo>
                    <a:pt x="2" y="21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706">
              <a:extLst>
                <a:ext uri="{FF2B5EF4-FFF2-40B4-BE49-F238E27FC236}">
                  <a16:creationId xmlns:a16="http://schemas.microsoft.com/office/drawing/2014/main" id="{CFF51BBB-0EC8-4A4E-8C88-2D494DB05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9525" y="2486026"/>
              <a:ext cx="100013" cy="34925"/>
            </a:xfrm>
            <a:custGeom>
              <a:avLst/>
              <a:gdLst>
                <a:gd name="T0" fmla="*/ 2 w 63"/>
                <a:gd name="T1" fmla="*/ 22 h 22"/>
                <a:gd name="T2" fmla="*/ 63 w 63"/>
                <a:gd name="T3" fmla="*/ 18 h 22"/>
                <a:gd name="T4" fmla="*/ 61 w 63"/>
                <a:gd name="T5" fmla="*/ 0 h 22"/>
                <a:gd name="T6" fmla="*/ 0 w 63"/>
                <a:gd name="T7" fmla="*/ 5 h 22"/>
                <a:gd name="T8" fmla="*/ 2 w 63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2">
                  <a:moveTo>
                    <a:pt x="2" y="22"/>
                  </a:moveTo>
                  <a:lnTo>
                    <a:pt x="63" y="18"/>
                  </a:lnTo>
                  <a:lnTo>
                    <a:pt x="61" y="0"/>
                  </a:lnTo>
                  <a:lnTo>
                    <a:pt x="0" y="5"/>
                  </a:lnTo>
                  <a:lnTo>
                    <a:pt x="2" y="22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707">
              <a:extLst>
                <a:ext uri="{FF2B5EF4-FFF2-40B4-BE49-F238E27FC236}">
                  <a16:creationId xmlns:a16="http://schemas.microsoft.com/office/drawing/2014/main" id="{11B02687-9241-41BA-B470-A647DAE9A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1513" y="1671638"/>
              <a:ext cx="1116013" cy="466725"/>
            </a:xfrm>
            <a:custGeom>
              <a:avLst/>
              <a:gdLst>
                <a:gd name="T0" fmla="*/ 33 w 1285"/>
                <a:gd name="T1" fmla="*/ 193 h 539"/>
                <a:gd name="T2" fmla="*/ 829 w 1285"/>
                <a:gd name="T3" fmla="*/ 84 h 539"/>
                <a:gd name="T4" fmla="*/ 1285 w 1285"/>
                <a:gd name="T5" fmla="*/ 477 h 539"/>
                <a:gd name="T6" fmla="*/ 1199 w 1285"/>
                <a:gd name="T7" fmla="*/ 539 h 539"/>
                <a:gd name="T8" fmla="*/ 755 w 1285"/>
                <a:gd name="T9" fmla="*/ 281 h 539"/>
                <a:gd name="T10" fmla="*/ 276 w 1285"/>
                <a:gd name="T11" fmla="*/ 346 h 539"/>
                <a:gd name="T12" fmla="*/ 33 w 1285"/>
                <a:gd name="T13" fmla="*/ 193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5" h="539">
                  <a:moveTo>
                    <a:pt x="33" y="193"/>
                  </a:moveTo>
                  <a:cubicBezTo>
                    <a:pt x="115" y="0"/>
                    <a:pt x="449" y="47"/>
                    <a:pt x="829" y="84"/>
                  </a:cubicBezTo>
                  <a:cubicBezTo>
                    <a:pt x="1285" y="477"/>
                    <a:pt x="1285" y="477"/>
                    <a:pt x="1285" y="477"/>
                  </a:cubicBezTo>
                  <a:cubicBezTo>
                    <a:pt x="1199" y="539"/>
                    <a:pt x="1199" y="539"/>
                    <a:pt x="1199" y="539"/>
                  </a:cubicBezTo>
                  <a:cubicBezTo>
                    <a:pt x="755" y="281"/>
                    <a:pt x="755" y="281"/>
                    <a:pt x="755" y="281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0" y="273"/>
                    <a:pt x="33" y="193"/>
                  </a:cubicBezTo>
                  <a:close/>
                </a:path>
              </a:pathLst>
            </a:custGeom>
            <a:solidFill>
              <a:srgbClr val="F44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708">
              <a:extLst>
                <a:ext uri="{FF2B5EF4-FFF2-40B4-BE49-F238E27FC236}">
                  <a16:creationId xmlns:a16="http://schemas.microsoft.com/office/drawing/2014/main" id="{10D20644-F97D-4D39-95B9-8F23E327E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850" y="2579688"/>
              <a:ext cx="82550" cy="106363"/>
            </a:xfrm>
            <a:custGeom>
              <a:avLst/>
              <a:gdLst>
                <a:gd name="T0" fmla="*/ 79 w 96"/>
                <a:gd name="T1" fmla="*/ 95 h 123"/>
                <a:gd name="T2" fmla="*/ 96 w 96"/>
                <a:gd name="T3" fmla="*/ 8 h 123"/>
                <a:gd name="T4" fmla="*/ 79 w 96"/>
                <a:gd name="T5" fmla="*/ 8 h 123"/>
                <a:gd name="T6" fmla="*/ 0 w 96"/>
                <a:gd name="T7" fmla="*/ 123 h 123"/>
                <a:gd name="T8" fmla="*/ 79 w 96"/>
                <a:gd name="T9" fmla="*/ 9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123">
                  <a:moveTo>
                    <a:pt x="79" y="95"/>
                  </a:moveTo>
                  <a:cubicBezTo>
                    <a:pt x="96" y="8"/>
                    <a:pt x="96" y="8"/>
                    <a:pt x="96" y="8"/>
                  </a:cubicBezTo>
                  <a:cubicBezTo>
                    <a:pt x="93" y="0"/>
                    <a:pt x="82" y="0"/>
                    <a:pt x="79" y="8"/>
                  </a:cubicBezTo>
                  <a:cubicBezTo>
                    <a:pt x="0" y="123"/>
                    <a:pt x="0" y="123"/>
                    <a:pt x="0" y="123"/>
                  </a:cubicBezTo>
                  <a:lnTo>
                    <a:pt x="79" y="9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709">
              <a:extLst>
                <a:ext uri="{FF2B5EF4-FFF2-40B4-BE49-F238E27FC236}">
                  <a16:creationId xmlns:a16="http://schemas.microsoft.com/office/drawing/2014/main" id="{C0182FD4-95CC-49E6-8BFF-D9C363556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7650" y="2547938"/>
              <a:ext cx="309563" cy="227013"/>
            </a:xfrm>
            <a:custGeom>
              <a:avLst/>
              <a:gdLst>
                <a:gd name="T0" fmla="*/ 51 w 356"/>
                <a:gd name="T1" fmla="*/ 263 h 263"/>
                <a:gd name="T2" fmla="*/ 249 w 356"/>
                <a:gd name="T3" fmla="*/ 210 h 263"/>
                <a:gd name="T4" fmla="*/ 337 w 356"/>
                <a:gd name="T5" fmla="*/ 120 h 263"/>
                <a:gd name="T6" fmla="*/ 336 w 356"/>
                <a:gd name="T7" fmla="*/ 13 h 263"/>
                <a:gd name="T8" fmla="*/ 167 w 356"/>
                <a:gd name="T9" fmla="*/ 118 h 263"/>
                <a:gd name="T10" fmla="*/ 95 w 356"/>
                <a:gd name="T11" fmla="*/ 144 h 263"/>
                <a:gd name="T12" fmla="*/ 61 w 356"/>
                <a:gd name="T13" fmla="*/ 180 h 263"/>
                <a:gd name="T14" fmla="*/ 0 w 356"/>
                <a:gd name="T15" fmla="*/ 214 h 263"/>
                <a:gd name="T16" fmla="*/ 51 w 356"/>
                <a:gd name="T17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6" h="263">
                  <a:moveTo>
                    <a:pt x="51" y="263"/>
                  </a:moveTo>
                  <a:cubicBezTo>
                    <a:pt x="51" y="263"/>
                    <a:pt x="205" y="236"/>
                    <a:pt x="249" y="210"/>
                  </a:cubicBezTo>
                  <a:cubicBezTo>
                    <a:pt x="281" y="190"/>
                    <a:pt x="337" y="120"/>
                    <a:pt x="337" y="120"/>
                  </a:cubicBezTo>
                  <a:cubicBezTo>
                    <a:pt x="339" y="113"/>
                    <a:pt x="356" y="19"/>
                    <a:pt x="336" y="13"/>
                  </a:cubicBezTo>
                  <a:cubicBezTo>
                    <a:pt x="285" y="0"/>
                    <a:pt x="167" y="118"/>
                    <a:pt x="167" y="118"/>
                  </a:cubicBezTo>
                  <a:cubicBezTo>
                    <a:pt x="167" y="118"/>
                    <a:pt x="114" y="120"/>
                    <a:pt x="95" y="14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0" y="214"/>
                    <a:pt x="0" y="214"/>
                    <a:pt x="0" y="214"/>
                  </a:cubicBezTo>
                  <a:lnTo>
                    <a:pt x="51" y="263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710">
              <a:extLst>
                <a:ext uri="{FF2B5EF4-FFF2-40B4-BE49-F238E27FC236}">
                  <a16:creationId xmlns:a16="http://schemas.microsoft.com/office/drawing/2014/main" id="{1278017C-0206-432F-9CB8-BF99A3294D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39363" y="2698751"/>
              <a:ext cx="112713" cy="76200"/>
            </a:xfrm>
            <a:custGeom>
              <a:avLst/>
              <a:gdLst>
                <a:gd name="T0" fmla="*/ 47 w 131"/>
                <a:gd name="T1" fmla="*/ 88 h 88"/>
                <a:gd name="T2" fmla="*/ 1 w 131"/>
                <a:gd name="T3" fmla="*/ 13 h 88"/>
                <a:gd name="T4" fmla="*/ 16 w 131"/>
                <a:gd name="T5" fmla="*/ 6 h 88"/>
                <a:gd name="T6" fmla="*/ 131 w 131"/>
                <a:gd name="T7" fmla="*/ 87 h 88"/>
                <a:gd name="T8" fmla="*/ 47 w 131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88">
                  <a:moveTo>
                    <a:pt x="47" y="88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0" y="4"/>
                    <a:pt x="11" y="0"/>
                    <a:pt x="16" y="6"/>
                  </a:cubicBezTo>
                  <a:cubicBezTo>
                    <a:pt x="131" y="87"/>
                    <a:pt x="131" y="87"/>
                    <a:pt x="131" y="87"/>
                  </a:cubicBezTo>
                  <a:lnTo>
                    <a:pt x="47" y="88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711">
              <a:extLst>
                <a:ext uri="{FF2B5EF4-FFF2-40B4-BE49-F238E27FC236}">
                  <a16:creationId xmlns:a16="http://schemas.microsoft.com/office/drawing/2014/main" id="{FEEBFD86-38EF-46B2-B9AE-DE1468CE5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0138" y="2703513"/>
              <a:ext cx="349250" cy="168275"/>
            </a:xfrm>
            <a:custGeom>
              <a:avLst/>
              <a:gdLst>
                <a:gd name="T0" fmla="*/ 370 w 402"/>
                <a:gd name="T1" fmla="*/ 165 h 194"/>
                <a:gd name="T2" fmla="*/ 167 w 402"/>
                <a:gd name="T3" fmla="*/ 184 h 194"/>
                <a:gd name="T4" fmla="*/ 53 w 402"/>
                <a:gd name="T5" fmla="*/ 130 h 194"/>
                <a:gd name="T6" fmla="*/ 17 w 402"/>
                <a:gd name="T7" fmla="*/ 30 h 194"/>
                <a:gd name="T8" fmla="*/ 211 w 402"/>
                <a:gd name="T9" fmla="*/ 70 h 194"/>
                <a:gd name="T10" fmla="*/ 288 w 402"/>
                <a:gd name="T11" fmla="*/ 69 h 194"/>
                <a:gd name="T12" fmla="*/ 332 w 402"/>
                <a:gd name="T13" fmla="*/ 91 h 194"/>
                <a:gd name="T14" fmla="*/ 402 w 402"/>
                <a:gd name="T15" fmla="*/ 102 h 194"/>
                <a:gd name="T16" fmla="*/ 370 w 402"/>
                <a:gd name="T17" fmla="*/ 16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2" h="194">
                  <a:moveTo>
                    <a:pt x="370" y="165"/>
                  </a:moveTo>
                  <a:cubicBezTo>
                    <a:pt x="370" y="165"/>
                    <a:pt x="217" y="194"/>
                    <a:pt x="167" y="184"/>
                  </a:cubicBezTo>
                  <a:cubicBezTo>
                    <a:pt x="130" y="177"/>
                    <a:pt x="53" y="130"/>
                    <a:pt x="53" y="130"/>
                  </a:cubicBezTo>
                  <a:cubicBezTo>
                    <a:pt x="48" y="125"/>
                    <a:pt x="0" y="42"/>
                    <a:pt x="17" y="30"/>
                  </a:cubicBezTo>
                  <a:cubicBezTo>
                    <a:pt x="60" y="0"/>
                    <a:pt x="211" y="70"/>
                    <a:pt x="211" y="70"/>
                  </a:cubicBezTo>
                  <a:cubicBezTo>
                    <a:pt x="211" y="70"/>
                    <a:pt x="262" y="53"/>
                    <a:pt x="288" y="69"/>
                  </a:cubicBezTo>
                  <a:cubicBezTo>
                    <a:pt x="332" y="91"/>
                    <a:pt x="332" y="91"/>
                    <a:pt x="332" y="91"/>
                  </a:cubicBezTo>
                  <a:cubicBezTo>
                    <a:pt x="402" y="102"/>
                    <a:pt x="402" y="102"/>
                    <a:pt x="402" y="102"/>
                  </a:cubicBezTo>
                  <a:lnTo>
                    <a:pt x="370" y="16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712">
              <a:extLst>
                <a:ext uri="{FF2B5EF4-FFF2-40B4-BE49-F238E27FC236}">
                  <a16:creationId xmlns:a16="http://schemas.microsoft.com/office/drawing/2014/main" id="{D6EC8DFB-B72C-4DA7-8D18-70CA8CB1C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9825" y="2270126"/>
              <a:ext cx="71438" cy="114300"/>
            </a:xfrm>
            <a:custGeom>
              <a:avLst/>
              <a:gdLst>
                <a:gd name="T0" fmla="*/ 7 w 82"/>
                <a:gd name="T1" fmla="*/ 36 h 132"/>
                <a:gd name="T2" fmla="*/ 0 w 82"/>
                <a:gd name="T3" fmla="*/ 125 h 132"/>
                <a:gd name="T4" fmla="*/ 16 w 82"/>
                <a:gd name="T5" fmla="*/ 123 h 132"/>
                <a:gd name="T6" fmla="*/ 82 w 82"/>
                <a:gd name="T7" fmla="*/ 0 h 132"/>
                <a:gd name="T8" fmla="*/ 7 w 82"/>
                <a:gd name="T9" fmla="*/ 3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132">
                  <a:moveTo>
                    <a:pt x="7" y="36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3" y="132"/>
                    <a:pt x="14" y="131"/>
                    <a:pt x="16" y="123"/>
                  </a:cubicBezTo>
                  <a:cubicBezTo>
                    <a:pt x="82" y="0"/>
                    <a:pt x="82" y="0"/>
                    <a:pt x="82" y="0"/>
                  </a:cubicBezTo>
                  <a:lnTo>
                    <a:pt x="7" y="36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713">
              <a:extLst>
                <a:ext uri="{FF2B5EF4-FFF2-40B4-BE49-F238E27FC236}">
                  <a16:creationId xmlns:a16="http://schemas.microsoft.com/office/drawing/2014/main" id="{13CC1D70-4EA3-4360-A2DB-F0A9C2C32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2188" y="2178051"/>
              <a:ext cx="287338" cy="249238"/>
            </a:xfrm>
            <a:custGeom>
              <a:avLst/>
              <a:gdLst>
                <a:gd name="T0" fmla="*/ 274 w 331"/>
                <a:gd name="T1" fmla="*/ 0 h 288"/>
                <a:gd name="T2" fmla="*/ 85 w 331"/>
                <a:gd name="T3" fmla="*/ 75 h 288"/>
                <a:gd name="T4" fmla="*/ 8 w 331"/>
                <a:gd name="T5" fmla="*/ 175 h 288"/>
                <a:gd name="T6" fmla="*/ 20 w 331"/>
                <a:gd name="T7" fmla="*/ 280 h 288"/>
                <a:gd name="T8" fmla="*/ 176 w 331"/>
                <a:gd name="T9" fmla="*/ 158 h 288"/>
                <a:gd name="T10" fmla="*/ 245 w 331"/>
                <a:gd name="T11" fmla="*/ 123 h 288"/>
                <a:gd name="T12" fmla="*/ 274 w 331"/>
                <a:gd name="T13" fmla="*/ 84 h 288"/>
                <a:gd name="T14" fmla="*/ 331 w 331"/>
                <a:gd name="T15" fmla="*/ 43 h 288"/>
                <a:gd name="T16" fmla="*/ 274 w 331"/>
                <a:gd name="T17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1" h="288">
                  <a:moveTo>
                    <a:pt x="274" y="0"/>
                  </a:moveTo>
                  <a:cubicBezTo>
                    <a:pt x="274" y="0"/>
                    <a:pt x="125" y="44"/>
                    <a:pt x="85" y="75"/>
                  </a:cubicBezTo>
                  <a:cubicBezTo>
                    <a:pt x="55" y="98"/>
                    <a:pt x="8" y="175"/>
                    <a:pt x="8" y="175"/>
                  </a:cubicBezTo>
                  <a:cubicBezTo>
                    <a:pt x="6" y="182"/>
                    <a:pt x="0" y="278"/>
                    <a:pt x="20" y="280"/>
                  </a:cubicBezTo>
                  <a:cubicBezTo>
                    <a:pt x="72" y="288"/>
                    <a:pt x="176" y="158"/>
                    <a:pt x="176" y="158"/>
                  </a:cubicBezTo>
                  <a:cubicBezTo>
                    <a:pt x="176" y="158"/>
                    <a:pt x="229" y="150"/>
                    <a:pt x="245" y="123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331" y="43"/>
                    <a:pt x="331" y="43"/>
                    <a:pt x="331" y="43"/>
                  </a:cubicBezTo>
                  <a:lnTo>
                    <a:pt x="274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714">
              <a:extLst>
                <a:ext uri="{FF2B5EF4-FFF2-40B4-BE49-F238E27FC236}">
                  <a16:creationId xmlns:a16="http://schemas.microsoft.com/office/drawing/2014/main" id="{B1721465-46A7-4328-95E4-0FD76628A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2438" y="2401888"/>
              <a:ext cx="1144588" cy="574675"/>
            </a:xfrm>
            <a:custGeom>
              <a:avLst/>
              <a:gdLst>
                <a:gd name="T0" fmla="*/ 47 w 1317"/>
                <a:gd name="T1" fmla="*/ 84 h 662"/>
                <a:gd name="T2" fmla="*/ 626 w 1317"/>
                <a:gd name="T3" fmla="*/ 640 h 662"/>
                <a:gd name="T4" fmla="*/ 1317 w 1317"/>
                <a:gd name="T5" fmla="*/ 431 h 662"/>
                <a:gd name="T6" fmla="*/ 1266 w 1317"/>
                <a:gd name="T7" fmla="*/ 351 h 662"/>
                <a:gd name="T8" fmla="*/ 682 w 1317"/>
                <a:gd name="T9" fmla="*/ 437 h 662"/>
                <a:gd name="T10" fmla="*/ 332 w 1317"/>
                <a:gd name="T11" fmla="*/ 103 h 662"/>
                <a:gd name="T12" fmla="*/ 47 w 1317"/>
                <a:gd name="T13" fmla="*/ 84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7" h="662">
                  <a:moveTo>
                    <a:pt x="47" y="84"/>
                  </a:moveTo>
                  <a:cubicBezTo>
                    <a:pt x="0" y="288"/>
                    <a:pt x="332" y="496"/>
                    <a:pt x="626" y="640"/>
                  </a:cubicBezTo>
                  <a:cubicBezTo>
                    <a:pt x="810" y="662"/>
                    <a:pt x="1317" y="431"/>
                    <a:pt x="1317" y="431"/>
                  </a:cubicBezTo>
                  <a:cubicBezTo>
                    <a:pt x="1266" y="351"/>
                    <a:pt x="1266" y="351"/>
                    <a:pt x="1266" y="351"/>
                  </a:cubicBezTo>
                  <a:cubicBezTo>
                    <a:pt x="682" y="437"/>
                    <a:pt x="682" y="437"/>
                    <a:pt x="682" y="437"/>
                  </a:cubicBezTo>
                  <a:cubicBezTo>
                    <a:pt x="332" y="103"/>
                    <a:pt x="332" y="103"/>
                    <a:pt x="332" y="103"/>
                  </a:cubicBezTo>
                  <a:cubicBezTo>
                    <a:pt x="332" y="103"/>
                    <a:pt x="66" y="0"/>
                    <a:pt x="47" y="84"/>
                  </a:cubicBezTo>
                  <a:close/>
                </a:path>
              </a:pathLst>
            </a:custGeom>
            <a:solidFill>
              <a:srgbClr val="F44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715">
              <a:extLst>
                <a:ext uri="{FF2B5EF4-FFF2-40B4-BE49-F238E27FC236}">
                  <a16:creationId xmlns:a16="http://schemas.microsoft.com/office/drawing/2014/main" id="{8AA0B265-489E-46FB-9023-727E6762F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1150" y="1812926"/>
              <a:ext cx="600075" cy="633413"/>
            </a:xfrm>
            <a:custGeom>
              <a:avLst/>
              <a:gdLst>
                <a:gd name="T0" fmla="*/ 397 w 689"/>
                <a:gd name="T1" fmla="*/ 60 h 731"/>
                <a:gd name="T2" fmla="*/ 635 w 689"/>
                <a:gd name="T3" fmla="*/ 475 h 731"/>
                <a:gd name="T4" fmla="*/ 199 w 689"/>
                <a:gd name="T5" fmla="*/ 670 h 731"/>
                <a:gd name="T6" fmla="*/ 55 w 689"/>
                <a:gd name="T7" fmla="*/ 287 h 731"/>
                <a:gd name="T8" fmla="*/ 397 w 689"/>
                <a:gd name="T9" fmla="*/ 60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9" h="731">
                  <a:moveTo>
                    <a:pt x="397" y="60"/>
                  </a:moveTo>
                  <a:cubicBezTo>
                    <a:pt x="583" y="121"/>
                    <a:pt x="689" y="306"/>
                    <a:pt x="635" y="475"/>
                  </a:cubicBezTo>
                  <a:cubicBezTo>
                    <a:pt x="580" y="643"/>
                    <a:pt x="385" y="731"/>
                    <a:pt x="199" y="670"/>
                  </a:cubicBezTo>
                  <a:cubicBezTo>
                    <a:pt x="12" y="610"/>
                    <a:pt x="0" y="455"/>
                    <a:pt x="55" y="287"/>
                  </a:cubicBezTo>
                  <a:cubicBezTo>
                    <a:pt x="110" y="118"/>
                    <a:pt x="211" y="0"/>
                    <a:pt x="397" y="60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716">
              <a:extLst>
                <a:ext uri="{FF2B5EF4-FFF2-40B4-BE49-F238E27FC236}">
                  <a16:creationId xmlns:a16="http://schemas.microsoft.com/office/drawing/2014/main" id="{2E466A13-57ED-4794-BE39-D6B902A05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400" y="2138363"/>
              <a:ext cx="114300" cy="136525"/>
            </a:xfrm>
            <a:custGeom>
              <a:avLst/>
              <a:gdLst>
                <a:gd name="T0" fmla="*/ 85 w 132"/>
                <a:gd name="T1" fmla="*/ 138 h 156"/>
                <a:gd name="T2" fmla="*/ 0 w 132"/>
                <a:gd name="T3" fmla="*/ 156 h 156"/>
                <a:gd name="T4" fmla="*/ 51 w 132"/>
                <a:gd name="T5" fmla="*/ 0 h 156"/>
                <a:gd name="T6" fmla="*/ 109 w 132"/>
                <a:gd name="T7" fmla="*/ 64 h 156"/>
                <a:gd name="T8" fmla="*/ 85 w 132"/>
                <a:gd name="T9" fmla="*/ 13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56">
                  <a:moveTo>
                    <a:pt x="85" y="138"/>
                  </a:moveTo>
                  <a:cubicBezTo>
                    <a:pt x="0" y="156"/>
                    <a:pt x="0" y="156"/>
                    <a:pt x="0" y="156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32" y="90"/>
                    <a:pt x="119" y="131"/>
                    <a:pt x="85" y="138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717">
              <a:extLst>
                <a:ext uri="{FF2B5EF4-FFF2-40B4-BE49-F238E27FC236}">
                  <a16:creationId xmlns:a16="http://schemas.microsoft.com/office/drawing/2014/main" id="{B6DDE148-81B9-47DC-84E5-B0AE01135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100" y="1781176"/>
              <a:ext cx="676275" cy="719138"/>
            </a:xfrm>
            <a:custGeom>
              <a:avLst/>
              <a:gdLst>
                <a:gd name="T0" fmla="*/ 406 w 779"/>
                <a:gd name="T1" fmla="*/ 50 h 829"/>
                <a:gd name="T2" fmla="*/ 51 w 779"/>
                <a:gd name="T3" fmla="*/ 310 h 829"/>
                <a:gd name="T4" fmla="*/ 203 w 779"/>
                <a:gd name="T5" fmla="*/ 742 h 829"/>
                <a:gd name="T6" fmla="*/ 643 w 779"/>
                <a:gd name="T7" fmla="*/ 735 h 829"/>
                <a:gd name="T8" fmla="*/ 536 w 779"/>
                <a:gd name="T9" fmla="*/ 662 h 829"/>
                <a:gd name="T10" fmla="*/ 601 w 779"/>
                <a:gd name="T11" fmla="*/ 543 h 829"/>
                <a:gd name="T12" fmla="*/ 595 w 779"/>
                <a:gd name="T13" fmla="*/ 380 h 829"/>
                <a:gd name="T14" fmla="*/ 688 w 779"/>
                <a:gd name="T15" fmla="*/ 308 h 829"/>
                <a:gd name="T16" fmla="*/ 778 w 779"/>
                <a:gd name="T17" fmla="*/ 322 h 829"/>
                <a:gd name="T18" fmla="*/ 406 w 779"/>
                <a:gd name="T19" fmla="*/ 50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9" h="829">
                  <a:moveTo>
                    <a:pt x="406" y="50"/>
                  </a:moveTo>
                  <a:cubicBezTo>
                    <a:pt x="244" y="0"/>
                    <a:pt x="100" y="161"/>
                    <a:pt x="51" y="310"/>
                  </a:cubicBezTo>
                  <a:cubicBezTo>
                    <a:pt x="0" y="469"/>
                    <a:pt x="30" y="685"/>
                    <a:pt x="203" y="742"/>
                  </a:cubicBezTo>
                  <a:cubicBezTo>
                    <a:pt x="469" y="829"/>
                    <a:pt x="644" y="735"/>
                    <a:pt x="643" y="735"/>
                  </a:cubicBezTo>
                  <a:cubicBezTo>
                    <a:pt x="549" y="714"/>
                    <a:pt x="538" y="662"/>
                    <a:pt x="536" y="662"/>
                  </a:cubicBezTo>
                  <a:cubicBezTo>
                    <a:pt x="564" y="630"/>
                    <a:pt x="614" y="591"/>
                    <a:pt x="601" y="543"/>
                  </a:cubicBezTo>
                  <a:cubicBezTo>
                    <a:pt x="581" y="467"/>
                    <a:pt x="584" y="415"/>
                    <a:pt x="595" y="380"/>
                  </a:cubicBezTo>
                  <a:cubicBezTo>
                    <a:pt x="608" y="339"/>
                    <a:pt x="646" y="311"/>
                    <a:pt x="688" y="308"/>
                  </a:cubicBezTo>
                  <a:cubicBezTo>
                    <a:pt x="714" y="307"/>
                    <a:pt x="745" y="308"/>
                    <a:pt x="778" y="322"/>
                  </a:cubicBezTo>
                  <a:cubicBezTo>
                    <a:pt x="779" y="323"/>
                    <a:pt x="708" y="145"/>
                    <a:pt x="406" y="50"/>
                  </a:cubicBezTo>
                  <a:close/>
                </a:path>
              </a:pathLst>
            </a:custGeom>
            <a:solidFill>
              <a:srgbClr val="FFE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718">
              <a:extLst>
                <a:ext uri="{FF2B5EF4-FFF2-40B4-BE49-F238E27FC236}">
                  <a16:creationId xmlns:a16="http://schemas.microsoft.com/office/drawing/2014/main" id="{C3E7EFAF-E0BB-4B23-89F7-0CF09E09C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675" y="2230438"/>
              <a:ext cx="530225" cy="269875"/>
            </a:xfrm>
            <a:custGeom>
              <a:avLst/>
              <a:gdLst>
                <a:gd name="T0" fmla="*/ 522 w 611"/>
                <a:gd name="T1" fmla="*/ 172 h 311"/>
                <a:gd name="T2" fmla="*/ 153 w 611"/>
                <a:gd name="T3" fmla="*/ 154 h 311"/>
                <a:gd name="T4" fmla="*/ 0 w 611"/>
                <a:gd name="T5" fmla="*/ 0 h 311"/>
                <a:gd name="T6" fmla="*/ 170 w 611"/>
                <a:gd name="T7" fmla="*/ 224 h 311"/>
                <a:gd name="T8" fmla="*/ 610 w 611"/>
                <a:gd name="T9" fmla="*/ 217 h 311"/>
                <a:gd name="T10" fmla="*/ 522 w 611"/>
                <a:gd name="T11" fmla="*/ 172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1" h="311">
                  <a:moveTo>
                    <a:pt x="522" y="172"/>
                  </a:moveTo>
                  <a:cubicBezTo>
                    <a:pt x="447" y="192"/>
                    <a:pt x="318" y="208"/>
                    <a:pt x="153" y="154"/>
                  </a:cubicBezTo>
                  <a:cubicBezTo>
                    <a:pt x="75" y="129"/>
                    <a:pt x="26" y="70"/>
                    <a:pt x="0" y="0"/>
                  </a:cubicBezTo>
                  <a:cubicBezTo>
                    <a:pt x="15" y="101"/>
                    <a:pt x="68" y="190"/>
                    <a:pt x="170" y="224"/>
                  </a:cubicBezTo>
                  <a:cubicBezTo>
                    <a:pt x="436" y="311"/>
                    <a:pt x="611" y="217"/>
                    <a:pt x="610" y="217"/>
                  </a:cubicBezTo>
                  <a:cubicBezTo>
                    <a:pt x="563" y="206"/>
                    <a:pt x="537" y="188"/>
                    <a:pt x="522" y="172"/>
                  </a:cubicBezTo>
                  <a:close/>
                </a:path>
              </a:pathLst>
            </a:custGeom>
            <a:solidFill>
              <a:srgbClr val="EDD6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719">
              <a:extLst>
                <a:ext uri="{FF2B5EF4-FFF2-40B4-BE49-F238E27FC236}">
                  <a16:creationId xmlns:a16="http://schemas.microsoft.com/office/drawing/2014/main" id="{96596A00-3142-4A89-8498-5111332AE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1763" y="2401888"/>
              <a:ext cx="1185863" cy="555625"/>
            </a:xfrm>
            <a:custGeom>
              <a:avLst/>
              <a:gdLst>
                <a:gd name="T0" fmla="*/ 1318 w 1365"/>
                <a:gd name="T1" fmla="*/ 84 h 640"/>
                <a:gd name="T2" fmla="*/ 739 w 1365"/>
                <a:gd name="T3" fmla="*/ 640 h 640"/>
                <a:gd name="T4" fmla="*/ 0 w 1365"/>
                <a:gd name="T5" fmla="*/ 524 h 640"/>
                <a:gd name="T6" fmla="*/ 14 w 1365"/>
                <a:gd name="T7" fmla="*/ 430 h 640"/>
                <a:gd name="T8" fmla="*/ 683 w 1365"/>
                <a:gd name="T9" fmla="*/ 437 h 640"/>
                <a:gd name="T10" fmla="*/ 1033 w 1365"/>
                <a:gd name="T11" fmla="*/ 103 h 640"/>
                <a:gd name="T12" fmla="*/ 1318 w 1365"/>
                <a:gd name="T13" fmla="*/ 84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5" h="640">
                  <a:moveTo>
                    <a:pt x="1318" y="84"/>
                  </a:moveTo>
                  <a:cubicBezTo>
                    <a:pt x="1365" y="288"/>
                    <a:pt x="1068" y="447"/>
                    <a:pt x="739" y="640"/>
                  </a:cubicBezTo>
                  <a:cubicBezTo>
                    <a:pt x="0" y="524"/>
                    <a:pt x="0" y="524"/>
                    <a:pt x="0" y="524"/>
                  </a:cubicBezTo>
                  <a:cubicBezTo>
                    <a:pt x="14" y="430"/>
                    <a:pt x="14" y="430"/>
                    <a:pt x="14" y="430"/>
                  </a:cubicBezTo>
                  <a:cubicBezTo>
                    <a:pt x="683" y="437"/>
                    <a:pt x="683" y="437"/>
                    <a:pt x="683" y="437"/>
                  </a:cubicBezTo>
                  <a:cubicBezTo>
                    <a:pt x="1033" y="103"/>
                    <a:pt x="1033" y="103"/>
                    <a:pt x="1033" y="103"/>
                  </a:cubicBezTo>
                  <a:cubicBezTo>
                    <a:pt x="1033" y="103"/>
                    <a:pt x="1299" y="0"/>
                    <a:pt x="1318" y="84"/>
                  </a:cubicBezTo>
                  <a:close/>
                </a:path>
              </a:pathLst>
            </a:custGeom>
            <a:solidFill>
              <a:srgbClr val="CF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720">
              <a:extLst>
                <a:ext uri="{FF2B5EF4-FFF2-40B4-BE49-F238E27FC236}">
                  <a16:creationId xmlns:a16="http://schemas.microsoft.com/office/drawing/2014/main" id="{90D51CD3-EC30-4B45-8018-BAF5E8988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8563" y="1671638"/>
              <a:ext cx="1169988" cy="568325"/>
            </a:xfrm>
            <a:custGeom>
              <a:avLst/>
              <a:gdLst>
                <a:gd name="T0" fmla="*/ 1314 w 1347"/>
                <a:gd name="T1" fmla="*/ 193 h 656"/>
                <a:gd name="T2" fmla="*/ 518 w 1347"/>
                <a:gd name="T3" fmla="*/ 84 h 656"/>
                <a:gd name="T4" fmla="*/ 0 w 1347"/>
                <a:gd name="T5" fmla="*/ 585 h 656"/>
                <a:gd name="T6" fmla="*/ 76 w 1347"/>
                <a:gd name="T7" fmla="*/ 656 h 656"/>
                <a:gd name="T8" fmla="*/ 592 w 1347"/>
                <a:gd name="T9" fmla="*/ 281 h 656"/>
                <a:gd name="T10" fmla="*/ 1072 w 1347"/>
                <a:gd name="T11" fmla="*/ 346 h 656"/>
                <a:gd name="T12" fmla="*/ 1314 w 1347"/>
                <a:gd name="T13" fmla="*/ 193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7" h="656">
                  <a:moveTo>
                    <a:pt x="1314" y="193"/>
                  </a:moveTo>
                  <a:cubicBezTo>
                    <a:pt x="1232" y="0"/>
                    <a:pt x="898" y="47"/>
                    <a:pt x="518" y="84"/>
                  </a:cubicBezTo>
                  <a:cubicBezTo>
                    <a:pt x="0" y="585"/>
                    <a:pt x="0" y="585"/>
                    <a:pt x="0" y="585"/>
                  </a:cubicBezTo>
                  <a:cubicBezTo>
                    <a:pt x="76" y="656"/>
                    <a:pt x="76" y="656"/>
                    <a:pt x="76" y="656"/>
                  </a:cubicBezTo>
                  <a:cubicBezTo>
                    <a:pt x="592" y="281"/>
                    <a:pt x="592" y="281"/>
                    <a:pt x="592" y="281"/>
                  </a:cubicBezTo>
                  <a:cubicBezTo>
                    <a:pt x="1072" y="346"/>
                    <a:pt x="1072" y="346"/>
                    <a:pt x="1072" y="346"/>
                  </a:cubicBezTo>
                  <a:cubicBezTo>
                    <a:pt x="1072" y="346"/>
                    <a:pt x="1347" y="273"/>
                    <a:pt x="1314" y="193"/>
                  </a:cubicBezTo>
                  <a:close/>
                </a:path>
              </a:pathLst>
            </a:custGeom>
            <a:solidFill>
              <a:srgbClr val="CF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721">
              <a:extLst>
                <a:ext uri="{FF2B5EF4-FFF2-40B4-BE49-F238E27FC236}">
                  <a16:creationId xmlns:a16="http://schemas.microsoft.com/office/drawing/2014/main" id="{7624AD20-5D50-4005-AE2E-97EDA8C58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6463" y="1766888"/>
              <a:ext cx="382588" cy="830263"/>
            </a:xfrm>
            <a:custGeom>
              <a:avLst/>
              <a:gdLst>
                <a:gd name="T0" fmla="*/ 369 w 441"/>
                <a:gd name="T1" fmla="*/ 936 h 959"/>
                <a:gd name="T2" fmla="*/ 90 w 441"/>
                <a:gd name="T3" fmla="*/ 522 h 959"/>
                <a:gd name="T4" fmla="*/ 72 w 441"/>
                <a:gd name="T5" fmla="*/ 23 h 959"/>
                <a:gd name="T6" fmla="*/ 351 w 441"/>
                <a:gd name="T7" fmla="*/ 437 h 959"/>
                <a:gd name="T8" fmla="*/ 369 w 441"/>
                <a:gd name="T9" fmla="*/ 936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1" h="959">
                  <a:moveTo>
                    <a:pt x="369" y="936"/>
                  </a:moveTo>
                  <a:cubicBezTo>
                    <a:pt x="297" y="959"/>
                    <a:pt x="172" y="774"/>
                    <a:pt x="90" y="522"/>
                  </a:cubicBezTo>
                  <a:cubicBezTo>
                    <a:pt x="8" y="270"/>
                    <a:pt x="0" y="47"/>
                    <a:pt x="72" y="23"/>
                  </a:cubicBezTo>
                  <a:cubicBezTo>
                    <a:pt x="144" y="0"/>
                    <a:pt x="269" y="185"/>
                    <a:pt x="351" y="437"/>
                  </a:cubicBezTo>
                  <a:cubicBezTo>
                    <a:pt x="432" y="689"/>
                    <a:pt x="441" y="912"/>
                    <a:pt x="369" y="936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722">
              <a:extLst>
                <a:ext uri="{FF2B5EF4-FFF2-40B4-BE49-F238E27FC236}">
                  <a16:creationId xmlns:a16="http://schemas.microsoft.com/office/drawing/2014/main" id="{F9D6AF26-56B1-47F7-9A34-20BEF5285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0738" y="2189163"/>
              <a:ext cx="109538" cy="107950"/>
            </a:xfrm>
            <a:custGeom>
              <a:avLst/>
              <a:gdLst>
                <a:gd name="T0" fmla="*/ 24 w 126"/>
                <a:gd name="T1" fmla="*/ 56 h 125"/>
                <a:gd name="T2" fmla="*/ 85 w 126"/>
                <a:gd name="T3" fmla="*/ 0 h 125"/>
                <a:gd name="T4" fmla="*/ 126 w 126"/>
                <a:gd name="T5" fmla="*/ 125 h 125"/>
                <a:gd name="T6" fmla="*/ 43 w 126"/>
                <a:gd name="T7" fmla="*/ 115 h 125"/>
                <a:gd name="T8" fmla="*/ 24 w 126"/>
                <a:gd name="T9" fmla="*/ 56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25">
                  <a:moveTo>
                    <a:pt x="24" y="5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126" y="125"/>
                    <a:pt x="126" y="125"/>
                    <a:pt x="126" y="125"/>
                  </a:cubicBezTo>
                  <a:cubicBezTo>
                    <a:pt x="43" y="115"/>
                    <a:pt x="43" y="115"/>
                    <a:pt x="43" y="115"/>
                  </a:cubicBezTo>
                  <a:cubicBezTo>
                    <a:pt x="11" y="111"/>
                    <a:pt x="0" y="78"/>
                    <a:pt x="24" y="56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723">
              <a:extLst>
                <a:ext uri="{FF2B5EF4-FFF2-40B4-BE49-F238E27FC236}">
                  <a16:creationId xmlns:a16="http://schemas.microsoft.com/office/drawing/2014/main" id="{183D6453-C884-4551-8CEF-FB328BD09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80800" y="1920876"/>
              <a:ext cx="217488" cy="307975"/>
            </a:xfrm>
            <a:custGeom>
              <a:avLst/>
              <a:gdLst>
                <a:gd name="T0" fmla="*/ 177 w 250"/>
                <a:gd name="T1" fmla="*/ 338 h 356"/>
                <a:gd name="T2" fmla="*/ 29 w 250"/>
                <a:gd name="T3" fmla="*/ 209 h 356"/>
                <a:gd name="T4" fmla="*/ 73 w 250"/>
                <a:gd name="T5" fmla="*/ 17 h 356"/>
                <a:gd name="T6" fmla="*/ 221 w 250"/>
                <a:gd name="T7" fmla="*/ 146 h 356"/>
                <a:gd name="T8" fmla="*/ 177 w 250"/>
                <a:gd name="T9" fmla="*/ 33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0" h="356">
                  <a:moveTo>
                    <a:pt x="177" y="338"/>
                  </a:moveTo>
                  <a:cubicBezTo>
                    <a:pt x="124" y="356"/>
                    <a:pt x="58" y="298"/>
                    <a:pt x="29" y="209"/>
                  </a:cubicBezTo>
                  <a:cubicBezTo>
                    <a:pt x="0" y="120"/>
                    <a:pt x="19" y="34"/>
                    <a:pt x="73" y="17"/>
                  </a:cubicBezTo>
                  <a:cubicBezTo>
                    <a:pt x="126" y="0"/>
                    <a:pt x="192" y="58"/>
                    <a:pt x="221" y="146"/>
                  </a:cubicBezTo>
                  <a:cubicBezTo>
                    <a:pt x="250" y="235"/>
                    <a:pt x="230" y="321"/>
                    <a:pt x="177" y="338"/>
                  </a:cubicBezTo>
                  <a:close/>
                </a:path>
              </a:pathLst>
            </a:custGeom>
            <a:solidFill>
              <a:srgbClr val="693F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24">
              <a:extLst>
                <a:ext uri="{FF2B5EF4-FFF2-40B4-BE49-F238E27FC236}">
                  <a16:creationId xmlns:a16="http://schemas.microsoft.com/office/drawing/2014/main" id="{081A85D7-6AD3-44B5-8C7D-3FD1732CAD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4388" y="1846263"/>
              <a:ext cx="644525" cy="635000"/>
            </a:xfrm>
            <a:custGeom>
              <a:avLst/>
              <a:gdLst>
                <a:gd name="T0" fmla="*/ 491 w 742"/>
                <a:gd name="T1" fmla="*/ 671 h 732"/>
                <a:gd name="T2" fmla="*/ 55 w 742"/>
                <a:gd name="T3" fmla="*/ 476 h 732"/>
                <a:gd name="T4" fmla="*/ 293 w 742"/>
                <a:gd name="T5" fmla="*/ 61 h 732"/>
                <a:gd name="T6" fmla="*/ 687 w 742"/>
                <a:gd name="T7" fmla="*/ 270 h 732"/>
                <a:gd name="T8" fmla="*/ 491 w 742"/>
                <a:gd name="T9" fmla="*/ 671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2" h="732">
                  <a:moveTo>
                    <a:pt x="491" y="671"/>
                  </a:moveTo>
                  <a:cubicBezTo>
                    <a:pt x="305" y="732"/>
                    <a:pt x="110" y="644"/>
                    <a:pt x="55" y="476"/>
                  </a:cubicBezTo>
                  <a:cubicBezTo>
                    <a:pt x="0" y="307"/>
                    <a:pt x="107" y="121"/>
                    <a:pt x="293" y="61"/>
                  </a:cubicBezTo>
                  <a:cubicBezTo>
                    <a:pt x="479" y="0"/>
                    <a:pt x="633" y="101"/>
                    <a:pt x="687" y="270"/>
                  </a:cubicBezTo>
                  <a:cubicBezTo>
                    <a:pt x="742" y="438"/>
                    <a:pt x="677" y="611"/>
                    <a:pt x="491" y="671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725">
              <a:extLst>
                <a:ext uri="{FF2B5EF4-FFF2-40B4-BE49-F238E27FC236}">
                  <a16:creationId xmlns:a16="http://schemas.microsoft.com/office/drawing/2014/main" id="{1797764D-7107-41E0-9CA1-B4A737E49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7563" y="1816101"/>
              <a:ext cx="661988" cy="657225"/>
            </a:xfrm>
            <a:custGeom>
              <a:avLst/>
              <a:gdLst>
                <a:gd name="T0" fmla="*/ 519 w 761"/>
                <a:gd name="T1" fmla="*/ 717 h 758"/>
                <a:gd name="T2" fmla="*/ 101 w 761"/>
                <a:gd name="T3" fmla="*/ 494 h 758"/>
                <a:gd name="T4" fmla="*/ 309 w 761"/>
                <a:gd name="T5" fmla="*/ 68 h 758"/>
                <a:gd name="T6" fmla="*/ 703 w 761"/>
                <a:gd name="T7" fmla="*/ 299 h 758"/>
                <a:gd name="T8" fmla="*/ 519 w 761"/>
                <a:gd name="T9" fmla="*/ 717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1" h="758">
                  <a:moveTo>
                    <a:pt x="519" y="717"/>
                  </a:moveTo>
                  <a:cubicBezTo>
                    <a:pt x="392" y="758"/>
                    <a:pt x="127" y="729"/>
                    <a:pt x="101" y="494"/>
                  </a:cubicBezTo>
                  <a:cubicBezTo>
                    <a:pt x="0" y="316"/>
                    <a:pt x="128" y="127"/>
                    <a:pt x="309" y="68"/>
                  </a:cubicBezTo>
                  <a:cubicBezTo>
                    <a:pt x="518" y="0"/>
                    <a:pt x="645" y="120"/>
                    <a:pt x="703" y="299"/>
                  </a:cubicBezTo>
                  <a:cubicBezTo>
                    <a:pt x="761" y="478"/>
                    <a:pt x="729" y="649"/>
                    <a:pt x="519" y="717"/>
                  </a:cubicBezTo>
                  <a:close/>
                </a:path>
              </a:pathLst>
            </a:custGeom>
            <a:solidFill>
              <a:srgbClr val="693F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726">
              <a:extLst>
                <a:ext uri="{FF2B5EF4-FFF2-40B4-BE49-F238E27FC236}">
                  <a16:creationId xmlns:a16="http://schemas.microsoft.com/office/drawing/2014/main" id="{12F70412-F41F-47C2-B7DD-F171B90B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8050" y="2079626"/>
              <a:ext cx="571500" cy="392113"/>
            </a:xfrm>
            <a:custGeom>
              <a:avLst/>
              <a:gdLst>
                <a:gd name="T0" fmla="*/ 601 w 657"/>
                <a:gd name="T1" fmla="*/ 0 h 453"/>
                <a:gd name="T2" fmla="*/ 390 w 657"/>
                <a:gd name="T3" fmla="*/ 321 h 453"/>
                <a:gd name="T4" fmla="*/ 0 w 657"/>
                <a:gd name="T5" fmla="*/ 207 h 453"/>
                <a:gd name="T6" fmla="*/ 416 w 657"/>
                <a:gd name="T7" fmla="*/ 413 h 453"/>
                <a:gd name="T8" fmla="*/ 601 w 657"/>
                <a:gd name="T9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7" h="453">
                  <a:moveTo>
                    <a:pt x="601" y="0"/>
                  </a:moveTo>
                  <a:cubicBezTo>
                    <a:pt x="620" y="139"/>
                    <a:pt x="566" y="264"/>
                    <a:pt x="390" y="321"/>
                  </a:cubicBezTo>
                  <a:cubicBezTo>
                    <a:pt x="282" y="356"/>
                    <a:pt x="81" y="344"/>
                    <a:pt x="0" y="207"/>
                  </a:cubicBezTo>
                  <a:cubicBezTo>
                    <a:pt x="38" y="427"/>
                    <a:pt x="292" y="453"/>
                    <a:pt x="416" y="413"/>
                  </a:cubicBezTo>
                  <a:cubicBezTo>
                    <a:pt x="624" y="345"/>
                    <a:pt x="657" y="177"/>
                    <a:pt x="601" y="0"/>
                  </a:cubicBezTo>
                  <a:close/>
                </a:path>
              </a:pathLst>
            </a:custGeom>
            <a:solidFill>
              <a:srgbClr val="4D2C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727">
              <a:extLst>
                <a:ext uri="{FF2B5EF4-FFF2-40B4-BE49-F238E27FC236}">
                  <a16:creationId xmlns:a16="http://schemas.microsoft.com/office/drawing/2014/main" id="{8D7DB485-362B-4267-A7D1-F5B2225EE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4875" y="2070101"/>
              <a:ext cx="525463" cy="177800"/>
            </a:xfrm>
            <a:custGeom>
              <a:avLst/>
              <a:gdLst>
                <a:gd name="T0" fmla="*/ 1 w 604"/>
                <a:gd name="T1" fmla="*/ 200 h 205"/>
                <a:gd name="T2" fmla="*/ 4 w 604"/>
                <a:gd name="T3" fmla="*/ 193 h 205"/>
                <a:gd name="T4" fmla="*/ 595 w 604"/>
                <a:gd name="T5" fmla="*/ 1 h 205"/>
                <a:gd name="T6" fmla="*/ 603 w 604"/>
                <a:gd name="T7" fmla="*/ 5 h 205"/>
                <a:gd name="T8" fmla="*/ 599 w 604"/>
                <a:gd name="T9" fmla="*/ 12 h 205"/>
                <a:gd name="T10" fmla="*/ 8 w 604"/>
                <a:gd name="T11" fmla="*/ 204 h 205"/>
                <a:gd name="T12" fmla="*/ 1 w 604"/>
                <a:gd name="T13" fmla="*/ 20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4" h="205">
                  <a:moveTo>
                    <a:pt x="1" y="200"/>
                  </a:moveTo>
                  <a:cubicBezTo>
                    <a:pt x="0" y="197"/>
                    <a:pt x="1" y="194"/>
                    <a:pt x="4" y="193"/>
                  </a:cubicBezTo>
                  <a:cubicBezTo>
                    <a:pt x="595" y="1"/>
                    <a:pt x="595" y="1"/>
                    <a:pt x="595" y="1"/>
                  </a:cubicBezTo>
                  <a:cubicBezTo>
                    <a:pt x="598" y="0"/>
                    <a:pt x="602" y="2"/>
                    <a:pt x="603" y="5"/>
                  </a:cubicBezTo>
                  <a:cubicBezTo>
                    <a:pt x="604" y="8"/>
                    <a:pt x="602" y="11"/>
                    <a:pt x="599" y="12"/>
                  </a:cubicBezTo>
                  <a:cubicBezTo>
                    <a:pt x="8" y="204"/>
                    <a:pt x="8" y="204"/>
                    <a:pt x="8" y="204"/>
                  </a:cubicBezTo>
                  <a:cubicBezTo>
                    <a:pt x="5" y="205"/>
                    <a:pt x="2" y="203"/>
                    <a:pt x="1" y="200"/>
                  </a:cubicBezTo>
                  <a:close/>
                </a:path>
              </a:pathLst>
            </a:custGeom>
            <a:solidFill>
              <a:srgbClr val="7F53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728">
              <a:extLst>
                <a:ext uri="{FF2B5EF4-FFF2-40B4-BE49-F238E27FC236}">
                  <a16:creationId xmlns:a16="http://schemas.microsoft.com/office/drawing/2014/main" id="{11E439F8-3F06-4FE7-A0C3-2A10AEEAF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9850" y="1874838"/>
              <a:ext cx="63500" cy="104775"/>
            </a:xfrm>
            <a:custGeom>
              <a:avLst/>
              <a:gdLst>
                <a:gd name="T0" fmla="*/ 1 w 74"/>
                <a:gd name="T1" fmla="*/ 13 h 122"/>
                <a:gd name="T2" fmla="*/ 6 w 74"/>
                <a:gd name="T3" fmla="*/ 3 h 122"/>
                <a:gd name="T4" fmla="*/ 17 w 74"/>
                <a:gd name="T5" fmla="*/ 6 h 122"/>
                <a:gd name="T6" fmla="*/ 72 w 74"/>
                <a:gd name="T7" fmla="*/ 108 h 122"/>
                <a:gd name="T8" fmla="*/ 68 w 74"/>
                <a:gd name="T9" fmla="*/ 120 h 122"/>
                <a:gd name="T10" fmla="*/ 57 w 74"/>
                <a:gd name="T11" fmla="*/ 116 h 122"/>
                <a:gd name="T12" fmla="*/ 2 w 74"/>
                <a:gd name="T13" fmla="*/ 15 h 122"/>
                <a:gd name="T14" fmla="*/ 1 w 74"/>
                <a:gd name="T15" fmla="*/ 1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122">
                  <a:moveTo>
                    <a:pt x="1" y="13"/>
                  </a:moveTo>
                  <a:cubicBezTo>
                    <a:pt x="0" y="9"/>
                    <a:pt x="2" y="5"/>
                    <a:pt x="6" y="3"/>
                  </a:cubicBezTo>
                  <a:cubicBezTo>
                    <a:pt x="10" y="0"/>
                    <a:pt x="15" y="2"/>
                    <a:pt x="17" y="6"/>
                  </a:cubicBezTo>
                  <a:cubicBezTo>
                    <a:pt x="72" y="108"/>
                    <a:pt x="72" y="108"/>
                    <a:pt x="72" y="108"/>
                  </a:cubicBezTo>
                  <a:cubicBezTo>
                    <a:pt x="74" y="112"/>
                    <a:pt x="73" y="118"/>
                    <a:pt x="68" y="120"/>
                  </a:cubicBezTo>
                  <a:cubicBezTo>
                    <a:pt x="64" y="122"/>
                    <a:pt x="59" y="121"/>
                    <a:pt x="57" y="116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4"/>
                    <a:pt x="2" y="14"/>
                    <a:pt x="1" y="13"/>
                  </a:cubicBezTo>
                  <a:close/>
                </a:path>
              </a:pathLst>
            </a:custGeom>
            <a:solidFill>
              <a:srgbClr val="039B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729">
              <a:extLst>
                <a:ext uri="{FF2B5EF4-FFF2-40B4-BE49-F238E27FC236}">
                  <a16:creationId xmlns:a16="http://schemas.microsoft.com/office/drawing/2014/main" id="{BAF79C1B-0B17-433E-8170-2FDBF7002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14150" y="2170113"/>
              <a:ext cx="30163" cy="114300"/>
            </a:xfrm>
            <a:custGeom>
              <a:avLst/>
              <a:gdLst>
                <a:gd name="T0" fmla="*/ 17 w 34"/>
                <a:gd name="T1" fmla="*/ 126 h 133"/>
                <a:gd name="T2" fmla="*/ 16 w 34"/>
                <a:gd name="T3" fmla="*/ 125 h 133"/>
                <a:gd name="T4" fmla="*/ 1 w 34"/>
                <a:gd name="T5" fmla="*/ 10 h 133"/>
                <a:gd name="T6" fmla="*/ 8 w 34"/>
                <a:gd name="T7" fmla="*/ 1 h 133"/>
                <a:gd name="T8" fmla="*/ 18 w 34"/>
                <a:gd name="T9" fmla="*/ 8 h 133"/>
                <a:gd name="T10" fmla="*/ 34 w 34"/>
                <a:gd name="T11" fmla="*/ 122 h 133"/>
                <a:gd name="T12" fmla="*/ 26 w 34"/>
                <a:gd name="T13" fmla="*/ 132 h 133"/>
                <a:gd name="T14" fmla="*/ 17 w 34"/>
                <a:gd name="T15" fmla="*/ 12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33">
                  <a:moveTo>
                    <a:pt x="17" y="126"/>
                  </a:moveTo>
                  <a:cubicBezTo>
                    <a:pt x="17" y="126"/>
                    <a:pt x="16" y="125"/>
                    <a:pt x="16" y="125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6"/>
                    <a:pt x="3" y="1"/>
                    <a:pt x="8" y="1"/>
                  </a:cubicBezTo>
                  <a:cubicBezTo>
                    <a:pt x="13" y="0"/>
                    <a:pt x="17" y="3"/>
                    <a:pt x="18" y="8"/>
                  </a:cubicBezTo>
                  <a:cubicBezTo>
                    <a:pt x="34" y="122"/>
                    <a:pt x="34" y="122"/>
                    <a:pt x="34" y="122"/>
                  </a:cubicBezTo>
                  <a:cubicBezTo>
                    <a:pt x="34" y="127"/>
                    <a:pt x="31" y="132"/>
                    <a:pt x="26" y="132"/>
                  </a:cubicBezTo>
                  <a:cubicBezTo>
                    <a:pt x="22" y="133"/>
                    <a:pt x="18" y="130"/>
                    <a:pt x="17" y="126"/>
                  </a:cubicBezTo>
                  <a:close/>
                </a:path>
              </a:pathLst>
            </a:custGeom>
            <a:solidFill>
              <a:srgbClr val="039B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730">
              <a:extLst>
                <a:ext uri="{FF2B5EF4-FFF2-40B4-BE49-F238E27FC236}">
                  <a16:creationId xmlns:a16="http://schemas.microsoft.com/office/drawing/2014/main" id="{BCFABBE1-E5FB-42A7-91AE-C9304590F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9213" y="4046538"/>
              <a:ext cx="263525" cy="244475"/>
            </a:xfrm>
            <a:custGeom>
              <a:avLst/>
              <a:gdLst>
                <a:gd name="T0" fmla="*/ 292 w 303"/>
                <a:gd name="T1" fmla="*/ 212 h 282"/>
                <a:gd name="T2" fmla="*/ 257 w 303"/>
                <a:gd name="T3" fmla="*/ 192 h 282"/>
                <a:gd name="T4" fmla="*/ 205 w 303"/>
                <a:gd name="T5" fmla="*/ 35 h 282"/>
                <a:gd name="T6" fmla="*/ 34 w 303"/>
                <a:gd name="T7" fmla="*/ 80 h 282"/>
                <a:gd name="T8" fmla="*/ 79 w 303"/>
                <a:gd name="T9" fmla="*/ 251 h 282"/>
                <a:gd name="T10" fmla="*/ 240 w 303"/>
                <a:gd name="T11" fmla="*/ 221 h 282"/>
                <a:gd name="T12" fmla="*/ 275 w 303"/>
                <a:gd name="T13" fmla="*/ 241 h 282"/>
                <a:gd name="T14" fmla="*/ 298 w 303"/>
                <a:gd name="T15" fmla="*/ 235 h 282"/>
                <a:gd name="T16" fmla="*/ 292 w 303"/>
                <a:gd name="T17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3" h="282">
                  <a:moveTo>
                    <a:pt x="292" y="212"/>
                  </a:moveTo>
                  <a:cubicBezTo>
                    <a:pt x="257" y="192"/>
                    <a:pt x="257" y="192"/>
                    <a:pt x="257" y="192"/>
                  </a:cubicBezTo>
                  <a:cubicBezTo>
                    <a:pt x="282" y="135"/>
                    <a:pt x="260" y="67"/>
                    <a:pt x="205" y="35"/>
                  </a:cubicBezTo>
                  <a:cubicBezTo>
                    <a:pt x="145" y="0"/>
                    <a:pt x="69" y="20"/>
                    <a:pt x="34" y="80"/>
                  </a:cubicBezTo>
                  <a:cubicBezTo>
                    <a:pt x="0" y="140"/>
                    <a:pt x="20" y="216"/>
                    <a:pt x="79" y="251"/>
                  </a:cubicBezTo>
                  <a:cubicBezTo>
                    <a:pt x="134" y="282"/>
                    <a:pt x="201" y="268"/>
                    <a:pt x="240" y="221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83" y="246"/>
                    <a:pt x="293" y="243"/>
                    <a:pt x="298" y="235"/>
                  </a:cubicBezTo>
                  <a:cubicBezTo>
                    <a:pt x="303" y="227"/>
                    <a:pt x="300" y="217"/>
                    <a:pt x="292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731">
              <a:extLst>
                <a:ext uri="{FF2B5EF4-FFF2-40B4-BE49-F238E27FC236}">
                  <a16:creationId xmlns:a16="http://schemas.microsoft.com/office/drawing/2014/main" id="{966D91E7-F09D-4AFB-82BF-6C9F1AEA1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9688" y="4032251"/>
              <a:ext cx="247650" cy="246063"/>
            </a:xfrm>
            <a:custGeom>
              <a:avLst/>
              <a:gdLst>
                <a:gd name="T0" fmla="*/ 251 w 285"/>
                <a:gd name="T1" fmla="*/ 205 h 285"/>
                <a:gd name="T2" fmla="*/ 80 w 285"/>
                <a:gd name="T3" fmla="*/ 250 h 285"/>
                <a:gd name="T4" fmla="*/ 34 w 285"/>
                <a:gd name="T5" fmla="*/ 80 h 285"/>
                <a:gd name="T6" fmla="*/ 205 w 285"/>
                <a:gd name="T7" fmla="*/ 34 h 285"/>
                <a:gd name="T8" fmla="*/ 251 w 285"/>
                <a:gd name="T9" fmla="*/ 20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5" h="285">
                  <a:moveTo>
                    <a:pt x="251" y="205"/>
                  </a:moveTo>
                  <a:cubicBezTo>
                    <a:pt x="216" y="265"/>
                    <a:pt x="139" y="285"/>
                    <a:pt x="80" y="250"/>
                  </a:cubicBezTo>
                  <a:cubicBezTo>
                    <a:pt x="20" y="216"/>
                    <a:pt x="0" y="139"/>
                    <a:pt x="34" y="80"/>
                  </a:cubicBezTo>
                  <a:cubicBezTo>
                    <a:pt x="69" y="20"/>
                    <a:pt x="146" y="0"/>
                    <a:pt x="205" y="34"/>
                  </a:cubicBezTo>
                  <a:cubicBezTo>
                    <a:pt x="265" y="69"/>
                    <a:pt x="285" y="145"/>
                    <a:pt x="251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732">
              <a:extLst>
                <a:ext uri="{FF2B5EF4-FFF2-40B4-BE49-F238E27FC236}">
                  <a16:creationId xmlns:a16="http://schemas.microsoft.com/office/drawing/2014/main" id="{249052A1-642D-4FA0-85AC-853592A72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8263" y="4060826"/>
              <a:ext cx="190500" cy="188913"/>
            </a:xfrm>
            <a:custGeom>
              <a:avLst/>
              <a:gdLst>
                <a:gd name="T0" fmla="*/ 213 w 219"/>
                <a:gd name="T1" fmla="*/ 99 h 219"/>
                <a:gd name="T2" fmla="*/ 120 w 219"/>
                <a:gd name="T3" fmla="*/ 213 h 219"/>
                <a:gd name="T4" fmla="*/ 6 w 219"/>
                <a:gd name="T5" fmla="*/ 120 h 219"/>
                <a:gd name="T6" fmla="*/ 99 w 219"/>
                <a:gd name="T7" fmla="*/ 6 h 219"/>
                <a:gd name="T8" fmla="*/ 213 w 219"/>
                <a:gd name="T9" fmla="*/ 9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19">
                  <a:moveTo>
                    <a:pt x="213" y="99"/>
                  </a:moveTo>
                  <a:cubicBezTo>
                    <a:pt x="219" y="156"/>
                    <a:pt x="177" y="207"/>
                    <a:pt x="120" y="213"/>
                  </a:cubicBezTo>
                  <a:cubicBezTo>
                    <a:pt x="63" y="219"/>
                    <a:pt x="12" y="177"/>
                    <a:pt x="6" y="120"/>
                  </a:cubicBezTo>
                  <a:cubicBezTo>
                    <a:pt x="0" y="63"/>
                    <a:pt x="42" y="12"/>
                    <a:pt x="99" y="6"/>
                  </a:cubicBezTo>
                  <a:cubicBezTo>
                    <a:pt x="156" y="0"/>
                    <a:pt x="207" y="41"/>
                    <a:pt x="213" y="99"/>
                  </a:cubicBezTo>
                  <a:close/>
                </a:path>
              </a:pathLst>
            </a:custGeom>
            <a:solidFill>
              <a:srgbClr val="9158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733">
              <a:extLst>
                <a:ext uri="{FF2B5EF4-FFF2-40B4-BE49-F238E27FC236}">
                  <a16:creationId xmlns:a16="http://schemas.microsoft.com/office/drawing/2014/main" id="{0F403B91-9B84-4CC9-8B24-1B0A44318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8263" y="4062413"/>
              <a:ext cx="158750" cy="168275"/>
            </a:xfrm>
            <a:custGeom>
              <a:avLst/>
              <a:gdLst>
                <a:gd name="T0" fmla="*/ 23 w 183"/>
                <a:gd name="T1" fmla="*/ 131 h 194"/>
                <a:gd name="T2" fmla="*/ 115 w 183"/>
                <a:gd name="T3" fmla="*/ 17 h 194"/>
                <a:gd name="T4" fmla="*/ 183 w 183"/>
                <a:gd name="T5" fmla="*/ 34 h 194"/>
                <a:gd name="T6" fmla="*/ 99 w 183"/>
                <a:gd name="T7" fmla="*/ 4 h 194"/>
                <a:gd name="T8" fmla="*/ 6 w 183"/>
                <a:gd name="T9" fmla="*/ 118 h 194"/>
                <a:gd name="T10" fmla="*/ 53 w 183"/>
                <a:gd name="T11" fmla="*/ 194 h 194"/>
                <a:gd name="T12" fmla="*/ 23 w 183"/>
                <a:gd name="T13" fmla="*/ 13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194">
                  <a:moveTo>
                    <a:pt x="23" y="131"/>
                  </a:moveTo>
                  <a:cubicBezTo>
                    <a:pt x="17" y="74"/>
                    <a:pt x="58" y="23"/>
                    <a:pt x="115" y="17"/>
                  </a:cubicBezTo>
                  <a:cubicBezTo>
                    <a:pt x="140" y="15"/>
                    <a:pt x="164" y="21"/>
                    <a:pt x="183" y="34"/>
                  </a:cubicBezTo>
                  <a:cubicBezTo>
                    <a:pt x="162" y="12"/>
                    <a:pt x="131" y="0"/>
                    <a:pt x="99" y="4"/>
                  </a:cubicBezTo>
                  <a:cubicBezTo>
                    <a:pt x="42" y="10"/>
                    <a:pt x="0" y="61"/>
                    <a:pt x="6" y="118"/>
                  </a:cubicBezTo>
                  <a:cubicBezTo>
                    <a:pt x="9" y="150"/>
                    <a:pt x="27" y="178"/>
                    <a:pt x="53" y="194"/>
                  </a:cubicBezTo>
                  <a:cubicBezTo>
                    <a:pt x="36" y="178"/>
                    <a:pt x="25" y="156"/>
                    <a:pt x="23" y="131"/>
                  </a:cubicBezTo>
                  <a:close/>
                </a:path>
              </a:pathLst>
            </a:custGeom>
            <a:solidFill>
              <a:srgbClr val="7C4B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734">
              <a:extLst>
                <a:ext uri="{FF2B5EF4-FFF2-40B4-BE49-F238E27FC236}">
                  <a16:creationId xmlns:a16="http://schemas.microsoft.com/office/drawing/2014/main" id="{2EF2E7C9-D440-4359-BF22-ED9E53C8D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1300" y="4194176"/>
              <a:ext cx="61913" cy="50800"/>
            </a:xfrm>
            <a:custGeom>
              <a:avLst/>
              <a:gdLst>
                <a:gd name="T0" fmla="*/ 42 w 70"/>
                <a:gd name="T1" fmla="*/ 54 h 59"/>
                <a:gd name="T2" fmla="*/ 0 w 70"/>
                <a:gd name="T3" fmla="*/ 30 h 59"/>
                <a:gd name="T4" fmla="*/ 17 w 70"/>
                <a:gd name="T5" fmla="*/ 0 h 59"/>
                <a:gd name="T6" fmla="*/ 59 w 70"/>
                <a:gd name="T7" fmla="*/ 25 h 59"/>
                <a:gd name="T8" fmla="*/ 65 w 70"/>
                <a:gd name="T9" fmla="*/ 48 h 59"/>
                <a:gd name="T10" fmla="*/ 42 w 70"/>
                <a:gd name="T11" fmla="*/ 5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59">
                  <a:moveTo>
                    <a:pt x="42" y="54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67" y="29"/>
                    <a:pt x="70" y="40"/>
                    <a:pt x="65" y="48"/>
                  </a:cubicBezTo>
                  <a:cubicBezTo>
                    <a:pt x="61" y="56"/>
                    <a:pt x="50" y="59"/>
                    <a:pt x="42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735">
              <a:extLst>
                <a:ext uri="{FF2B5EF4-FFF2-40B4-BE49-F238E27FC236}">
                  <a16:creationId xmlns:a16="http://schemas.microsoft.com/office/drawing/2014/main" id="{1B121890-B69A-4534-93C1-88E119724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6300" y="1749426"/>
              <a:ext cx="263525" cy="244475"/>
            </a:xfrm>
            <a:custGeom>
              <a:avLst/>
              <a:gdLst>
                <a:gd name="T0" fmla="*/ 293 w 303"/>
                <a:gd name="T1" fmla="*/ 212 h 282"/>
                <a:gd name="T2" fmla="*/ 258 w 303"/>
                <a:gd name="T3" fmla="*/ 191 h 282"/>
                <a:gd name="T4" fmla="*/ 206 w 303"/>
                <a:gd name="T5" fmla="*/ 34 h 282"/>
                <a:gd name="T6" fmla="*/ 35 w 303"/>
                <a:gd name="T7" fmla="*/ 80 h 282"/>
                <a:gd name="T8" fmla="*/ 80 w 303"/>
                <a:gd name="T9" fmla="*/ 250 h 282"/>
                <a:gd name="T10" fmla="*/ 240 w 303"/>
                <a:gd name="T11" fmla="*/ 221 h 282"/>
                <a:gd name="T12" fmla="*/ 275 w 303"/>
                <a:gd name="T13" fmla="*/ 241 h 282"/>
                <a:gd name="T14" fmla="*/ 299 w 303"/>
                <a:gd name="T15" fmla="*/ 235 h 282"/>
                <a:gd name="T16" fmla="*/ 293 w 303"/>
                <a:gd name="T17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3" h="282">
                  <a:moveTo>
                    <a:pt x="293" y="212"/>
                  </a:moveTo>
                  <a:cubicBezTo>
                    <a:pt x="258" y="191"/>
                    <a:pt x="258" y="191"/>
                    <a:pt x="258" y="191"/>
                  </a:cubicBezTo>
                  <a:cubicBezTo>
                    <a:pt x="282" y="134"/>
                    <a:pt x="261" y="66"/>
                    <a:pt x="206" y="34"/>
                  </a:cubicBezTo>
                  <a:cubicBezTo>
                    <a:pt x="146" y="0"/>
                    <a:pt x="70" y="20"/>
                    <a:pt x="35" y="80"/>
                  </a:cubicBezTo>
                  <a:cubicBezTo>
                    <a:pt x="0" y="139"/>
                    <a:pt x="21" y="216"/>
                    <a:pt x="80" y="250"/>
                  </a:cubicBezTo>
                  <a:cubicBezTo>
                    <a:pt x="134" y="282"/>
                    <a:pt x="202" y="268"/>
                    <a:pt x="240" y="221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84" y="246"/>
                    <a:pt x="294" y="243"/>
                    <a:pt x="299" y="235"/>
                  </a:cubicBezTo>
                  <a:cubicBezTo>
                    <a:pt x="303" y="227"/>
                    <a:pt x="301" y="216"/>
                    <a:pt x="293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736">
              <a:extLst>
                <a:ext uri="{FF2B5EF4-FFF2-40B4-BE49-F238E27FC236}">
                  <a16:creationId xmlns:a16="http://schemas.microsoft.com/office/drawing/2014/main" id="{1EB0E025-4DDD-46F5-A87E-70E08F482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7250" y="1754188"/>
              <a:ext cx="247650" cy="247650"/>
            </a:xfrm>
            <a:custGeom>
              <a:avLst/>
              <a:gdLst>
                <a:gd name="T0" fmla="*/ 251 w 285"/>
                <a:gd name="T1" fmla="*/ 205 h 285"/>
                <a:gd name="T2" fmla="*/ 80 w 285"/>
                <a:gd name="T3" fmla="*/ 250 h 285"/>
                <a:gd name="T4" fmla="*/ 35 w 285"/>
                <a:gd name="T5" fmla="*/ 79 h 285"/>
                <a:gd name="T6" fmla="*/ 205 w 285"/>
                <a:gd name="T7" fmla="*/ 34 h 285"/>
                <a:gd name="T8" fmla="*/ 251 w 285"/>
                <a:gd name="T9" fmla="*/ 20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5" h="285">
                  <a:moveTo>
                    <a:pt x="251" y="205"/>
                  </a:moveTo>
                  <a:cubicBezTo>
                    <a:pt x="216" y="265"/>
                    <a:pt x="140" y="285"/>
                    <a:pt x="80" y="250"/>
                  </a:cubicBezTo>
                  <a:cubicBezTo>
                    <a:pt x="20" y="216"/>
                    <a:pt x="0" y="139"/>
                    <a:pt x="35" y="79"/>
                  </a:cubicBezTo>
                  <a:cubicBezTo>
                    <a:pt x="69" y="20"/>
                    <a:pt x="146" y="0"/>
                    <a:pt x="205" y="34"/>
                  </a:cubicBezTo>
                  <a:cubicBezTo>
                    <a:pt x="265" y="69"/>
                    <a:pt x="285" y="145"/>
                    <a:pt x="251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737">
              <a:extLst>
                <a:ext uri="{FF2B5EF4-FFF2-40B4-BE49-F238E27FC236}">
                  <a16:creationId xmlns:a16="http://schemas.microsoft.com/office/drawing/2014/main" id="{E5A52628-CBEF-4276-91AA-59E114554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5825" y="1782763"/>
              <a:ext cx="190500" cy="190500"/>
            </a:xfrm>
            <a:custGeom>
              <a:avLst/>
              <a:gdLst>
                <a:gd name="T0" fmla="*/ 213 w 219"/>
                <a:gd name="T1" fmla="*/ 99 h 219"/>
                <a:gd name="T2" fmla="*/ 120 w 219"/>
                <a:gd name="T3" fmla="*/ 213 h 219"/>
                <a:gd name="T4" fmla="*/ 6 w 219"/>
                <a:gd name="T5" fmla="*/ 120 h 219"/>
                <a:gd name="T6" fmla="*/ 99 w 219"/>
                <a:gd name="T7" fmla="*/ 6 h 219"/>
                <a:gd name="T8" fmla="*/ 213 w 219"/>
                <a:gd name="T9" fmla="*/ 9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19">
                  <a:moveTo>
                    <a:pt x="213" y="99"/>
                  </a:moveTo>
                  <a:cubicBezTo>
                    <a:pt x="219" y="156"/>
                    <a:pt x="177" y="207"/>
                    <a:pt x="120" y="213"/>
                  </a:cubicBezTo>
                  <a:cubicBezTo>
                    <a:pt x="63" y="219"/>
                    <a:pt x="12" y="177"/>
                    <a:pt x="6" y="120"/>
                  </a:cubicBezTo>
                  <a:cubicBezTo>
                    <a:pt x="0" y="63"/>
                    <a:pt x="42" y="12"/>
                    <a:pt x="99" y="6"/>
                  </a:cubicBezTo>
                  <a:cubicBezTo>
                    <a:pt x="156" y="0"/>
                    <a:pt x="207" y="41"/>
                    <a:pt x="213" y="99"/>
                  </a:cubicBezTo>
                  <a:close/>
                </a:path>
              </a:pathLst>
            </a:custGeom>
            <a:solidFill>
              <a:srgbClr val="9158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738">
              <a:extLst>
                <a:ext uri="{FF2B5EF4-FFF2-40B4-BE49-F238E27FC236}">
                  <a16:creationId xmlns:a16="http://schemas.microsoft.com/office/drawing/2014/main" id="{27F0D199-300D-4DBF-8751-2A6A90140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5825" y="1784351"/>
              <a:ext cx="158750" cy="168275"/>
            </a:xfrm>
            <a:custGeom>
              <a:avLst/>
              <a:gdLst>
                <a:gd name="T0" fmla="*/ 23 w 183"/>
                <a:gd name="T1" fmla="*/ 131 h 194"/>
                <a:gd name="T2" fmla="*/ 116 w 183"/>
                <a:gd name="T3" fmla="*/ 17 h 194"/>
                <a:gd name="T4" fmla="*/ 183 w 183"/>
                <a:gd name="T5" fmla="*/ 34 h 194"/>
                <a:gd name="T6" fmla="*/ 99 w 183"/>
                <a:gd name="T7" fmla="*/ 4 h 194"/>
                <a:gd name="T8" fmla="*/ 6 w 183"/>
                <a:gd name="T9" fmla="*/ 118 h 194"/>
                <a:gd name="T10" fmla="*/ 53 w 183"/>
                <a:gd name="T11" fmla="*/ 194 h 194"/>
                <a:gd name="T12" fmla="*/ 23 w 183"/>
                <a:gd name="T13" fmla="*/ 13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194">
                  <a:moveTo>
                    <a:pt x="23" y="131"/>
                  </a:moveTo>
                  <a:cubicBezTo>
                    <a:pt x="17" y="74"/>
                    <a:pt x="58" y="23"/>
                    <a:pt x="116" y="17"/>
                  </a:cubicBezTo>
                  <a:cubicBezTo>
                    <a:pt x="140" y="15"/>
                    <a:pt x="164" y="21"/>
                    <a:pt x="183" y="34"/>
                  </a:cubicBezTo>
                  <a:cubicBezTo>
                    <a:pt x="162" y="12"/>
                    <a:pt x="131" y="0"/>
                    <a:pt x="99" y="4"/>
                  </a:cubicBezTo>
                  <a:cubicBezTo>
                    <a:pt x="42" y="10"/>
                    <a:pt x="0" y="61"/>
                    <a:pt x="6" y="118"/>
                  </a:cubicBezTo>
                  <a:cubicBezTo>
                    <a:pt x="9" y="150"/>
                    <a:pt x="27" y="178"/>
                    <a:pt x="53" y="194"/>
                  </a:cubicBezTo>
                  <a:cubicBezTo>
                    <a:pt x="36" y="178"/>
                    <a:pt x="25" y="156"/>
                    <a:pt x="23" y="131"/>
                  </a:cubicBezTo>
                  <a:close/>
                </a:path>
              </a:pathLst>
            </a:custGeom>
            <a:solidFill>
              <a:srgbClr val="7C4B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739">
              <a:extLst>
                <a:ext uri="{FF2B5EF4-FFF2-40B4-BE49-F238E27FC236}">
                  <a16:creationId xmlns:a16="http://schemas.microsoft.com/office/drawing/2014/main" id="{054328A0-52FA-4174-8DF5-C49F77755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8863" y="1916113"/>
              <a:ext cx="61913" cy="50800"/>
            </a:xfrm>
            <a:custGeom>
              <a:avLst/>
              <a:gdLst>
                <a:gd name="T0" fmla="*/ 42 w 70"/>
                <a:gd name="T1" fmla="*/ 54 h 59"/>
                <a:gd name="T2" fmla="*/ 0 w 70"/>
                <a:gd name="T3" fmla="*/ 29 h 59"/>
                <a:gd name="T4" fmla="*/ 17 w 70"/>
                <a:gd name="T5" fmla="*/ 0 h 59"/>
                <a:gd name="T6" fmla="*/ 59 w 70"/>
                <a:gd name="T7" fmla="*/ 24 h 59"/>
                <a:gd name="T8" fmla="*/ 65 w 70"/>
                <a:gd name="T9" fmla="*/ 48 h 59"/>
                <a:gd name="T10" fmla="*/ 42 w 70"/>
                <a:gd name="T11" fmla="*/ 5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59">
                  <a:moveTo>
                    <a:pt x="42" y="54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67" y="29"/>
                    <a:pt x="70" y="40"/>
                    <a:pt x="65" y="48"/>
                  </a:cubicBezTo>
                  <a:cubicBezTo>
                    <a:pt x="61" y="56"/>
                    <a:pt x="50" y="59"/>
                    <a:pt x="42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6403AD8-5BF8-4459-952F-C838B079D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8369" y="423257"/>
            <a:ext cx="10339200" cy="784830"/>
          </a:xfrm>
        </p:spPr>
        <p:txBody>
          <a:bodyPr>
            <a:spAutoFit/>
          </a:bodyPr>
          <a:lstStyle/>
          <a:p>
            <a:r>
              <a:rPr lang="sv-SE" sz="6000" dirty="0"/>
              <a:t>Lab work</a:t>
            </a:r>
            <a:endParaRPr lang="en-US" sz="6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A5A3402-E2CA-4EAE-9E46-398CFF4004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4143" y="2984501"/>
            <a:ext cx="5987684" cy="3087016"/>
          </a:xfrm>
          <a:prstGeom prst="rect">
            <a:avLst/>
          </a:prstGeom>
        </p:spPr>
      </p:pic>
      <p:sp>
        <p:nvSpPr>
          <p:cNvPr id="768" name="TextBox 767">
            <a:extLst>
              <a:ext uri="{FF2B5EF4-FFF2-40B4-BE49-F238E27FC236}">
                <a16:creationId xmlns:a16="http://schemas.microsoft.com/office/drawing/2014/main" id="{5AC9F421-188D-4B18-B944-0F02BBA6084E}"/>
              </a:ext>
            </a:extLst>
          </p:cNvPr>
          <p:cNvSpPr txBox="1"/>
          <p:nvPr/>
        </p:nvSpPr>
        <p:spPr>
          <a:xfrm>
            <a:off x="821094" y="1758156"/>
            <a:ext cx="544000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sz="1600" spc="-70" dirty="0"/>
              <a:t>Alert the right team if data doesn’t refresh properly</a:t>
            </a:r>
          </a:p>
          <a:p>
            <a:pPr marL="342900" indent="-342900">
              <a:buFontTx/>
              <a:buChar char="-"/>
            </a:pPr>
            <a:r>
              <a:rPr lang="en-US" sz="1600" spc="-70" dirty="0"/>
              <a:t>Create a bug</a:t>
            </a:r>
          </a:p>
          <a:p>
            <a:pPr marL="342900" indent="-342900">
              <a:buFontTx/>
              <a:buChar char="-"/>
            </a:pPr>
            <a:r>
              <a:rPr lang="en-US" sz="1600" spc="-70" dirty="0"/>
              <a:t>Notify the end users that you found a bug</a:t>
            </a:r>
          </a:p>
          <a:p>
            <a:pPr marL="342900" indent="-342900">
              <a:buFontTx/>
              <a:buChar char="-"/>
            </a:pPr>
            <a:r>
              <a:rPr lang="en-US" sz="1600" spc="-70" dirty="0"/>
              <a:t>Create a log entry for that bug</a:t>
            </a:r>
          </a:p>
        </p:txBody>
      </p:sp>
    </p:spTree>
    <p:extLst>
      <p:ext uri="{BB962C8B-B14F-4D97-AF65-F5344CB8AC3E}">
        <p14:creationId xmlns:p14="http://schemas.microsoft.com/office/powerpoint/2010/main" val="36644046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1E1F8B6-8005-45A7-830E-F1AFD7E497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1419" y="3063717"/>
            <a:ext cx="5670632" cy="730566"/>
          </a:xfrm>
        </p:spPr>
        <p:txBody>
          <a:bodyPr/>
          <a:lstStyle/>
          <a:p>
            <a:pPr defTabSz="914377">
              <a:lnSpc>
                <a:spcPct val="85000"/>
              </a:lnSpc>
            </a:pPr>
            <a:r>
              <a:rPr lang="en-US" sz="6600" dirty="0"/>
              <a:t>Lunch | Q&amp;A</a:t>
            </a:r>
            <a:endParaRPr lang="en-IN" sz="6600" dirty="0"/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6AD41B9D-C83C-44B5-AFD2-46839A6D3721}"/>
              </a:ext>
            </a:extLst>
          </p:cNvPr>
          <p:cNvSpPr/>
          <p:nvPr/>
        </p:nvSpPr>
        <p:spPr>
          <a:xfrm rot="5400000">
            <a:off x="11529340" y="-284037"/>
            <a:ext cx="194468" cy="1188000"/>
          </a:xfrm>
          <a:prstGeom prst="round2SameRect">
            <a:avLst>
              <a:gd name="adj1" fmla="val 16667"/>
              <a:gd name="adj2" fmla="val 50000"/>
            </a:avLst>
          </a:prstGeom>
          <a:solidFill>
            <a:schemeClr val="accent2">
              <a:lumMod val="60000"/>
              <a:lumOff val="4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A63613-8520-47CB-ADB2-90DE5B80DEE1}"/>
              </a:ext>
            </a:extLst>
          </p:cNvPr>
          <p:cNvSpPr/>
          <p:nvPr/>
        </p:nvSpPr>
        <p:spPr>
          <a:xfrm>
            <a:off x="11340757" y="257120"/>
            <a:ext cx="851242" cy="123111"/>
          </a:xfrm>
          <a:prstGeom prst="rect">
            <a:avLst/>
          </a:prstGeom>
          <a:noFill/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IN" sz="800" dirty="0">
                <a:solidFill>
                  <a:schemeClr val="bg1"/>
                </a:solidFill>
              </a:rPr>
              <a:t>CONFIDENTIAL</a:t>
            </a:r>
            <a:endParaRPr lang="en-US" sz="800" dirty="0">
              <a:solidFill>
                <a:schemeClr val="bg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D601B4A-5E56-4702-A52C-A9F5AB195920}"/>
              </a:ext>
            </a:extLst>
          </p:cNvPr>
          <p:cNvGrpSpPr/>
          <p:nvPr/>
        </p:nvGrpSpPr>
        <p:grpSpPr>
          <a:xfrm>
            <a:off x="11115098" y="240920"/>
            <a:ext cx="148215" cy="148025"/>
            <a:chOff x="11069033" y="1202944"/>
            <a:chExt cx="391979" cy="391477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6AAC713-33B8-4873-847E-D3635AF4C536}"/>
                </a:ext>
              </a:extLst>
            </p:cNvPr>
            <p:cNvSpPr/>
            <p:nvPr/>
          </p:nvSpPr>
          <p:spPr>
            <a:xfrm>
              <a:off x="11380040" y="1202944"/>
              <a:ext cx="80972" cy="80972"/>
            </a:xfrm>
            <a:custGeom>
              <a:avLst/>
              <a:gdLst>
                <a:gd name="connsiteX0" fmla="*/ 163259 w 323850"/>
                <a:gd name="connsiteY0" fmla="*/ 7144 h 323850"/>
                <a:gd name="connsiteX1" fmla="*/ 7144 w 323850"/>
                <a:gd name="connsiteY1" fmla="*/ 163544 h 323850"/>
                <a:gd name="connsiteX2" fmla="*/ 163259 w 323850"/>
                <a:gd name="connsiteY2" fmla="*/ 319564 h 323850"/>
                <a:gd name="connsiteX3" fmla="*/ 319373 w 323850"/>
                <a:gd name="connsiteY3" fmla="*/ 163544 h 323850"/>
                <a:gd name="connsiteX4" fmla="*/ 163259 w 323850"/>
                <a:gd name="connsiteY4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323850">
                  <a:moveTo>
                    <a:pt x="163259" y="7144"/>
                  </a:moveTo>
                  <a:cubicBezTo>
                    <a:pt x="76962" y="7144"/>
                    <a:pt x="7144" y="77153"/>
                    <a:pt x="7144" y="163544"/>
                  </a:cubicBezTo>
                  <a:cubicBezTo>
                    <a:pt x="7144" y="249650"/>
                    <a:pt x="76867" y="319564"/>
                    <a:pt x="163259" y="319564"/>
                  </a:cubicBezTo>
                  <a:cubicBezTo>
                    <a:pt x="249364" y="319564"/>
                    <a:pt x="319373" y="249746"/>
                    <a:pt x="319373" y="163544"/>
                  </a:cubicBezTo>
                  <a:cubicBezTo>
                    <a:pt x="319373" y="77153"/>
                    <a:pt x="249364" y="7144"/>
                    <a:pt x="163259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035DCCAA-84DC-40BE-A3EE-F69D457D1330}"/>
                </a:ext>
              </a:extLst>
            </p:cNvPr>
            <p:cNvSpPr/>
            <p:nvPr/>
          </p:nvSpPr>
          <p:spPr>
            <a:xfrm>
              <a:off x="11069033" y="1253861"/>
              <a:ext cx="319127" cy="340560"/>
            </a:xfrm>
            <a:custGeom>
              <a:avLst/>
              <a:gdLst>
                <a:gd name="connsiteX0" fmla="*/ 1064804 w 1276350"/>
                <a:gd name="connsiteY0" fmla="*/ 460439 h 1362075"/>
                <a:gd name="connsiteX1" fmla="*/ 1259781 w 1276350"/>
                <a:gd name="connsiteY1" fmla="*/ 203741 h 1362075"/>
                <a:gd name="connsiteX2" fmla="*/ 1261876 w 1276350"/>
                <a:gd name="connsiteY2" fmla="*/ 158687 h 1362075"/>
                <a:gd name="connsiteX3" fmla="*/ 1179009 w 1276350"/>
                <a:gd name="connsiteY3" fmla="*/ 25814 h 1362075"/>
                <a:gd name="connsiteX4" fmla="*/ 1145004 w 1276350"/>
                <a:gd name="connsiteY4" fmla="*/ 7145 h 1362075"/>
                <a:gd name="connsiteX5" fmla="*/ 787531 w 1276350"/>
                <a:gd name="connsiteY5" fmla="*/ 9621 h 1362075"/>
                <a:gd name="connsiteX6" fmla="*/ 787531 w 1276350"/>
                <a:gd name="connsiteY6" fmla="*/ 9621 h 1362075"/>
                <a:gd name="connsiteX7" fmla="*/ 591507 w 1276350"/>
                <a:gd name="connsiteY7" fmla="*/ 9431 h 1362075"/>
                <a:gd name="connsiteX8" fmla="*/ 581315 w 1276350"/>
                <a:gd name="connsiteY8" fmla="*/ 38387 h 1362075"/>
                <a:gd name="connsiteX9" fmla="*/ 636274 w 1276350"/>
                <a:gd name="connsiteY9" fmla="*/ 82678 h 1362075"/>
                <a:gd name="connsiteX10" fmla="*/ 662944 w 1276350"/>
                <a:gd name="connsiteY10" fmla="*/ 94965 h 1362075"/>
                <a:gd name="connsiteX11" fmla="*/ 1003368 w 1276350"/>
                <a:gd name="connsiteY11" fmla="*/ 159068 h 1362075"/>
                <a:gd name="connsiteX12" fmla="*/ 582172 w 1276350"/>
                <a:gd name="connsiteY12" fmla="*/ 611601 h 1362075"/>
                <a:gd name="connsiteX13" fmla="*/ 27817 w 1276350"/>
                <a:gd name="connsiteY13" fmla="*/ 690373 h 1362075"/>
                <a:gd name="connsiteX14" fmla="*/ 13625 w 1276350"/>
                <a:gd name="connsiteY14" fmla="*/ 730473 h 1362075"/>
                <a:gd name="connsiteX15" fmla="*/ 67727 w 1276350"/>
                <a:gd name="connsiteY15" fmla="*/ 788576 h 1362075"/>
                <a:gd name="connsiteX16" fmla="*/ 109256 w 1276350"/>
                <a:gd name="connsiteY16" fmla="*/ 806197 h 1362075"/>
                <a:gd name="connsiteX17" fmla="*/ 644370 w 1276350"/>
                <a:gd name="connsiteY17" fmla="*/ 797434 h 1362075"/>
                <a:gd name="connsiteX18" fmla="*/ 700473 w 1276350"/>
                <a:gd name="connsiteY18" fmla="*/ 781146 h 1362075"/>
                <a:gd name="connsiteX19" fmla="*/ 828679 w 1276350"/>
                <a:gd name="connsiteY19" fmla="*/ 703041 h 1362075"/>
                <a:gd name="connsiteX20" fmla="*/ 1099284 w 1276350"/>
                <a:gd name="connsiteY20" fmla="*/ 917830 h 1362075"/>
                <a:gd name="connsiteX21" fmla="*/ 1118715 w 1276350"/>
                <a:gd name="connsiteY21" fmla="*/ 952025 h 1362075"/>
                <a:gd name="connsiteX22" fmla="*/ 1170246 w 1276350"/>
                <a:gd name="connsiteY22" fmla="*/ 1331310 h 1362075"/>
                <a:gd name="connsiteX23" fmla="*/ 1205964 w 1276350"/>
                <a:gd name="connsiteY23" fmla="*/ 1362552 h 1362075"/>
                <a:gd name="connsiteX24" fmla="*/ 1233492 w 1276350"/>
                <a:gd name="connsiteY24" fmla="*/ 1362552 h 1362075"/>
                <a:gd name="connsiteX25" fmla="*/ 1269591 w 1276350"/>
                <a:gd name="connsiteY25" fmla="*/ 1326643 h 1362075"/>
                <a:gd name="connsiteX26" fmla="*/ 1271211 w 1276350"/>
                <a:gd name="connsiteY26" fmla="*/ 905733 h 1362075"/>
                <a:gd name="connsiteX27" fmla="*/ 1251399 w 1276350"/>
                <a:gd name="connsiteY27" fmla="*/ 845440 h 1362075"/>
                <a:gd name="connsiteX28" fmla="*/ 1015274 w 1276350"/>
                <a:gd name="connsiteY28" fmla="*/ 527210 h 1362075"/>
                <a:gd name="connsiteX29" fmla="*/ 1064804 w 1276350"/>
                <a:gd name="connsiteY29" fmla="*/ 460439 h 1362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276350" h="1362075">
                  <a:moveTo>
                    <a:pt x="1064804" y="460439"/>
                  </a:moveTo>
                  <a:lnTo>
                    <a:pt x="1259781" y="203741"/>
                  </a:lnTo>
                  <a:cubicBezTo>
                    <a:pt x="1269782" y="190596"/>
                    <a:pt x="1270544" y="172689"/>
                    <a:pt x="1261876" y="158687"/>
                  </a:cubicBezTo>
                  <a:lnTo>
                    <a:pt x="1179009" y="25814"/>
                  </a:lnTo>
                  <a:cubicBezTo>
                    <a:pt x="1171674" y="14098"/>
                    <a:pt x="1158816" y="7049"/>
                    <a:pt x="1145004" y="7145"/>
                  </a:cubicBezTo>
                  <a:lnTo>
                    <a:pt x="787531" y="9621"/>
                  </a:lnTo>
                  <a:lnTo>
                    <a:pt x="787531" y="9621"/>
                  </a:lnTo>
                  <a:lnTo>
                    <a:pt x="591507" y="9431"/>
                  </a:lnTo>
                  <a:cubicBezTo>
                    <a:pt x="576171" y="9431"/>
                    <a:pt x="569313" y="28671"/>
                    <a:pt x="581315" y="38387"/>
                  </a:cubicBezTo>
                  <a:lnTo>
                    <a:pt x="636274" y="82678"/>
                  </a:lnTo>
                  <a:cubicBezTo>
                    <a:pt x="643989" y="88869"/>
                    <a:pt x="653133" y="93155"/>
                    <a:pt x="662944" y="94965"/>
                  </a:cubicBezTo>
                  <a:lnTo>
                    <a:pt x="1003368" y="159068"/>
                  </a:lnTo>
                  <a:lnTo>
                    <a:pt x="582172" y="611601"/>
                  </a:lnTo>
                  <a:lnTo>
                    <a:pt x="27817" y="690373"/>
                  </a:lnTo>
                  <a:cubicBezTo>
                    <a:pt x="8576" y="693135"/>
                    <a:pt x="385" y="716281"/>
                    <a:pt x="13625" y="730473"/>
                  </a:cubicBezTo>
                  <a:lnTo>
                    <a:pt x="67727" y="788576"/>
                  </a:lnTo>
                  <a:cubicBezTo>
                    <a:pt x="78395" y="800101"/>
                    <a:pt x="93540" y="806483"/>
                    <a:pt x="109256" y="806197"/>
                  </a:cubicBezTo>
                  <a:lnTo>
                    <a:pt x="644370" y="797434"/>
                  </a:lnTo>
                  <a:cubicBezTo>
                    <a:pt x="664182" y="797148"/>
                    <a:pt x="683518" y="791529"/>
                    <a:pt x="700473" y="781146"/>
                  </a:cubicBezTo>
                  <a:lnTo>
                    <a:pt x="828679" y="703041"/>
                  </a:lnTo>
                  <a:lnTo>
                    <a:pt x="1099284" y="917830"/>
                  </a:lnTo>
                  <a:cubicBezTo>
                    <a:pt x="1109952" y="926307"/>
                    <a:pt x="1116906" y="938499"/>
                    <a:pt x="1118715" y="952025"/>
                  </a:cubicBezTo>
                  <a:lnTo>
                    <a:pt x="1170246" y="1331310"/>
                  </a:lnTo>
                  <a:cubicBezTo>
                    <a:pt x="1172627" y="1349217"/>
                    <a:pt x="1187962" y="1362552"/>
                    <a:pt x="1205964" y="1362552"/>
                  </a:cubicBezTo>
                  <a:lnTo>
                    <a:pt x="1233492" y="1362552"/>
                  </a:lnTo>
                  <a:cubicBezTo>
                    <a:pt x="1253399" y="1362552"/>
                    <a:pt x="1269496" y="1346455"/>
                    <a:pt x="1269591" y="1326643"/>
                  </a:cubicBezTo>
                  <a:lnTo>
                    <a:pt x="1271211" y="905733"/>
                  </a:lnTo>
                  <a:cubicBezTo>
                    <a:pt x="1271306" y="884016"/>
                    <a:pt x="1264353" y="862871"/>
                    <a:pt x="1251399" y="845440"/>
                  </a:cubicBezTo>
                  <a:lnTo>
                    <a:pt x="1015274" y="527210"/>
                  </a:lnTo>
                  <a:lnTo>
                    <a:pt x="1064804" y="4604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861731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1F6288C-61D7-4F48-8612-DCBB0A6F6FB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7E39E4C5-F7CE-4A49-9C01-84974E49B9BE}"/>
              </a:ext>
            </a:extLst>
          </p:cNvPr>
          <p:cNvSpPr txBox="1"/>
          <p:nvPr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lang="en-US" sz="8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FC9CFA-33B8-4AC2-8692-F4821C917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53661" y="3010424"/>
            <a:ext cx="3644422" cy="837152"/>
          </a:xfrm>
        </p:spPr>
        <p:txBody>
          <a:bodyPr>
            <a:spAutoFit/>
          </a:bodyPr>
          <a:lstStyle/>
          <a:p>
            <a:r>
              <a:rPr lang="en-US" sz="3200" dirty="0"/>
              <a:t>Business scenario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B625C01-DFD9-4E33-8FD0-01E4C5F07547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41" name="Oval 503">
              <a:extLst>
                <a:ext uri="{FF2B5EF4-FFF2-40B4-BE49-F238E27FC236}">
                  <a16:creationId xmlns:a16="http://schemas.microsoft.com/office/drawing/2014/main" id="{86646E12-A5D7-455E-8B8F-EFD6EF4E28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504">
              <a:extLst>
                <a:ext uri="{FF2B5EF4-FFF2-40B4-BE49-F238E27FC236}">
                  <a16:creationId xmlns:a16="http://schemas.microsoft.com/office/drawing/2014/main" id="{E3B29C9C-2988-48A8-B800-0831BC1A4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505">
              <a:extLst>
                <a:ext uri="{FF2B5EF4-FFF2-40B4-BE49-F238E27FC236}">
                  <a16:creationId xmlns:a16="http://schemas.microsoft.com/office/drawing/2014/main" id="{1BBFC87C-450D-48E3-86E4-9352E9249D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506">
              <a:extLst>
                <a:ext uri="{FF2B5EF4-FFF2-40B4-BE49-F238E27FC236}">
                  <a16:creationId xmlns:a16="http://schemas.microsoft.com/office/drawing/2014/main" id="{5A940483-A4FF-4045-9AE2-A2B8598EE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68106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FB458430-1C14-4A1C-AAA9-5FC8F50FB2E8}"/>
              </a:ext>
            </a:extLst>
          </p:cNvPr>
          <p:cNvGrpSpPr/>
          <p:nvPr/>
        </p:nvGrpSpPr>
        <p:grpSpPr>
          <a:xfrm>
            <a:off x="7134225" y="-8033"/>
            <a:ext cx="4625900" cy="6861271"/>
            <a:chOff x="7134225" y="-8033"/>
            <a:chExt cx="4625900" cy="6861271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590A5B14-73E6-4840-96CC-C83C50F93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0450" y="4160838"/>
              <a:ext cx="1217613" cy="1620838"/>
            </a:xfrm>
            <a:custGeom>
              <a:avLst/>
              <a:gdLst>
                <a:gd name="T0" fmla="*/ 261 w 422"/>
                <a:gd name="T1" fmla="*/ 0 h 563"/>
                <a:gd name="T2" fmla="*/ 247 w 422"/>
                <a:gd name="T3" fmla="*/ 98 h 563"/>
                <a:gd name="T4" fmla="*/ 310 w 422"/>
                <a:gd name="T5" fmla="*/ 194 h 563"/>
                <a:gd name="T6" fmla="*/ 272 w 422"/>
                <a:gd name="T7" fmla="*/ 283 h 563"/>
                <a:gd name="T8" fmla="*/ 199 w 422"/>
                <a:gd name="T9" fmla="*/ 386 h 563"/>
                <a:gd name="T10" fmla="*/ 0 w 422"/>
                <a:gd name="T11" fmla="*/ 400 h 563"/>
                <a:gd name="T12" fmla="*/ 196 w 422"/>
                <a:gd name="T13" fmla="*/ 513 h 563"/>
                <a:gd name="T14" fmla="*/ 313 w 422"/>
                <a:gd name="T15" fmla="*/ 471 h 563"/>
                <a:gd name="T16" fmla="*/ 352 w 422"/>
                <a:gd name="T17" fmla="*/ 425 h 563"/>
                <a:gd name="T18" fmla="*/ 412 w 422"/>
                <a:gd name="T19" fmla="*/ 232 h 563"/>
                <a:gd name="T20" fmla="*/ 395 w 422"/>
                <a:gd name="T21" fmla="*/ 167 h 563"/>
                <a:gd name="T22" fmla="*/ 261 w 422"/>
                <a:gd name="T23" fmla="*/ 0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2" h="563">
                  <a:moveTo>
                    <a:pt x="261" y="0"/>
                  </a:moveTo>
                  <a:cubicBezTo>
                    <a:pt x="261" y="0"/>
                    <a:pt x="210" y="35"/>
                    <a:pt x="247" y="98"/>
                  </a:cubicBezTo>
                  <a:cubicBezTo>
                    <a:pt x="272" y="141"/>
                    <a:pt x="294" y="174"/>
                    <a:pt x="310" y="194"/>
                  </a:cubicBezTo>
                  <a:cubicBezTo>
                    <a:pt x="323" y="210"/>
                    <a:pt x="272" y="283"/>
                    <a:pt x="272" y="283"/>
                  </a:cubicBezTo>
                  <a:cubicBezTo>
                    <a:pt x="272" y="283"/>
                    <a:pt x="233" y="380"/>
                    <a:pt x="199" y="386"/>
                  </a:cubicBezTo>
                  <a:cubicBezTo>
                    <a:pt x="126" y="398"/>
                    <a:pt x="0" y="400"/>
                    <a:pt x="0" y="400"/>
                  </a:cubicBezTo>
                  <a:cubicBezTo>
                    <a:pt x="11" y="414"/>
                    <a:pt x="124" y="563"/>
                    <a:pt x="196" y="513"/>
                  </a:cubicBezTo>
                  <a:cubicBezTo>
                    <a:pt x="313" y="471"/>
                    <a:pt x="313" y="471"/>
                    <a:pt x="313" y="471"/>
                  </a:cubicBezTo>
                  <a:cubicBezTo>
                    <a:pt x="313" y="471"/>
                    <a:pt x="339" y="470"/>
                    <a:pt x="352" y="425"/>
                  </a:cubicBezTo>
                  <a:cubicBezTo>
                    <a:pt x="362" y="391"/>
                    <a:pt x="399" y="283"/>
                    <a:pt x="412" y="232"/>
                  </a:cubicBezTo>
                  <a:cubicBezTo>
                    <a:pt x="419" y="207"/>
                    <a:pt x="422" y="206"/>
                    <a:pt x="395" y="167"/>
                  </a:cubicBezTo>
                  <a:cubicBezTo>
                    <a:pt x="360" y="117"/>
                    <a:pt x="261" y="0"/>
                    <a:pt x="261" y="0"/>
                  </a:cubicBezTo>
                  <a:close/>
                </a:path>
              </a:pathLst>
            </a:custGeom>
            <a:solidFill>
              <a:srgbClr val="F2BA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F32C68C8-7AA6-4587-9333-06B956A957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2038" y="4195763"/>
              <a:ext cx="1074738" cy="1720850"/>
            </a:xfrm>
            <a:custGeom>
              <a:avLst/>
              <a:gdLst>
                <a:gd name="T0" fmla="*/ 335 w 372"/>
                <a:gd name="T1" fmla="*/ 132 h 598"/>
                <a:gd name="T2" fmla="*/ 158 w 372"/>
                <a:gd name="T3" fmla="*/ 0 h 598"/>
                <a:gd name="T4" fmla="*/ 169 w 372"/>
                <a:gd name="T5" fmla="*/ 101 h 598"/>
                <a:gd name="T6" fmla="*/ 257 w 372"/>
                <a:gd name="T7" fmla="*/ 181 h 598"/>
                <a:gd name="T8" fmla="*/ 242 w 372"/>
                <a:gd name="T9" fmla="*/ 279 h 598"/>
                <a:gd name="T10" fmla="*/ 200 w 372"/>
                <a:gd name="T11" fmla="*/ 323 h 598"/>
                <a:gd name="T12" fmla="*/ 59 w 372"/>
                <a:gd name="T13" fmla="*/ 296 h 598"/>
                <a:gd name="T14" fmla="*/ 0 w 372"/>
                <a:gd name="T15" fmla="*/ 467 h 598"/>
                <a:gd name="T16" fmla="*/ 225 w 372"/>
                <a:gd name="T17" fmla="*/ 529 h 598"/>
                <a:gd name="T18" fmla="*/ 332 w 372"/>
                <a:gd name="T19" fmla="*/ 457 h 598"/>
                <a:gd name="T20" fmla="*/ 359 w 372"/>
                <a:gd name="T21" fmla="*/ 401 h 598"/>
                <a:gd name="T22" fmla="*/ 369 w 372"/>
                <a:gd name="T23" fmla="*/ 193 h 598"/>
                <a:gd name="T24" fmla="*/ 335 w 372"/>
                <a:gd name="T25" fmla="*/ 132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598">
                  <a:moveTo>
                    <a:pt x="335" y="132"/>
                  </a:moveTo>
                  <a:cubicBezTo>
                    <a:pt x="287" y="92"/>
                    <a:pt x="158" y="0"/>
                    <a:pt x="158" y="0"/>
                  </a:cubicBezTo>
                  <a:cubicBezTo>
                    <a:pt x="158" y="0"/>
                    <a:pt x="116" y="48"/>
                    <a:pt x="169" y="101"/>
                  </a:cubicBezTo>
                  <a:cubicBezTo>
                    <a:pt x="205" y="138"/>
                    <a:pt x="236" y="165"/>
                    <a:pt x="257" y="181"/>
                  </a:cubicBezTo>
                  <a:cubicBezTo>
                    <a:pt x="274" y="194"/>
                    <a:pt x="242" y="279"/>
                    <a:pt x="242" y="279"/>
                  </a:cubicBezTo>
                  <a:cubicBezTo>
                    <a:pt x="242" y="279"/>
                    <a:pt x="233" y="309"/>
                    <a:pt x="200" y="323"/>
                  </a:cubicBezTo>
                  <a:cubicBezTo>
                    <a:pt x="130" y="354"/>
                    <a:pt x="59" y="296"/>
                    <a:pt x="59" y="296"/>
                  </a:cubicBezTo>
                  <a:cubicBezTo>
                    <a:pt x="0" y="467"/>
                    <a:pt x="0" y="467"/>
                    <a:pt x="0" y="467"/>
                  </a:cubicBezTo>
                  <a:cubicBezTo>
                    <a:pt x="15" y="478"/>
                    <a:pt x="166" y="598"/>
                    <a:pt x="225" y="529"/>
                  </a:cubicBezTo>
                  <a:cubicBezTo>
                    <a:pt x="332" y="457"/>
                    <a:pt x="332" y="457"/>
                    <a:pt x="332" y="457"/>
                  </a:cubicBezTo>
                  <a:cubicBezTo>
                    <a:pt x="332" y="457"/>
                    <a:pt x="357" y="450"/>
                    <a:pt x="359" y="401"/>
                  </a:cubicBezTo>
                  <a:cubicBezTo>
                    <a:pt x="360" y="365"/>
                    <a:pt x="369" y="247"/>
                    <a:pt x="369" y="193"/>
                  </a:cubicBezTo>
                  <a:cubicBezTo>
                    <a:pt x="369" y="166"/>
                    <a:pt x="372" y="164"/>
                    <a:pt x="335" y="132"/>
                  </a:cubicBezTo>
                  <a:close/>
                </a:path>
              </a:pathLst>
            </a:custGeom>
            <a:solidFill>
              <a:srgbClr val="FBC6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4A4C3002-0B16-43D4-8724-6D5A68634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463" y="3300413"/>
              <a:ext cx="1752600" cy="1758950"/>
            </a:xfrm>
            <a:custGeom>
              <a:avLst/>
              <a:gdLst>
                <a:gd name="T0" fmla="*/ 552 w 607"/>
                <a:gd name="T1" fmla="*/ 387 h 611"/>
                <a:gd name="T2" fmla="*/ 470 w 607"/>
                <a:gd name="T3" fmla="*/ 388 h 611"/>
                <a:gd name="T4" fmla="*/ 536 w 607"/>
                <a:gd name="T5" fmla="*/ 239 h 611"/>
                <a:gd name="T6" fmla="*/ 388 w 607"/>
                <a:gd name="T7" fmla="*/ 174 h 611"/>
                <a:gd name="T8" fmla="*/ 450 w 607"/>
                <a:gd name="T9" fmla="*/ 114 h 611"/>
                <a:gd name="T10" fmla="*/ 451 w 607"/>
                <a:gd name="T11" fmla="*/ 111 h 611"/>
                <a:gd name="T12" fmla="*/ 412 w 607"/>
                <a:gd name="T13" fmla="*/ 16 h 611"/>
                <a:gd name="T14" fmla="*/ 314 w 607"/>
                <a:gd name="T15" fmla="*/ 54 h 611"/>
                <a:gd name="T16" fmla="*/ 315 w 607"/>
                <a:gd name="T17" fmla="*/ 142 h 611"/>
                <a:gd name="T18" fmla="*/ 164 w 607"/>
                <a:gd name="T19" fmla="*/ 75 h 611"/>
                <a:gd name="T20" fmla="*/ 98 w 607"/>
                <a:gd name="T21" fmla="*/ 225 h 611"/>
                <a:gd name="T22" fmla="*/ 182 w 607"/>
                <a:gd name="T23" fmla="*/ 224 h 611"/>
                <a:gd name="T24" fmla="*/ 220 w 607"/>
                <a:gd name="T25" fmla="*/ 322 h 611"/>
                <a:gd name="T26" fmla="*/ 125 w 607"/>
                <a:gd name="T27" fmla="*/ 361 h 611"/>
                <a:gd name="T28" fmla="*/ 122 w 607"/>
                <a:gd name="T29" fmla="*/ 360 h 611"/>
                <a:gd name="T30" fmla="*/ 65 w 607"/>
                <a:gd name="T31" fmla="*/ 301 h 611"/>
                <a:gd name="T32" fmla="*/ 0 w 607"/>
                <a:gd name="T33" fmla="*/ 447 h 611"/>
                <a:gd name="T34" fmla="*/ 372 w 607"/>
                <a:gd name="T35" fmla="*/ 611 h 611"/>
                <a:gd name="T36" fmla="*/ 436 w 607"/>
                <a:gd name="T37" fmla="*/ 465 h 611"/>
                <a:gd name="T38" fmla="*/ 492 w 607"/>
                <a:gd name="T39" fmla="*/ 523 h 611"/>
                <a:gd name="T40" fmla="*/ 495 w 607"/>
                <a:gd name="T41" fmla="*/ 524 h 611"/>
                <a:gd name="T42" fmla="*/ 590 w 607"/>
                <a:gd name="T43" fmla="*/ 485 h 611"/>
                <a:gd name="T44" fmla="*/ 552 w 607"/>
                <a:gd name="T45" fmla="*/ 387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7" h="611">
                  <a:moveTo>
                    <a:pt x="552" y="387"/>
                  </a:moveTo>
                  <a:cubicBezTo>
                    <a:pt x="516" y="378"/>
                    <a:pt x="500" y="387"/>
                    <a:pt x="470" y="388"/>
                  </a:cubicBezTo>
                  <a:cubicBezTo>
                    <a:pt x="536" y="239"/>
                    <a:pt x="536" y="239"/>
                    <a:pt x="536" y="239"/>
                  </a:cubicBezTo>
                  <a:cubicBezTo>
                    <a:pt x="388" y="174"/>
                    <a:pt x="388" y="174"/>
                    <a:pt x="388" y="174"/>
                  </a:cubicBezTo>
                  <a:cubicBezTo>
                    <a:pt x="411" y="150"/>
                    <a:pt x="439" y="138"/>
                    <a:pt x="450" y="114"/>
                  </a:cubicBezTo>
                  <a:cubicBezTo>
                    <a:pt x="450" y="113"/>
                    <a:pt x="451" y="112"/>
                    <a:pt x="451" y="111"/>
                  </a:cubicBezTo>
                  <a:cubicBezTo>
                    <a:pt x="466" y="74"/>
                    <a:pt x="449" y="32"/>
                    <a:pt x="412" y="16"/>
                  </a:cubicBezTo>
                  <a:cubicBezTo>
                    <a:pt x="374" y="0"/>
                    <a:pt x="330" y="17"/>
                    <a:pt x="314" y="54"/>
                  </a:cubicBezTo>
                  <a:cubicBezTo>
                    <a:pt x="304" y="92"/>
                    <a:pt x="316" y="109"/>
                    <a:pt x="315" y="142"/>
                  </a:cubicBezTo>
                  <a:cubicBezTo>
                    <a:pt x="164" y="75"/>
                    <a:pt x="164" y="75"/>
                    <a:pt x="164" y="75"/>
                  </a:cubicBezTo>
                  <a:cubicBezTo>
                    <a:pt x="98" y="225"/>
                    <a:pt x="98" y="225"/>
                    <a:pt x="98" y="225"/>
                  </a:cubicBezTo>
                  <a:cubicBezTo>
                    <a:pt x="129" y="225"/>
                    <a:pt x="145" y="215"/>
                    <a:pt x="182" y="224"/>
                  </a:cubicBezTo>
                  <a:cubicBezTo>
                    <a:pt x="220" y="240"/>
                    <a:pt x="237" y="284"/>
                    <a:pt x="220" y="322"/>
                  </a:cubicBezTo>
                  <a:cubicBezTo>
                    <a:pt x="204" y="359"/>
                    <a:pt x="162" y="376"/>
                    <a:pt x="125" y="361"/>
                  </a:cubicBezTo>
                  <a:cubicBezTo>
                    <a:pt x="124" y="361"/>
                    <a:pt x="123" y="360"/>
                    <a:pt x="122" y="360"/>
                  </a:cubicBezTo>
                  <a:cubicBezTo>
                    <a:pt x="99" y="350"/>
                    <a:pt x="87" y="323"/>
                    <a:pt x="65" y="301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372" y="611"/>
                    <a:pt x="372" y="611"/>
                    <a:pt x="372" y="611"/>
                  </a:cubicBezTo>
                  <a:cubicBezTo>
                    <a:pt x="436" y="465"/>
                    <a:pt x="436" y="465"/>
                    <a:pt x="436" y="465"/>
                  </a:cubicBezTo>
                  <a:cubicBezTo>
                    <a:pt x="458" y="487"/>
                    <a:pt x="470" y="513"/>
                    <a:pt x="492" y="523"/>
                  </a:cubicBezTo>
                  <a:cubicBezTo>
                    <a:pt x="493" y="523"/>
                    <a:pt x="494" y="524"/>
                    <a:pt x="495" y="524"/>
                  </a:cubicBezTo>
                  <a:cubicBezTo>
                    <a:pt x="532" y="539"/>
                    <a:pt x="574" y="521"/>
                    <a:pt x="590" y="485"/>
                  </a:cubicBezTo>
                  <a:cubicBezTo>
                    <a:pt x="607" y="447"/>
                    <a:pt x="590" y="403"/>
                    <a:pt x="552" y="387"/>
                  </a:cubicBezTo>
                  <a:close/>
                </a:path>
              </a:pathLst>
            </a:custGeom>
            <a:solidFill>
              <a:srgbClr val="E6EB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9B386C59-D1F8-4DA6-8B0C-126EE4A72A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4479925"/>
              <a:ext cx="1558925" cy="1938338"/>
            </a:xfrm>
            <a:custGeom>
              <a:avLst/>
              <a:gdLst>
                <a:gd name="T0" fmla="*/ 246 w 540"/>
                <a:gd name="T1" fmla="*/ 68 h 673"/>
                <a:gd name="T2" fmla="*/ 179 w 540"/>
                <a:gd name="T3" fmla="*/ 11 h 673"/>
                <a:gd name="T4" fmla="*/ 117 w 540"/>
                <a:gd name="T5" fmla="*/ 300 h 673"/>
                <a:gd name="T6" fmla="*/ 63 w 540"/>
                <a:gd name="T7" fmla="*/ 457 h 673"/>
                <a:gd name="T8" fmla="*/ 0 w 540"/>
                <a:gd name="T9" fmla="*/ 532 h 673"/>
                <a:gd name="T10" fmla="*/ 166 w 540"/>
                <a:gd name="T11" fmla="*/ 673 h 673"/>
                <a:gd name="T12" fmla="*/ 222 w 540"/>
                <a:gd name="T13" fmla="*/ 606 h 673"/>
                <a:gd name="T14" fmla="*/ 336 w 540"/>
                <a:gd name="T15" fmla="*/ 532 h 673"/>
                <a:gd name="T16" fmla="*/ 540 w 540"/>
                <a:gd name="T17" fmla="*/ 350 h 673"/>
                <a:gd name="T18" fmla="*/ 255 w 540"/>
                <a:gd name="T19" fmla="*/ 278 h 673"/>
                <a:gd name="T20" fmla="*/ 246 w 540"/>
                <a:gd name="T21" fmla="*/ 68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0" h="673">
                  <a:moveTo>
                    <a:pt x="246" y="68"/>
                  </a:moveTo>
                  <a:cubicBezTo>
                    <a:pt x="225" y="30"/>
                    <a:pt x="184" y="0"/>
                    <a:pt x="179" y="11"/>
                  </a:cubicBezTo>
                  <a:cubicBezTo>
                    <a:pt x="174" y="23"/>
                    <a:pt x="138" y="239"/>
                    <a:pt x="117" y="300"/>
                  </a:cubicBezTo>
                  <a:cubicBezTo>
                    <a:pt x="105" y="334"/>
                    <a:pt x="63" y="457"/>
                    <a:pt x="63" y="457"/>
                  </a:cubicBezTo>
                  <a:cubicBezTo>
                    <a:pt x="0" y="532"/>
                    <a:pt x="0" y="532"/>
                    <a:pt x="0" y="532"/>
                  </a:cubicBezTo>
                  <a:cubicBezTo>
                    <a:pt x="166" y="673"/>
                    <a:pt x="166" y="673"/>
                    <a:pt x="166" y="673"/>
                  </a:cubicBezTo>
                  <a:cubicBezTo>
                    <a:pt x="222" y="606"/>
                    <a:pt x="222" y="606"/>
                    <a:pt x="222" y="606"/>
                  </a:cubicBezTo>
                  <a:cubicBezTo>
                    <a:pt x="222" y="606"/>
                    <a:pt x="309" y="558"/>
                    <a:pt x="336" y="532"/>
                  </a:cubicBezTo>
                  <a:cubicBezTo>
                    <a:pt x="368" y="501"/>
                    <a:pt x="540" y="350"/>
                    <a:pt x="540" y="350"/>
                  </a:cubicBezTo>
                  <a:cubicBezTo>
                    <a:pt x="255" y="278"/>
                    <a:pt x="255" y="278"/>
                    <a:pt x="255" y="278"/>
                  </a:cubicBezTo>
                  <a:cubicBezTo>
                    <a:pt x="255" y="278"/>
                    <a:pt x="268" y="106"/>
                    <a:pt x="246" y="68"/>
                  </a:cubicBezTo>
                  <a:close/>
                </a:path>
              </a:pathLst>
            </a:custGeom>
            <a:solidFill>
              <a:srgbClr val="FBC6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DF3F0FAE-C808-4270-8889-2074CC269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7975" y="5810250"/>
              <a:ext cx="820738" cy="763588"/>
            </a:xfrm>
            <a:custGeom>
              <a:avLst/>
              <a:gdLst>
                <a:gd name="T0" fmla="*/ 0 w 517"/>
                <a:gd name="T1" fmla="*/ 109 h 481"/>
                <a:gd name="T2" fmla="*/ 426 w 517"/>
                <a:gd name="T3" fmla="*/ 481 h 481"/>
                <a:gd name="T4" fmla="*/ 517 w 517"/>
                <a:gd name="T5" fmla="*/ 372 h 481"/>
                <a:gd name="T6" fmla="*/ 93 w 517"/>
                <a:gd name="T7" fmla="*/ 0 h 481"/>
                <a:gd name="T8" fmla="*/ 0 w 517"/>
                <a:gd name="T9" fmla="*/ 109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7" h="481">
                  <a:moveTo>
                    <a:pt x="0" y="109"/>
                  </a:moveTo>
                  <a:lnTo>
                    <a:pt x="426" y="481"/>
                  </a:lnTo>
                  <a:lnTo>
                    <a:pt x="517" y="372"/>
                  </a:lnTo>
                  <a:lnTo>
                    <a:pt x="93" y="0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9D97EE26-89CD-48CB-8EFF-39C10ADAF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6113" y="6103938"/>
              <a:ext cx="482600" cy="469900"/>
            </a:xfrm>
            <a:custGeom>
              <a:avLst/>
              <a:gdLst>
                <a:gd name="T0" fmla="*/ 0 w 304"/>
                <a:gd name="T1" fmla="*/ 111 h 296"/>
                <a:gd name="T2" fmla="*/ 211 w 304"/>
                <a:gd name="T3" fmla="*/ 296 h 296"/>
                <a:gd name="T4" fmla="*/ 304 w 304"/>
                <a:gd name="T5" fmla="*/ 185 h 296"/>
                <a:gd name="T6" fmla="*/ 93 w 304"/>
                <a:gd name="T7" fmla="*/ 0 h 296"/>
                <a:gd name="T8" fmla="*/ 0 w 304"/>
                <a:gd name="T9" fmla="*/ 111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4" h="296">
                  <a:moveTo>
                    <a:pt x="0" y="111"/>
                  </a:moveTo>
                  <a:lnTo>
                    <a:pt x="211" y="296"/>
                  </a:lnTo>
                  <a:lnTo>
                    <a:pt x="304" y="185"/>
                  </a:lnTo>
                  <a:lnTo>
                    <a:pt x="93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6032EDDA-1622-4C97-9DF6-F95DA2D62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4225" y="5926138"/>
              <a:ext cx="1530350" cy="927100"/>
            </a:xfrm>
            <a:custGeom>
              <a:avLst/>
              <a:gdLst>
                <a:gd name="T0" fmla="*/ 500 w 964"/>
                <a:gd name="T1" fmla="*/ 0 h 584"/>
                <a:gd name="T2" fmla="*/ 0 w 964"/>
                <a:gd name="T3" fmla="*/ 584 h 584"/>
                <a:gd name="T4" fmla="*/ 812 w 964"/>
                <a:gd name="T5" fmla="*/ 584 h 584"/>
                <a:gd name="T6" fmla="*/ 964 w 964"/>
                <a:gd name="T7" fmla="*/ 406 h 584"/>
                <a:gd name="T8" fmla="*/ 500 w 964"/>
                <a:gd name="T9" fmla="*/ 0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4" h="584">
                  <a:moveTo>
                    <a:pt x="500" y="0"/>
                  </a:moveTo>
                  <a:lnTo>
                    <a:pt x="0" y="584"/>
                  </a:lnTo>
                  <a:lnTo>
                    <a:pt x="812" y="584"/>
                  </a:lnTo>
                  <a:lnTo>
                    <a:pt x="964" y="406"/>
                  </a:lnTo>
                  <a:lnTo>
                    <a:pt x="500" y="0"/>
                  </a:lnTo>
                  <a:close/>
                </a:path>
              </a:pathLst>
            </a:custGeom>
            <a:solidFill>
              <a:srgbClr val="444F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FC6B844B-E9BB-4D80-9818-4CCD3DC7B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9713" y="6100763"/>
              <a:ext cx="100013" cy="101600"/>
            </a:xfrm>
            <a:custGeom>
              <a:avLst/>
              <a:gdLst>
                <a:gd name="T0" fmla="*/ 8 w 35"/>
                <a:gd name="T1" fmla="*/ 5 h 35"/>
                <a:gd name="T2" fmla="*/ 5 w 35"/>
                <a:gd name="T3" fmla="*/ 27 h 35"/>
                <a:gd name="T4" fmla="*/ 27 w 35"/>
                <a:gd name="T5" fmla="*/ 30 h 35"/>
                <a:gd name="T6" fmla="*/ 30 w 35"/>
                <a:gd name="T7" fmla="*/ 8 h 35"/>
                <a:gd name="T8" fmla="*/ 8 w 35"/>
                <a:gd name="T9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5">
                  <a:moveTo>
                    <a:pt x="8" y="5"/>
                  </a:moveTo>
                  <a:cubicBezTo>
                    <a:pt x="1" y="10"/>
                    <a:pt x="0" y="20"/>
                    <a:pt x="5" y="27"/>
                  </a:cubicBezTo>
                  <a:cubicBezTo>
                    <a:pt x="10" y="33"/>
                    <a:pt x="20" y="35"/>
                    <a:pt x="27" y="30"/>
                  </a:cubicBezTo>
                  <a:cubicBezTo>
                    <a:pt x="34" y="25"/>
                    <a:pt x="35" y="15"/>
                    <a:pt x="30" y="8"/>
                  </a:cubicBezTo>
                  <a:cubicBezTo>
                    <a:pt x="25" y="1"/>
                    <a:pt x="15" y="0"/>
                    <a:pt x="8" y="5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B260D29D-C5E5-42A1-8D58-671EB898B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1288" y="6216650"/>
              <a:ext cx="101600" cy="103188"/>
            </a:xfrm>
            <a:custGeom>
              <a:avLst/>
              <a:gdLst>
                <a:gd name="T0" fmla="*/ 8 w 35"/>
                <a:gd name="T1" fmla="*/ 6 h 36"/>
                <a:gd name="T2" fmla="*/ 5 w 35"/>
                <a:gd name="T3" fmla="*/ 27 h 36"/>
                <a:gd name="T4" fmla="*/ 27 w 35"/>
                <a:gd name="T5" fmla="*/ 30 h 36"/>
                <a:gd name="T6" fmla="*/ 30 w 35"/>
                <a:gd name="T7" fmla="*/ 9 h 36"/>
                <a:gd name="T8" fmla="*/ 8 w 35"/>
                <a:gd name="T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8" y="6"/>
                  </a:moveTo>
                  <a:cubicBezTo>
                    <a:pt x="1" y="11"/>
                    <a:pt x="0" y="20"/>
                    <a:pt x="5" y="27"/>
                  </a:cubicBezTo>
                  <a:cubicBezTo>
                    <a:pt x="10" y="34"/>
                    <a:pt x="20" y="36"/>
                    <a:pt x="27" y="30"/>
                  </a:cubicBezTo>
                  <a:cubicBezTo>
                    <a:pt x="34" y="25"/>
                    <a:pt x="35" y="16"/>
                    <a:pt x="30" y="9"/>
                  </a:cubicBezTo>
                  <a:cubicBezTo>
                    <a:pt x="25" y="2"/>
                    <a:pt x="15" y="0"/>
                    <a:pt x="8" y="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0F317D60-E248-4A15-976E-34368B05E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2863" y="6334125"/>
              <a:ext cx="101600" cy="101600"/>
            </a:xfrm>
            <a:custGeom>
              <a:avLst/>
              <a:gdLst>
                <a:gd name="T0" fmla="*/ 8 w 35"/>
                <a:gd name="T1" fmla="*/ 5 h 35"/>
                <a:gd name="T2" fmla="*/ 5 w 35"/>
                <a:gd name="T3" fmla="*/ 27 h 35"/>
                <a:gd name="T4" fmla="*/ 27 w 35"/>
                <a:gd name="T5" fmla="*/ 30 h 35"/>
                <a:gd name="T6" fmla="*/ 30 w 35"/>
                <a:gd name="T7" fmla="*/ 8 h 35"/>
                <a:gd name="T8" fmla="*/ 8 w 35"/>
                <a:gd name="T9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5">
                  <a:moveTo>
                    <a:pt x="8" y="5"/>
                  </a:moveTo>
                  <a:cubicBezTo>
                    <a:pt x="1" y="10"/>
                    <a:pt x="0" y="20"/>
                    <a:pt x="5" y="27"/>
                  </a:cubicBezTo>
                  <a:cubicBezTo>
                    <a:pt x="10" y="34"/>
                    <a:pt x="20" y="35"/>
                    <a:pt x="27" y="30"/>
                  </a:cubicBezTo>
                  <a:cubicBezTo>
                    <a:pt x="34" y="25"/>
                    <a:pt x="35" y="15"/>
                    <a:pt x="30" y="8"/>
                  </a:cubicBezTo>
                  <a:cubicBezTo>
                    <a:pt x="25" y="2"/>
                    <a:pt x="15" y="0"/>
                    <a:pt x="8" y="5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773D8504-17CE-4885-8D10-320CAD42C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0" y="6248400"/>
              <a:ext cx="885825" cy="604838"/>
            </a:xfrm>
            <a:custGeom>
              <a:avLst/>
              <a:gdLst>
                <a:gd name="T0" fmla="*/ 326 w 558"/>
                <a:gd name="T1" fmla="*/ 0 h 381"/>
                <a:gd name="T2" fmla="*/ 0 w 558"/>
                <a:gd name="T3" fmla="*/ 381 h 381"/>
                <a:gd name="T4" fmla="*/ 406 w 558"/>
                <a:gd name="T5" fmla="*/ 381 h 381"/>
                <a:gd name="T6" fmla="*/ 558 w 558"/>
                <a:gd name="T7" fmla="*/ 203 h 381"/>
                <a:gd name="T8" fmla="*/ 326 w 558"/>
                <a:gd name="T9" fmla="*/ 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8" h="381">
                  <a:moveTo>
                    <a:pt x="326" y="0"/>
                  </a:moveTo>
                  <a:lnTo>
                    <a:pt x="0" y="381"/>
                  </a:lnTo>
                  <a:lnTo>
                    <a:pt x="406" y="381"/>
                  </a:lnTo>
                  <a:lnTo>
                    <a:pt x="558" y="203"/>
                  </a:lnTo>
                  <a:lnTo>
                    <a:pt x="326" y="0"/>
                  </a:lnTo>
                  <a:close/>
                </a:path>
              </a:pathLst>
            </a:custGeom>
            <a:solidFill>
              <a:srgbClr val="323E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F4C0B3AE-BB65-43F0-A89D-38027481D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1425" y="1217613"/>
              <a:ext cx="1219200" cy="1624013"/>
            </a:xfrm>
            <a:custGeom>
              <a:avLst/>
              <a:gdLst>
                <a:gd name="T0" fmla="*/ 227 w 422"/>
                <a:gd name="T1" fmla="*/ 51 h 564"/>
                <a:gd name="T2" fmla="*/ 109 w 422"/>
                <a:gd name="T3" fmla="*/ 92 h 564"/>
                <a:gd name="T4" fmla="*/ 70 w 422"/>
                <a:gd name="T5" fmla="*/ 138 h 564"/>
                <a:gd name="T6" fmla="*/ 10 w 422"/>
                <a:gd name="T7" fmla="*/ 331 h 564"/>
                <a:gd name="T8" fmla="*/ 28 w 422"/>
                <a:gd name="T9" fmla="*/ 397 h 564"/>
                <a:gd name="T10" fmla="*/ 162 w 422"/>
                <a:gd name="T11" fmla="*/ 564 h 564"/>
                <a:gd name="T12" fmla="*/ 176 w 422"/>
                <a:gd name="T13" fmla="*/ 466 h 564"/>
                <a:gd name="T14" fmla="*/ 113 w 422"/>
                <a:gd name="T15" fmla="*/ 370 h 564"/>
                <a:gd name="T16" fmla="*/ 150 w 422"/>
                <a:gd name="T17" fmla="*/ 281 h 564"/>
                <a:gd name="T18" fmla="*/ 224 w 422"/>
                <a:gd name="T19" fmla="*/ 178 h 564"/>
                <a:gd name="T20" fmla="*/ 422 w 422"/>
                <a:gd name="T21" fmla="*/ 164 h 564"/>
                <a:gd name="T22" fmla="*/ 227 w 422"/>
                <a:gd name="T23" fmla="*/ 51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2" h="564">
                  <a:moveTo>
                    <a:pt x="227" y="51"/>
                  </a:moveTo>
                  <a:cubicBezTo>
                    <a:pt x="109" y="92"/>
                    <a:pt x="109" y="92"/>
                    <a:pt x="109" y="92"/>
                  </a:cubicBezTo>
                  <a:cubicBezTo>
                    <a:pt x="109" y="92"/>
                    <a:pt x="83" y="93"/>
                    <a:pt x="70" y="138"/>
                  </a:cubicBezTo>
                  <a:cubicBezTo>
                    <a:pt x="60" y="172"/>
                    <a:pt x="23" y="280"/>
                    <a:pt x="10" y="331"/>
                  </a:cubicBezTo>
                  <a:cubicBezTo>
                    <a:pt x="4" y="356"/>
                    <a:pt x="0" y="357"/>
                    <a:pt x="28" y="397"/>
                  </a:cubicBezTo>
                  <a:cubicBezTo>
                    <a:pt x="63" y="446"/>
                    <a:pt x="162" y="564"/>
                    <a:pt x="162" y="564"/>
                  </a:cubicBezTo>
                  <a:cubicBezTo>
                    <a:pt x="162" y="564"/>
                    <a:pt x="212" y="528"/>
                    <a:pt x="176" y="466"/>
                  </a:cubicBezTo>
                  <a:cubicBezTo>
                    <a:pt x="150" y="423"/>
                    <a:pt x="129" y="389"/>
                    <a:pt x="113" y="370"/>
                  </a:cubicBezTo>
                  <a:cubicBezTo>
                    <a:pt x="100" y="353"/>
                    <a:pt x="150" y="281"/>
                    <a:pt x="150" y="281"/>
                  </a:cubicBezTo>
                  <a:cubicBezTo>
                    <a:pt x="150" y="281"/>
                    <a:pt x="189" y="184"/>
                    <a:pt x="224" y="178"/>
                  </a:cubicBezTo>
                  <a:cubicBezTo>
                    <a:pt x="297" y="166"/>
                    <a:pt x="422" y="164"/>
                    <a:pt x="422" y="164"/>
                  </a:cubicBezTo>
                  <a:cubicBezTo>
                    <a:pt x="411" y="150"/>
                    <a:pt x="299" y="0"/>
                    <a:pt x="227" y="51"/>
                  </a:cubicBezTo>
                  <a:close/>
                </a:path>
              </a:pathLst>
            </a:custGeom>
            <a:solidFill>
              <a:srgbClr val="F2BA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A4479E0F-D6F0-4A75-BB6B-370E84D7A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2713" y="1082675"/>
              <a:ext cx="1074738" cy="1724025"/>
            </a:xfrm>
            <a:custGeom>
              <a:avLst/>
              <a:gdLst>
                <a:gd name="T0" fmla="*/ 148 w 372"/>
                <a:gd name="T1" fmla="*/ 69 h 599"/>
                <a:gd name="T2" fmla="*/ 41 w 372"/>
                <a:gd name="T3" fmla="*/ 141 h 599"/>
                <a:gd name="T4" fmla="*/ 14 w 372"/>
                <a:gd name="T5" fmla="*/ 197 h 599"/>
                <a:gd name="T6" fmla="*/ 3 w 372"/>
                <a:gd name="T7" fmla="*/ 405 h 599"/>
                <a:gd name="T8" fmla="*/ 38 w 372"/>
                <a:gd name="T9" fmla="*/ 466 h 599"/>
                <a:gd name="T10" fmla="*/ 215 w 372"/>
                <a:gd name="T11" fmla="*/ 599 h 599"/>
                <a:gd name="T12" fmla="*/ 203 w 372"/>
                <a:gd name="T13" fmla="*/ 497 h 599"/>
                <a:gd name="T14" fmla="*/ 116 w 372"/>
                <a:gd name="T15" fmla="*/ 417 h 599"/>
                <a:gd name="T16" fmla="*/ 130 w 372"/>
                <a:gd name="T17" fmla="*/ 319 h 599"/>
                <a:gd name="T18" fmla="*/ 173 w 372"/>
                <a:gd name="T19" fmla="*/ 275 h 599"/>
                <a:gd name="T20" fmla="*/ 314 w 372"/>
                <a:gd name="T21" fmla="*/ 302 h 599"/>
                <a:gd name="T22" fmla="*/ 372 w 372"/>
                <a:gd name="T23" fmla="*/ 132 h 599"/>
                <a:gd name="T24" fmla="*/ 148 w 372"/>
                <a:gd name="T25" fmla="*/ 69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599">
                  <a:moveTo>
                    <a:pt x="148" y="69"/>
                  </a:moveTo>
                  <a:cubicBezTo>
                    <a:pt x="41" y="141"/>
                    <a:pt x="41" y="141"/>
                    <a:pt x="41" y="141"/>
                  </a:cubicBezTo>
                  <a:cubicBezTo>
                    <a:pt x="41" y="141"/>
                    <a:pt x="15" y="149"/>
                    <a:pt x="14" y="197"/>
                  </a:cubicBezTo>
                  <a:cubicBezTo>
                    <a:pt x="13" y="234"/>
                    <a:pt x="3" y="351"/>
                    <a:pt x="3" y="405"/>
                  </a:cubicBezTo>
                  <a:cubicBezTo>
                    <a:pt x="3" y="432"/>
                    <a:pt x="0" y="434"/>
                    <a:pt x="38" y="466"/>
                  </a:cubicBezTo>
                  <a:cubicBezTo>
                    <a:pt x="86" y="507"/>
                    <a:pt x="215" y="599"/>
                    <a:pt x="215" y="599"/>
                  </a:cubicBezTo>
                  <a:cubicBezTo>
                    <a:pt x="215" y="599"/>
                    <a:pt x="256" y="550"/>
                    <a:pt x="203" y="497"/>
                  </a:cubicBezTo>
                  <a:cubicBezTo>
                    <a:pt x="167" y="461"/>
                    <a:pt x="137" y="433"/>
                    <a:pt x="116" y="417"/>
                  </a:cubicBezTo>
                  <a:cubicBezTo>
                    <a:pt x="98" y="404"/>
                    <a:pt x="130" y="319"/>
                    <a:pt x="130" y="319"/>
                  </a:cubicBezTo>
                  <a:cubicBezTo>
                    <a:pt x="130" y="319"/>
                    <a:pt x="140" y="290"/>
                    <a:pt x="173" y="275"/>
                  </a:cubicBezTo>
                  <a:cubicBezTo>
                    <a:pt x="243" y="244"/>
                    <a:pt x="314" y="302"/>
                    <a:pt x="314" y="302"/>
                  </a:cubicBezTo>
                  <a:cubicBezTo>
                    <a:pt x="372" y="132"/>
                    <a:pt x="372" y="132"/>
                    <a:pt x="372" y="132"/>
                  </a:cubicBezTo>
                  <a:cubicBezTo>
                    <a:pt x="358" y="120"/>
                    <a:pt x="206" y="0"/>
                    <a:pt x="148" y="69"/>
                  </a:cubicBezTo>
                  <a:close/>
                </a:path>
              </a:pathLst>
            </a:custGeom>
            <a:solidFill>
              <a:srgbClr val="FBC6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31845E27-A2FC-42A3-80B6-242D414F02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5238" y="1909763"/>
              <a:ext cx="1741488" cy="1727200"/>
            </a:xfrm>
            <a:custGeom>
              <a:avLst/>
              <a:gdLst>
                <a:gd name="T0" fmla="*/ 535 w 603"/>
                <a:gd name="T1" fmla="*/ 125 h 600"/>
                <a:gd name="T2" fmla="*/ 537 w 603"/>
                <a:gd name="T3" fmla="*/ 123 h 600"/>
                <a:gd name="T4" fmla="*/ 513 w 603"/>
                <a:gd name="T5" fmla="*/ 22 h 600"/>
                <a:gd name="T6" fmla="*/ 410 w 603"/>
                <a:gd name="T7" fmla="*/ 45 h 600"/>
                <a:gd name="T8" fmla="*/ 398 w 603"/>
                <a:gd name="T9" fmla="*/ 126 h 600"/>
                <a:gd name="T10" fmla="*/ 261 w 603"/>
                <a:gd name="T11" fmla="*/ 39 h 600"/>
                <a:gd name="T12" fmla="*/ 174 w 603"/>
                <a:gd name="T13" fmla="*/ 174 h 600"/>
                <a:gd name="T14" fmla="*/ 125 w 603"/>
                <a:gd name="T15" fmla="*/ 104 h 600"/>
                <a:gd name="T16" fmla="*/ 122 w 603"/>
                <a:gd name="T17" fmla="*/ 103 h 600"/>
                <a:gd name="T18" fmla="*/ 22 w 603"/>
                <a:gd name="T19" fmla="*/ 127 h 600"/>
                <a:gd name="T20" fmla="*/ 45 w 603"/>
                <a:gd name="T21" fmla="*/ 229 h 600"/>
                <a:gd name="T22" fmla="*/ 131 w 603"/>
                <a:gd name="T23" fmla="*/ 242 h 600"/>
                <a:gd name="T24" fmla="*/ 42 w 603"/>
                <a:gd name="T25" fmla="*/ 381 h 600"/>
                <a:gd name="T26" fmla="*/ 180 w 603"/>
                <a:gd name="T27" fmla="*/ 469 h 600"/>
                <a:gd name="T28" fmla="*/ 192 w 603"/>
                <a:gd name="T29" fmla="*/ 386 h 600"/>
                <a:gd name="T30" fmla="*/ 295 w 603"/>
                <a:gd name="T31" fmla="*/ 363 h 600"/>
                <a:gd name="T32" fmla="*/ 319 w 603"/>
                <a:gd name="T33" fmla="*/ 464 h 600"/>
                <a:gd name="T34" fmla="*/ 317 w 603"/>
                <a:gd name="T35" fmla="*/ 466 h 600"/>
                <a:gd name="T36" fmla="*/ 250 w 603"/>
                <a:gd name="T37" fmla="*/ 513 h 600"/>
                <a:gd name="T38" fmla="*/ 384 w 603"/>
                <a:gd name="T39" fmla="*/ 600 h 600"/>
                <a:gd name="T40" fmla="*/ 603 w 603"/>
                <a:gd name="T41" fmla="*/ 258 h 600"/>
                <a:gd name="T42" fmla="*/ 469 w 603"/>
                <a:gd name="T43" fmla="*/ 172 h 600"/>
                <a:gd name="T44" fmla="*/ 535 w 603"/>
                <a:gd name="T45" fmla="*/ 125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3" h="600">
                  <a:moveTo>
                    <a:pt x="535" y="125"/>
                  </a:moveTo>
                  <a:cubicBezTo>
                    <a:pt x="536" y="124"/>
                    <a:pt x="536" y="124"/>
                    <a:pt x="537" y="123"/>
                  </a:cubicBezTo>
                  <a:cubicBezTo>
                    <a:pt x="557" y="88"/>
                    <a:pt x="546" y="44"/>
                    <a:pt x="513" y="22"/>
                  </a:cubicBezTo>
                  <a:cubicBezTo>
                    <a:pt x="478" y="0"/>
                    <a:pt x="432" y="10"/>
                    <a:pt x="410" y="45"/>
                  </a:cubicBezTo>
                  <a:cubicBezTo>
                    <a:pt x="396" y="79"/>
                    <a:pt x="402" y="97"/>
                    <a:pt x="398" y="126"/>
                  </a:cubicBezTo>
                  <a:cubicBezTo>
                    <a:pt x="261" y="39"/>
                    <a:pt x="261" y="39"/>
                    <a:pt x="261" y="39"/>
                  </a:cubicBezTo>
                  <a:cubicBezTo>
                    <a:pt x="174" y="174"/>
                    <a:pt x="174" y="174"/>
                    <a:pt x="174" y="174"/>
                  </a:cubicBezTo>
                  <a:cubicBezTo>
                    <a:pt x="154" y="148"/>
                    <a:pt x="147" y="118"/>
                    <a:pt x="125" y="104"/>
                  </a:cubicBezTo>
                  <a:cubicBezTo>
                    <a:pt x="124" y="104"/>
                    <a:pt x="123" y="103"/>
                    <a:pt x="122" y="103"/>
                  </a:cubicBezTo>
                  <a:cubicBezTo>
                    <a:pt x="88" y="82"/>
                    <a:pt x="44" y="93"/>
                    <a:pt x="22" y="127"/>
                  </a:cubicBezTo>
                  <a:cubicBezTo>
                    <a:pt x="0" y="161"/>
                    <a:pt x="10" y="207"/>
                    <a:pt x="45" y="229"/>
                  </a:cubicBezTo>
                  <a:cubicBezTo>
                    <a:pt x="81" y="245"/>
                    <a:pt x="99" y="236"/>
                    <a:pt x="131" y="242"/>
                  </a:cubicBezTo>
                  <a:cubicBezTo>
                    <a:pt x="42" y="381"/>
                    <a:pt x="42" y="381"/>
                    <a:pt x="42" y="381"/>
                  </a:cubicBezTo>
                  <a:cubicBezTo>
                    <a:pt x="180" y="469"/>
                    <a:pt x="180" y="469"/>
                    <a:pt x="180" y="469"/>
                  </a:cubicBezTo>
                  <a:cubicBezTo>
                    <a:pt x="185" y="439"/>
                    <a:pt x="177" y="421"/>
                    <a:pt x="192" y="386"/>
                  </a:cubicBezTo>
                  <a:cubicBezTo>
                    <a:pt x="214" y="351"/>
                    <a:pt x="260" y="341"/>
                    <a:pt x="295" y="363"/>
                  </a:cubicBezTo>
                  <a:cubicBezTo>
                    <a:pt x="328" y="385"/>
                    <a:pt x="339" y="429"/>
                    <a:pt x="319" y="464"/>
                  </a:cubicBezTo>
                  <a:cubicBezTo>
                    <a:pt x="318" y="464"/>
                    <a:pt x="318" y="465"/>
                    <a:pt x="317" y="466"/>
                  </a:cubicBezTo>
                  <a:cubicBezTo>
                    <a:pt x="304" y="487"/>
                    <a:pt x="275" y="495"/>
                    <a:pt x="250" y="513"/>
                  </a:cubicBezTo>
                  <a:cubicBezTo>
                    <a:pt x="384" y="600"/>
                    <a:pt x="384" y="600"/>
                    <a:pt x="384" y="600"/>
                  </a:cubicBezTo>
                  <a:cubicBezTo>
                    <a:pt x="603" y="258"/>
                    <a:pt x="603" y="258"/>
                    <a:pt x="603" y="258"/>
                  </a:cubicBezTo>
                  <a:cubicBezTo>
                    <a:pt x="469" y="172"/>
                    <a:pt x="469" y="172"/>
                    <a:pt x="469" y="172"/>
                  </a:cubicBezTo>
                  <a:cubicBezTo>
                    <a:pt x="494" y="154"/>
                    <a:pt x="522" y="146"/>
                    <a:pt x="535" y="125"/>
                  </a:cubicBez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655FC676-DE45-4E9D-B585-6B4CFA1EE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6850" y="584200"/>
              <a:ext cx="1560513" cy="1938338"/>
            </a:xfrm>
            <a:custGeom>
              <a:avLst/>
              <a:gdLst>
                <a:gd name="T0" fmla="*/ 318 w 540"/>
                <a:gd name="T1" fmla="*/ 66 h 673"/>
                <a:gd name="T2" fmla="*/ 204 w 540"/>
                <a:gd name="T3" fmla="*/ 141 h 673"/>
                <a:gd name="T4" fmla="*/ 0 w 540"/>
                <a:gd name="T5" fmla="*/ 323 h 673"/>
                <a:gd name="T6" fmla="*/ 285 w 540"/>
                <a:gd name="T7" fmla="*/ 394 h 673"/>
                <a:gd name="T8" fmla="*/ 293 w 540"/>
                <a:gd name="T9" fmla="*/ 605 h 673"/>
                <a:gd name="T10" fmla="*/ 361 w 540"/>
                <a:gd name="T11" fmla="*/ 661 h 673"/>
                <a:gd name="T12" fmla="*/ 423 w 540"/>
                <a:gd name="T13" fmla="*/ 372 h 673"/>
                <a:gd name="T14" fmla="*/ 476 w 540"/>
                <a:gd name="T15" fmla="*/ 216 h 673"/>
                <a:gd name="T16" fmla="*/ 540 w 540"/>
                <a:gd name="T17" fmla="*/ 141 h 673"/>
                <a:gd name="T18" fmla="*/ 374 w 540"/>
                <a:gd name="T19" fmla="*/ 0 h 673"/>
                <a:gd name="T20" fmla="*/ 318 w 540"/>
                <a:gd name="T21" fmla="*/ 66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0" h="673">
                  <a:moveTo>
                    <a:pt x="318" y="66"/>
                  </a:moveTo>
                  <a:cubicBezTo>
                    <a:pt x="318" y="66"/>
                    <a:pt x="231" y="115"/>
                    <a:pt x="204" y="141"/>
                  </a:cubicBezTo>
                  <a:cubicBezTo>
                    <a:pt x="172" y="171"/>
                    <a:pt x="0" y="323"/>
                    <a:pt x="0" y="323"/>
                  </a:cubicBezTo>
                  <a:cubicBezTo>
                    <a:pt x="285" y="394"/>
                    <a:pt x="285" y="394"/>
                    <a:pt x="285" y="394"/>
                  </a:cubicBezTo>
                  <a:cubicBezTo>
                    <a:pt x="285" y="394"/>
                    <a:pt x="272" y="567"/>
                    <a:pt x="293" y="605"/>
                  </a:cubicBezTo>
                  <a:cubicBezTo>
                    <a:pt x="315" y="643"/>
                    <a:pt x="356" y="673"/>
                    <a:pt x="361" y="661"/>
                  </a:cubicBezTo>
                  <a:cubicBezTo>
                    <a:pt x="366" y="650"/>
                    <a:pt x="401" y="434"/>
                    <a:pt x="423" y="372"/>
                  </a:cubicBezTo>
                  <a:cubicBezTo>
                    <a:pt x="434" y="338"/>
                    <a:pt x="476" y="216"/>
                    <a:pt x="476" y="216"/>
                  </a:cubicBezTo>
                  <a:cubicBezTo>
                    <a:pt x="540" y="141"/>
                    <a:pt x="540" y="141"/>
                    <a:pt x="540" y="141"/>
                  </a:cubicBezTo>
                  <a:cubicBezTo>
                    <a:pt x="374" y="0"/>
                    <a:pt x="374" y="0"/>
                    <a:pt x="374" y="0"/>
                  </a:cubicBezTo>
                  <a:lnTo>
                    <a:pt x="318" y="66"/>
                  </a:lnTo>
                  <a:close/>
                </a:path>
              </a:pathLst>
            </a:custGeom>
            <a:solidFill>
              <a:srgbClr val="FBC6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D79F3BB8-B55B-4EAB-9D87-A90F295B5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0775" y="427038"/>
              <a:ext cx="820738" cy="765175"/>
            </a:xfrm>
            <a:custGeom>
              <a:avLst/>
              <a:gdLst>
                <a:gd name="T0" fmla="*/ 0 w 517"/>
                <a:gd name="T1" fmla="*/ 110 h 482"/>
                <a:gd name="T2" fmla="*/ 426 w 517"/>
                <a:gd name="T3" fmla="*/ 482 h 482"/>
                <a:gd name="T4" fmla="*/ 517 w 517"/>
                <a:gd name="T5" fmla="*/ 371 h 482"/>
                <a:gd name="T6" fmla="*/ 93 w 517"/>
                <a:gd name="T7" fmla="*/ 0 h 482"/>
                <a:gd name="T8" fmla="*/ 0 w 517"/>
                <a:gd name="T9" fmla="*/ 11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7" h="482">
                  <a:moveTo>
                    <a:pt x="0" y="110"/>
                  </a:moveTo>
                  <a:lnTo>
                    <a:pt x="426" y="482"/>
                  </a:lnTo>
                  <a:lnTo>
                    <a:pt x="517" y="371"/>
                  </a:lnTo>
                  <a:lnTo>
                    <a:pt x="93" y="0"/>
                  </a:lnTo>
                  <a:lnTo>
                    <a:pt x="0" y="110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C24CB6C0-85D1-4687-A90C-600DAF208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3950" y="428625"/>
              <a:ext cx="479425" cy="466725"/>
            </a:xfrm>
            <a:custGeom>
              <a:avLst/>
              <a:gdLst>
                <a:gd name="T0" fmla="*/ 0 w 302"/>
                <a:gd name="T1" fmla="*/ 109 h 294"/>
                <a:gd name="T2" fmla="*/ 211 w 302"/>
                <a:gd name="T3" fmla="*/ 294 h 294"/>
                <a:gd name="T4" fmla="*/ 302 w 302"/>
                <a:gd name="T5" fmla="*/ 185 h 294"/>
                <a:gd name="T6" fmla="*/ 91 w 302"/>
                <a:gd name="T7" fmla="*/ 0 h 294"/>
                <a:gd name="T8" fmla="*/ 0 w 302"/>
                <a:gd name="T9" fmla="*/ 109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2" h="294">
                  <a:moveTo>
                    <a:pt x="0" y="109"/>
                  </a:moveTo>
                  <a:lnTo>
                    <a:pt x="211" y="294"/>
                  </a:lnTo>
                  <a:lnTo>
                    <a:pt x="302" y="185"/>
                  </a:lnTo>
                  <a:lnTo>
                    <a:pt x="91" y="0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39438E61-9908-42A8-AE15-1E9A68F68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8088" y="-8033"/>
              <a:ext cx="1662037" cy="1084358"/>
            </a:xfrm>
            <a:custGeom>
              <a:avLst/>
              <a:gdLst>
                <a:gd name="T0" fmla="*/ 464 w 999"/>
                <a:gd name="T1" fmla="*/ 680 h 680"/>
                <a:gd name="T2" fmla="*/ 999 w 999"/>
                <a:gd name="T3" fmla="*/ 53 h 680"/>
                <a:gd name="T4" fmla="*/ 999 w 999"/>
                <a:gd name="T5" fmla="*/ 0 h 680"/>
                <a:gd name="T6" fmla="*/ 233 w 999"/>
                <a:gd name="T7" fmla="*/ 0 h 680"/>
                <a:gd name="T8" fmla="*/ 0 w 999"/>
                <a:gd name="T9" fmla="*/ 274 h 680"/>
                <a:gd name="T10" fmla="*/ 464 w 999"/>
                <a:gd name="T11" fmla="*/ 680 h 680"/>
                <a:gd name="connsiteX0" fmla="*/ 4645 w 10480"/>
                <a:gd name="connsiteY0" fmla="*/ 10045 h 10045"/>
                <a:gd name="connsiteX1" fmla="*/ 10480 w 10480"/>
                <a:gd name="connsiteY1" fmla="*/ 0 h 10045"/>
                <a:gd name="connsiteX2" fmla="*/ 10000 w 10480"/>
                <a:gd name="connsiteY2" fmla="*/ 45 h 10045"/>
                <a:gd name="connsiteX3" fmla="*/ 2332 w 10480"/>
                <a:gd name="connsiteY3" fmla="*/ 45 h 10045"/>
                <a:gd name="connsiteX4" fmla="*/ 0 w 10480"/>
                <a:gd name="connsiteY4" fmla="*/ 4074 h 10045"/>
                <a:gd name="connsiteX5" fmla="*/ 4645 w 10480"/>
                <a:gd name="connsiteY5" fmla="*/ 10045 h 10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80" h="10045">
                  <a:moveTo>
                    <a:pt x="4645" y="10045"/>
                  </a:moveTo>
                  <a:lnTo>
                    <a:pt x="10480" y="0"/>
                  </a:lnTo>
                  <a:lnTo>
                    <a:pt x="10000" y="45"/>
                  </a:lnTo>
                  <a:lnTo>
                    <a:pt x="2332" y="45"/>
                  </a:lnTo>
                  <a:lnTo>
                    <a:pt x="0" y="4074"/>
                  </a:lnTo>
                  <a:lnTo>
                    <a:pt x="4645" y="10045"/>
                  </a:lnTo>
                  <a:close/>
                </a:path>
              </a:pathLst>
            </a:custGeom>
            <a:solidFill>
              <a:srgbClr val="323E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1F3EA4D9-A370-420E-80B5-CC33C3B1A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99763" y="800100"/>
              <a:ext cx="104775" cy="101600"/>
            </a:xfrm>
            <a:custGeom>
              <a:avLst/>
              <a:gdLst>
                <a:gd name="T0" fmla="*/ 9 w 36"/>
                <a:gd name="T1" fmla="*/ 5 h 35"/>
                <a:gd name="T2" fmla="*/ 6 w 36"/>
                <a:gd name="T3" fmla="*/ 26 h 35"/>
                <a:gd name="T4" fmla="*/ 27 w 36"/>
                <a:gd name="T5" fmla="*/ 30 h 35"/>
                <a:gd name="T6" fmla="*/ 30 w 36"/>
                <a:gd name="T7" fmla="*/ 8 h 35"/>
                <a:gd name="T8" fmla="*/ 9 w 36"/>
                <a:gd name="T9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9" y="5"/>
                  </a:moveTo>
                  <a:cubicBezTo>
                    <a:pt x="2" y="10"/>
                    <a:pt x="0" y="20"/>
                    <a:pt x="6" y="26"/>
                  </a:cubicBezTo>
                  <a:cubicBezTo>
                    <a:pt x="11" y="33"/>
                    <a:pt x="20" y="35"/>
                    <a:pt x="27" y="30"/>
                  </a:cubicBezTo>
                  <a:cubicBezTo>
                    <a:pt x="34" y="24"/>
                    <a:pt x="36" y="15"/>
                    <a:pt x="30" y="8"/>
                  </a:cubicBezTo>
                  <a:cubicBezTo>
                    <a:pt x="25" y="1"/>
                    <a:pt x="16" y="0"/>
                    <a:pt x="9" y="5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75A07DE4-4968-4D9A-9F5F-14B6269E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01363" y="682625"/>
              <a:ext cx="101600" cy="100013"/>
            </a:xfrm>
            <a:custGeom>
              <a:avLst/>
              <a:gdLst>
                <a:gd name="T0" fmla="*/ 8 w 35"/>
                <a:gd name="T1" fmla="*/ 5 h 35"/>
                <a:gd name="T2" fmla="*/ 5 w 35"/>
                <a:gd name="T3" fmla="*/ 27 h 35"/>
                <a:gd name="T4" fmla="*/ 26 w 35"/>
                <a:gd name="T5" fmla="*/ 30 h 35"/>
                <a:gd name="T6" fmla="*/ 29 w 35"/>
                <a:gd name="T7" fmla="*/ 8 h 35"/>
                <a:gd name="T8" fmla="*/ 8 w 35"/>
                <a:gd name="T9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5">
                  <a:moveTo>
                    <a:pt x="8" y="5"/>
                  </a:moveTo>
                  <a:cubicBezTo>
                    <a:pt x="1" y="10"/>
                    <a:pt x="0" y="20"/>
                    <a:pt x="5" y="27"/>
                  </a:cubicBezTo>
                  <a:cubicBezTo>
                    <a:pt x="10" y="34"/>
                    <a:pt x="20" y="35"/>
                    <a:pt x="26" y="30"/>
                  </a:cubicBezTo>
                  <a:cubicBezTo>
                    <a:pt x="33" y="25"/>
                    <a:pt x="35" y="15"/>
                    <a:pt x="29" y="8"/>
                  </a:cubicBezTo>
                  <a:cubicBezTo>
                    <a:pt x="24" y="1"/>
                    <a:pt x="15" y="0"/>
                    <a:pt x="8" y="5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7C236EEA-5777-4A91-A4AB-89E2C8B9D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99788" y="565150"/>
              <a:ext cx="100013" cy="100013"/>
            </a:xfrm>
            <a:custGeom>
              <a:avLst/>
              <a:gdLst>
                <a:gd name="T0" fmla="*/ 8 w 35"/>
                <a:gd name="T1" fmla="*/ 5 h 35"/>
                <a:gd name="T2" fmla="*/ 5 w 35"/>
                <a:gd name="T3" fmla="*/ 27 h 35"/>
                <a:gd name="T4" fmla="*/ 26 w 35"/>
                <a:gd name="T5" fmla="*/ 30 h 35"/>
                <a:gd name="T6" fmla="*/ 30 w 35"/>
                <a:gd name="T7" fmla="*/ 8 h 35"/>
                <a:gd name="T8" fmla="*/ 8 w 35"/>
                <a:gd name="T9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5">
                  <a:moveTo>
                    <a:pt x="8" y="5"/>
                  </a:moveTo>
                  <a:cubicBezTo>
                    <a:pt x="1" y="10"/>
                    <a:pt x="0" y="20"/>
                    <a:pt x="5" y="27"/>
                  </a:cubicBezTo>
                  <a:cubicBezTo>
                    <a:pt x="10" y="34"/>
                    <a:pt x="20" y="35"/>
                    <a:pt x="26" y="30"/>
                  </a:cubicBezTo>
                  <a:cubicBezTo>
                    <a:pt x="33" y="25"/>
                    <a:pt x="35" y="15"/>
                    <a:pt x="30" y="8"/>
                  </a:cubicBezTo>
                  <a:cubicBezTo>
                    <a:pt x="24" y="2"/>
                    <a:pt x="15" y="0"/>
                    <a:pt x="8" y="5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62FE11B9-86B4-4301-963D-F41F28836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8088" y="-3175"/>
              <a:ext cx="1014413" cy="757238"/>
            </a:xfrm>
            <a:custGeom>
              <a:avLst/>
              <a:gdLst>
                <a:gd name="T0" fmla="*/ 231 w 639"/>
                <a:gd name="T1" fmla="*/ 477 h 477"/>
                <a:gd name="T2" fmla="*/ 639 w 639"/>
                <a:gd name="T3" fmla="*/ 0 h 477"/>
                <a:gd name="T4" fmla="*/ 233 w 639"/>
                <a:gd name="T5" fmla="*/ 0 h 477"/>
                <a:gd name="T6" fmla="*/ 0 w 639"/>
                <a:gd name="T7" fmla="*/ 274 h 477"/>
                <a:gd name="T8" fmla="*/ 231 w 639"/>
                <a:gd name="T9" fmla="*/ 477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9" h="477">
                  <a:moveTo>
                    <a:pt x="231" y="477"/>
                  </a:moveTo>
                  <a:lnTo>
                    <a:pt x="639" y="0"/>
                  </a:lnTo>
                  <a:lnTo>
                    <a:pt x="233" y="0"/>
                  </a:lnTo>
                  <a:lnTo>
                    <a:pt x="0" y="274"/>
                  </a:lnTo>
                  <a:lnTo>
                    <a:pt x="231" y="477"/>
                  </a:lnTo>
                  <a:close/>
                </a:path>
              </a:pathLst>
            </a:custGeom>
            <a:solidFill>
              <a:srgbClr val="444F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10F1F4C-E75F-4AC7-BDBB-F9F4F3415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rerequisites</a:t>
            </a:r>
            <a:endParaRPr lang="en-US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A5A5E503-F21A-49D4-B447-C887D4CAA1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defTabSz="914363">
              <a:lnSpc>
                <a:spcPct val="90000"/>
              </a:lnSpc>
              <a:spcBef>
                <a:spcPct val="0"/>
              </a:spcBef>
            </a:pPr>
            <a:r>
              <a:rPr lang="en-US" sz="1400" cap="all" spc="60" dirty="0">
                <a:ln w="3175">
                  <a:noFill/>
                </a:ln>
                <a:solidFill>
                  <a:srgbClr val="7F9FD4"/>
                </a:solidFill>
              </a:rPr>
              <a:t>So everything runs smoothly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70102F4E-96C4-4342-A000-C76E378AC190}"/>
              </a:ext>
            </a:extLst>
          </p:cNvPr>
          <p:cNvSpPr txBox="1">
            <a:spLocks/>
          </p:cNvSpPr>
          <p:nvPr/>
        </p:nvSpPr>
        <p:spPr>
          <a:xfrm>
            <a:off x="916753" y="1916113"/>
            <a:ext cx="5179247" cy="428625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50000"/>
              </a:lnSpc>
              <a:spcBef>
                <a:spcPts val="24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1100" kern="1200" cap="none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900" marR="0" indent="-342900" algn="l" defTabSz="9143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100" kern="1200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74669" marR="0" indent="-342900" algn="l" defTabSz="9143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798513" algn="l"/>
              </a:tabLst>
              <a:defRPr lang="en-US" sz="1100" kern="1200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00089" marR="0" indent="-342900" algn="l" defTabSz="9143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100" kern="1200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036622" marR="0" indent="-342900" algn="l" defTabSz="9143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1255713" algn="l"/>
              </a:tabLst>
              <a:defRPr lang="en-US" sz="1100" kern="1200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IN" b="1" dirty="0">
                <a:solidFill>
                  <a:srgbClr val="252F38"/>
                </a:solidFill>
              </a:rPr>
              <a:t>Power BI</a:t>
            </a:r>
          </a:p>
          <a:p>
            <a:pPr marL="171450" indent="-1714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92979B"/>
                </a:solidFill>
              </a:rPr>
              <a:t>Power BI Desktop installed and up-to-date</a:t>
            </a:r>
          </a:p>
          <a:p>
            <a:pPr marL="171450" indent="-1714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92979B"/>
                </a:solidFill>
              </a:rPr>
              <a:t>A Power BI Service account</a:t>
            </a:r>
          </a:p>
          <a:p>
            <a:pPr marL="171450" indent="-1714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92979B"/>
                </a:solidFill>
              </a:rPr>
              <a:t>Basic knowledge of the tool</a:t>
            </a:r>
          </a:p>
          <a:p>
            <a:pPr defTabSz="914363">
              <a:lnSpc>
                <a:spcPct val="120000"/>
              </a:lnSpc>
              <a:spcBef>
                <a:spcPts val="1200"/>
              </a:spcBef>
            </a:pPr>
            <a:r>
              <a:rPr lang="en-IN" sz="1200" b="1" dirty="0">
                <a:ln w="3175">
                  <a:noFill/>
                </a:ln>
                <a:solidFill>
                  <a:srgbClr val="252F38"/>
                </a:solidFill>
              </a:rPr>
              <a:t>Power Apps</a:t>
            </a:r>
          </a:p>
          <a:p>
            <a:pPr marL="180000" indent="-180000">
              <a:lnSpc>
                <a:spcPct val="12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en-IN" dirty="0">
                <a:solidFill>
                  <a:srgbClr val="92979B"/>
                </a:solidFill>
              </a:rPr>
              <a:t>A Power Apps license</a:t>
            </a:r>
          </a:p>
          <a:p>
            <a:pPr marL="180000" indent="-180000">
              <a:lnSpc>
                <a:spcPct val="12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en-IN" dirty="0">
                <a:solidFill>
                  <a:srgbClr val="92979B"/>
                </a:solidFill>
              </a:rPr>
              <a:t>Basic knowledge of the tool</a:t>
            </a:r>
          </a:p>
          <a:p>
            <a:pPr defTabSz="914363">
              <a:lnSpc>
                <a:spcPct val="120000"/>
              </a:lnSpc>
              <a:spcBef>
                <a:spcPts val="1200"/>
              </a:spcBef>
            </a:pPr>
            <a:r>
              <a:rPr lang="en-IN" sz="1200" b="1" dirty="0">
                <a:ln w="3175">
                  <a:noFill/>
                </a:ln>
                <a:solidFill>
                  <a:srgbClr val="252F38"/>
                </a:solidFill>
              </a:rPr>
              <a:t>Power Automate</a:t>
            </a:r>
          </a:p>
          <a:p>
            <a:pPr marL="180000" indent="-180000">
              <a:lnSpc>
                <a:spcPct val="12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en-IN" dirty="0">
                <a:solidFill>
                  <a:srgbClr val="92979B"/>
                </a:solidFill>
              </a:rPr>
              <a:t>A Power Automate (Flow) license</a:t>
            </a:r>
          </a:p>
          <a:p>
            <a:pPr marL="180000" indent="-180000">
              <a:lnSpc>
                <a:spcPct val="12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en-IN" dirty="0">
                <a:solidFill>
                  <a:srgbClr val="92979B"/>
                </a:solidFill>
              </a:rPr>
              <a:t>Basic knowledge of the tool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IN" b="1" dirty="0">
                <a:ln w="3175">
                  <a:noFill/>
                </a:ln>
                <a:solidFill>
                  <a:srgbClr val="252F38"/>
                </a:solidFill>
              </a:rPr>
              <a:t>General</a:t>
            </a:r>
          </a:p>
          <a:p>
            <a:pPr marL="180000" indent="-180000">
              <a:lnSpc>
                <a:spcPct val="12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en-IN" dirty="0">
                <a:solidFill>
                  <a:srgbClr val="92979B"/>
                </a:solidFill>
              </a:rPr>
              <a:t>Internet connection (or hot spot)</a:t>
            </a:r>
          </a:p>
          <a:p>
            <a:pPr marL="180000" indent="-180000">
              <a:lnSpc>
                <a:spcPct val="12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en-IN" dirty="0">
                <a:solidFill>
                  <a:srgbClr val="92979B"/>
                </a:solidFill>
              </a:rPr>
              <a:t>An I.T. department that trusts you</a:t>
            </a:r>
          </a:p>
          <a:p>
            <a:pPr marL="180000" indent="-180000">
              <a:lnSpc>
                <a:spcPct val="12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en-IN" dirty="0">
                <a:solidFill>
                  <a:srgbClr val="92979B"/>
                </a:solidFill>
              </a:rPr>
              <a:t>Teams/</a:t>
            </a:r>
            <a:r>
              <a:rPr lang="en-IN" dirty="0" err="1">
                <a:solidFill>
                  <a:srgbClr val="92979B"/>
                </a:solidFill>
              </a:rPr>
              <a:t>Devops</a:t>
            </a:r>
            <a:r>
              <a:rPr lang="en-IN" dirty="0">
                <a:solidFill>
                  <a:srgbClr val="92979B"/>
                </a:solidFill>
              </a:rPr>
              <a:t>/Gmail/Trello/etc.</a:t>
            </a:r>
          </a:p>
          <a:p>
            <a:pPr marL="171450" indent="-1714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IN" b="1" dirty="0">
              <a:ln w="3175">
                <a:noFill/>
              </a:ln>
              <a:solidFill>
                <a:srgbClr val="252F38"/>
              </a:solidFill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en-IN" dirty="0">
              <a:solidFill>
                <a:srgbClr val="92979B"/>
              </a:solidFill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en-IN" dirty="0">
              <a:solidFill>
                <a:srgbClr val="9297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4865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7F7F01C0-F25B-4792-9352-E819CAD598C2}"/>
              </a:ext>
            </a:extLst>
          </p:cNvPr>
          <p:cNvGrpSpPr>
            <a:grpSpLocks noChangeAspect="1"/>
          </p:cNvGrpSpPr>
          <p:nvPr/>
        </p:nvGrpSpPr>
        <p:grpSpPr>
          <a:xfrm>
            <a:off x="3827869" y="1335512"/>
            <a:ext cx="3900170" cy="4006968"/>
            <a:chOff x="3670052" y="1231351"/>
            <a:chExt cx="4149304" cy="4262915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88E36FA-57CB-4FFA-A837-4B2B562E3B5E}"/>
                </a:ext>
              </a:extLst>
            </p:cNvPr>
            <p:cNvGrpSpPr/>
            <p:nvPr/>
          </p:nvGrpSpPr>
          <p:grpSpPr>
            <a:xfrm>
              <a:off x="3670052" y="1231351"/>
              <a:ext cx="4149304" cy="4149298"/>
              <a:chOff x="3870035" y="1493689"/>
              <a:chExt cx="3953165" cy="3953166"/>
            </a:xfrm>
          </p:grpSpPr>
          <p:sp>
            <p:nvSpPr>
              <p:cNvPr id="25" name="Freeform 63">
                <a:extLst>
                  <a:ext uri="{FF2B5EF4-FFF2-40B4-BE49-F238E27FC236}">
                    <a16:creationId xmlns:a16="http://schemas.microsoft.com/office/drawing/2014/main" id="{98B7D57E-EDF9-4216-929B-F70FFEE6975B}"/>
                  </a:ext>
                </a:extLst>
              </p:cNvPr>
              <p:cNvSpPr/>
              <p:nvPr/>
            </p:nvSpPr>
            <p:spPr bwMode="auto">
              <a:xfrm flipH="1">
                <a:off x="3870035" y="5039787"/>
                <a:ext cx="3953165" cy="228798"/>
              </a:xfrm>
              <a:custGeom>
                <a:avLst/>
                <a:gdLst>
                  <a:gd name="connsiteX0" fmla="*/ 6115478 w 6541770"/>
                  <a:gd name="connsiteY0" fmla="*/ 0 h 378619"/>
                  <a:gd name="connsiteX1" fmla="*/ 426292 w 6541770"/>
                  <a:gd name="connsiteY1" fmla="*/ 0 h 378619"/>
                  <a:gd name="connsiteX2" fmla="*/ 22860 w 6541770"/>
                  <a:gd name="connsiteY2" fmla="*/ 276225 h 378619"/>
                  <a:gd name="connsiteX3" fmla="*/ 27803 w 6541770"/>
                  <a:gd name="connsiteY3" fmla="*/ 276225 h 378619"/>
                  <a:gd name="connsiteX4" fmla="*/ 14041 w 6541770"/>
                  <a:gd name="connsiteY4" fmla="*/ 285504 h 378619"/>
                  <a:gd name="connsiteX5" fmla="*/ 0 w 6541770"/>
                  <a:gd name="connsiteY5" fmla="*/ 319401 h 378619"/>
                  <a:gd name="connsiteX6" fmla="*/ 0 w 6541770"/>
                  <a:gd name="connsiteY6" fmla="*/ 330681 h 378619"/>
                  <a:gd name="connsiteX7" fmla="*/ 47938 w 6541770"/>
                  <a:gd name="connsiteY7" fmla="*/ 378619 h 378619"/>
                  <a:gd name="connsiteX8" fmla="*/ 6493832 w 6541770"/>
                  <a:gd name="connsiteY8" fmla="*/ 378619 h 378619"/>
                  <a:gd name="connsiteX9" fmla="*/ 6541770 w 6541770"/>
                  <a:gd name="connsiteY9" fmla="*/ 330681 h 378619"/>
                  <a:gd name="connsiteX10" fmla="*/ 6541770 w 6541770"/>
                  <a:gd name="connsiteY10" fmla="*/ 319401 h 378619"/>
                  <a:gd name="connsiteX11" fmla="*/ 6527729 w 6541770"/>
                  <a:gd name="connsiteY11" fmla="*/ 285504 h 378619"/>
                  <a:gd name="connsiteX12" fmla="*/ 6513967 w 6541770"/>
                  <a:gd name="connsiteY12" fmla="*/ 276225 h 378619"/>
                  <a:gd name="connsiteX13" fmla="*/ 6518910 w 6541770"/>
                  <a:gd name="connsiteY13" fmla="*/ 276225 h 37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541770" h="378619">
                    <a:moveTo>
                      <a:pt x="6115478" y="0"/>
                    </a:moveTo>
                    <a:lnTo>
                      <a:pt x="426292" y="0"/>
                    </a:lnTo>
                    <a:lnTo>
                      <a:pt x="22860" y="276225"/>
                    </a:lnTo>
                    <a:lnTo>
                      <a:pt x="27803" y="276225"/>
                    </a:lnTo>
                    <a:lnTo>
                      <a:pt x="14041" y="285504"/>
                    </a:lnTo>
                    <a:cubicBezTo>
                      <a:pt x="5366" y="294179"/>
                      <a:pt x="0" y="306164"/>
                      <a:pt x="0" y="319401"/>
                    </a:cubicBezTo>
                    <a:lnTo>
                      <a:pt x="0" y="330681"/>
                    </a:lnTo>
                    <a:cubicBezTo>
                      <a:pt x="0" y="357156"/>
                      <a:pt x="21463" y="378619"/>
                      <a:pt x="47938" y="378619"/>
                    </a:cubicBezTo>
                    <a:lnTo>
                      <a:pt x="6493832" y="378619"/>
                    </a:lnTo>
                    <a:cubicBezTo>
                      <a:pt x="6520307" y="378619"/>
                      <a:pt x="6541770" y="357156"/>
                      <a:pt x="6541770" y="330681"/>
                    </a:cubicBezTo>
                    <a:lnTo>
                      <a:pt x="6541770" y="319401"/>
                    </a:lnTo>
                    <a:cubicBezTo>
                      <a:pt x="6541770" y="306164"/>
                      <a:pt x="6536404" y="294179"/>
                      <a:pt x="6527729" y="285504"/>
                    </a:cubicBezTo>
                    <a:lnTo>
                      <a:pt x="6513967" y="276225"/>
                    </a:lnTo>
                    <a:lnTo>
                      <a:pt x="6518910" y="276225"/>
                    </a:lnTo>
                    <a:close/>
                  </a:path>
                </a:pathLst>
              </a:custGeom>
              <a:solidFill>
                <a:srgbClr val="2189D7"/>
              </a:solidFill>
              <a:ln w="222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38239" tIns="69119" rIns="138239" bIns="691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46159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65">
                <a:extLst>
                  <a:ext uri="{FF2B5EF4-FFF2-40B4-BE49-F238E27FC236}">
                    <a16:creationId xmlns:a16="http://schemas.microsoft.com/office/drawing/2014/main" id="{B4D14B4C-9507-457E-AF2C-FF314DB2A2C4}"/>
                  </a:ext>
                </a:extLst>
              </p:cNvPr>
              <p:cNvSpPr/>
              <p:nvPr/>
            </p:nvSpPr>
            <p:spPr bwMode="auto">
              <a:xfrm rot="14135239">
                <a:off x="5109456" y="3355874"/>
                <a:ext cx="3953165" cy="228798"/>
              </a:xfrm>
              <a:custGeom>
                <a:avLst/>
                <a:gdLst>
                  <a:gd name="connsiteX0" fmla="*/ 6527729 w 6541770"/>
                  <a:gd name="connsiteY0" fmla="*/ 364578 h 378619"/>
                  <a:gd name="connsiteX1" fmla="*/ 6493832 w 6541770"/>
                  <a:gd name="connsiteY1" fmla="*/ 378619 h 378619"/>
                  <a:gd name="connsiteX2" fmla="*/ 47937 w 6541770"/>
                  <a:gd name="connsiteY2" fmla="*/ 378619 h 378619"/>
                  <a:gd name="connsiteX3" fmla="*/ 0 w 6541770"/>
                  <a:gd name="connsiteY3" fmla="*/ 330681 h 378619"/>
                  <a:gd name="connsiteX4" fmla="*/ 0 w 6541770"/>
                  <a:gd name="connsiteY4" fmla="*/ 319402 h 378619"/>
                  <a:gd name="connsiteX5" fmla="*/ 14041 w 6541770"/>
                  <a:gd name="connsiteY5" fmla="*/ 285503 h 378619"/>
                  <a:gd name="connsiteX6" fmla="*/ 36443 w 6541770"/>
                  <a:gd name="connsiteY6" fmla="*/ 276225 h 378619"/>
                  <a:gd name="connsiteX7" fmla="*/ 22860 w 6541770"/>
                  <a:gd name="connsiteY7" fmla="*/ 276225 h 378619"/>
                  <a:gd name="connsiteX8" fmla="*/ 426292 w 6541770"/>
                  <a:gd name="connsiteY8" fmla="*/ 0 h 378619"/>
                  <a:gd name="connsiteX9" fmla="*/ 6115478 w 6541770"/>
                  <a:gd name="connsiteY9" fmla="*/ 0 h 378619"/>
                  <a:gd name="connsiteX10" fmla="*/ 6518910 w 6541770"/>
                  <a:gd name="connsiteY10" fmla="*/ 276225 h 378619"/>
                  <a:gd name="connsiteX11" fmla="*/ 6513966 w 6541770"/>
                  <a:gd name="connsiteY11" fmla="*/ 276225 h 378619"/>
                  <a:gd name="connsiteX12" fmla="*/ 6527729 w 6541770"/>
                  <a:gd name="connsiteY12" fmla="*/ 285504 h 378619"/>
                  <a:gd name="connsiteX13" fmla="*/ 6541770 w 6541770"/>
                  <a:gd name="connsiteY13" fmla="*/ 319401 h 378619"/>
                  <a:gd name="connsiteX14" fmla="*/ 6541770 w 6541770"/>
                  <a:gd name="connsiteY14" fmla="*/ 330681 h 378619"/>
                  <a:gd name="connsiteX15" fmla="*/ 6527729 w 6541770"/>
                  <a:gd name="connsiteY15" fmla="*/ 364578 h 37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541770" h="378619">
                    <a:moveTo>
                      <a:pt x="6527729" y="364578"/>
                    </a:moveTo>
                    <a:cubicBezTo>
                      <a:pt x="6519054" y="373253"/>
                      <a:pt x="6507069" y="378619"/>
                      <a:pt x="6493832" y="378619"/>
                    </a:cubicBezTo>
                    <a:lnTo>
                      <a:pt x="47937" y="378619"/>
                    </a:lnTo>
                    <a:cubicBezTo>
                      <a:pt x="21463" y="378619"/>
                      <a:pt x="0" y="357156"/>
                      <a:pt x="0" y="330681"/>
                    </a:cubicBezTo>
                    <a:lnTo>
                      <a:pt x="0" y="319402"/>
                    </a:lnTo>
                    <a:cubicBezTo>
                      <a:pt x="0" y="306164"/>
                      <a:pt x="5366" y="294179"/>
                      <a:pt x="14041" y="285503"/>
                    </a:cubicBezTo>
                    <a:lnTo>
                      <a:pt x="36443" y="276225"/>
                    </a:lnTo>
                    <a:lnTo>
                      <a:pt x="22860" y="276225"/>
                    </a:lnTo>
                    <a:lnTo>
                      <a:pt x="426292" y="0"/>
                    </a:lnTo>
                    <a:lnTo>
                      <a:pt x="6115478" y="0"/>
                    </a:lnTo>
                    <a:lnTo>
                      <a:pt x="6518910" y="276225"/>
                    </a:lnTo>
                    <a:lnTo>
                      <a:pt x="6513966" y="276225"/>
                    </a:lnTo>
                    <a:lnTo>
                      <a:pt x="6527729" y="285504"/>
                    </a:lnTo>
                    <a:cubicBezTo>
                      <a:pt x="6536404" y="294179"/>
                      <a:pt x="6541770" y="306164"/>
                      <a:pt x="6541770" y="319401"/>
                    </a:cubicBezTo>
                    <a:lnTo>
                      <a:pt x="6541770" y="330681"/>
                    </a:lnTo>
                    <a:cubicBezTo>
                      <a:pt x="6541770" y="343919"/>
                      <a:pt x="6536404" y="355903"/>
                      <a:pt x="6527729" y="364578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222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38239" tIns="69119" rIns="138239" bIns="691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46159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64">
                <a:extLst>
                  <a:ext uri="{FF2B5EF4-FFF2-40B4-BE49-F238E27FC236}">
                    <a16:creationId xmlns:a16="http://schemas.microsoft.com/office/drawing/2014/main" id="{AF52D2B7-EDC7-45B8-8222-ABA5826DD8A9}"/>
                  </a:ext>
                </a:extLst>
              </p:cNvPr>
              <p:cNvSpPr/>
              <p:nvPr/>
            </p:nvSpPr>
            <p:spPr bwMode="auto">
              <a:xfrm rot="7464761" flipH="1">
                <a:off x="2630614" y="3355873"/>
                <a:ext cx="3953165" cy="228798"/>
              </a:xfrm>
              <a:custGeom>
                <a:avLst/>
                <a:gdLst>
                  <a:gd name="connsiteX0" fmla="*/ 6527729 w 6541770"/>
                  <a:gd name="connsiteY0" fmla="*/ 364578 h 378619"/>
                  <a:gd name="connsiteX1" fmla="*/ 6541770 w 6541770"/>
                  <a:gd name="connsiteY1" fmla="*/ 330681 h 378619"/>
                  <a:gd name="connsiteX2" fmla="*/ 6541770 w 6541770"/>
                  <a:gd name="connsiteY2" fmla="*/ 319401 h 378619"/>
                  <a:gd name="connsiteX3" fmla="*/ 6527729 w 6541770"/>
                  <a:gd name="connsiteY3" fmla="*/ 285504 h 378619"/>
                  <a:gd name="connsiteX4" fmla="*/ 6513966 w 6541770"/>
                  <a:gd name="connsiteY4" fmla="*/ 276225 h 378619"/>
                  <a:gd name="connsiteX5" fmla="*/ 6518910 w 6541770"/>
                  <a:gd name="connsiteY5" fmla="*/ 276225 h 378619"/>
                  <a:gd name="connsiteX6" fmla="*/ 6115478 w 6541770"/>
                  <a:gd name="connsiteY6" fmla="*/ 0 h 378619"/>
                  <a:gd name="connsiteX7" fmla="*/ 426292 w 6541770"/>
                  <a:gd name="connsiteY7" fmla="*/ 0 h 378619"/>
                  <a:gd name="connsiteX8" fmla="*/ 22860 w 6541770"/>
                  <a:gd name="connsiteY8" fmla="*/ 276225 h 378619"/>
                  <a:gd name="connsiteX9" fmla="*/ 36442 w 6541770"/>
                  <a:gd name="connsiteY9" fmla="*/ 276225 h 378619"/>
                  <a:gd name="connsiteX10" fmla="*/ 14041 w 6541770"/>
                  <a:gd name="connsiteY10" fmla="*/ 285504 h 378619"/>
                  <a:gd name="connsiteX11" fmla="*/ 0 w 6541770"/>
                  <a:gd name="connsiteY11" fmla="*/ 319401 h 378619"/>
                  <a:gd name="connsiteX12" fmla="*/ 0 w 6541770"/>
                  <a:gd name="connsiteY12" fmla="*/ 330681 h 378619"/>
                  <a:gd name="connsiteX13" fmla="*/ 47938 w 6541770"/>
                  <a:gd name="connsiteY13" fmla="*/ 378619 h 378619"/>
                  <a:gd name="connsiteX14" fmla="*/ 6493832 w 6541770"/>
                  <a:gd name="connsiteY14" fmla="*/ 378619 h 378619"/>
                  <a:gd name="connsiteX15" fmla="*/ 6527729 w 6541770"/>
                  <a:gd name="connsiteY15" fmla="*/ 364578 h 37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541770" h="378619">
                    <a:moveTo>
                      <a:pt x="6527729" y="364578"/>
                    </a:moveTo>
                    <a:cubicBezTo>
                      <a:pt x="6536404" y="355903"/>
                      <a:pt x="6541770" y="343919"/>
                      <a:pt x="6541770" y="330681"/>
                    </a:cubicBezTo>
                    <a:lnTo>
                      <a:pt x="6541770" y="319401"/>
                    </a:lnTo>
                    <a:cubicBezTo>
                      <a:pt x="6541770" y="306163"/>
                      <a:pt x="6536404" y="294179"/>
                      <a:pt x="6527729" y="285504"/>
                    </a:cubicBezTo>
                    <a:lnTo>
                      <a:pt x="6513966" y="276225"/>
                    </a:lnTo>
                    <a:lnTo>
                      <a:pt x="6518910" y="276225"/>
                    </a:lnTo>
                    <a:lnTo>
                      <a:pt x="6115478" y="0"/>
                    </a:lnTo>
                    <a:lnTo>
                      <a:pt x="426292" y="0"/>
                    </a:lnTo>
                    <a:lnTo>
                      <a:pt x="22860" y="276225"/>
                    </a:lnTo>
                    <a:lnTo>
                      <a:pt x="36442" y="276225"/>
                    </a:lnTo>
                    <a:lnTo>
                      <a:pt x="14041" y="285504"/>
                    </a:lnTo>
                    <a:cubicBezTo>
                      <a:pt x="5366" y="294179"/>
                      <a:pt x="0" y="306163"/>
                      <a:pt x="0" y="319401"/>
                    </a:cubicBezTo>
                    <a:lnTo>
                      <a:pt x="0" y="330681"/>
                    </a:lnTo>
                    <a:cubicBezTo>
                      <a:pt x="0" y="357156"/>
                      <a:pt x="21463" y="378619"/>
                      <a:pt x="47938" y="378619"/>
                    </a:cubicBezTo>
                    <a:lnTo>
                      <a:pt x="6493832" y="378619"/>
                    </a:lnTo>
                    <a:cubicBezTo>
                      <a:pt x="6507069" y="378619"/>
                      <a:pt x="6519054" y="373253"/>
                      <a:pt x="6527729" y="36457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22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38239" tIns="69119" rIns="138239" bIns="691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46159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7CAADFB1-537F-4290-982A-1D8197C431E7}"/>
                </a:ext>
              </a:extLst>
            </p:cNvPr>
            <p:cNvSpPr/>
            <p:nvPr/>
          </p:nvSpPr>
          <p:spPr bwMode="auto">
            <a:xfrm>
              <a:off x="3696871" y="1899603"/>
              <a:ext cx="3989439" cy="2890795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headEnd type="triangle"/>
              <a:tailEnd type="none"/>
            </a:ln>
            <a:effectLst>
              <a:outerShdw blurRad="50800" dist="12700" dir="5400000" algn="t" rotWithShape="0">
                <a:prstClr val="black">
                  <a:alpha val="1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137160" tIns="91440" rIns="13716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Aft>
                  <a:spcPts val="300"/>
                </a:spcAft>
              </a:pPr>
              <a:endParaRPr lang="en-US" sz="1500" b="1">
                <a:solidFill>
                  <a:schemeClr val="accent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4F9360C-5A92-4C53-A3FB-13E117672D0F}"/>
                </a:ext>
              </a:extLst>
            </p:cNvPr>
            <p:cNvSpPr/>
            <p:nvPr/>
          </p:nvSpPr>
          <p:spPr bwMode="auto">
            <a:xfrm>
              <a:off x="5325856" y="4656573"/>
              <a:ext cx="837695" cy="837693"/>
            </a:xfrm>
            <a:prstGeom prst="ellipse">
              <a:avLst/>
            </a:prstGeom>
            <a:solidFill>
              <a:srgbClr val="2189D7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38239" tIns="69119" rIns="138239" bIns="691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46159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CA76F27-655B-4CE1-809D-5AF8AAB0EA7D}"/>
                </a:ext>
              </a:extLst>
            </p:cNvPr>
            <p:cNvSpPr/>
            <p:nvPr/>
          </p:nvSpPr>
          <p:spPr bwMode="auto">
            <a:xfrm>
              <a:off x="6506704" y="2673877"/>
              <a:ext cx="837695" cy="83769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38239" tIns="69119" rIns="138239" bIns="691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46159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363BD4FF-EC6D-49A8-88F9-180241102F94}"/>
                </a:ext>
              </a:extLst>
            </p:cNvPr>
            <p:cNvSpPr/>
            <p:nvPr/>
          </p:nvSpPr>
          <p:spPr bwMode="auto">
            <a:xfrm>
              <a:off x="4145009" y="2673878"/>
              <a:ext cx="837695" cy="83769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38239" tIns="69119" rIns="138239" bIns="691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46159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pic>
          <p:nvPicPr>
            <p:cNvPr id="19" name="Graphic 88">
              <a:extLst>
                <a:ext uri="{FF2B5EF4-FFF2-40B4-BE49-F238E27FC236}">
                  <a16:creationId xmlns:a16="http://schemas.microsoft.com/office/drawing/2014/main" id="{8925E23F-D521-4A1C-BFEF-DDEF73418F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706529" y="2863497"/>
              <a:ext cx="458454" cy="458453"/>
            </a:xfrm>
            <a:prstGeom prst="rect">
              <a:avLst/>
            </a:prstGeom>
          </p:spPr>
        </p:pic>
        <p:pic>
          <p:nvPicPr>
            <p:cNvPr id="20" name="Graphic 91">
              <a:extLst>
                <a:ext uri="{FF2B5EF4-FFF2-40B4-BE49-F238E27FC236}">
                  <a16:creationId xmlns:a16="http://schemas.microsoft.com/office/drawing/2014/main" id="{37DBB55F-CD75-4CDB-862A-084CECF825E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535933" y="4873852"/>
              <a:ext cx="417538" cy="403137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EF311884-BA9F-4DA8-AE7A-BAF3D8DD98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4346352" y="2869460"/>
              <a:ext cx="457221" cy="457220"/>
            </a:xfrm>
            <a:prstGeom prst="rect">
              <a:avLst/>
            </a:prstGeom>
            <a:noFill/>
          </p:spPr>
        </p:pic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21431A36-F2B8-43F4-8DE3-7813FB0EC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IME OU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8B8549-C968-42D7-A739-025B20DA35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6400" y="993072"/>
            <a:ext cx="10339200" cy="283026"/>
          </a:xfrm>
        </p:spPr>
        <p:txBody>
          <a:bodyPr/>
          <a:lstStyle/>
          <a:p>
            <a:r>
              <a:rPr lang="en-US" sz="1400" cap="all" spc="60" dirty="0">
                <a:ln w="3175">
                  <a:noFill/>
                </a:ln>
                <a:solidFill>
                  <a:srgbClr val="7F9FD4"/>
                </a:solidFill>
              </a:rPr>
              <a:t>LET’s talk PROCESS &amp; BEST PRACTICES</a:t>
            </a:r>
          </a:p>
        </p:txBody>
      </p:sp>
    </p:spTree>
    <p:extLst>
      <p:ext uri="{BB962C8B-B14F-4D97-AF65-F5344CB8AC3E}">
        <p14:creationId xmlns:p14="http://schemas.microsoft.com/office/powerpoint/2010/main" val="39759458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B51FFE7-06D7-43F6-AE71-C1078E4A40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B51FFE7-06D7-43F6-AE71-C1078E4A40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72489C1-4519-4DB8-873D-7490ED475935}"/>
              </a:ext>
            </a:extLst>
          </p:cNvPr>
          <p:cNvSpPr/>
          <p:nvPr/>
        </p:nvSpPr>
        <p:spPr>
          <a:xfrm>
            <a:off x="4556759" y="0"/>
            <a:ext cx="4575665" cy="6858000"/>
          </a:xfrm>
          <a:prstGeom prst="rect">
            <a:avLst/>
          </a:prstGeom>
          <a:solidFill>
            <a:srgbClr val="252F38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A3D73D3-2D4E-4635-80F7-9F975ED6D25C}"/>
              </a:ext>
            </a:extLst>
          </p:cNvPr>
          <p:cNvGrpSpPr/>
          <p:nvPr/>
        </p:nvGrpSpPr>
        <p:grpSpPr>
          <a:xfrm>
            <a:off x="4812570" y="358663"/>
            <a:ext cx="3842221" cy="1223917"/>
            <a:chOff x="4861941" y="1056297"/>
            <a:chExt cx="3842221" cy="1223917"/>
          </a:xfrm>
        </p:grpSpPr>
        <p:sp>
          <p:nvSpPr>
            <p:cNvPr id="22" name="Title 7">
              <a:extLst>
                <a:ext uri="{FF2B5EF4-FFF2-40B4-BE49-F238E27FC236}">
                  <a16:creationId xmlns:a16="http://schemas.microsoft.com/office/drawing/2014/main" id="{DFAA98A7-C8D9-4DCE-8BAA-5A32B4B3D1D0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4861941" y="1056297"/>
              <a:ext cx="220578" cy="402005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en-US" sz="2800" spc="0" dirty="0">
                  <a:solidFill>
                    <a:srgbClr val="7F9FD4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3" name="Title 7">
              <a:extLst>
                <a:ext uri="{FF2B5EF4-FFF2-40B4-BE49-F238E27FC236}">
                  <a16:creationId xmlns:a16="http://schemas.microsoft.com/office/drawing/2014/main" id="{A2D7C06E-B6DB-4FA5-B774-1D41EC6853E5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5252388" y="1056298"/>
              <a:ext cx="3451774" cy="1223916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5000"/>
                </a:lnSpc>
              </a:pPr>
              <a:r>
                <a:rPr lang="en-US" b="1" dirty="0">
                  <a:solidFill>
                    <a:schemeClr val="bg1"/>
                  </a:solidFill>
                  <a:cs typeface="Arial" panose="020B0604020202020204" pitchFamily="34" charset="0"/>
                </a:rPr>
                <a:t>DATA CONNECTIONS</a:t>
              </a:r>
              <a:endParaRPr lang="en-US" b="1" spc="0" dirty="0">
                <a:solidFill>
                  <a:schemeClr val="bg1"/>
                </a:solidFill>
                <a:cs typeface="Arial" panose="020B0604020202020204" pitchFamily="34" charset="0"/>
              </a:endParaRP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spc="0" dirty="0">
                  <a:solidFill>
                    <a:schemeClr val="bg1"/>
                  </a:solidFill>
                  <a:cs typeface="Arial" panose="020B0604020202020204" pitchFamily="34" charset="0"/>
                </a:rPr>
                <a:t>A myriad source connectors, including CDM/CDS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spc="0" dirty="0">
                  <a:solidFill>
                    <a:schemeClr val="bg1"/>
                  </a:solidFill>
                  <a:cs typeface="Arial" panose="020B0604020202020204" pitchFamily="34" charset="0"/>
                </a:rPr>
                <a:t>Use ‘</a:t>
              </a: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Start from Data’</a:t>
              </a:r>
              <a:endParaRPr lang="en-US" sz="1200" spc="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77041AE-2B11-40A1-ACF6-173210D1E2E6}"/>
              </a:ext>
            </a:extLst>
          </p:cNvPr>
          <p:cNvGrpSpPr/>
          <p:nvPr/>
        </p:nvGrpSpPr>
        <p:grpSpPr>
          <a:xfrm>
            <a:off x="4812570" y="1878133"/>
            <a:ext cx="3842221" cy="1223917"/>
            <a:chOff x="4861941" y="2676753"/>
            <a:chExt cx="3842221" cy="1223917"/>
          </a:xfrm>
        </p:grpSpPr>
        <p:sp>
          <p:nvSpPr>
            <p:cNvPr id="24" name="Title 7">
              <a:extLst>
                <a:ext uri="{FF2B5EF4-FFF2-40B4-BE49-F238E27FC236}">
                  <a16:creationId xmlns:a16="http://schemas.microsoft.com/office/drawing/2014/main" id="{40FF7004-0C07-4197-AD66-D13CA6AC4A37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4861941" y="2676753"/>
              <a:ext cx="220578" cy="402005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en-US" sz="2800" spc="0" dirty="0">
                  <a:solidFill>
                    <a:srgbClr val="7F9FD4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5" name="Title 7">
              <a:extLst>
                <a:ext uri="{FF2B5EF4-FFF2-40B4-BE49-F238E27FC236}">
                  <a16:creationId xmlns:a16="http://schemas.microsoft.com/office/drawing/2014/main" id="{77F105DE-86F2-4299-BB3B-197903146FD1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5252388" y="2676754"/>
              <a:ext cx="3451774" cy="1223916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5000"/>
                </a:lnSpc>
              </a:pPr>
              <a:r>
                <a:rPr lang="en-US" b="1" dirty="0">
                  <a:solidFill>
                    <a:schemeClr val="bg1"/>
                  </a:solidFill>
                  <a:cs typeface="Arial" panose="020B0604020202020204" pitchFamily="34" charset="0"/>
                </a:rPr>
                <a:t>CANVAS APPS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The best and easiest place to start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Many pre-made apps freely available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endParaRPr lang="en-US" sz="1200" spc="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F095F18-90DF-443C-B5EE-7FA42A99D577}"/>
              </a:ext>
            </a:extLst>
          </p:cNvPr>
          <p:cNvGrpSpPr/>
          <p:nvPr/>
        </p:nvGrpSpPr>
        <p:grpSpPr>
          <a:xfrm>
            <a:off x="4812570" y="3545737"/>
            <a:ext cx="3842221" cy="1223917"/>
            <a:chOff x="4861941" y="4297208"/>
            <a:chExt cx="3842221" cy="1223917"/>
          </a:xfrm>
        </p:grpSpPr>
        <p:sp>
          <p:nvSpPr>
            <p:cNvPr id="26" name="Title 7">
              <a:extLst>
                <a:ext uri="{FF2B5EF4-FFF2-40B4-BE49-F238E27FC236}">
                  <a16:creationId xmlns:a16="http://schemas.microsoft.com/office/drawing/2014/main" id="{A0683609-61AB-4D3F-BDF4-031715A06910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4861941" y="4297208"/>
              <a:ext cx="220578" cy="402005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en-US" sz="2800" spc="0" dirty="0">
                  <a:solidFill>
                    <a:srgbClr val="7F9FD4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7" name="Title 7">
              <a:extLst>
                <a:ext uri="{FF2B5EF4-FFF2-40B4-BE49-F238E27FC236}">
                  <a16:creationId xmlns:a16="http://schemas.microsoft.com/office/drawing/2014/main" id="{798252B5-AC21-4501-A442-02293CB1779B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5252388" y="4297209"/>
              <a:ext cx="3451774" cy="1223916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5000"/>
                </a:lnSpc>
              </a:pPr>
              <a:r>
                <a:rPr lang="en-US" b="1" dirty="0">
                  <a:solidFill>
                    <a:schemeClr val="bg1"/>
                  </a:solidFill>
                  <a:cs typeface="Arial" panose="020B0604020202020204" pitchFamily="34" charset="0"/>
                </a:rPr>
                <a:t>MODEL-DRIVEN APP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Apps heavily influenced by your data model</a:t>
              </a:r>
              <a:endParaRPr lang="en-US" sz="1200" spc="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4C609626-90A4-409D-B024-0B4B1DE87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222773"/>
            <a:ext cx="4556759" cy="412454"/>
          </a:xfrm>
        </p:spPr>
        <p:txBody>
          <a:bodyPr/>
          <a:lstStyle/>
          <a:p>
            <a:pPr algn="ctr"/>
            <a:r>
              <a:rPr lang="sv-SE" sz="3600" dirty="0">
                <a:solidFill>
                  <a:schemeClr val="tx1"/>
                </a:solidFill>
              </a:rPr>
              <a:t>power </a:t>
            </a:r>
            <a:br>
              <a:rPr lang="sv-SE" sz="3600" dirty="0">
                <a:solidFill>
                  <a:schemeClr val="tx1"/>
                </a:solidFill>
              </a:rPr>
            </a:br>
            <a:r>
              <a:rPr lang="sv-SE" sz="3600" dirty="0">
                <a:solidFill>
                  <a:schemeClr val="tx1"/>
                </a:solidFill>
              </a:rPr>
              <a:t>APPS</a:t>
            </a:r>
            <a:endParaRPr lang="en-US" sz="3600" dirty="0">
              <a:solidFill>
                <a:schemeClr val="tx1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C7648CA-6A84-496F-950B-6CABC994BE35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  <a:solidFill>
            <a:schemeClr val="bg1"/>
          </a:solidFill>
        </p:grpSpPr>
        <p:sp>
          <p:nvSpPr>
            <p:cNvPr id="20" name="Oval 503">
              <a:extLst>
                <a:ext uri="{FF2B5EF4-FFF2-40B4-BE49-F238E27FC236}">
                  <a16:creationId xmlns:a16="http://schemas.microsoft.com/office/drawing/2014/main" id="{819869BF-4DE7-4C5B-9892-4C9C34E8BB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504">
              <a:extLst>
                <a:ext uri="{FF2B5EF4-FFF2-40B4-BE49-F238E27FC236}">
                  <a16:creationId xmlns:a16="http://schemas.microsoft.com/office/drawing/2014/main" id="{DC073E30-9FC9-4F60-9F64-7C54D8A52C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505">
              <a:extLst>
                <a:ext uri="{FF2B5EF4-FFF2-40B4-BE49-F238E27FC236}">
                  <a16:creationId xmlns:a16="http://schemas.microsoft.com/office/drawing/2014/main" id="{F5EF9BEA-AD96-46D1-B2AC-D9F6346FF5F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506">
              <a:extLst>
                <a:ext uri="{FF2B5EF4-FFF2-40B4-BE49-F238E27FC236}">
                  <a16:creationId xmlns:a16="http://schemas.microsoft.com/office/drawing/2014/main" id="{AE546C8E-4AF1-4D8A-B9D8-6247D96328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16EEDC57-A0D4-4109-9F19-FE5324E38F7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32424" y="0"/>
            <a:ext cx="3059576" cy="6858000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86877EFF-14B4-4B0D-BF8C-52161B8BD84D}"/>
              </a:ext>
            </a:extLst>
          </p:cNvPr>
          <p:cNvGrpSpPr/>
          <p:nvPr/>
        </p:nvGrpSpPr>
        <p:grpSpPr>
          <a:xfrm>
            <a:off x="4812570" y="5213340"/>
            <a:ext cx="3842221" cy="1223917"/>
            <a:chOff x="4861941" y="4297208"/>
            <a:chExt cx="3842221" cy="1223917"/>
          </a:xfrm>
        </p:grpSpPr>
        <p:sp>
          <p:nvSpPr>
            <p:cNvPr id="35" name="Title 7">
              <a:extLst>
                <a:ext uri="{FF2B5EF4-FFF2-40B4-BE49-F238E27FC236}">
                  <a16:creationId xmlns:a16="http://schemas.microsoft.com/office/drawing/2014/main" id="{EAAB1DF4-D017-4238-8491-8A042F494611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4861941" y="4297208"/>
              <a:ext cx="220578" cy="402005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en-US" sz="2800" dirty="0">
                  <a:solidFill>
                    <a:srgbClr val="7F9FD4"/>
                  </a:solidFill>
                  <a:cs typeface="Arial" panose="020B0604020202020204" pitchFamily="34" charset="0"/>
                </a:rPr>
                <a:t>4</a:t>
              </a:r>
              <a:endParaRPr lang="en-US" sz="2800" spc="0" dirty="0">
                <a:solidFill>
                  <a:srgbClr val="7F9FD4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" name="Title 7">
              <a:extLst>
                <a:ext uri="{FF2B5EF4-FFF2-40B4-BE49-F238E27FC236}">
                  <a16:creationId xmlns:a16="http://schemas.microsoft.com/office/drawing/2014/main" id="{3487597E-6D1B-421B-8205-27A353E95DE4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5252388" y="4297209"/>
              <a:ext cx="3451774" cy="1223916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5000"/>
                </a:lnSpc>
              </a:pPr>
              <a:r>
                <a:rPr lang="en-US" b="1" dirty="0">
                  <a:solidFill>
                    <a:schemeClr val="bg1"/>
                  </a:solidFill>
                  <a:cs typeface="Arial" panose="020B0604020202020204" pitchFamily="34" charset="0"/>
                </a:rPr>
                <a:t>ADVANCED APPS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Portals, AI, and more</a:t>
              </a:r>
              <a:endParaRPr lang="en-US" sz="1200" spc="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5262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7" name="Group 766">
            <a:extLst>
              <a:ext uri="{FF2B5EF4-FFF2-40B4-BE49-F238E27FC236}">
                <a16:creationId xmlns:a16="http://schemas.microsoft.com/office/drawing/2014/main" id="{9001FA43-023B-449E-9649-3C3556FBEC55}"/>
              </a:ext>
            </a:extLst>
          </p:cNvPr>
          <p:cNvGrpSpPr/>
          <p:nvPr/>
        </p:nvGrpSpPr>
        <p:grpSpPr>
          <a:xfrm>
            <a:off x="8277225" y="0"/>
            <a:ext cx="5097463" cy="4886325"/>
            <a:chOff x="6600825" y="260351"/>
            <a:chExt cx="5097463" cy="4886325"/>
          </a:xfrm>
        </p:grpSpPr>
        <p:grpSp>
          <p:nvGrpSpPr>
            <p:cNvPr id="7" name="Group 205">
              <a:extLst>
                <a:ext uri="{FF2B5EF4-FFF2-40B4-BE49-F238E27FC236}">
                  <a16:creationId xmlns:a16="http://schemas.microsoft.com/office/drawing/2014/main" id="{BFEA87D8-F9F4-4909-B906-53FB73F7E08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600825" y="260351"/>
              <a:ext cx="5054600" cy="4886325"/>
              <a:chOff x="4158" y="164"/>
              <a:chExt cx="3184" cy="3078"/>
            </a:xfrm>
          </p:grpSpPr>
          <p:sp>
            <p:nvSpPr>
              <p:cNvPr id="567" name="Rectangle 5">
                <a:extLst>
                  <a:ext uri="{FF2B5EF4-FFF2-40B4-BE49-F238E27FC236}">
                    <a16:creationId xmlns:a16="http://schemas.microsoft.com/office/drawing/2014/main" id="{68BA803B-B0C0-446C-92B3-8DE3FA683C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79" y="263"/>
                <a:ext cx="196" cy="102"/>
              </a:xfrm>
              <a:prstGeom prst="rect">
                <a:avLst/>
              </a:pr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8" name="Freeform 6">
                <a:extLst>
                  <a:ext uri="{FF2B5EF4-FFF2-40B4-BE49-F238E27FC236}">
                    <a16:creationId xmlns:a16="http://schemas.microsoft.com/office/drawing/2014/main" id="{1B286794-E1E4-4DC8-80E4-74FBC31CD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0" y="164"/>
                <a:ext cx="375" cy="143"/>
              </a:xfrm>
              <a:custGeom>
                <a:avLst/>
                <a:gdLst>
                  <a:gd name="T0" fmla="*/ 35 w 686"/>
                  <a:gd name="T1" fmla="*/ 112 h 262"/>
                  <a:gd name="T2" fmla="*/ 650 w 686"/>
                  <a:gd name="T3" fmla="*/ 112 h 262"/>
                  <a:gd name="T4" fmla="*/ 679 w 686"/>
                  <a:gd name="T5" fmla="*/ 205 h 262"/>
                  <a:gd name="T6" fmla="*/ 628 w 686"/>
                  <a:gd name="T7" fmla="*/ 251 h 262"/>
                  <a:gd name="T8" fmla="*/ 57 w 686"/>
                  <a:gd name="T9" fmla="*/ 251 h 262"/>
                  <a:gd name="T10" fmla="*/ 7 w 686"/>
                  <a:gd name="T11" fmla="*/ 205 h 262"/>
                  <a:gd name="T12" fmla="*/ 35 w 686"/>
                  <a:gd name="T13" fmla="*/ 11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6" h="262">
                    <a:moveTo>
                      <a:pt x="35" y="112"/>
                    </a:moveTo>
                    <a:cubicBezTo>
                      <a:pt x="236" y="0"/>
                      <a:pt x="450" y="0"/>
                      <a:pt x="650" y="112"/>
                    </a:cubicBezTo>
                    <a:cubicBezTo>
                      <a:pt x="673" y="124"/>
                      <a:pt x="686" y="167"/>
                      <a:pt x="679" y="205"/>
                    </a:cubicBezTo>
                    <a:cubicBezTo>
                      <a:pt x="671" y="243"/>
                      <a:pt x="649" y="262"/>
                      <a:pt x="628" y="251"/>
                    </a:cubicBezTo>
                    <a:cubicBezTo>
                      <a:pt x="442" y="147"/>
                      <a:pt x="244" y="147"/>
                      <a:pt x="57" y="251"/>
                    </a:cubicBezTo>
                    <a:cubicBezTo>
                      <a:pt x="36" y="262"/>
                      <a:pt x="14" y="243"/>
                      <a:pt x="7" y="205"/>
                    </a:cubicBezTo>
                    <a:cubicBezTo>
                      <a:pt x="0" y="167"/>
                      <a:pt x="12" y="124"/>
                      <a:pt x="35" y="112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9" name="Freeform 7">
                <a:extLst>
                  <a:ext uri="{FF2B5EF4-FFF2-40B4-BE49-F238E27FC236}">
                    <a16:creationId xmlns:a16="http://schemas.microsoft.com/office/drawing/2014/main" id="{0FF847E9-8A2B-4A09-880C-06CB9F3E0E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1" y="385"/>
                <a:ext cx="573" cy="571"/>
              </a:xfrm>
              <a:custGeom>
                <a:avLst/>
                <a:gdLst>
                  <a:gd name="T0" fmla="*/ 25 w 1046"/>
                  <a:gd name="T1" fmla="*/ 25 h 1046"/>
                  <a:gd name="T2" fmla="*/ 116 w 1046"/>
                  <a:gd name="T3" fmla="*/ 25 h 1046"/>
                  <a:gd name="T4" fmla="*/ 1020 w 1046"/>
                  <a:gd name="T5" fmla="*/ 929 h 1046"/>
                  <a:gd name="T6" fmla="*/ 1020 w 1046"/>
                  <a:gd name="T7" fmla="*/ 1021 h 1046"/>
                  <a:gd name="T8" fmla="*/ 929 w 1046"/>
                  <a:gd name="T9" fmla="*/ 1021 h 1046"/>
                  <a:gd name="T10" fmla="*/ 25 w 1046"/>
                  <a:gd name="T11" fmla="*/ 116 h 1046"/>
                  <a:gd name="T12" fmla="*/ 25 w 1046"/>
                  <a:gd name="T13" fmla="*/ 25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6" h="1046">
                    <a:moveTo>
                      <a:pt x="25" y="25"/>
                    </a:moveTo>
                    <a:cubicBezTo>
                      <a:pt x="50" y="0"/>
                      <a:pt x="91" y="0"/>
                      <a:pt x="116" y="25"/>
                    </a:cubicBezTo>
                    <a:cubicBezTo>
                      <a:pt x="1020" y="929"/>
                      <a:pt x="1020" y="929"/>
                      <a:pt x="1020" y="929"/>
                    </a:cubicBezTo>
                    <a:cubicBezTo>
                      <a:pt x="1046" y="955"/>
                      <a:pt x="1046" y="995"/>
                      <a:pt x="1020" y="1021"/>
                    </a:cubicBezTo>
                    <a:cubicBezTo>
                      <a:pt x="995" y="1046"/>
                      <a:pt x="954" y="1046"/>
                      <a:pt x="929" y="1021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0" y="91"/>
                      <a:pt x="0" y="50"/>
                      <a:pt x="25" y="25"/>
                    </a:cubicBezTo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0" name="Freeform 8">
                <a:extLst>
                  <a:ext uri="{FF2B5EF4-FFF2-40B4-BE49-F238E27FC236}">
                    <a16:creationId xmlns:a16="http://schemas.microsoft.com/office/drawing/2014/main" id="{65F99480-1029-4DB9-A18D-EDF55E361C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1" y="385"/>
                <a:ext cx="573" cy="571"/>
              </a:xfrm>
              <a:custGeom>
                <a:avLst/>
                <a:gdLst>
                  <a:gd name="T0" fmla="*/ 1020 w 1046"/>
                  <a:gd name="T1" fmla="*/ 25 h 1046"/>
                  <a:gd name="T2" fmla="*/ 1020 w 1046"/>
                  <a:gd name="T3" fmla="*/ 116 h 1046"/>
                  <a:gd name="T4" fmla="*/ 116 w 1046"/>
                  <a:gd name="T5" fmla="*/ 1021 h 1046"/>
                  <a:gd name="T6" fmla="*/ 25 w 1046"/>
                  <a:gd name="T7" fmla="*/ 1021 h 1046"/>
                  <a:gd name="T8" fmla="*/ 25 w 1046"/>
                  <a:gd name="T9" fmla="*/ 929 h 1046"/>
                  <a:gd name="T10" fmla="*/ 929 w 1046"/>
                  <a:gd name="T11" fmla="*/ 25 h 1046"/>
                  <a:gd name="T12" fmla="*/ 1020 w 1046"/>
                  <a:gd name="T13" fmla="*/ 25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6" h="1046">
                    <a:moveTo>
                      <a:pt x="1020" y="25"/>
                    </a:moveTo>
                    <a:cubicBezTo>
                      <a:pt x="1046" y="50"/>
                      <a:pt x="1046" y="91"/>
                      <a:pt x="1020" y="116"/>
                    </a:cubicBezTo>
                    <a:cubicBezTo>
                      <a:pt x="116" y="1021"/>
                      <a:pt x="116" y="1021"/>
                      <a:pt x="116" y="1021"/>
                    </a:cubicBezTo>
                    <a:cubicBezTo>
                      <a:pt x="91" y="1046"/>
                      <a:pt x="50" y="1046"/>
                      <a:pt x="25" y="1021"/>
                    </a:cubicBezTo>
                    <a:cubicBezTo>
                      <a:pt x="0" y="995"/>
                      <a:pt x="0" y="955"/>
                      <a:pt x="25" y="929"/>
                    </a:cubicBezTo>
                    <a:cubicBezTo>
                      <a:pt x="929" y="25"/>
                      <a:pt x="929" y="25"/>
                      <a:pt x="929" y="25"/>
                    </a:cubicBezTo>
                    <a:cubicBezTo>
                      <a:pt x="954" y="0"/>
                      <a:pt x="995" y="0"/>
                      <a:pt x="1020" y="25"/>
                    </a:cubicBezTo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1" name="Freeform 9">
                <a:extLst>
                  <a:ext uri="{FF2B5EF4-FFF2-40B4-BE49-F238E27FC236}">
                    <a16:creationId xmlns:a16="http://schemas.microsoft.com/office/drawing/2014/main" id="{74F52746-F364-44D3-A132-444B52E7B7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5" y="299"/>
                <a:ext cx="745" cy="743"/>
              </a:xfrm>
              <a:custGeom>
                <a:avLst/>
                <a:gdLst>
                  <a:gd name="T0" fmla="*/ 242 w 1362"/>
                  <a:gd name="T1" fmla="*/ 1120 h 1362"/>
                  <a:gd name="T2" fmla="*/ 242 w 1362"/>
                  <a:gd name="T3" fmla="*/ 242 h 1362"/>
                  <a:gd name="T4" fmla="*/ 1119 w 1362"/>
                  <a:gd name="T5" fmla="*/ 242 h 1362"/>
                  <a:gd name="T6" fmla="*/ 1119 w 1362"/>
                  <a:gd name="T7" fmla="*/ 1120 h 1362"/>
                  <a:gd name="T8" fmla="*/ 242 w 1362"/>
                  <a:gd name="T9" fmla="*/ 1120 h 1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62" h="1362">
                    <a:moveTo>
                      <a:pt x="242" y="1120"/>
                    </a:moveTo>
                    <a:cubicBezTo>
                      <a:pt x="0" y="877"/>
                      <a:pt x="0" y="484"/>
                      <a:pt x="242" y="242"/>
                    </a:cubicBezTo>
                    <a:cubicBezTo>
                      <a:pt x="484" y="0"/>
                      <a:pt x="877" y="0"/>
                      <a:pt x="1119" y="242"/>
                    </a:cubicBezTo>
                    <a:cubicBezTo>
                      <a:pt x="1362" y="484"/>
                      <a:pt x="1362" y="877"/>
                      <a:pt x="1119" y="1120"/>
                    </a:cubicBezTo>
                    <a:cubicBezTo>
                      <a:pt x="877" y="1362"/>
                      <a:pt x="484" y="1362"/>
                      <a:pt x="242" y="1120"/>
                    </a:cubicBezTo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2" name="Freeform 10">
                <a:extLst>
                  <a:ext uri="{FF2B5EF4-FFF2-40B4-BE49-F238E27FC236}">
                    <a16:creationId xmlns:a16="http://schemas.microsoft.com/office/drawing/2014/main" id="{DDA0F044-A0AD-4CE6-9510-D09E97D71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12"/>
                <a:ext cx="702" cy="143"/>
              </a:xfrm>
              <a:custGeom>
                <a:avLst/>
                <a:gdLst>
                  <a:gd name="T0" fmla="*/ 66 w 1282"/>
                  <a:gd name="T1" fmla="*/ 112 h 263"/>
                  <a:gd name="T2" fmla="*/ 1216 w 1282"/>
                  <a:gd name="T3" fmla="*/ 112 h 263"/>
                  <a:gd name="T4" fmla="*/ 1268 w 1282"/>
                  <a:gd name="T5" fmla="*/ 205 h 263"/>
                  <a:gd name="T6" fmla="*/ 1174 w 1282"/>
                  <a:gd name="T7" fmla="*/ 251 h 263"/>
                  <a:gd name="T8" fmla="*/ 107 w 1282"/>
                  <a:gd name="T9" fmla="*/ 251 h 263"/>
                  <a:gd name="T10" fmla="*/ 13 w 1282"/>
                  <a:gd name="T11" fmla="*/ 205 h 263"/>
                  <a:gd name="T12" fmla="*/ 66 w 1282"/>
                  <a:gd name="T13" fmla="*/ 112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2" h="263">
                    <a:moveTo>
                      <a:pt x="66" y="112"/>
                    </a:moveTo>
                    <a:cubicBezTo>
                      <a:pt x="441" y="0"/>
                      <a:pt x="841" y="0"/>
                      <a:pt x="1216" y="112"/>
                    </a:cubicBezTo>
                    <a:cubicBezTo>
                      <a:pt x="1258" y="125"/>
                      <a:pt x="1282" y="168"/>
                      <a:pt x="1268" y="205"/>
                    </a:cubicBezTo>
                    <a:cubicBezTo>
                      <a:pt x="1255" y="243"/>
                      <a:pt x="1213" y="263"/>
                      <a:pt x="1174" y="251"/>
                    </a:cubicBezTo>
                    <a:cubicBezTo>
                      <a:pt x="826" y="147"/>
                      <a:pt x="455" y="147"/>
                      <a:pt x="107" y="251"/>
                    </a:cubicBezTo>
                    <a:cubicBezTo>
                      <a:pt x="68" y="263"/>
                      <a:pt x="26" y="243"/>
                      <a:pt x="13" y="205"/>
                    </a:cubicBezTo>
                    <a:cubicBezTo>
                      <a:pt x="0" y="168"/>
                      <a:pt x="23" y="125"/>
                      <a:pt x="66" y="112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3" name="Freeform 11">
                <a:extLst>
                  <a:ext uri="{FF2B5EF4-FFF2-40B4-BE49-F238E27FC236}">
                    <a16:creationId xmlns:a16="http://schemas.microsoft.com/office/drawing/2014/main" id="{7F569259-1666-42E1-90C5-2140422562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5" y="2908"/>
                <a:ext cx="218" cy="201"/>
              </a:xfrm>
              <a:custGeom>
                <a:avLst/>
                <a:gdLst>
                  <a:gd name="T0" fmla="*/ 218 w 218"/>
                  <a:gd name="T1" fmla="*/ 81 h 201"/>
                  <a:gd name="T2" fmla="*/ 63 w 218"/>
                  <a:gd name="T3" fmla="*/ 201 h 201"/>
                  <a:gd name="T4" fmla="*/ 0 w 218"/>
                  <a:gd name="T5" fmla="*/ 120 h 201"/>
                  <a:gd name="T6" fmla="*/ 155 w 218"/>
                  <a:gd name="T7" fmla="*/ 0 h 201"/>
                  <a:gd name="T8" fmla="*/ 218 w 218"/>
                  <a:gd name="T9" fmla="*/ 8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8" h="201">
                    <a:moveTo>
                      <a:pt x="218" y="81"/>
                    </a:moveTo>
                    <a:lnTo>
                      <a:pt x="63" y="201"/>
                    </a:lnTo>
                    <a:lnTo>
                      <a:pt x="0" y="120"/>
                    </a:lnTo>
                    <a:lnTo>
                      <a:pt x="155" y="0"/>
                    </a:lnTo>
                    <a:lnTo>
                      <a:pt x="218" y="81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4" name="Freeform 12">
                <a:extLst>
                  <a:ext uri="{FF2B5EF4-FFF2-40B4-BE49-F238E27FC236}">
                    <a16:creationId xmlns:a16="http://schemas.microsoft.com/office/drawing/2014/main" id="{8D58AA32-334F-4A0B-A072-B288A9C70D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3" y="2911"/>
                <a:ext cx="324" cy="273"/>
              </a:xfrm>
              <a:custGeom>
                <a:avLst/>
                <a:gdLst>
                  <a:gd name="T0" fmla="*/ 582 w 592"/>
                  <a:gd name="T1" fmla="*/ 118 h 500"/>
                  <a:gd name="T2" fmla="*/ 97 w 592"/>
                  <a:gd name="T3" fmla="*/ 496 h 500"/>
                  <a:gd name="T4" fmla="*/ 17 w 592"/>
                  <a:gd name="T5" fmla="*/ 440 h 500"/>
                  <a:gd name="T6" fmla="*/ 29 w 592"/>
                  <a:gd name="T7" fmla="*/ 372 h 500"/>
                  <a:gd name="T8" fmla="*/ 479 w 592"/>
                  <a:gd name="T9" fmla="*/ 22 h 500"/>
                  <a:gd name="T10" fmla="*/ 547 w 592"/>
                  <a:gd name="T11" fmla="*/ 27 h 500"/>
                  <a:gd name="T12" fmla="*/ 582 w 592"/>
                  <a:gd name="T13" fmla="*/ 118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2" h="500">
                    <a:moveTo>
                      <a:pt x="582" y="118"/>
                    </a:moveTo>
                    <a:cubicBezTo>
                      <a:pt x="493" y="330"/>
                      <a:pt x="324" y="461"/>
                      <a:pt x="97" y="496"/>
                    </a:cubicBezTo>
                    <a:cubicBezTo>
                      <a:pt x="71" y="500"/>
                      <a:pt x="35" y="474"/>
                      <a:pt x="17" y="440"/>
                    </a:cubicBezTo>
                    <a:cubicBezTo>
                      <a:pt x="0" y="405"/>
                      <a:pt x="5" y="376"/>
                      <a:pt x="29" y="372"/>
                    </a:cubicBezTo>
                    <a:cubicBezTo>
                      <a:pt x="240" y="340"/>
                      <a:pt x="396" y="218"/>
                      <a:pt x="479" y="22"/>
                    </a:cubicBezTo>
                    <a:cubicBezTo>
                      <a:pt x="489" y="0"/>
                      <a:pt x="518" y="2"/>
                      <a:pt x="547" y="27"/>
                    </a:cubicBezTo>
                    <a:cubicBezTo>
                      <a:pt x="576" y="53"/>
                      <a:pt x="592" y="94"/>
                      <a:pt x="582" y="1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5" name="Freeform 13">
                <a:extLst>
                  <a:ext uri="{FF2B5EF4-FFF2-40B4-BE49-F238E27FC236}">
                    <a16:creationId xmlns:a16="http://schemas.microsoft.com/office/drawing/2014/main" id="{BF01CC71-81EF-4791-845A-3A2916E063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9" y="2646"/>
                <a:ext cx="770" cy="161"/>
              </a:xfrm>
              <a:custGeom>
                <a:avLst/>
                <a:gdLst>
                  <a:gd name="T0" fmla="*/ 1402 w 1406"/>
                  <a:gd name="T1" fmla="*/ 235 h 295"/>
                  <a:gd name="T2" fmla="*/ 1402 w 1406"/>
                  <a:gd name="T3" fmla="*/ 235 h 295"/>
                  <a:gd name="T4" fmla="*/ 1330 w 1406"/>
                  <a:gd name="T5" fmla="*/ 291 h 295"/>
                  <a:gd name="T6" fmla="*/ 61 w 1406"/>
                  <a:gd name="T7" fmla="*/ 133 h 295"/>
                  <a:gd name="T8" fmla="*/ 5 w 1406"/>
                  <a:gd name="T9" fmla="*/ 61 h 295"/>
                  <a:gd name="T10" fmla="*/ 77 w 1406"/>
                  <a:gd name="T11" fmla="*/ 5 h 295"/>
                  <a:gd name="T12" fmla="*/ 1346 w 1406"/>
                  <a:gd name="T13" fmla="*/ 163 h 295"/>
                  <a:gd name="T14" fmla="*/ 1402 w 1406"/>
                  <a:gd name="T15" fmla="*/ 23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6" h="295">
                    <a:moveTo>
                      <a:pt x="1402" y="235"/>
                    </a:moveTo>
                    <a:cubicBezTo>
                      <a:pt x="1402" y="235"/>
                      <a:pt x="1402" y="235"/>
                      <a:pt x="1402" y="235"/>
                    </a:cubicBezTo>
                    <a:cubicBezTo>
                      <a:pt x="1397" y="270"/>
                      <a:pt x="1365" y="295"/>
                      <a:pt x="1330" y="291"/>
                    </a:cubicBezTo>
                    <a:cubicBezTo>
                      <a:pt x="61" y="133"/>
                      <a:pt x="61" y="133"/>
                      <a:pt x="61" y="133"/>
                    </a:cubicBezTo>
                    <a:cubicBezTo>
                      <a:pt x="25" y="128"/>
                      <a:pt x="0" y="96"/>
                      <a:pt x="5" y="61"/>
                    </a:cubicBezTo>
                    <a:cubicBezTo>
                      <a:pt x="9" y="25"/>
                      <a:pt x="41" y="0"/>
                      <a:pt x="77" y="5"/>
                    </a:cubicBezTo>
                    <a:cubicBezTo>
                      <a:pt x="1346" y="163"/>
                      <a:pt x="1346" y="163"/>
                      <a:pt x="1346" y="163"/>
                    </a:cubicBezTo>
                    <a:cubicBezTo>
                      <a:pt x="1381" y="167"/>
                      <a:pt x="1406" y="200"/>
                      <a:pt x="1402" y="235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6" name="Freeform 14">
                <a:extLst>
                  <a:ext uri="{FF2B5EF4-FFF2-40B4-BE49-F238E27FC236}">
                    <a16:creationId xmlns:a16="http://schemas.microsoft.com/office/drawing/2014/main" id="{B0FF48EF-0B8A-4C8E-9DEF-0132297105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4" y="2343"/>
                <a:ext cx="161" cy="768"/>
              </a:xfrm>
              <a:custGeom>
                <a:avLst/>
                <a:gdLst>
                  <a:gd name="T0" fmla="*/ 60 w 295"/>
                  <a:gd name="T1" fmla="*/ 1401 h 1406"/>
                  <a:gd name="T2" fmla="*/ 60 w 295"/>
                  <a:gd name="T3" fmla="*/ 1401 h 1406"/>
                  <a:gd name="T4" fmla="*/ 4 w 295"/>
                  <a:gd name="T5" fmla="*/ 1329 h 1406"/>
                  <a:gd name="T6" fmla="*/ 162 w 295"/>
                  <a:gd name="T7" fmla="*/ 60 h 1406"/>
                  <a:gd name="T8" fmla="*/ 234 w 295"/>
                  <a:gd name="T9" fmla="*/ 4 h 1406"/>
                  <a:gd name="T10" fmla="*/ 290 w 295"/>
                  <a:gd name="T11" fmla="*/ 76 h 1406"/>
                  <a:gd name="T12" fmla="*/ 132 w 295"/>
                  <a:gd name="T13" fmla="*/ 1345 h 1406"/>
                  <a:gd name="T14" fmla="*/ 60 w 295"/>
                  <a:gd name="T15" fmla="*/ 1401 h 1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5" h="1406">
                    <a:moveTo>
                      <a:pt x="60" y="1401"/>
                    </a:moveTo>
                    <a:cubicBezTo>
                      <a:pt x="60" y="1401"/>
                      <a:pt x="60" y="1401"/>
                      <a:pt x="60" y="1401"/>
                    </a:cubicBezTo>
                    <a:cubicBezTo>
                      <a:pt x="25" y="1397"/>
                      <a:pt x="0" y="1365"/>
                      <a:pt x="4" y="1329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67" y="25"/>
                      <a:pt x="199" y="0"/>
                      <a:pt x="234" y="4"/>
                    </a:cubicBezTo>
                    <a:cubicBezTo>
                      <a:pt x="270" y="9"/>
                      <a:pt x="295" y="41"/>
                      <a:pt x="290" y="76"/>
                    </a:cubicBezTo>
                    <a:cubicBezTo>
                      <a:pt x="132" y="1345"/>
                      <a:pt x="132" y="1345"/>
                      <a:pt x="132" y="1345"/>
                    </a:cubicBezTo>
                    <a:cubicBezTo>
                      <a:pt x="128" y="1381"/>
                      <a:pt x="95" y="1406"/>
                      <a:pt x="60" y="1401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7" name="Freeform 15">
                <a:extLst>
                  <a:ext uri="{FF2B5EF4-FFF2-40B4-BE49-F238E27FC236}">
                    <a16:creationId xmlns:a16="http://schemas.microsoft.com/office/drawing/2014/main" id="{BA8A4FA2-17D1-4E7F-822D-DF990678D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4" y="2368"/>
                <a:ext cx="720" cy="718"/>
              </a:xfrm>
              <a:custGeom>
                <a:avLst/>
                <a:gdLst>
                  <a:gd name="T0" fmla="*/ 735 w 1316"/>
                  <a:gd name="T1" fmla="*/ 42 h 1316"/>
                  <a:gd name="T2" fmla="*/ 1274 w 1316"/>
                  <a:gd name="T3" fmla="*/ 735 h 1316"/>
                  <a:gd name="T4" fmla="*/ 581 w 1316"/>
                  <a:gd name="T5" fmla="*/ 1273 h 1316"/>
                  <a:gd name="T6" fmla="*/ 43 w 1316"/>
                  <a:gd name="T7" fmla="*/ 581 h 1316"/>
                  <a:gd name="T8" fmla="*/ 735 w 1316"/>
                  <a:gd name="T9" fmla="*/ 42 h 1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6" h="1316">
                    <a:moveTo>
                      <a:pt x="735" y="42"/>
                    </a:moveTo>
                    <a:cubicBezTo>
                      <a:pt x="1075" y="85"/>
                      <a:pt x="1316" y="395"/>
                      <a:pt x="1274" y="735"/>
                    </a:cubicBezTo>
                    <a:cubicBezTo>
                      <a:pt x="1231" y="1075"/>
                      <a:pt x="921" y="1316"/>
                      <a:pt x="581" y="1273"/>
                    </a:cubicBezTo>
                    <a:cubicBezTo>
                      <a:pt x="241" y="1231"/>
                      <a:pt x="0" y="921"/>
                      <a:pt x="43" y="581"/>
                    </a:cubicBezTo>
                    <a:cubicBezTo>
                      <a:pt x="85" y="241"/>
                      <a:pt x="395" y="0"/>
                      <a:pt x="735" y="42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8" name="Freeform 16">
                <a:extLst>
                  <a:ext uri="{FF2B5EF4-FFF2-40B4-BE49-F238E27FC236}">
                    <a16:creationId xmlns:a16="http://schemas.microsoft.com/office/drawing/2014/main" id="{3726B187-656C-43AB-B8A1-4627A77B2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0" y="2778"/>
                <a:ext cx="572" cy="464"/>
              </a:xfrm>
              <a:custGeom>
                <a:avLst/>
                <a:gdLst>
                  <a:gd name="T0" fmla="*/ 1019 w 1045"/>
                  <a:gd name="T1" fmla="*/ 128 h 850"/>
                  <a:gd name="T2" fmla="*/ 111 w 1045"/>
                  <a:gd name="T3" fmla="*/ 834 h 850"/>
                  <a:gd name="T4" fmla="*/ 12 w 1045"/>
                  <a:gd name="T5" fmla="*/ 793 h 850"/>
                  <a:gd name="T6" fmla="*/ 59 w 1045"/>
                  <a:gd name="T7" fmla="*/ 699 h 850"/>
                  <a:gd name="T8" fmla="*/ 901 w 1045"/>
                  <a:gd name="T9" fmla="*/ 44 h 850"/>
                  <a:gd name="T10" fmla="*/ 1003 w 1045"/>
                  <a:gd name="T11" fmla="*/ 22 h 850"/>
                  <a:gd name="T12" fmla="*/ 1019 w 1045"/>
                  <a:gd name="T13" fmla="*/ 128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5" h="850">
                    <a:moveTo>
                      <a:pt x="1019" y="128"/>
                    </a:moveTo>
                    <a:cubicBezTo>
                      <a:pt x="791" y="447"/>
                      <a:pt x="476" y="692"/>
                      <a:pt x="111" y="834"/>
                    </a:cubicBezTo>
                    <a:cubicBezTo>
                      <a:pt x="70" y="850"/>
                      <a:pt x="25" y="831"/>
                      <a:pt x="12" y="793"/>
                    </a:cubicBezTo>
                    <a:cubicBezTo>
                      <a:pt x="0" y="755"/>
                      <a:pt x="21" y="714"/>
                      <a:pt x="59" y="699"/>
                    </a:cubicBezTo>
                    <a:cubicBezTo>
                      <a:pt x="397" y="567"/>
                      <a:pt x="690" y="339"/>
                      <a:pt x="901" y="44"/>
                    </a:cubicBezTo>
                    <a:cubicBezTo>
                      <a:pt x="924" y="10"/>
                      <a:pt x="970" y="0"/>
                      <a:pt x="1003" y="22"/>
                    </a:cubicBezTo>
                    <a:cubicBezTo>
                      <a:pt x="1037" y="44"/>
                      <a:pt x="1045" y="92"/>
                      <a:pt x="1019" y="128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9" name="Freeform 17">
                <a:extLst>
                  <a:ext uri="{FF2B5EF4-FFF2-40B4-BE49-F238E27FC236}">
                    <a16:creationId xmlns:a16="http://schemas.microsoft.com/office/drawing/2014/main" id="{251AB2CC-64B5-43DA-B97F-97DD5DB0D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6" y="2906"/>
                <a:ext cx="218" cy="201"/>
              </a:xfrm>
              <a:custGeom>
                <a:avLst/>
                <a:gdLst>
                  <a:gd name="T0" fmla="*/ 0 w 218"/>
                  <a:gd name="T1" fmla="*/ 81 h 201"/>
                  <a:gd name="T2" fmla="*/ 155 w 218"/>
                  <a:gd name="T3" fmla="*/ 201 h 201"/>
                  <a:gd name="T4" fmla="*/ 218 w 218"/>
                  <a:gd name="T5" fmla="*/ 120 h 201"/>
                  <a:gd name="T6" fmla="*/ 63 w 218"/>
                  <a:gd name="T7" fmla="*/ 0 h 201"/>
                  <a:gd name="T8" fmla="*/ 0 w 218"/>
                  <a:gd name="T9" fmla="*/ 8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8" h="201">
                    <a:moveTo>
                      <a:pt x="0" y="81"/>
                    </a:moveTo>
                    <a:lnTo>
                      <a:pt x="155" y="201"/>
                    </a:lnTo>
                    <a:lnTo>
                      <a:pt x="218" y="120"/>
                    </a:lnTo>
                    <a:lnTo>
                      <a:pt x="63" y="0"/>
                    </a:lnTo>
                    <a:lnTo>
                      <a:pt x="0" y="81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0" name="Freeform 18">
                <a:extLst>
                  <a:ext uri="{FF2B5EF4-FFF2-40B4-BE49-F238E27FC236}">
                    <a16:creationId xmlns:a16="http://schemas.microsoft.com/office/drawing/2014/main" id="{71052E22-99A6-4D9D-BCD8-537C388BF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2" y="2909"/>
                <a:ext cx="324" cy="273"/>
              </a:xfrm>
              <a:custGeom>
                <a:avLst/>
                <a:gdLst>
                  <a:gd name="T0" fmla="*/ 10 w 592"/>
                  <a:gd name="T1" fmla="*/ 118 h 500"/>
                  <a:gd name="T2" fmla="*/ 495 w 592"/>
                  <a:gd name="T3" fmla="*/ 496 h 500"/>
                  <a:gd name="T4" fmla="*/ 575 w 592"/>
                  <a:gd name="T5" fmla="*/ 440 h 500"/>
                  <a:gd name="T6" fmla="*/ 563 w 592"/>
                  <a:gd name="T7" fmla="*/ 373 h 500"/>
                  <a:gd name="T8" fmla="*/ 113 w 592"/>
                  <a:gd name="T9" fmla="*/ 22 h 500"/>
                  <a:gd name="T10" fmla="*/ 45 w 592"/>
                  <a:gd name="T11" fmla="*/ 27 h 500"/>
                  <a:gd name="T12" fmla="*/ 10 w 592"/>
                  <a:gd name="T13" fmla="*/ 118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2" h="500">
                    <a:moveTo>
                      <a:pt x="10" y="118"/>
                    </a:moveTo>
                    <a:cubicBezTo>
                      <a:pt x="99" y="330"/>
                      <a:pt x="268" y="461"/>
                      <a:pt x="495" y="496"/>
                    </a:cubicBezTo>
                    <a:cubicBezTo>
                      <a:pt x="521" y="500"/>
                      <a:pt x="557" y="474"/>
                      <a:pt x="575" y="440"/>
                    </a:cubicBezTo>
                    <a:cubicBezTo>
                      <a:pt x="592" y="406"/>
                      <a:pt x="587" y="376"/>
                      <a:pt x="563" y="373"/>
                    </a:cubicBezTo>
                    <a:cubicBezTo>
                      <a:pt x="352" y="340"/>
                      <a:pt x="196" y="218"/>
                      <a:pt x="113" y="22"/>
                    </a:cubicBezTo>
                    <a:cubicBezTo>
                      <a:pt x="103" y="0"/>
                      <a:pt x="74" y="2"/>
                      <a:pt x="45" y="27"/>
                    </a:cubicBezTo>
                    <a:cubicBezTo>
                      <a:pt x="16" y="53"/>
                      <a:pt x="0" y="94"/>
                      <a:pt x="10" y="1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1" name="Freeform 19">
                <a:extLst>
                  <a:ext uri="{FF2B5EF4-FFF2-40B4-BE49-F238E27FC236}">
                    <a16:creationId xmlns:a16="http://schemas.microsoft.com/office/drawing/2014/main" id="{69D3E486-AC03-479B-B2DF-7FE35741E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0" y="2645"/>
                <a:ext cx="769" cy="161"/>
              </a:xfrm>
              <a:custGeom>
                <a:avLst/>
                <a:gdLst>
                  <a:gd name="T0" fmla="*/ 4 w 1406"/>
                  <a:gd name="T1" fmla="*/ 235 h 295"/>
                  <a:gd name="T2" fmla="*/ 4 w 1406"/>
                  <a:gd name="T3" fmla="*/ 235 h 295"/>
                  <a:gd name="T4" fmla="*/ 76 w 1406"/>
                  <a:gd name="T5" fmla="*/ 291 h 295"/>
                  <a:gd name="T6" fmla="*/ 1345 w 1406"/>
                  <a:gd name="T7" fmla="*/ 133 h 295"/>
                  <a:gd name="T8" fmla="*/ 1401 w 1406"/>
                  <a:gd name="T9" fmla="*/ 61 h 295"/>
                  <a:gd name="T10" fmla="*/ 1329 w 1406"/>
                  <a:gd name="T11" fmla="*/ 5 h 295"/>
                  <a:gd name="T12" fmla="*/ 60 w 1406"/>
                  <a:gd name="T13" fmla="*/ 163 h 295"/>
                  <a:gd name="T14" fmla="*/ 4 w 1406"/>
                  <a:gd name="T15" fmla="*/ 23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6" h="295">
                    <a:moveTo>
                      <a:pt x="4" y="235"/>
                    </a:moveTo>
                    <a:cubicBezTo>
                      <a:pt x="4" y="235"/>
                      <a:pt x="4" y="235"/>
                      <a:pt x="4" y="235"/>
                    </a:cubicBezTo>
                    <a:cubicBezTo>
                      <a:pt x="9" y="270"/>
                      <a:pt x="41" y="295"/>
                      <a:pt x="76" y="291"/>
                    </a:cubicBezTo>
                    <a:cubicBezTo>
                      <a:pt x="1345" y="133"/>
                      <a:pt x="1345" y="133"/>
                      <a:pt x="1345" y="133"/>
                    </a:cubicBezTo>
                    <a:cubicBezTo>
                      <a:pt x="1381" y="128"/>
                      <a:pt x="1406" y="96"/>
                      <a:pt x="1401" y="61"/>
                    </a:cubicBezTo>
                    <a:cubicBezTo>
                      <a:pt x="1397" y="25"/>
                      <a:pt x="1365" y="0"/>
                      <a:pt x="1329" y="5"/>
                    </a:cubicBezTo>
                    <a:cubicBezTo>
                      <a:pt x="60" y="163"/>
                      <a:pt x="60" y="163"/>
                      <a:pt x="60" y="163"/>
                    </a:cubicBezTo>
                    <a:cubicBezTo>
                      <a:pt x="25" y="167"/>
                      <a:pt x="0" y="200"/>
                      <a:pt x="4" y="235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2" name="Freeform 20">
                <a:extLst>
                  <a:ext uri="{FF2B5EF4-FFF2-40B4-BE49-F238E27FC236}">
                    <a16:creationId xmlns:a16="http://schemas.microsoft.com/office/drawing/2014/main" id="{073D37E2-0C61-4A3E-9391-9780E7D029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3" y="2342"/>
                <a:ext cx="162" cy="767"/>
              </a:xfrm>
              <a:custGeom>
                <a:avLst/>
                <a:gdLst>
                  <a:gd name="T0" fmla="*/ 235 w 295"/>
                  <a:gd name="T1" fmla="*/ 1401 h 1406"/>
                  <a:gd name="T2" fmla="*/ 235 w 295"/>
                  <a:gd name="T3" fmla="*/ 1401 h 1406"/>
                  <a:gd name="T4" fmla="*/ 291 w 295"/>
                  <a:gd name="T5" fmla="*/ 1329 h 1406"/>
                  <a:gd name="T6" fmla="*/ 133 w 295"/>
                  <a:gd name="T7" fmla="*/ 60 h 1406"/>
                  <a:gd name="T8" fmla="*/ 61 w 295"/>
                  <a:gd name="T9" fmla="*/ 4 h 1406"/>
                  <a:gd name="T10" fmla="*/ 5 w 295"/>
                  <a:gd name="T11" fmla="*/ 76 h 1406"/>
                  <a:gd name="T12" fmla="*/ 163 w 295"/>
                  <a:gd name="T13" fmla="*/ 1345 h 1406"/>
                  <a:gd name="T14" fmla="*/ 235 w 295"/>
                  <a:gd name="T15" fmla="*/ 1401 h 1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5" h="1406">
                    <a:moveTo>
                      <a:pt x="235" y="1401"/>
                    </a:moveTo>
                    <a:cubicBezTo>
                      <a:pt x="235" y="1401"/>
                      <a:pt x="235" y="1401"/>
                      <a:pt x="235" y="1401"/>
                    </a:cubicBezTo>
                    <a:cubicBezTo>
                      <a:pt x="270" y="1397"/>
                      <a:pt x="295" y="1365"/>
                      <a:pt x="291" y="1329"/>
                    </a:cubicBezTo>
                    <a:cubicBezTo>
                      <a:pt x="133" y="60"/>
                      <a:pt x="133" y="60"/>
                      <a:pt x="133" y="60"/>
                    </a:cubicBezTo>
                    <a:cubicBezTo>
                      <a:pt x="128" y="25"/>
                      <a:pt x="96" y="0"/>
                      <a:pt x="61" y="4"/>
                    </a:cubicBezTo>
                    <a:cubicBezTo>
                      <a:pt x="25" y="9"/>
                      <a:pt x="0" y="41"/>
                      <a:pt x="5" y="76"/>
                    </a:cubicBezTo>
                    <a:cubicBezTo>
                      <a:pt x="163" y="1345"/>
                      <a:pt x="163" y="1345"/>
                      <a:pt x="163" y="1345"/>
                    </a:cubicBezTo>
                    <a:cubicBezTo>
                      <a:pt x="167" y="1381"/>
                      <a:pt x="200" y="1406"/>
                      <a:pt x="235" y="1401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3" name="Freeform 21">
                <a:extLst>
                  <a:ext uri="{FF2B5EF4-FFF2-40B4-BE49-F238E27FC236}">
                    <a16:creationId xmlns:a16="http://schemas.microsoft.com/office/drawing/2014/main" id="{77E2B33F-78C7-4D0D-B788-60F5651B8C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4" y="2366"/>
                <a:ext cx="721" cy="719"/>
              </a:xfrm>
              <a:custGeom>
                <a:avLst/>
                <a:gdLst>
                  <a:gd name="T0" fmla="*/ 581 w 1316"/>
                  <a:gd name="T1" fmla="*/ 42 h 1316"/>
                  <a:gd name="T2" fmla="*/ 42 w 1316"/>
                  <a:gd name="T3" fmla="*/ 735 h 1316"/>
                  <a:gd name="T4" fmla="*/ 735 w 1316"/>
                  <a:gd name="T5" fmla="*/ 1273 h 1316"/>
                  <a:gd name="T6" fmla="*/ 1273 w 1316"/>
                  <a:gd name="T7" fmla="*/ 581 h 1316"/>
                  <a:gd name="T8" fmla="*/ 581 w 1316"/>
                  <a:gd name="T9" fmla="*/ 42 h 1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6" h="1316">
                    <a:moveTo>
                      <a:pt x="581" y="42"/>
                    </a:moveTo>
                    <a:cubicBezTo>
                      <a:pt x="241" y="85"/>
                      <a:pt x="0" y="395"/>
                      <a:pt x="42" y="735"/>
                    </a:cubicBezTo>
                    <a:cubicBezTo>
                      <a:pt x="85" y="1075"/>
                      <a:pt x="395" y="1316"/>
                      <a:pt x="735" y="1273"/>
                    </a:cubicBezTo>
                    <a:cubicBezTo>
                      <a:pt x="1075" y="1231"/>
                      <a:pt x="1316" y="921"/>
                      <a:pt x="1273" y="581"/>
                    </a:cubicBezTo>
                    <a:cubicBezTo>
                      <a:pt x="1231" y="241"/>
                      <a:pt x="921" y="0"/>
                      <a:pt x="581" y="42"/>
                    </a:cubicBezTo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4" name="Freeform 22">
                <a:extLst>
                  <a:ext uri="{FF2B5EF4-FFF2-40B4-BE49-F238E27FC236}">
                    <a16:creationId xmlns:a16="http://schemas.microsoft.com/office/drawing/2014/main" id="{ACAAD5FE-1AED-457C-92DE-1E2777B74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7" y="2776"/>
                <a:ext cx="572" cy="464"/>
              </a:xfrm>
              <a:custGeom>
                <a:avLst/>
                <a:gdLst>
                  <a:gd name="T0" fmla="*/ 26 w 1045"/>
                  <a:gd name="T1" fmla="*/ 128 h 850"/>
                  <a:gd name="T2" fmla="*/ 934 w 1045"/>
                  <a:gd name="T3" fmla="*/ 834 h 850"/>
                  <a:gd name="T4" fmla="*/ 1033 w 1045"/>
                  <a:gd name="T5" fmla="*/ 793 h 850"/>
                  <a:gd name="T6" fmla="*/ 986 w 1045"/>
                  <a:gd name="T7" fmla="*/ 699 h 850"/>
                  <a:gd name="T8" fmla="*/ 144 w 1045"/>
                  <a:gd name="T9" fmla="*/ 44 h 850"/>
                  <a:gd name="T10" fmla="*/ 42 w 1045"/>
                  <a:gd name="T11" fmla="*/ 22 h 850"/>
                  <a:gd name="T12" fmla="*/ 26 w 1045"/>
                  <a:gd name="T13" fmla="*/ 128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5" h="850">
                    <a:moveTo>
                      <a:pt x="26" y="128"/>
                    </a:moveTo>
                    <a:cubicBezTo>
                      <a:pt x="254" y="447"/>
                      <a:pt x="569" y="692"/>
                      <a:pt x="934" y="834"/>
                    </a:cubicBezTo>
                    <a:cubicBezTo>
                      <a:pt x="975" y="850"/>
                      <a:pt x="1020" y="831"/>
                      <a:pt x="1033" y="793"/>
                    </a:cubicBezTo>
                    <a:cubicBezTo>
                      <a:pt x="1045" y="755"/>
                      <a:pt x="1024" y="714"/>
                      <a:pt x="986" y="699"/>
                    </a:cubicBezTo>
                    <a:cubicBezTo>
                      <a:pt x="648" y="567"/>
                      <a:pt x="355" y="339"/>
                      <a:pt x="144" y="44"/>
                    </a:cubicBezTo>
                    <a:cubicBezTo>
                      <a:pt x="121" y="11"/>
                      <a:pt x="75" y="0"/>
                      <a:pt x="42" y="22"/>
                    </a:cubicBezTo>
                    <a:cubicBezTo>
                      <a:pt x="8" y="44"/>
                      <a:pt x="0" y="92"/>
                      <a:pt x="26" y="128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5" name="Freeform 23">
                <a:extLst>
                  <a:ext uri="{FF2B5EF4-FFF2-40B4-BE49-F238E27FC236}">
                    <a16:creationId xmlns:a16="http://schemas.microsoft.com/office/drawing/2014/main" id="{28972A08-BF74-497F-A67E-B1ED40ED2B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0" y="1228"/>
                <a:ext cx="158" cy="218"/>
              </a:xfrm>
              <a:custGeom>
                <a:avLst/>
                <a:gdLst>
                  <a:gd name="T0" fmla="*/ 0 w 158"/>
                  <a:gd name="T1" fmla="*/ 186 h 218"/>
                  <a:gd name="T2" fmla="*/ 60 w 158"/>
                  <a:gd name="T3" fmla="*/ 0 h 218"/>
                  <a:gd name="T4" fmla="*/ 158 w 158"/>
                  <a:gd name="T5" fmla="*/ 31 h 218"/>
                  <a:gd name="T6" fmla="*/ 98 w 158"/>
                  <a:gd name="T7" fmla="*/ 218 h 218"/>
                  <a:gd name="T8" fmla="*/ 0 w 158"/>
                  <a:gd name="T9" fmla="*/ 186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218">
                    <a:moveTo>
                      <a:pt x="0" y="186"/>
                    </a:moveTo>
                    <a:lnTo>
                      <a:pt x="60" y="0"/>
                    </a:lnTo>
                    <a:lnTo>
                      <a:pt x="158" y="31"/>
                    </a:lnTo>
                    <a:lnTo>
                      <a:pt x="98" y="218"/>
                    </a:lnTo>
                    <a:lnTo>
                      <a:pt x="0" y="186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6" name="Freeform 24">
                <a:extLst>
                  <a:ext uri="{FF2B5EF4-FFF2-40B4-BE49-F238E27FC236}">
                    <a16:creationId xmlns:a16="http://schemas.microsoft.com/office/drawing/2014/main" id="{62591276-352D-4C74-A3C4-7B5B8CD9D4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8" y="1140"/>
                <a:ext cx="206" cy="362"/>
              </a:xfrm>
              <a:custGeom>
                <a:avLst/>
                <a:gdLst>
                  <a:gd name="T0" fmla="*/ 45 w 378"/>
                  <a:gd name="T1" fmla="*/ 602 h 663"/>
                  <a:gd name="T2" fmla="*/ 235 w 378"/>
                  <a:gd name="T3" fmla="*/ 17 h 663"/>
                  <a:gd name="T4" fmla="*/ 332 w 378"/>
                  <a:gd name="T5" fmla="*/ 19 h 663"/>
                  <a:gd name="T6" fmla="*/ 360 w 378"/>
                  <a:gd name="T7" fmla="*/ 81 h 663"/>
                  <a:gd name="T8" fmla="*/ 184 w 378"/>
                  <a:gd name="T9" fmla="*/ 624 h 663"/>
                  <a:gd name="T10" fmla="*/ 124 w 378"/>
                  <a:gd name="T11" fmla="*/ 658 h 663"/>
                  <a:gd name="T12" fmla="*/ 45 w 378"/>
                  <a:gd name="T13" fmla="*/ 602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8" h="663">
                    <a:moveTo>
                      <a:pt x="45" y="602"/>
                    </a:moveTo>
                    <a:cubicBezTo>
                      <a:pt x="0" y="377"/>
                      <a:pt x="66" y="174"/>
                      <a:pt x="235" y="17"/>
                    </a:cubicBezTo>
                    <a:cubicBezTo>
                      <a:pt x="254" y="0"/>
                      <a:pt x="298" y="1"/>
                      <a:pt x="332" y="19"/>
                    </a:cubicBezTo>
                    <a:cubicBezTo>
                      <a:pt x="366" y="38"/>
                      <a:pt x="378" y="65"/>
                      <a:pt x="360" y="81"/>
                    </a:cubicBezTo>
                    <a:cubicBezTo>
                      <a:pt x="204" y="226"/>
                      <a:pt x="142" y="415"/>
                      <a:pt x="184" y="624"/>
                    </a:cubicBezTo>
                    <a:cubicBezTo>
                      <a:pt x="188" y="648"/>
                      <a:pt x="163" y="663"/>
                      <a:pt x="124" y="658"/>
                    </a:cubicBezTo>
                    <a:cubicBezTo>
                      <a:pt x="86" y="653"/>
                      <a:pt x="50" y="628"/>
                      <a:pt x="45" y="602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7" name="Freeform 25">
                <a:extLst>
                  <a:ext uri="{FF2B5EF4-FFF2-40B4-BE49-F238E27FC236}">
                    <a16:creationId xmlns:a16="http://schemas.microsoft.com/office/drawing/2014/main" id="{696011B5-2B14-4AD6-9005-775342EDA5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7" y="1248"/>
                <a:ext cx="704" cy="397"/>
              </a:xfrm>
              <a:custGeom>
                <a:avLst/>
                <a:gdLst>
                  <a:gd name="T0" fmla="*/ 16 w 1286"/>
                  <a:gd name="T1" fmla="*/ 684 h 728"/>
                  <a:gd name="T2" fmla="*/ 16 w 1286"/>
                  <a:gd name="T3" fmla="*/ 684 h 728"/>
                  <a:gd name="T4" fmla="*/ 44 w 1286"/>
                  <a:gd name="T5" fmla="*/ 597 h 728"/>
                  <a:gd name="T6" fmla="*/ 1183 w 1286"/>
                  <a:gd name="T7" fmla="*/ 16 h 728"/>
                  <a:gd name="T8" fmla="*/ 1270 w 1286"/>
                  <a:gd name="T9" fmla="*/ 45 h 728"/>
                  <a:gd name="T10" fmla="*/ 1242 w 1286"/>
                  <a:gd name="T11" fmla="*/ 131 h 728"/>
                  <a:gd name="T12" fmla="*/ 102 w 1286"/>
                  <a:gd name="T13" fmla="*/ 712 h 728"/>
                  <a:gd name="T14" fmla="*/ 16 w 1286"/>
                  <a:gd name="T15" fmla="*/ 684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6" h="728">
                    <a:moveTo>
                      <a:pt x="16" y="684"/>
                    </a:moveTo>
                    <a:cubicBezTo>
                      <a:pt x="16" y="684"/>
                      <a:pt x="16" y="684"/>
                      <a:pt x="16" y="684"/>
                    </a:cubicBezTo>
                    <a:cubicBezTo>
                      <a:pt x="0" y="652"/>
                      <a:pt x="12" y="613"/>
                      <a:pt x="44" y="597"/>
                    </a:cubicBezTo>
                    <a:cubicBezTo>
                      <a:pt x="1183" y="16"/>
                      <a:pt x="1183" y="16"/>
                      <a:pt x="1183" y="16"/>
                    </a:cubicBezTo>
                    <a:cubicBezTo>
                      <a:pt x="1215" y="0"/>
                      <a:pt x="1254" y="13"/>
                      <a:pt x="1270" y="45"/>
                    </a:cubicBezTo>
                    <a:cubicBezTo>
                      <a:pt x="1286" y="76"/>
                      <a:pt x="1274" y="115"/>
                      <a:pt x="1242" y="131"/>
                    </a:cubicBezTo>
                    <a:cubicBezTo>
                      <a:pt x="102" y="712"/>
                      <a:pt x="102" y="712"/>
                      <a:pt x="102" y="712"/>
                    </a:cubicBezTo>
                    <a:cubicBezTo>
                      <a:pt x="71" y="728"/>
                      <a:pt x="32" y="715"/>
                      <a:pt x="16" y="684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8" name="Freeform 26">
                <a:extLst>
                  <a:ext uri="{FF2B5EF4-FFF2-40B4-BE49-F238E27FC236}">
                    <a16:creationId xmlns:a16="http://schemas.microsoft.com/office/drawing/2014/main" id="{0077D620-D677-4B2A-A94F-E80706EF6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0" y="1096"/>
                <a:ext cx="398" cy="702"/>
              </a:xfrm>
              <a:custGeom>
                <a:avLst/>
                <a:gdLst>
                  <a:gd name="T0" fmla="*/ 44 w 728"/>
                  <a:gd name="T1" fmla="*/ 16 h 1286"/>
                  <a:gd name="T2" fmla="*/ 44 w 728"/>
                  <a:gd name="T3" fmla="*/ 16 h 1286"/>
                  <a:gd name="T4" fmla="*/ 131 w 728"/>
                  <a:gd name="T5" fmla="*/ 44 h 1286"/>
                  <a:gd name="T6" fmla="*/ 712 w 728"/>
                  <a:gd name="T7" fmla="*/ 1183 h 1286"/>
                  <a:gd name="T8" fmla="*/ 683 w 728"/>
                  <a:gd name="T9" fmla="*/ 1270 h 1286"/>
                  <a:gd name="T10" fmla="*/ 597 w 728"/>
                  <a:gd name="T11" fmla="*/ 1242 h 1286"/>
                  <a:gd name="T12" fmla="*/ 16 w 728"/>
                  <a:gd name="T13" fmla="*/ 103 h 1286"/>
                  <a:gd name="T14" fmla="*/ 44 w 728"/>
                  <a:gd name="T15" fmla="*/ 16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8" h="1286">
                    <a:moveTo>
                      <a:pt x="44" y="16"/>
                    </a:moveTo>
                    <a:cubicBezTo>
                      <a:pt x="44" y="16"/>
                      <a:pt x="44" y="16"/>
                      <a:pt x="44" y="16"/>
                    </a:cubicBezTo>
                    <a:cubicBezTo>
                      <a:pt x="76" y="0"/>
                      <a:pt x="115" y="12"/>
                      <a:pt x="131" y="44"/>
                    </a:cubicBezTo>
                    <a:cubicBezTo>
                      <a:pt x="712" y="1183"/>
                      <a:pt x="712" y="1183"/>
                      <a:pt x="712" y="1183"/>
                    </a:cubicBezTo>
                    <a:cubicBezTo>
                      <a:pt x="728" y="1215"/>
                      <a:pt x="715" y="1254"/>
                      <a:pt x="683" y="1270"/>
                    </a:cubicBezTo>
                    <a:cubicBezTo>
                      <a:pt x="652" y="1286"/>
                      <a:pt x="613" y="1274"/>
                      <a:pt x="597" y="1242"/>
                    </a:cubicBezTo>
                    <a:cubicBezTo>
                      <a:pt x="16" y="103"/>
                      <a:pt x="16" y="103"/>
                      <a:pt x="16" y="103"/>
                    </a:cubicBezTo>
                    <a:cubicBezTo>
                      <a:pt x="0" y="71"/>
                      <a:pt x="13" y="32"/>
                      <a:pt x="44" y="16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9" name="Freeform 27">
                <a:extLst>
                  <a:ext uri="{FF2B5EF4-FFF2-40B4-BE49-F238E27FC236}">
                    <a16:creationId xmlns:a16="http://schemas.microsoft.com/office/drawing/2014/main" id="{7C2F37B9-8682-4D33-BB67-ACCE4A7FA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1" y="1060"/>
                <a:ext cx="776" cy="773"/>
              </a:xfrm>
              <a:custGeom>
                <a:avLst/>
                <a:gdLst>
                  <a:gd name="T0" fmla="*/ 990 w 1416"/>
                  <a:gd name="T1" fmla="*/ 1261 h 1416"/>
                  <a:gd name="T2" fmla="*/ 155 w 1416"/>
                  <a:gd name="T3" fmla="*/ 990 h 1416"/>
                  <a:gd name="T4" fmla="*/ 426 w 1416"/>
                  <a:gd name="T5" fmla="*/ 155 h 1416"/>
                  <a:gd name="T6" fmla="*/ 1261 w 1416"/>
                  <a:gd name="T7" fmla="*/ 426 h 1416"/>
                  <a:gd name="T8" fmla="*/ 990 w 1416"/>
                  <a:gd name="T9" fmla="*/ 1261 h 1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6" h="1416">
                    <a:moveTo>
                      <a:pt x="990" y="1261"/>
                    </a:moveTo>
                    <a:cubicBezTo>
                      <a:pt x="684" y="1416"/>
                      <a:pt x="311" y="1295"/>
                      <a:pt x="155" y="990"/>
                    </a:cubicBezTo>
                    <a:cubicBezTo>
                      <a:pt x="0" y="684"/>
                      <a:pt x="121" y="311"/>
                      <a:pt x="426" y="155"/>
                    </a:cubicBezTo>
                    <a:cubicBezTo>
                      <a:pt x="731" y="0"/>
                      <a:pt x="1105" y="121"/>
                      <a:pt x="1261" y="426"/>
                    </a:cubicBezTo>
                    <a:cubicBezTo>
                      <a:pt x="1416" y="732"/>
                      <a:pt x="1295" y="1105"/>
                      <a:pt x="990" y="1261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0" name="Freeform 28">
                <a:extLst>
                  <a:ext uri="{FF2B5EF4-FFF2-40B4-BE49-F238E27FC236}">
                    <a16:creationId xmlns:a16="http://schemas.microsoft.com/office/drawing/2014/main" id="{5D8F620B-07BC-4998-ADD6-8BAA518F13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2" y="1001"/>
                <a:ext cx="273" cy="665"/>
              </a:xfrm>
              <a:custGeom>
                <a:avLst/>
                <a:gdLst>
                  <a:gd name="T0" fmla="*/ 1 w 499"/>
                  <a:gd name="T1" fmla="*/ 1139 h 1219"/>
                  <a:gd name="T2" fmla="*/ 357 w 499"/>
                  <a:gd name="T3" fmla="*/ 45 h 1219"/>
                  <a:gd name="T4" fmla="*/ 461 w 499"/>
                  <a:gd name="T5" fmla="*/ 24 h 1219"/>
                  <a:gd name="T6" fmla="*/ 476 w 499"/>
                  <a:gd name="T7" fmla="*/ 128 h 1219"/>
                  <a:gd name="T8" fmla="*/ 146 w 499"/>
                  <a:gd name="T9" fmla="*/ 1143 h 1219"/>
                  <a:gd name="T10" fmla="*/ 73 w 499"/>
                  <a:gd name="T11" fmla="*/ 1218 h 1219"/>
                  <a:gd name="T12" fmla="*/ 1 w 499"/>
                  <a:gd name="T13" fmla="*/ 1139 h 1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9" h="1219">
                    <a:moveTo>
                      <a:pt x="1" y="1139"/>
                    </a:moveTo>
                    <a:cubicBezTo>
                      <a:pt x="11" y="748"/>
                      <a:pt x="134" y="368"/>
                      <a:pt x="357" y="45"/>
                    </a:cubicBezTo>
                    <a:cubicBezTo>
                      <a:pt x="382" y="9"/>
                      <a:pt x="430" y="0"/>
                      <a:pt x="461" y="24"/>
                    </a:cubicBezTo>
                    <a:cubicBezTo>
                      <a:pt x="493" y="48"/>
                      <a:pt x="499" y="94"/>
                      <a:pt x="476" y="128"/>
                    </a:cubicBezTo>
                    <a:cubicBezTo>
                      <a:pt x="270" y="427"/>
                      <a:pt x="155" y="779"/>
                      <a:pt x="146" y="1143"/>
                    </a:cubicBezTo>
                    <a:cubicBezTo>
                      <a:pt x="145" y="1183"/>
                      <a:pt x="114" y="1217"/>
                      <a:pt x="73" y="1218"/>
                    </a:cubicBezTo>
                    <a:cubicBezTo>
                      <a:pt x="33" y="1219"/>
                      <a:pt x="0" y="1184"/>
                      <a:pt x="1" y="1139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1" name="Freeform 29">
                <a:extLst>
                  <a:ext uri="{FF2B5EF4-FFF2-40B4-BE49-F238E27FC236}">
                    <a16:creationId xmlns:a16="http://schemas.microsoft.com/office/drawing/2014/main" id="{CEF9B0F6-2B6B-43D7-A193-4C9EEFE0F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2" y="1238"/>
                <a:ext cx="158" cy="217"/>
              </a:xfrm>
              <a:custGeom>
                <a:avLst/>
                <a:gdLst>
                  <a:gd name="T0" fmla="*/ 98 w 158"/>
                  <a:gd name="T1" fmla="*/ 0 h 217"/>
                  <a:gd name="T2" fmla="*/ 158 w 158"/>
                  <a:gd name="T3" fmla="*/ 186 h 217"/>
                  <a:gd name="T4" fmla="*/ 60 w 158"/>
                  <a:gd name="T5" fmla="*/ 217 h 217"/>
                  <a:gd name="T6" fmla="*/ 0 w 158"/>
                  <a:gd name="T7" fmla="*/ 31 h 217"/>
                  <a:gd name="T8" fmla="*/ 98 w 158"/>
                  <a:gd name="T9" fmla="*/ 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217">
                    <a:moveTo>
                      <a:pt x="98" y="0"/>
                    </a:moveTo>
                    <a:lnTo>
                      <a:pt x="158" y="186"/>
                    </a:lnTo>
                    <a:lnTo>
                      <a:pt x="60" y="217"/>
                    </a:lnTo>
                    <a:lnTo>
                      <a:pt x="0" y="31"/>
                    </a:lnTo>
                    <a:lnTo>
                      <a:pt x="98" y="0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2" name="Freeform 30">
                <a:extLst>
                  <a:ext uri="{FF2B5EF4-FFF2-40B4-BE49-F238E27FC236}">
                    <a16:creationId xmlns:a16="http://schemas.microsoft.com/office/drawing/2014/main" id="{FD5A995C-96B2-44D6-8B7A-7E250EEA00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6" y="1149"/>
                <a:ext cx="206" cy="363"/>
              </a:xfrm>
              <a:custGeom>
                <a:avLst/>
                <a:gdLst>
                  <a:gd name="T0" fmla="*/ 142 w 377"/>
                  <a:gd name="T1" fmla="*/ 18 h 664"/>
                  <a:gd name="T2" fmla="*/ 333 w 377"/>
                  <a:gd name="T3" fmla="*/ 603 h 664"/>
                  <a:gd name="T4" fmla="*/ 253 w 377"/>
                  <a:gd name="T5" fmla="*/ 659 h 664"/>
                  <a:gd name="T6" fmla="*/ 194 w 377"/>
                  <a:gd name="T7" fmla="*/ 625 h 664"/>
                  <a:gd name="T8" fmla="*/ 17 w 377"/>
                  <a:gd name="T9" fmla="*/ 82 h 664"/>
                  <a:gd name="T10" fmla="*/ 45 w 377"/>
                  <a:gd name="T11" fmla="*/ 20 h 664"/>
                  <a:gd name="T12" fmla="*/ 142 w 377"/>
                  <a:gd name="T13" fmla="*/ 18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7" h="664">
                    <a:moveTo>
                      <a:pt x="142" y="18"/>
                    </a:moveTo>
                    <a:cubicBezTo>
                      <a:pt x="311" y="174"/>
                      <a:pt x="377" y="378"/>
                      <a:pt x="333" y="603"/>
                    </a:cubicBezTo>
                    <a:cubicBezTo>
                      <a:pt x="328" y="629"/>
                      <a:pt x="291" y="654"/>
                      <a:pt x="253" y="659"/>
                    </a:cubicBezTo>
                    <a:cubicBezTo>
                      <a:pt x="215" y="664"/>
                      <a:pt x="189" y="649"/>
                      <a:pt x="194" y="625"/>
                    </a:cubicBezTo>
                    <a:cubicBezTo>
                      <a:pt x="235" y="416"/>
                      <a:pt x="173" y="227"/>
                      <a:pt x="17" y="82"/>
                    </a:cubicBezTo>
                    <a:cubicBezTo>
                      <a:pt x="0" y="66"/>
                      <a:pt x="11" y="39"/>
                      <a:pt x="45" y="20"/>
                    </a:cubicBezTo>
                    <a:cubicBezTo>
                      <a:pt x="79" y="2"/>
                      <a:pt x="123" y="0"/>
                      <a:pt x="142" y="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3" name="Freeform 31">
                <a:extLst>
                  <a:ext uri="{FF2B5EF4-FFF2-40B4-BE49-F238E27FC236}">
                    <a16:creationId xmlns:a16="http://schemas.microsoft.com/office/drawing/2014/main" id="{09F50EE9-6A4E-429E-A0CA-74A14BD1A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2" y="1106"/>
                <a:ext cx="398" cy="702"/>
              </a:xfrm>
              <a:custGeom>
                <a:avLst/>
                <a:gdLst>
                  <a:gd name="T0" fmla="*/ 684 w 728"/>
                  <a:gd name="T1" fmla="*/ 16 h 1286"/>
                  <a:gd name="T2" fmla="*/ 684 w 728"/>
                  <a:gd name="T3" fmla="*/ 16 h 1286"/>
                  <a:gd name="T4" fmla="*/ 712 w 728"/>
                  <a:gd name="T5" fmla="*/ 102 h 1286"/>
                  <a:gd name="T6" fmla="*/ 131 w 728"/>
                  <a:gd name="T7" fmla="*/ 1242 h 1286"/>
                  <a:gd name="T8" fmla="*/ 45 w 728"/>
                  <a:gd name="T9" fmla="*/ 1270 h 1286"/>
                  <a:gd name="T10" fmla="*/ 17 w 728"/>
                  <a:gd name="T11" fmla="*/ 1183 h 1286"/>
                  <a:gd name="T12" fmla="*/ 597 w 728"/>
                  <a:gd name="T13" fmla="*/ 44 h 1286"/>
                  <a:gd name="T14" fmla="*/ 684 w 728"/>
                  <a:gd name="T15" fmla="*/ 16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8" h="1286">
                    <a:moveTo>
                      <a:pt x="684" y="16"/>
                    </a:moveTo>
                    <a:cubicBezTo>
                      <a:pt x="684" y="16"/>
                      <a:pt x="684" y="16"/>
                      <a:pt x="684" y="16"/>
                    </a:cubicBezTo>
                    <a:cubicBezTo>
                      <a:pt x="716" y="32"/>
                      <a:pt x="728" y="71"/>
                      <a:pt x="712" y="102"/>
                    </a:cubicBezTo>
                    <a:cubicBezTo>
                      <a:pt x="131" y="1242"/>
                      <a:pt x="131" y="1242"/>
                      <a:pt x="131" y="1242"/>
                    </a:cubicBezTo>
                    <a:cubicBezTo>
                      <a:pt x="115" y="1274"/>
                      <a:pt x="76" y="1286"/>
                      <a:pt x="45" y="1270"/>
                    </a:cubicBezTo>
                    <a:cubicBezTo>
                      <a:pt x="13" y="1254"/>
                      <a:pt x="0" y="1215"/>
                      <a:pt x="17" y="1183"/>
                    </a:cubicBezTo>
                    <a:cubicBezTo>
                      <a:pt x="597" y="44"/>
                      <a:pt x="597" y="44"/>
                      <a:pt x="597" y="44"/>
                    </a:cubicBezTo>
                    <a:cubicBezTo>
                      <a:pt x="613" y="12"/>
                      <a:pt x="652" y="0"/>
                      <a:pt x="684" y="16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4" name="Freeform 32">
                <a:extLst>
                  <a:ext uri="{FF2B5EF4-FFF2-40B4-BE49-F238E27FC236}">
                    <a16:creationId xmlns:a16="http://schemas.microsoft.com/office/drawing/2014/main" id="{A0E15427-AEF8-479D-B22E-64D82551E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9" y="1258"/>
                <a:ext cx="705" cy="397"/>
              </a:xfrm>
              <a:custGeom>
                <a:avLst/>
                <a:gdLst>
                  <a:gd name="T0" fmla="*/ 1270 w 1287"/>
                  <a:gd name="T1" fmla="*/ 683 h 728"/>
                  <a:gd name="T2" fmla="*/ 1270 w 1287"/>
                  <a:gd name="T3" fmla="*/ 683 h 728"/>
                  <a:gd name="T4" fmla="*/ 1184 w 1287"/>
                  <a:gd name="T5" fmla="*/ 712 h 728"/>
                  <a:gd name="T6" fmla="*/ 44 w 1287"/>
                  <a:gd name="T7" fmla="*/ 131 h 728"/>
                  <a:gd name="T8" fmla="*/ 16 w 1287"/>
                  <a:gd name="T9" fmla="*/ 44 h 728"/>
                  <a:gd name="T10" fmla="*/ 103 w 1287"/>
                  <a:gd name="T11" fmla="*/ 16 h 728"/>
                  <a:gd name="T12" fmla="*/ 1242 w 1287"/>
                  <a:gd name="T13" fmla="*/ 597 h 728"/>
                  <a:gd name="T14" fmla="*/ 1270 w 1287"/>
                  <a:gd name="T15" fmla="*/ 683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7" h="728">
                    <a:moveTo>
                      <a:pt x="1270" y="683"/>
                    </a:moveTo>
                    <a:cubicBezTo>
                      <a:pt x="1270" y="683"/>
                      <a:pt x="1270" y="683"/>
                      <a:pt x="1270" y="683"/>
                    </a:cubicBezTo>
                    <a:cubicBezTo>
                      <a:pt x="1254" y="715"/>
                      <a:pt x="1215" y="728"/>
                      <a:pt x="1184" y="712"/>
                    </a:cubicBezTo>
                    <a:cubicBezTo>
                      <a:pt x="44" y="131"/>
                      <a:pt x="44" y="131"/>
                      <a:pt x="44" y="131"/>
                    </a:cubicBezTo>
                    <a:cubicBezTo>
                      <a:pt x="13" y="115"/>
                      <a:pt x="0" y="76"/>
                      <a:pt x="16" y="44"/>
                    </a:cubicBezTo>
                    <a:cubicBezTo>
                      <a:pt x="32" y="13"/>
                      <a:pt x="71" y="0"/>
                      <a:pt x="103" y="16"/>
                    </a:cubicBezTo>
                    <a:cubicBezTo>
                      <a:pt x="1242" y="597"/>
                      <a:pt x="1242" y="597"/>
                      <a:pt x="1242" y="597"/>
                    </a:cubicBezTo>
                    <a:cubicBezTo>
                      <a:pt x="1274" y="613"/>
                      <a:pt x="1287" y="652"/>
                      <a:pt x="1270" y="683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5" name="Freeform 33">
                <a:extLst>
                  <a:ext uri="{FF2B5EF4-FFF2-40B4-BE49-F238E27FC236}">
                    <a16:creationId xmlns:a16="http://schemas.microsoft.com/office/drawing/2014/main" id="{DD7D2269-3E3E-4A12-B656-DCE50F870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3" y="1070"/>
                <a:ext cx="776" cy="773"/>
              </a:xfrm>
              <a:custGeom>
                <a:avLst/>
                <a:gdLst>
                  <a:gd name="T0" fmla="*/ 156 w 1417"/>
                  <a:gd name="T1" fmla="*/ 426 h 1416"/>
                  <a:gd name="T2" fmla="*/ 990 w 1417"/>
                  <a:gd name="T3" fmla="*/ 155 h 1416"/>
                  <a:gd name="T4" fmla="*/ 1261 w 1417"/>
                  <a:gd name="T5" fmla="*/ 990 h 1416"/>
                  <a:gd name="T6" fmla="*/ 427 w 1417"/>
                  <a:gd name="T7" fmla="*/ 1261 h 1416"/>
                  <a:gd name="T8" fmla="*/ 156 w 1417"/>
                  <a:gd name="T9" fmla="*/ 426 h 1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7" h="1416">
                    <a:moveTo>
                      <a:pt x="156" y="426"/>
                    </a:moveTo>
                    <a:cubicBezTo>
                      <a:pt x="311" y="121"/>
                      <a:pt x="685" y="0"/>
                      <a:pt x="990" y="155"/>
                    </a:cubicBezTo>
                    <a:cubicBezTo>
                      <a:pt x="1295" y="311"/>
                      <a:pt x="1417" y="684"/>
                      <a:pt x="1261" y="990"/>
                    </a:cubicBezTo>
                    <a:cubicBezTo>
                      <a:pt x="1106" y="1295"/>
                      <a:pt x="732" y="1416"/>
                      <a:pt x="427" y="1261"/>
                    </a:cubicBezTo>
                    <a:cubicBezTo>
                      <a:pt x="121" y="1105"/>
                      <a:pt x="0" y="732"/>
                      <a:pt x="156" y="426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6" name="Freeform 34">
                <a:extLst>
                  <a:ext uri="{FF2B5EF4-FFF2-40B4-BE49-F238E27FC236}">
                    <a16:creationId xmlns:a16="http://schemas.microsoft.com/office/drawing/2014/main" id="{9D19934C-953E-4C18-B8A8-6E27CA7141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5" y="1011"/>
                <a:ext cx="273" cy="665"/>
              </a:xfrm>
              <a:custGeom>
                <a:avLst/>
                <a:gdLst>
                  <a:gd name="T0" fmla="*/ 143 w 499"/>
                  <a:gd name="T1" fmla="*/ 45 h 1219"/>
                  <a:gd name="T2" fmla="*/ 498 w 499"/>
                  <a:gd name="T3" fmla="*/ 1139 h 1219"/>
                  <a:gd name="T4" fmla="*/ 426 w 499"/>
                  <a:gd name="T5" fmla="*/ 1218 h 1219"/>
                  <a:gd name="T6" fmla="*/ 353 w 499"/>
                  <a:gd name="T7" fmla="*/ 1142 h 1219"/>
                  <a:gd name="T8" fmla="*/ 23 w 499"/>
                  <a:gd name="T9" fmla="*/ 128 h 1219"/>
                  <a:gd name="T10" fmla="*/ 38 w 499"/>
                  <a:gd name="T11" fmla="*/ 24 h 1219"/>
                  <a:gd name="T12" fmla="*/ 143 w 499"/>
                  <a:gd name="T13" fmla="*/ 45 h 1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9" h="1219">
                    <a:moveTo>
                      <a:pt x="143" y="45"/>
                    </a:moveTo>
                    <a:cubicBezTo>
                      <a:pt x="365" y="367"/>
                      <a:pt x="488" y="748"/>
                      <a:pt x="498" y="1139"/>
                    </a:cubicBezTo>
                    <a:cubicBezTo>
                      <a:pt x="499" y="1183"/>
                      <a:pt x="466" y="1219"/>
                      <a:pt x="426" y="1218"/>
                    </a:cubicBezTo>
                    <a:cubicBezTo>
                      <a:pt x="386" y="1217"/>
                      <a:pt x="354" y="1183"/>
                      <a:pt x="353" y="1142"/>
                    </a:cubicBezTo>
                    <a:cubicBezTo>
                      <a:pt x="344" y="779"/>
                      <a:pt x="230" y="427"/>
                      <a:pt x="23" y="128"/>
                    </a:cubicBezTo>
                    <a:cubicBezTo>
                      <a:pt x="0" y="94"/>
                      <a:pt x="6" y="48"/>
                      <a:pt x="38" y="24"/>
                    </a:cubicBezTo>
                    <a:cubicBezTo>
                      <a:pt x="70" y="0"/>
                      <a:pt x="117" y="9"/>
                      <a:pt x="143" y="45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7" name="Freeform 35">
                <a:extLst>
                  <a:ext uri="{FF2B5EF4-FFF2-40B4-BE49-F238E27FC236}">
                    <a16:creationId xmlns:a16="http://schemas.microsoft.com/office/drawing/2014/main" id="{D12DF3EC-1EE8-4C86-903E-9E47050AC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9" y="1193"/>
                <a:ext cx="676" cy="576"/>
              </a:xfrm>
              <a:custGeom>
                <a:avLst/>
                <a:gdLst>
                  <a:gd name="T0" fmla="*/ 204 w 1235"/>
                  <a:gd name="T1" fmla="*/ 1054 h 1054"/>
                  <a:gd name="T2" fmla="*/ 0 w 1235"/>
                  <a:gd name="T3" fmla="*/ 425 h 1054"/>
                  <a:gd name="T4" fmla="*/ 955 w 1235"/>
                  <a:gd name="T5" fmla="*/ 114 h 1054"/>
                  <a:gd name="T6" fmla="*/ 1160 w 1235"/>
                  <a:gd name="T7" fmla="*/ 743 h 1054"/>
                  <a:gd name="T8" fmla="*/ 204 w 1235"/>
                  <a:gd name="T9" fmla="*/ 1054 h 1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5" h="1054">
                    <a:moveTo>
                      <a:pt x="204" y="1054"/>
                    </a:moveTo>
                    <a:cubicBezTo>
                      <a:pt x="0" y="425"/>
                      <a:pt x="0" y="425"/>
                      <a:pt x="0" y="425"/>
                    </a:cubicBezTo>
                    <a:cubicBezTo>
                      <a:pt x="0" y="425"/>
                      <a:pt x="732" y="0"/>
                      <a:pt x="955" y="114"/>
                    </a:cubicBezTo>
                    <a:cubicBezTo>
                      <a:pt x="1103" y="189"/>
                      <a:pt x="1235" y="596"/>
                      <a:pt x="1160" y="743"/>
                    </a:cubicBezTo>
                    <a:cubicBezTo>
                      <a:pt x="1046" y="967"/>
                      <a:pt x="204" y="1054"/>
                      <a:pt x="204" y="1054"/>
                    </a:cubicBezTo>
                    <a:close/>
                  </a:path>
                </a:pathLst>
              </a:custGeom>
              <a:solidFill>
                <a:srgbClr val="4E34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8" name="Freeform 36">
                <a:extLst>
                  <a:ext uri="{FF2B5EF4-FFF2-40B4-BE49-F238E27FC236}">
                    <a16:creationId xmlns:a16="http://schemas.microsoft.com/office/drawing/2014/main" id="{655EDDF6-D045-4C41-858B-A11CEB64A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9" y="1246"/>
                <a:ext cx="276" cy="472"/>
              </a:xfrm>
              <a:custGeom>
                <a:avLst/>
                <a:gdLst>
                  <a:gd name="T0" fmla="*/ 0 w 505"/>
                  <a:gd name="T1" fmla="*/ 864 h 864"/>
                  <a:gd name="T2" fmla="*/ 170 w 505"/>
                  <a:gd name="T3" fmla="*/ 356 h 864"/>
                  <a:gd name="T4" fmla="*/ 168 w 505"/>
                  <a:gd name="T5" fmla="*/ 0 h 864"/>
                  <a:gd name="T6" fmla="*/ 225 w 505"/>
                  <a:gd name="T7" fmla="*/ 17 h 864"/>
                  <a:gd name="T8" fmla="*/ 430 w 505"/>
                  <a:gd name="T9" fmla="*/ 646 h 864"/>
                  <a:gd name="T10" fmla="*/ 0 w 505"/>
                  <a:gd name="T11" fmla="*/ 864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5" h="864">
                    <a:moveTo>
                      <a:pt x="0" y="864"/>
                    </a:moveTo>
                    <a:cubicBezTo>
                      <a:pt x="127" y="738"/>
                      <a:pt x="247" y="507"/>
                      <a:pt x="170" y="356"/>
                    </a:cubicBezTo>
                    <a:cubicBezTo>
                      <a:pt x="87" y="195"/>
                      <a:pt x="139" y="56"/>
                      <a:pt x="168" y="0"/>
                    </a:cubicBezTo>
                    <a:cubicBezTo>
                      <a:pt x="189" y="3"/>
                      <a:pt x="209" y="9"/>
                      <a:pt x="225" y="17"/>
                    </a:cubicBezTo>
                    <a:cubicBezTo>
                      <a:pt x="373" y="92"/>
                      <a:pt x="505" y="499"/>
                      <a:pt x="430" y="646"/>
                    </a:cubicBezTo>
                    <a:cubicBezTo>
                      <a:pt x="381" y="743"/>
                      <a:pt x="195" y="814"/>
                      <a:pt x="0" y="864"/>
                    </a:cubicBezTo>
                    <a:close/>
                  </a:path>
                </a:pathLst>
              </a:custGeom>
              <a:solidFill>
                <a:srgbClr val="3E27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9" name="Freeform 37">
                <a:extLst>
                  <a:ext uri="{FF2B5EF4-FFF2-40B4-BE49-F238E27FC236}">
                    <a16:creationId xmlns:a16="http://schemas.microsoft.com/office/drawing/2014/main" id="{04E3E1FF-2D74-4BED-B6DD-9EB526D12A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8" y="1096"/>
                <a:ext cx="278" cy="570"/>
              </a:xfrm>
              <a:custGeom>
                <a:avLst/>
                <a:gdLst>
                  <a:gd name="T0" fmla="*/ 323 w 508"/>
                  <a:gd name="T1" fmla="*/ 1045 h 1045"/>
                  <a:gd name="T2" fmla="*/ 0 w 508"/>
                  <a:gd name="T3" fmla="*/ 53 h 1045"/>
                  <a:gd name="T4" fmla="*/ 78 w 508"/>
                  <a:gd name="T5" fmla="*/ 28 h 1045"/>
                  <a:gd name="T6" fmla="*/ 288 w 508"/>
                  <a:gd name="T7" fmla="*/ 135 h 1045"/>
                  <a:gd name="T8" fmla="*/ 478 w 508"/>
                  <a:gd name="T9" fmla="*/ 446 h 1045"/>
                  <a:gd name="T10" fmla="*/ 507 w 508"/>
                  <a:gd name="T11" fmla="*/ 810 h 1045"/>
                  <a:gd name="T12" fmla="*/ 400 w 508"/>
                  <a:gd name="T13" fmla="*/ 1020 h 1045"/>
                  <a:gd name="T14" fmla="*/ 323 w 508"/>
                  <a:gd name="T15" fmla="*/ 1045 h 10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8" h="1045">
                    <a:moveTo>
                      <a:pt x="323" y="1045"/>
                    </a:moveTo>
                    <a:cubicBezTo>
                      <a:pt x="0" y="53"/>
                      <a:pt x="0" y="53"/>
                      <a:pt x="0" y="53"/>
                    </a:cubicBezTo>
                    <a:cubicBezTo>
                      <a:pt x="78" y="28"/>
                      <a:pt x="78" y="28"/>
                      <a:pt x="78" y="28"/>
                    </a:cubicBezTo>
                    <a:cubicBezTo>
                      <a:pt x="165" y="0"/>
                      <a:pt x="252" y="88"/>
                      <a:pt x="288" y="135"/>
                    </a:cubicBezTo>
                    <a:cubicBezTo>
                      <a:pt x="342" y="208"/>
                      <a:pt x="478" y="446"/>
                      <a:pt x="478" y="446"/>
                    </a:cubicBezTo>
                    <a:cubicBezTo>
                      <a:pt x="478" y="446"/>
                      <a:pt x="508" y="719"/>
                      <a:pt x="507" y="810"/>
                    </a:cubicBezTo>
                    <a:cubicBezTo>
                      <a:pt x="506" y="869"/>
                      <a:pt x="488" y="991"/>
                      <a:pt x="400" y="1020"/>
                    </a:cubicBezTo>
                    <a:lnTo>
                      <a:pt x="323" y="1045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0" name="Freeform 38">
                <a:extLst>
                  <a:ext uri="{FF2B5EF4-FFF2-40B4-BE49-F238E27FC236}">
                    <a16:creationId xmlns:a16="http://schemas.microsoft.com/office/drawing/2014/main" id="{DFAF4CBC-13B9-4AFB-B985-9C838DAFC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1" y="1134"/>
                <a:ext cx="319" cy="502"/>
              </a:xfrm>
              <a:custGeom>
                <a:avLst/>
                <a:gdLst>
                  <a:gd name="T0" fmla="*/ 183 w 583"/>
                  <a:gd name="T1" fmla="*/ 762 h 918"/>
                  <a:gd name="T2" fmla="*/ 183 w 583"/>
                  <a:gd name="T3" fmla="*/ 606 h 918"/>
                  <a:gd name="T4" fmla="*/ 144 w 583"/>
                  <a:gd name="T5" fmla="*/ 487 h 918"/>
                  <a:gd name="T6" fmla="*/ 53 w 583"/>
                  <a:gd name="T7" fmla="*/ 361 h 918"/>
                  <a:gd name="T8" fmla="*/ 226 w 583"/>
                  <a:gd name="T9" fmla="*/ 51 h 918"/>
                  <a:gd name="T10" fmla="*/ 284 w 583"/>
                  <a:gd name="T11" fmla="*/ 0 h 918"/>
                  <a:gd name="T12" fmla="*/ 583 w 583"/>
                  <a:gd name="T13" fmla="*/ 918 h 918"/>
                  <a:gd name="T14" fmla="*/ 506 w 583"/>
                  <a:gd name="T15" fmla="*/ 911 h 918"/>
                  <a:gd name="T16" fmla="*/ 183 w 583"/>
                  <a:gd name="T17" fmla="*/ 762 h 9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3" h="918">
                    <a:moveTo>
                      <a:pt x="183" y="762"/>
                    </a:moveTo>
                    <a:cubicBezTo>
                      <a:pt x="180" y="730"/>
                      <a:pt x="182" y="660"/>
                      <a:pt x="183" y="606"/>
                    </a:cubicBezTo>
                    <a:cubicBezTo>
                      <a:pt x="185" y="563"/>
                      <a:pt x="171" y="521"/>
                      <a:pt x="144" y="487"/>
                    </a:cubicBezTo>
                    <a:cubicBezTo>
                      <a:pt x="112" y="445"/>
                      <a:pt x="69" y="389"/>
                      <a:pt x="53" y="361"/>
                    </a:cubicBezTo>
                    <a:cubicBezTo>
                      <a:pt x="0" y="270"/>
                      <a:pt x="147" y="120"/>
                      <a:pt x="226" y="51"/>
                    </a:cubicBezTo>
                    <a:cubicBezTo>
                      <a:pt x="284" y="0"/>
                      <a:pt x="284" y="0"/>
                      <a:pt x="284" y="0"/>
                    </a:cubicBezTo>
                    <a:cubicBezTo>
                      <a:pt x="583" y="918"/>
                      <a:pt x="583" y="918"/>
                      <a:pt x="583" y="918"/>
                    </a:cubicBezTo>
                    <a:cubicBezTo>
                      <a:pt x="506" y="911"/>
                      <a:pt x="506" y="911"/>
                      <a:pt x="506" y="911"/>
                    </a:cubicBezTo>
                    <a:cubicBezTo>
                      <a:pt x="401" y="902"/>
                      <a:pt x="194" y="867"/>
                      <a:pt x="183" y="762"/>
                    </a:cubicBez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1" name="Freeform 39">
                <a:extLst>
                  <a:ext uri="{FF2B5EF4-FFF2-40B4-BE49-F238E27FC236}">
                    <a16:creationId xmlns:a16="http://schemas.microsoft.com/office/drawing/2014/main" id="{1C89D9E9-38A6-4B58-B4A6-7E540FF95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" y="1182"/>
                <a:ext cx="676" cy="575"/>
              </a:xfrm>
              <a:custGeom>
                <a:avLst/>
                <a:gdLst>
                  <a:gd name="T0" fmla="*/ 1235 w 1235"/>
                  <a:gd name="T1" fmla="*/ 425 h 1054"/>
                  <a:gd name="T2" fmla="*/ 1031 w 1235"/>
                  <a:gd name="T3" fmla="*/ 1054 h 1054"/>
                  <a:gd name="T4" fmla="*/ 75 w 1235"/>
                  <a:gd name="T5" fmla="*/ 743 h 1054"/>
                  <a:gd name="T6" fmla="*/ 280 w 1235"/>
                  <a:gd name="T7" fmla="*/ 114 h 1054"/>
                  <a:gd name="T8" fmla="*/ 1235 w 1235"/>
                  <a:gd name="T9" fmla="*/ 425 h 1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5" h="1054">
                    <a:moveTo>
                      <a:pt x="1235" y="425"/>
                    </a:moveTo>
                    <a:cubicBezTo>
                      <a:pt x="1031" y="1054"/>
                      <a:pt x="1031" y="1054"/>
                      <a:pt x="1031" y="1054"/>
                    </a:cubicBezTo>
                    <a:cubicBezTo>
                      <a:pt x="1031" y="1054"/>
                      <a:pt x="189" y="967"/>
                      <a:pt x="75" y="743"/>
                    </a:cubicBezTo>
                    <a:cubicBezTo>
                      <a:pt x="0" y="596"/>
                      <a:pt x="132" y="189"/>
                      <a:pt x="280" y="114"/>
                    </a:cubicBezTo>
                    <a:cubicBezTo>
                      <a:pt x="503" y="0"/>
                      <a:pt x="1235" y="425"/>
                      <a:pt x="1235" y="425"/>
                    </a:cubicBezTo>
                    <a:close/>
                  </a:path>
                </a:pathLst>
              </a:custGeom>
              <a:solidFill>
                <a:srgbClr val="4A4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2" name="Freeform 40">
                <a:extLst>
                  <a:ext uri="{FF2B5EF4-FFF2-40B4-BE49-F238E27FC236}">
                    <a16:creationId xmlns:a16="http://schemas.microsoft.com/office/drawing/2014/main" id="{58CF7800-E88A-4D46-B3A6-8CFC6C7105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" y="1217"/>
                <a:ext cx="413" cy="397"/>
              </a:xfrm>
              <a:custGeom>
                <a:avLst/>
                <a:gdLst>
                  <a:gd name="T0" fmla="*/ 755 w 755"/>
                  <a:gd name="T1" fmla="*/ 125 h 726"/>
                  <a:gd name="T2" fmla="*/ 319 w 755"/>
                  <a:gd name="T3" fmla="*/ 437 h 726"/>
                  <a:gd name="T4" fmla="*/ 112 w 755"/>
                  <a:gd name="T5" fmla="*/ 726 h 726"/>
                  <a:gd name="T6" fmla="*/ 75 w 755"/>
                  <a:gd name="T7" fmla="*/ 678 h 726"/>
                  <a:gd name="T8" fmla="*/ 280 w 755"/>
                  <a:gd name="T9" fmla="*/ 49 h 726"/>
                  <a:gd name="T10" fmla="*/ 755 w 755"/>
                  <a:gd name="T11" fmla="*/ 125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55" h="726">
                    <a:moveTo>
                      <a:pt x="755" y="125"/>
                    </a:moveTo>
                    <a:cubicBezTo>
                      <a:pt x="579" y="153"/>
                      <a:pt x="345" y="269"/>
                      <a:pt x="319" y="437"/>
                    </a:cubicBezTo>
                    <a:cubicBezTo>
                      <a:pt x="291" y="616"/>
                      <a:pt x="168" y="698"/>
                      <a:pt x="112" y="726"/>
                    </a:cubicBezTo>
                    <a:cubicBezTo>
                      <a:pt x="96" y="711"/>
                      <a:pt x="83" y="695"/>
                      <a:pt x="75" y="678"/>
                    </a:cubicBezTo>
                    <a:cubicBezTo>
                      <a:pt x="0" y="531"/>
                      <a:pt x="132" y="124"/>
                      <a:pt x="280" y="49"/>
                    </a:cubicBezTo>
                    <a:cubicBezTo>
                      <a:pt x="376" y="0"/>
                      <a:pt x="568" y="51"/>
                      <a:pt x="755" y="125"/>
                    </a:cubicBezTo>
                    <a:close/>
                  </a:path>
                </a:pathLst>
              </a:custGeom>
              <a:solidFill>
                <a:srgbClr val="372F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3" name="Freeform 41">
                <a:extLst>
                  <a:ext uri="{FF2B5EF4-FFF2-40B4-BE49-F238E27FC236}">
                    <a16:creationId xmlns:a16="http://schemas.microsoft.com/office/drawing/2014/main" id="{F05E0716-859C-44C2-8CC1-59ED0A94C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3" y="1084"/>
                <a:ext cx="277" cy="571"/>
              </a:xfrm>
              <a:custGeom>
                <a:avLst/>
                <a:gdLst>
                  <a:gd name="T0" fmla="*/ 507 w 507"/>
                  <a:gd name="T1" fmla="*/ 53 h 1045"/>
                  <a:gd name="T2" fmla="*/ 185 w 507"/>
                  <a:gd name="T3" fmla="*/ 1045 h 1045"/>
                  <a:gd name="T4" fmla="*/ 108 w 507"/>
                  <a:gd name="T5" fmla="*/ 1020 h 1045"/>
                  <a:gd name="T6" fmla="*/ 1 w 507"/>
                  <a:gd name="T7" fmla="*/ 810 h 1045"/>
                  <a:gd name="T8" fmla="*/ 30 w 507"/>
                  <a:gd name="T9" fmla="*/ 446 h 1045"/>
                  <a:gd name="T10" fmla="*/ 220 w 507"/>
                  <a:gd name="T11" fmla="*/ 135 h 1045"/>
                  <a:gd name="T12" fmla="*/ 430 w 507"/>
                  <a:gd name="T13" fmla="*/ 28 h 1045"/>
                  <a:gd name="T14" fmla="*/ 507 w 507"/>
                  <a:gd name="T15" fmla="*/ 53 h 10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7" h="1045">
                    <a:moveTo>
                      <a:pt x="507" y="53"/>
                    </a:moveTo>
                    <a:cubicBezTo>
                      <a:pt x="185" y="1045"/>
                      <a:pt x="185" y="1045"/>
                      <a:pt x="185" y="1045"/>
                    </a:cubicBezTo>
                    <a:cubicBezTo>
                      <a:pt x="108" y="1020"/>
                      <a:pt x="108" y="1020"/>
                      <a:pt x="108" y="1020"/>
                    </a:cubicBezTo>
                    <a:cubicBezTo>
                      <a:pt x="20" y="991"/>
                      <a:pt x="2" y="869"/>
                      <a:pt x="1" y="810"/>
                    </a:cubicBezTo>
                    <a:cubicBezTo>
                      <a:pt x="0" y="719"/>
                      <a:pt x="30" y="446"/>
                      <a:pt x="30" y="446"/>
                    </a:cubicBezTo>
                    <a:cubicBezTo>
                      <a:pt x="30" y="446"/>
                      <a:pt x="166" y="208"/>
                      <a:pt x="220" y="135"/>
                    </a:cubicBezTo>
                    <a:cubicBezTo>
                      <a:pt x="255" y="88"/>
                      <a:pt x="342" y="0"/>
                      <a:pt x="430" y="28"/>
                    </a:cubicBezTo>
                    <a:lnTo>
                      <a:pt x="507" y="53"/>
                    </a:ln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4" name="Freeform 42">
                <a:extLst>
                  <a:ext uri="{FF2B5EF4-FFF2-40B4-BE49-F238E27FC236}">
                    <a16:creationId xmlns:a16="http://schemas.microsoft.com/office/drawing/2014/main" id="{C5EA4983-78FE-486E-B0B0-52A3345D6F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8" y="1124"/>
                <a:ext cx="319" cy="502"/>
              </a:xfrm>
              <a:custGeom>
                <a:avLst/>
                <a:gdLst>
                  <a:gd name="T0" fmla="*/ 530 w 583"/>
                  <a:gd name="T1" fmla="*/ 361 h 919"/>
                  <a:gd name="T2" fmla="*/ 439 w 583"/>
                  <a:gd name="T3" fmla="*/ 487 h 919"/>
                  <a:gd name="T4" fmla="*/ 400 w 583"/>
                  <a:gd name="T5" fmla="*/ 607 h 919"/>
                  <a:gd name="T6" fmla="*/ 400 w 583"/>
                  <a:gd name="T7" fmla="*/ 763 h 919"/>
                  <a:gd name="T8" fmla="*/ 78 w 583"/>
                  <a:gd name="T9" fmla="*/ 912 h 919"/>
                  <a:gd name="T10" fmla="*/ 0 w 583"/>
                  <a:gd name="T11" fmla="*/ 919 h 919"/>
                  <a:gd name="T12" fmla="*/ 299 w 583"/>
                  <a:gd name="T13" fmla="*/ 0 h 919"/>
                  <a:gd name="T14" fmla="*/ 357 w 583"/>
                  <a:gd name="T15" fmla="*/ 51 h 919"/>
                  <a:gd name="T16" fmla="*/ 530 w 583"/>
                  <a:gd name="T17" fmla="*/ 361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3" h="919">
                    <a:moveTo>
                      <a:pt x="530" y="361"/>
                    </a:moveTo>
                    <a:cubicBezTo>
                      <a:pt x="514" y="389"/>
                      <a:pt x="471" y="445"/>
                      <a:pt x="439" y="487"/>
                    </a:cubicBezTo>
                    <a:cubicBezTo>
                      <a:pt x="412" y="521"/>
                      <a:pt x="398" y="564"/>
                      <a:pt x="400" y="607"/>
                    </a:cubicBezTo>
                    <a:cubicBezTo>
                      <a:pt x="402" y="660"/>
                      <a:pt x="403" y="730"/>
                      <a:pt x="400" y="763"/>
                    </a:cubicBezTo>
                    <a:cubicBezTo>
                      <a:pt x="389" y="867"/>
                      <a:pt x="182" y="902"/>
                      <a:pt x="78" y="912"/>
                    </a:cubicBezTo>
                    <a:cubicBezTo>
                      <a:pt x="0" y="919"/>
                      <a:pt x="0" y="919"/>
                      <a:pt x="0" y="919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357" y="51"/>
                      <a:pt x="357" y="51"/>
                      <a:pt x="357" y="51"/>
                    </a:cubicBezTo>
                    <a:cubicBezTo>
                      <a:pt x="436" y="120"/>
                      <a:pt x="583" y="270"/>
                      <a:pt x="530" y="361"/>
                    </a:cubicBez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5" name="Freeform 43">
                <a:extLst>
                  <a:ext uri="{FF2B5EF4-FFF2-40B4-BE49-F238E27FC236}">
                    <a16:creationId xmlns:a16="http://schemas.microsoft.com/office/drawing/2014/main" id="{88A0CF3D-29DB-4F98-A884-0871A6CC5F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4" y="2268"/>
                <a:ext cx="632" cy="661"/>
              </a:xfrm>
              <a:custGeom>
                <a:avLst/>
                <a:gdLst>
                  <a:gd name="T0" fmla="*/ 1153 w 1155"/>
                  <a:gd name="T1" fmla="*/ 770 h 1210"/>
                  <a:gd name="T2" fmla="*/ 646 w 1155"/>
                  <a:gd name="T3" fmla="*/ 1196 h 1210"/>
                  <a:gd name="T4" fmla="*/ 439 w 1155"/>
                  <a:gd name="T5" fmla="*/ 1065 h 1210"/>
                  <a:gd name="T6" fmla="*/ 284 w 1155"/>
                  <a:gd name="T7" fmla="*/ 879 h 1210"/>
                  <a:gd name="T8" fmla="*/ 0 w 1155"/>
                  <a:gd name="T9" fmla="*/ 426 h 1210"/>
                  <a:gd name="T10" fmla="*/ 507 w 1155"/>
                  <a:gd name="T11" fmla="*/ 0 h 1210"/>
                  <a:gd name="T12" fmla="*/ 855 w 1155"/>
                  <a:gd name="T13" fmla="*/ 307 h 1210"/>
                  <a:gd name="T14" fmla="*/ 996 w 1155"/>
                  <a:gd name="T15" fmla="*/ 460 h 1210"/>
                  <a:gd name="T16" fmla="*/ 1147 w 1155"/>
                  <a:gd name="T17" fmla="*/ 711 h 1210"/>
                  <a:gd name="T18" fmla="*/ 1153 w 1155"/>
                  <a:gd name="T19" fmla="*/ 770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5" h="1210">
                    <a:moveTo>
                      <a:pt x="1153" y="770"/>
                    </a:moveTo>
                    <a:cubicBezTo>
                      <a:pt x="1139" y="935"/>
                      <a:pt x="811" y="1210"/>
                      <a:pt x="646" y="1196"/>
                    </a:cubicBezTo>
                    <a:cubicBezTo>
                      <a:pt x="584" y="1190"/>
                      <a:pt x="512" y="1139"/>
                      <a:pt x="439" y="1065"/>
                    </a:cubicBezTo>
                    <a:cubicBezTo>
                      <a:pt x="386" y="1012"/>
                      <a:pt x="334" y="947"/>
                      <a:pt x="284" y="879"/>
                    </a:cubicBezTo>
                    <a:cubicBezTo>
                      <a:pt x="128" y="667"/>
                      <a:pt x="0" y="426"/>
                      <a:pt x="0" y="426"/>
                    </a:cubicBezTo>
                    <a:cubicBezTo>
                      <a:pt x="507" y="0"/>
                      <a:pt x="507" y="0"/>
                      <a:pt x="507" y="0"/>
                    </a:cubicBezTo>
                    <a:cubicBezTo>
                      <a:pt x="507" y="0"/>
                      <a:pt x="686" y="139"/>
                      <a:pt x="855" y="307"/>
                    </a:cubicBezTo>
                    <a:cubicBezTo>
                      <a:pt x="904" y="357"/>
                      <a:pt x="953" y="408"/>
                      <a:pt x="996" y="460"/>
                    </a:cubicBezTo>
                    <a:cubicBezTo>
                      <a:pt x="1070" y="548"/>
                      <a:pt x="1129" y="637"/>
                      <a:pt x="1147" y="711"/>
                    </a:cubicBezTo>
                    <a:cubicBezTo>
                      <a:pt x="1153" y="732"/>
                      <a:pt x="1155" y="752"/>
                      <a:pt x="1153" y="770"/>
                    </a:cubicBez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6" name="Freeform 44">
                <a:extLst>
                  <a:ext uri="{FF2B5EF4-FFF2-40B4-BE49-F238E27FC236}">
                    <a16:creationId xmlns:a16="http://schemas.microsoft.com/office/drawing/2014/main" id="{CDBB5449-D19B-4035-9AB5-CF4F41C729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5" y="2520"/>
                <a:ext cx="391" cy="409"/>
              </a:xfrm>
              <a:custGeom>
                <a:avLst/>
                <a:gdLst>
                  <a:gd name="T0" fmla="*/ 714 w 716"/>
                  <a:gd name="T1" fmla="*/ 310 h 750"/>
                  <a:gd name="T2" fmla="*/ 207 w 716"/>
                  <a:gd name="T3" fmla="*/ 736 h 750"/>
                  <a:gd name="T4" fmla="*/ 0 w 716"/>
                  <a:gd name="T5" fmla="*/ 605 h 750"/>
                  <a:gd name="T6" fmla="*/ 371 w 716"/>
                  <a:gd name="T7" fmla="*/ 346 h 750"/>
                  <a:gd name="T8" fmla="*/ 557 w 716"/>
                  <a:gd name="T9" fmla="*/ 0 h 750"/>
                  <a:gd name="T10" fmla="*/ 708 w 716"/>
                  <a:gd name="T11" fmla="*/ 251 h 750"/>
                  <a:gd name="T12" fmla="*/ 714 w 716"/>
                  <a:gd name="T13" fmla="*/ 31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6" h="750">
                    <a:moveTo>
                      <a:pt x="714" y="310"/>
                    </a:moveTo>
                    <a:cubicBezTo>
                      <a:pt x="700" y="475"/>
                      <a:pt x="372" y="750"/>
                      <a:pt x="207" y="736"/>
                    </a:cubicBezTo>
                    <a:cubicBezTo>
                      <a:pt x="145" y="730"/>
                      <a:pt x="73" y="679"/>
                      <a:pt x="0" y="605"/>
                    </a:cubicBezTo>
                    <a:cubicBezTo>
                      <a:pt x="168" y="609"/>
                      <a:pt x="368" y="481"/>
                      <a:pt x="371" y="346"/>
                    </a:cubicBezTo>
                    <a:cubicBezTo>
                      <a:pt x="375" y="174"/>
                      <a:pt x="483" y="79"/>
                      <a:pt x="557" y="0"/>
                    </a:cubicBezTo>
                    <a:cubicBezTo>
                      <a:pt x="631" y="88"/>
                      <a:pt x="690" y="177"/>
                      <a:pt x="708" y="251"/>
                    </a:cubicBezTo>
                    <a:cubicBezTo>
                      <a:pt x="714" y="272"/>
                      <a:pt x="716" y="292"/>
                      <a:pt x="714" y="310"/>
                    </a:cubicBezTo>
                    <a:close/>
                  </a:path>
                </a:pathLst>
              </a:custGeom>
              <a:solidFill>
                <a:srgbClr val="EC40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7" name="Freeform 45">
                <a:extLst>
                  <a:ext uri="{FF2B5EF4-FFF2-40B4-BE49-F238E27FC236}">
                    <a16:creationId xmlns:a16="http://schemas.microsoft.com/office/drawing/2014/main" id="{35AE25BB-1973-4B47-B8E9-E4715CE4E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2" y="2695"/>
                <a:ext cx="499" cy="438"/>
              </a:xfrm>
              <a:custGeom>
                <a:avLst/>
                <a:gdLst>
                  <a:gd name="T0" fmla="*/ 0 w 910"/>
                  <a:gd name="T1" fmla="*/ 670 h 803"/>
                  <a:gd name="T2" fmla="*/ 799 w 910"/>
                  <a:gd name="T3" fmla="*/ 0 h 803"/>
                  <a:gd name="T4" fmla="*/ 851 w 910"/>
                  <a:gd name="T5" fmla="*/ 62 h 803"/>
                  <a:gd name="T6" fmla="*/ 831 w 910"/>
                  <a:gd name="T7" fmla="*/ 297 h 803"/>
                  <a:gd name="T8" fmla="*/ 614 w 910"/>
                  <a:gd name="T9" fmla="*/ 590 h 803"/>
                  <a:gd name="T10" fmla="*/ 287 w 910"/>
                  <a:gd name="T11" fmla="*/ 753 h 803"/>
                  <a:gd name="T12" fmla="*/ 53 w 910"/>
                  <a:gd name="T13" fmla="*/ 732 h 803"/>
                  <a:gd name="T14" fmla="*/ 0 w 910"/>
                  <a:gd name="T15" fmla="*/ 670 h 8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0" h="803">
                    <a:moveTo>
                      <a:pt x="0" y="670"/>
                    </a:moveTo>
                    <a:cubicBezTo>
                      <a:pt x="799" y="0"/>
                      <a:pt x="799" y="0"/>
                      <a:pt x="799" y="0"/>
                    </a:cubicBezTo>
                    <a:cubicBezTo>
                      <a:pt x="851" y="62"/>
                      <a:pt x="851" y="62"/>
                      <a:pt x="851" y="62"/>
                    </a:cubicBezTo>
                    <a:cubicBezTo>
                      <a:pt x="910" y="133"/>
                      <a:pt x="861" y="246"/>
                      <a:pt x="831" y="297"/>
                    </a:cubicBezTo>
                    <a:cubicBezTo>
                      <a:pt x="784" y="375"/>
                      <a:pt x="614" y="590"/>
                      <a:pt x="614" y="590"/>
                    </a:cubicBezTo>
                    <a:cubicBezTo>
                      <a:pt x="614" y="590"/>
                      <a:pt x="372" y="720"/>
                      <a:pt x="287" y="753"/>
                    </a:cubicBezTo>
                    <a:cubicBezTo>
                      <a:pt x="232" y="774"/>
                      <a:pt x="112" y="803"/>
                      <a:pt x="53" y="732"/>
                    </a:cubicBezTo>
                    <a:lnTo>
                      <a:pt x="0" y="670"/>
                    </a:ln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8" name="Freeform 46">
                <a:extLst>
                  <a:ext uri="{FF2B5EF4-FFF2-40B4-BE49-F238E27FC236}">
                    <a16:creationId xmlns:a16="http://schemas.microsoft.com/office/drawing/2014/main" id="{0607F2B9-52D5-46E4-B79A-412D7CFB54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" y="2651"/>
                <a:ext cx="459" cy="428"/>
              </a:xfrm>
              <a:custGeom>
                <a:avLst/>
                <a:gdLst>
                  <a:gd name="T0" fmla="*/ 92 w 837"/>
                  <a:gd name="T1" fmla="*/ 354 h 783"/>
                  <a:gd name="T2" fmla="*/ 237 w 837"/>
                  <a:gd name="T3" fmla="*/ 296 h 783"/>
                  <a:gd name="T4" fmla="*/ 333 w 837"/>
                  <a:gd name="T5" fmla="*/ 215 h 783"/>
                  <a:gd name="T6" fmla="*/ 416 w 837"/>
                  <a:gd name="T7" fmla="*/ 83 h 783"/>
                  <a:gd name="T8" fmla="*/ 768 w 837"/>
                  <a:gd name="T9" fmla="*/ 127 h 783"/>
                  <a:gd name="T10" fmla="*/ 837 w 837"/>
                  <a:gd name="T11" fmla="*/ 162 h 783"/>
                  <a:gd name="T12" fmla="*/ 97 w 837"/>
                  <a:gd name="T13" fmla="*/ 783 h 783"/>
                  <a:gd name="T14" fmla="*/ 75 w 837"/>
                  <a:gd name="T15" fmla="*/ 709 h 783"/>
                  <a:gd name="T16" fmla="*/ 92 w 837"/>
                  <a:gd name="T17" fmla="*/ 354 h 7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37" h="783">
                    <a:moveTo>
                      <a:pt x="92" y="354"/>
                    </a:moveTo>
                    <a:cubicBezTo>
                      <a:pt x="121" y="339"/>
                      <a:pt x="187" y="314"/>
                      <a:pt x="237" y="296"/>
                    </a:cubicBezTo>
                    <a:cubicBezTo>
                      <a:pt x="277" y="281"/>
                      <a:pt x="311" y="252"/>
                      <a:pt x="333" y="215"/>
                    </a:cubicBezTo>
                    <a:cubicBezTo>
                      <a:pt x="360" y="169"/>
                      <a:pt x="396" y="109"/>
                      <a:pt x="416" y="83"/>
                    </a:cubicBezTo>
                    <a:cubicBezTo>
                      <a:pt x="480" y="0"/>
                      <a:pt x="674" y="80"/>
                      <a:pt x="768" y="127"/>
                    </a:cubicBezTo>
                    <a:cubicBezTo>
                      <a:pt x="837" y="162"/>
                      <a:pt x="837" y="162"/>
                      <a:pt x="837" y="162"/>
                    </a:cubicBezTo>
                    <a:cubicBezTo>
                      <a:pt x="97" y="783"/>
                      <a:pt x="97" y="783"/>
                      <a:pt x="97" y="783"/>
                    </a:cubicBezTo>
                    <a:cubicBezTo>
                      <a:pt x="75" y="709"/>
                      <a:pt x="75" y="709"/>
                      <a:pt x="75" y="709"/>
                    </a:cubicBezTo>
                    <a:cubicBezTo>
                      <a:pt x="45" y="608"/>
                      <a:pt x="0" y="403"/>
                      <a:pt x="92" y="354"/>
                    </a:cubicBez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9" name="Freeform 47">
                <a:extLst>
                  <a:ext uri="{FF2B5EF4-FFF2-40B4-BE49-F238E27FC236}">
                    <a16:creationId xmlns:a16="http://schemas.microsoft.com/office/drawing/2014/main" id="{F5BD1795-2483-49C4-B803-BF4627B2C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2" y="2240"/>
                <a:ext cx="709" cy="722"/>
              </a:xfrm>
              <a:custGeom>
                <a:avLst/>
                <a:gdLst>
                  <a:gd name="T0" fmla="*/ 772 w 1295"/>
                  <a:gd name="T1" fmla="*/ 0 h 1324"/>
                  <a:gd name="T2" fmla="*/ 987 w 1295"/>
                  <a:gd name="T3" fmla="*/ 181 h 1324"/>
                  <a:gd name="T4" fmla="*/ 474 w 1295"/>
                  <a:gd name="T5" fmla="*/ 832 h 1324"/>
                  <a:gd name="T6" fmla="*/ 369 w 1295"/>
                  <a:gd name="T7" fmla="*/ 1007 h 1324"/>
                  <a:gd name="T8" fmla="*/ 506 w 1295"/>
                  <a:gd name="T9" fmla="*/ 879 h 1324"/>
                  <a:gd name="T10" fmla="*/ 1058 w 1295"/>
                  <a:gd name="T11" fmla="*/ 241 h 1324"/>
                  <a:gd name="T12" fmla="*/ 1295 w 1295"/>
                  <a:gd name="T13" fmla="*/ 440 h 1324"/>
                  <a:gd name="T14" fmla="*/ 657 w 1295"/>
                  <a:gd name="T15" fmla="*/ 1323 h 1324"/>
                  <a:gd name="T16" fmla="*/ 12 w 1295"/>
                  <a:gd name="T17" fmla="*/ 782 h 1324"/>
                  <a:gd name="T18" fmla="*/ 772 w 1295"/>
                  <a:gd name="T19" fmla="*/ 0 h 1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95" h="1324">
                    <a:moveTo>
                      <a:pt x="772" y="0"/>
                    </a:moveTo>
                    <a:cubicBezTo>
                      <a:pt x="987" y="181"/>
                      <a:pt x="987" y="181"/>
                      <a:pt x="987" y="181"/>
                    </a:cubicBezTo>
                    <a:cubicBezTo>
                      <a:pt x="987" y="181"/>
                      <a:pt x="651" y="589"/>
                      <a:pt x="474" y="832"/>
                    </a:cubicBezTo>
                    <a:cubicBezTo>
                      <a:pt x="404" y="928"/>
                      <a:pt x="358" y="998"/>
                      <a:pt x="369" y="1007"/>
                    </a:cubicBezTo>
                    <a:cubicBezTo>
                      <a:pt x="377" y="1013"/>
                      <a:pt x="431" y="960"/>
                      <a:pt x="506" y="879"/>
                    </a:cubicBezTo>
                    <a:cubicBezTo>
                      <a:pt x="708" y="660"/>
                      <a:pt x="1058" y="241"/>
                      <a:pt x="1058" y="241"/>
                    </a:cubicBezTo>
                    <a:cubicBezTo>
                      <a:pt x="1295" y="440"/>
                      <a:pt x="1295" y="440"/>
                      <a:pt x="1295" y="440"/>
                    </a:cubicBezTo>
                    <a:cubicBezTo>
                      <a:pt x="1295" y="440"/>
                      <a:pt x="743" y="1324"/>
                      <a:pt x="657" y="1323"/>
                    </a:cubicBezTo>
                    <a:cubicBezTo>
                      <a:pt x="469" y="1322"/>
                      <a:pt x="32" y="961"/>
                      <a:pt x="12" y="782"/>
                    </a:cubicBezTo>
                    <a:cubicBezTo>
                      <a:pt x="0" y="675"/>
                      <a:pt x="772" y="0"/>
                      <a:pt x="772" y="0"/>
                    </a:cubicBezTo>
                  </a:path>
                </a:pathLst>
              </a:custGeom>
              <a:solidFill>
                <a:srgbClr val="213C4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0" name="Freeform 48">
                <a:extLst>
                  <a:ext uri="{FF2B5EF4-FFF2-40B4-BE49-F238E27FC236}">
                    <a16:creationId xmlns:a16="http://schemas.microsoft.com/office/drawing/2014/main" id="{263482B7-8058-45E6-8794-89CD4192F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5" y="2460"/>
                <a:ext cx="430" cy="502"/>
              </a:xfrm>
              <a:custGeom>
                <a:avLst/>
                <a:gdLst>
                  <a:gd name="T0" fmla="*/ 326 w 785"/>
                  <a:gd name="T1" fmla="*/ 0 h 919"/>
                  <a:gd name="T2" fmla="*/ 516 w 785"/>
                  <a:gd name="T3" fmla="*/ 363 h 919"/>
                  <a:gd name="T4" fmla="*/ 468 w 785"/>
                  <a:gd name="T5" fmla="*/ 427 h 919"/>
                  <a:gd name="T6" fmla="*/ 363 w 785"/>
                  <a:gd name="T7" fmla="*/ 603 h 919"/>
                  <a:gd name="T8" fmla="*/ 500 w 785"/>
                  <a:gd name="T9" fmla="*/ 475 h 919"/>
                  <a:gd name="T10" fmla="*/ 549 w 785"/>
                  <a:gd name="T11" fmla="*/ 421 h 919"/>
                  <a:gd name="T12" fmla="*/ 785 w 785"/>
                  <a:gd name="T13" fmla="*/ 784 h 919"/>
                  <a:gd name="T14" fmla="*/ 651 w 785"/>
                  <a:gd name="T15" fmla="*/ 919 h 919"/>
                  <a:gd name="T16" fmla="*/ 6 w 785"/>
                  <a:gd name="T17" fmla="*/ 378 h 919"/>
                  <a:gd name="T18" fmla="*/ 326 w 785"/>
                  <a:gd name="T19" fmla="*/ 0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5" h="919">
                    <a:moveTo>
                      <a:pt x="326" y="0"/>
                    </a:moveTo>
                    <a:cubicBezTo>
                      <a:pt x="384" y="118"/>
                      <a:pt x="449" y="243"/>
                      <a:pt x="516" y="363"/>
                    </a:cubicBezTo>
                    <a:cubicBezTo>
                      <a:pt x="499" y="385"/>
                      <a:pt x="483" y="407"/>
                      <a:pt x="468" y="427"/>
                    </a:cubicBezTo>
                    <a:cubicBezTo>
                      <a:pt x="398" y="524"/>
                      <a:pt x="352" y="594"/>
                      <a:pt x="363" y="603"/>
                    </a:cubicBezTo>
                    <a:cubicBezTo>
                      <a:pt x="371" y="609"/>
                      <a:pt x="425" y="556"/>
                      <a:pt x="500" y="475"/>
                    </a:cubicBezTo>
                    <a:cubicBezTo>
                      <a:pt x="516" y="458"/>
                      <a:pt x="532" y="440"/>
                      <a:pt x="549" y="421"/>
                    </a:cubicBezTo>
                    <a:cubicBezTo>
                      <a:pt x="629" y="560"/>
                      <a:pt x="710" y="689"/>
                      <a:pt x="785" y="784"/>
                    </a:cubicBezTo>
                    <a:cubicBezTo>
                      <a:pt x="722" y="866"/>
                      <a:pt x="672" y="919"/>
                      <a:pt x="651" y="919"/>
                    </a:cubicBezTo>
                    <a:cubicBezTo>
                      <a:pt x="463" y="918"/>
                      <a:pt x="26" y="557"/>
                      <a:pt x="6" y="378"/>
                    </a:cubicBezTo>
                    <a:cubicBezTo>
                      <a:pt x="0" y="330"/>
                      <a:pt x="155" y="166"/>
                      <a:pt x="326" y="0"/>
                    </a:cubicBezTo>
                    <a:close/>
                  </a:path>
                </a:pathLst>
              </a:custGeom>
              <a:solidFill>
                <a:srgbClr val="1B33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1" name="Freeform 49">
                <a:extLst>
                  <a:ext uri="{FF2B5EF4-FFF2-40B4-BE49-F238E27FC236}">
                    <a16:creationId xmlns:a16="http://schemas.microsoft.com/office/drawing/2014/main" id="{EE5AAC3D-3209-4B7B-A086-4B4B2BA22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2" y="2627"/>
                <a:ext cx="614" cy="548"/>
              </a:xfrm>
              <a:custGeom>
                <a:avLst/>
                <a:gdLst>
                  <a:gd name="T0" fmla="*/ 176 w 1122"/>
                  <a:gd name="T1" fmla="*/ 0 h 1004"/>
                  <a:gd name="T2" fmla="*/ 1122 w 1122"/>
                  <a:gd name="T3" fmla="*/ 793 h 1004"/>
                  <a:gd name="T4" fmla="*/ 1021 w 1122"/>
                  <a:gd name="T5" fmla="*/ 914 h 1004"/>
                  <a:gd name="T6" fmla="*/ 410 w 1122"/>
                  <a:gd name="T7" fmla="*/ 682 h 1004"/>
                  <a:gd name="T8" fmla="*/ 75 w 1122"/>
                  <a:gd name="T9" fmla="*/ 120 h 1004"/>
                  <a:gd name="T10" fmla="*/ 176 w 1122"/>
                  <a:gd name="T11" fmla="*/ 0 h 1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22" h="1004">
                    <a:moveTo>
                      <a:pt x="176" y="0"/>
                    </a:moveTo>
                    <a:cubicBezTo>
                      <a:pt x="1122" y="793"/>
                      <a:pt x="1122" y="793"/>
                      <a:pt x="1122" y="793"/>
                    </a:cubicBezTo>
                    <a:cubicBezTo>
                      <a:pt x="1021" y="914"/>
                      <a:pt x="1021" y="914"/>
                      <a:pt x="1021" y="914"/>
                    </a:cubicBezTo>
                    <a:cubicBezTo>
                      <a:pt x="946" y="1004"/>
                      <a:pt x="699" y="924"/>
                      <a:pt x="410" y="682"/>
                    </a:cubicBezTo>
                    <a:cubicBezTo>
                      <a:pt x="105" y="426"/>
                      <a:pt x="0" y="210"/>
                      <a:pt x="75" y="120"/>
                    </a:cubicBezTo>
                    <a:cubicBezTo>
                      <a:pt x="92" y="100"/>
                      <a:pt x="176" y="0"/>
                      <a:pt x="176" y="0"/>
                    </a:cubicBezTo>
                    <a:close/>
                  </a:path>
                </a:pathLst>
              </a:custGeom>
              <a:solidFill>
                <a:srgbClr val="4470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2" name="Freeform 50">
                <a:extLst>
                  <a:ext uri="{FF2B5EF4-FFF2-40B4-BE49-F238E27FC236}">
                    <a16:creationId xmlns:a16="http://schemas.microsoft.com/office/drawing/2014/main" id="{1F56ABCF-2BC2-41A6-8E90-EB4A758B57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9" y="2610"/>
                <a:ext cx="490" cy="441"/>
              </a:xfrm>
              <a:custGeom>
                <a:avLst/>
                <a:gdLst>
                  <a:gd name="T0" fmla="*/ 420 w 896"/>
                  <a:gd name="T1" fmla="*/ 86 h 808"/>
                  <a:gd name="T2" fmla="*/ 783 w 896"/>
                  <a:gd name="T3" fmla="*/ 390 h 808"/>
                  <a:gd name="T4" fmla="*/ 859 w 896"/>
                  <a:gd name="T5" fmla="*/ 651 h 808"/>
                  <a:gd name="T6" fmla="*/ 830 w 896"/>
                  <a:gd name="T7" fmla="*/ 808 h 808"/>
                  <a:gd name="T8" fmla="*/ 0 w 896"/>
                  <a:gd name="T9" fmla="*/ 111 h 808"/>
                  <a:gd name="T10" fmla="*/ 150 w 896"/>
                  <a:gd name="T11" fmla="*/ 56 h 808"/>
                  <a:gd name="T12" fmla="*/ 420 w 896"/>
                  <a:gd name="T13" fmla="*/ 86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96" h="808">
                    <a:moveTo>
                      <a:pt x="420" y="86"/>
                    </a:moveTo>
                    <a:cubicBezTo>
                      <a:pt x="512" y="160"/>
                      <a:pt x="693" y="313"/>
                      <a:pt x="783" y="390"/>
                    </a:cubicBezTo>
                    <a:cubicBezTo>
                      <a:pt x="838" y="439"/>
                      <a:pt x="896" y="541"/>
                      <a:pt x="859" y="651"/>
                    </a:cubicBezTo>
                    <a:cubicBezTo>
                      <a:pt x="830" y="808"/>
                      <a:pt x="830" y="808"/>
                      <a:pt x="830" y="808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252" y="0"/>
                      <a:pt x="362" y="39"/>
                      <a:pt x="420" y="86"/>
                    </a:cubicBezTo>
                    <a:close/>
                  </a:path>
                </a:pathLst>
              </a:custGeom>
              <a:solidFill>
                <a:srgbClr val="4470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3" name="Freeform 51">
                <a:extLst>
                  <a:ext uri="{FF2B5EF4-FFF2-40B4-BE49-F238E27FC236}">
                    <a16:creationId xmlns:a16="http://schemas.microsoft.com/office/drawing/2014/main" id="{7E7A7239-7E27-4D36-9211-068044E882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4" y="2684"/>
                <a:ext cx="407" cy="405"/>
              </a:xfrm>
              <a:custGeom>
                <a:avLst/>
                <a:gdLst>
                  <a:gd name="T0" fmla="*/ 126 w 743"/>
                  <a:gd name="T1" fmla="*/ 179 h 741"/>
                  <a:gd name="T2" fmla="*/ 599 w 743"/>
                  <a:gd name="T3" fmla="*/ 114 h 741"/>
                  <a:gd name="T4" fmla="*/ 617 w 743"/>
                  <a:gd name="T5" fmla="*/ 591 h 741"/>
                  <a:gd name="T6" fmla="*/ 172 w 743"/>
                  <a:gd name="T7" fmla="*/ 623 h 741"/>
                  <a:gd name="T8" fmla="*/ 126 w 743"/>
                  <a:gd name="T9" fmla="*/ 179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3" h="741">
                    <a:moveTo>
                      <a:pt x="126" y="179"/>
                    </a:moveTo>
                    <a:cubicBezTo>
                      <a:pt x="251" y="29"/>
                      <a:pt x="463" y="0"/>
                      <a:pt x="599" y="114"/>
                    </a:cubicBezTo>
                    <a:cubicBezTo>
                      <a:pt x="735" y="228"/>
                      <a:pt x="743" y="442"/>
                      <a:pt x="617" y="591"/>
                    </a:cubicBezTo>
                    <a:cubicBezTo>
                      <a:pt x="491" y="741"/>
                      <a:pt x="307" y="737"/>
                      <a:pt x="172" y="623"/>
                    </a:cubicBezTo>
                    <a:cubicBezTo>
                      <a:pt x="36" y="509"/>
                      <a:pt x="0" y="329"/>
                      <a:pt x="126" y="179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" name="Freeform 52">
                <a:extLst>
                  <a:ext uri="{FF2B5EF4-FFF2-40B4-BE49-F238E27FC236}">
                    <a16:creationId xmlns:a16="http://schemas.microsoft.com/office/drawing/2014/main" id="{B158B3FC-FF73-4F0B-B547-E7B5ADB0A1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9" y="2723"/>
                <a:ext cx="442" cy="405"/>
              </a:xfrm>
              <a:custGeom>
                <a:avLst/>
                <a:gdLst>
                  <a:gd name="T0" fmla="*/ 142 w 806"/>
                  <a:gd name="T1" fmla="*/ 134 h 741"/>
                  <a:gd name="T2" fmla="*/ 365 w 806"/>
                  <a:gd name="T3" fmla="*/ 4 h 741"/>
                  <a:gd name="T4" fmla="*/ 457 w 806"/>
                  <a:gd name="T5" fmla="*/ 57 h 741"/>
                  <a:gd name="T6" fmla="*/ 637 w 806"/>
                  <a:gd name="T7" fmla="*/ 74 h 741"/>
                  <a:gd name="T8" fmla="*/ 664 w 806"/>
                  <a:gd name="T9" fmla="*/ 572 h 741"/>
                  <a:gd name="T10" fmla="*/ 223 w 806"/>
                  <a:gd name="T11" fmla="*/ 568 h 741"/>
                  <a:gd name="T12" fmla="*/ 142 w 806"/>
                  <a:gd name="T13" fmla="*/ 134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6" h="741">
                    <a:moveTo>
                      <a:pt x="142" y="134"/>
                    </a:moveTo>
                    <a:cubicBezTo>
                      <a:pt x="208" y="54"/>
                      <a:pt x="292" y="0"/>
                      <a:pt x="365" y="4"/>
                    </a:cubicBezTo>
                    <a:cubicBezTo>
                      <a:pt x="400" y="6"/>
                      <a:pt x="419" y="49"/>
                      <a:pt x="457" y="57"/>
                    </a:cubicBezTo>
                    <a:cubicBezTo>
                      <a:pt x="510" y="69"/>
                      <a:pt x="552" y="4"/>
                      <a:pt x="637" y="74"/>
                    </a:cubicBezTo>
                    <a:cubicBezTo>
                      <a:pt x="783" y="194"/>
                      <a:pt x="806" y="403"/>
                      <a:pt x="664" y="572"/>
                    </a:cubicBezTo>
                    <a:cubicBezTo>
                      <a:pt x="522" y="741"/>
                      <a:pt x="367" y="689"/>
                      <a:pt x="223" y="568"/>
                    </a:cubicBezTo>
                    <a:cubicBezTo>
                      <a:pt x="78" y="447"/>
                      <a:pt x="0" y="303"/>
                      <a:pt x="142" y="134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" name="Freeform 53">
                <a:extLst>
                  <a:ext uri="{FF2B5EF4-FFF2-40B4-BE49-F238E27FC236}">
                    <a16:creationId xmlns:a16="http://schemas.microsoft.com/office/drawing/2014/main" id="{16413F5E-70EB-47F8-8FC2-807885A30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5" y="2743"/>
                <a:ext cx="374" cy="361"/>
              </a:xfrm>
              <a:custGeom>
                <a:avLst/>
                <a:gdLst>
                  <a:gd name="T0" fmla="*/ 127 w 684"/>
                  <a:gd name="T1" fmla="*/ 177 h 661"/>
                  <a:gd name="T2" fmla="*/ 314 w 684"/>
                  <a:gd name="T3" fmla="*/ 49 h 661"/>
                  <a:gd name="T4" fmla="*/ 390 w 684"/>
                  <a:gd name="T5" fmla="*/ 69 h 661"/>
                  <a:gd name="T6" fmla="*/ 533 w 684"/>
                  <a:gd name="T7" fmla="*/ 62 h 661"/>
                  <a:gd name="T8" fmla="*/ 557 w 684"/>
                  <a:gd name="T9" fmla="*/ 510 h 661"/>
                  <a:gd name="T10" fmla="*/ 161 w 684"/>
                  <a:gd name="T11" fmla="*/ 506 h 661"/>
                  <a:gd name="T12" fmla="*/ 127 w 684"/>
                  <a:gd name="T13" fmla="*/ 177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4" h="661">
                    <a:moveTo>
                      <a:pt x="127" y="177"/>
                    </a:moveTo>
                    <a:cubicBezTo>
                      <a:pt x="187" y="105"/>
                      <a:pt x="248" y="45"/>
                      <a:pt x="314" y="49"/>
                    </a:cubicBezTo>
                    <a:cubicBezTo>
                      <a:pt x="345" y="51"/>
                      <a:pt x="356" y="62"/>
                      <a:pt x="390" y="69"/>
                    </a:cubicBezTo>
                    <a:cubicBezTo>
                      <a:pt x="437" y="79"/>
                      <a:pt x="456" y="0"/>
                      <a:pt x="533" y="62"/>
                    </a:cubicBezTo>
                    <a:cubicBezTo>
                      <a:pt x="663" y="170"/>
                      <a:pt x="684" y="358"/>
                      <a:pt x="557" y="510"/>
                    </a:cubicBezTo>
                    <a:cubicBezTo>
                      <a:pt x="430" y="661"/>
                      <a:pt x="290" y="614"/>
                      <a:pt x="161" y="506"/>
                    </a:cubicBezTo>
                    <a:cubicBezTo>
                      <a:pt x="31" y="397"/>
                      <a:pt x="0" y="328"/>
                      <a:pt x="127" y="177"/>
                    </a:cubicBezTo>
                    <a:close/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" name="Freeform 54">
                <a:extLst>
                  <a:ext uri="{FF2B5EF4-FFF2-40B4-BE49-F238E27FC236}">
                    <a16:creationId xmlns:a16="http://schemas.microsoft.com/office/drawing/2014/main" id="{E75F928F-EF38-4B9F-AB97-0B873C8BDA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" y="2713"/>
                <a:ext cx="81" cy="80"/>
              </a:xfrm>
              <a:custGeom>
                <a:avLst/>
                <a:gdLst>
                  <a:gd name="T0" fmla="*/ 141 w 147"/>
                  <a:gd name="T1" fmla="*/ 61 h 147"/>
                  <a:gd name="T2" fmla="*/ 126 w 147"/>
                  <a:gd name="T3" fmla="*/ 147 h 147"/>
                  <a:gd name="T4" fmla="*/ 0 w 147"/>
                  <a:gd name="T5" fmla="*/ 41 h 147"/>
                  <a:gd name="T6" fmla="*/ 82 w 147"/>
                  <a:gd name="T7" fmla="*/ 11 h 147"/>
                  <a:gd name="T8" fmla="*/ 141 w 147"/>
                  <a:gd name="T9" fmla="*/ 61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7" h="147">
                    <a:moveTo>
                      <a:pt x="141" y="61"/>
                    </a:moveTo>
                    <a:cubicBezTo>
                      <a:pt x="126" y="147"/>
                      <a:pt x="126" y="147"/>
                      <a:pt x="126" y="147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114" y="0"/>
                      <a:pt x="147" y="27"/>
                      <a:pt x="141" y="61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" name="Freeform 55">
                <a:extLst>
                  <a:ext uri="{FF2B5EF4-FFF2-40B4-BE49-F238E27FC236}">
                    <a16:creationId xmlns:a16="http://schemas.microsoft.com/office/drawing/2014/main" id="{0ACBDDBE-62B5-4CC6-966D-5C280ABF8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4" y="483"/>
                <a:ext cx="539" cy="661"/>
              </a:xfrm>
              <a:custGeom>
                <a:avLst/>
                <a:gdLst>
                  <a:gd name="T0" fmla="*/ 829 w 986"/>
                  <a:gd name="T1" fmla="*/ 1211 h 1211"/>
                  <a:gd name="T2" fmla="*/ 547 w 986"/>
                  <a:gd name="T3" fmla="*/ 1211 h 1211"/>
                  <a:gd name="T4" fmla="*/ 522 w 986"/>
                  <a:gd name="T5" fmla="*/ 383 h 1211"/>
                  <a:gd name="T6" fmla="*/ 490 w 986"/>
                  <a:gd name="T7" fmla="*/ 181 h 1211"/>
                  <a:gd name="T8" fmla="*/ 467 w 986"/>
                  <a:gd name="T9" fmla="*/ 367 h 1211"/>
                  <a:gd name="T10" fmla="*/ 454 w 986"/>
                  <a:gd name="T11" fmla="*/ 1211 h 1211"/>
                  <a:gd name="T12" fmla="*/ 145 w 986"/>
                  <a:gd name="T13" fmla="*/ 1211 h 1211"/>
                  <a:gd name="T14" fmla="*/ 66 w 986"/>
                  <a:gd name="T15" fmla="*/ 124 h 1211"/>
                  <a:gd name="T16" fmla="*/ 908 w 986"/>
                  <a:gd name="T17" fmla="*/ 124 h 1211"/>
                  <a:gd name="T18" fmla="*/ 829 w 986"/>
                  <a:gd name="T19" fmla="*/ 1211 h 1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86" h="1211">
                    <a:moveTo>
                      <a:pt x="829" y="1211"/>
                    </a:moveTo>
                    <a:cubicBezTo>
                      <a:pt x="547" y="1211"/>
                      <a:pt x="547" y="1211"/>
                      <a:pt x="547" y="1211"/>
                    </a:cubicBezTo>
                    <a:cubicBezTo>
                      <a:pt x="547" y="1211"/>
                      <a:pt x="543" y="683"/>
                      <a:pt x="522" y="383"/>
                    </a:cubicBezTo>
                    <a:cubicBezTo>
                      <a:pt x="514" y="264"/>
                      <a:pt x="504" y="181"/>
                      <a:pt x="490" y="181"/>
                    </a:cubicBezTo>
                    <a:cubicBezTo>
                      <a:pt x="480" y="181"/>
                      <a:pt x="472" y="257"/>
                      <a:pt x="467" y="367"/>
                    </a:cubicBezTo>
                    <a:cubicBezTo>
                      <a:pt x="453" y="664"/>
                      <a:pt x="454" y="1211"/>
                      <a:pt x="454" y="1211"/>
                    </a:cubicBezTo>
                    <a:cubicBezTo>
                      <a:pt x="145" y="1211"/>
                      <a:pt x="145" y="1211"/>
                      <a:pt x="145" y="1211"/>
                    </a:cubicBezTo>
                    <a:cubicBezTo>
                      <a:pt x="145" y="1211"/>
                      <a:pt x="0" y="178"/>
                      <a:pt x="66" y="124"/>
                    </a:cubicBezTo>
                    <a:cubicBezTo>
                      <a:pt x="210" y="4"/>
                      <a:pt x="777" y="0"/>
                      <a:pt x="908" y="124"/>
                    </a:cubicBezTo>
                    <a:cubicBezTo>
                      <a:pt x="986" y="198"/>
                      <a:pt x="829" y="1211"/>
                      <a:pt x="829" y="1211"/>
                    </a:cubicBezTo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" name="Freeform 56">
                <a:extLst>
                  <a:ext uri="{FF2B5EF4-FFF2-40B4-BE49-F238E27FC236}">
                    <a16:creationId xmlns:a16="http://schemas.microsoft.com/office/drawing/2014/main" id="{3E45DEE8-5703-4681-8B7A-92708FAFC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9" y="483"/>
                <a:ext cx="491" cy="338"/>
              </a:xfrm>
              <a:custGeom>
                <a:avLst/>
                <a:gdLst>
                  <a:gd name="T0" fmla="*/ 860 w 897"/>
                  <a:gd name="T1" fmla="*/ 619 h 619"/>
                  <a:gd name="T2" fmla="*/ 481 w 897"/>
                  <a:gd name="T3" fmla="*/ 463 h 619"/>
                  <a:gd name="T4" fmla="*/ 476 w 897"/>
                  <a:gd name="T5" fmla="*/ 383 h 619"/>
                  <a:gd name="T6" fmla="*/ 444 w 897"/>
                  <a:gd name="T7" fmla="*/ 181 h 619"/>
                  <a:gd name="T8" fmla="*/ 421 w 897"/>
                  <a:gd name="T9" fmla="*/ 368 h 619"/>
                  <a:gd name="T10" fmla="*/ 418 w 897"/>
                  <a:gd name="T11" fmla="*/ 440 h 619"/>
                  <a:gd name="T12" fmla="*/ 4 w 897"/>
                  <a:gd name="T13" fmla="*/ 313 h 619"/>
                  <a:gd name="T14" fmla="*/ 20 w 897"/>
                  <a:gd name="T15" fmla="*/ 124 h 619"/>
                  <a:gd name="T16" fmla="*/ 862 w 897"/>
                  <a:gd name="T17" fmla="*/ 124 h 619"/>
                  <a:gd name="T18" fmla="*/ 860 w 897"/>
                  <a:gd name="T19" fmla="*/ 619 h 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97" h="619">
                    <a:moveTo>
                      <a:pt x="860" y="619"/>
                    </a:moveTo>
                    <a:cubicBezTo>
                      <a:pt x="739" y="566"/>
                      <a:pt x="609" y="512"/>
                      <a:pt x="481" y="463"/>
                    </a:cubicBezTo>
                    <a:cubicBezTo>
                      <a:pt x="480" y="435"/>
                      <a:pt x="478" y="408"/>
                      <a:pt x="476" y="383"/>
                    </a:cubicBezTo>
                    <a:cubicBezTo>
                      <a:pt x="468" y="264"/>
                      <a:pt x="458" y="181"/>
                      <a:pt x="444" y="181"/>
                    </a:cubicBezTo>
                    <a:cubicBezTo>
                      <a:pt x="434" y="181"/>
                      <a:pt x="427" y="257"/>
                      <a:pt x="421" y="368"/>
                    </a:cubicBezTo>
                    <a:cubicBezTo>
                      <a:pt x="420" y="390"/>
                      <a:pt x="419" y="414"/>
                      <a:pt x="418" y="440"/>
                    </a:cubicBezTo>
                    <a:cubicBezTo>
                      <a:pt x="268" y="384"/>
                      <a:pt x="123" y="338"/>
                      <a:pt x="4" y="313"/>
                    </a:cubicBezTo>
                    <a:cubicBezTo>
                      <a:pt x="0" y="210"/>
                      <a:pt x="4" y="137"/>
                      <a:pt x="20" y="124"/>
                    </a:cubicBezTo>
                    <a:cubicBezTo>
                      <a:pt x="164" y="4"/>
                      <a:pt x="732" y="0"/>
                      <a:pt x="862" y="124"/>
                    </a:cubicBezTo>
                    <a:cubicBezTo>
                      <a:pt x="897" y="157"/>
                      <a:pt x="885" y="382"/>
                      <a:pt x="860" y="619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" name="Freeform 57">
                <a:extLst>
                  <a:ext uri="{FF2B5EF4-FFF2-40B4-BE49-F238E27FC236}">
                    <a16:creationId xmlns:a16="http://schemas.microsoft.com/office/drawing/2014/main" id="{CA8A355B-9D21-439E-970A-3C7BF16F38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4" y="307"/>
                <a:ext cx="677" cy="203"/>
              </a:xfrm>
              <a:custGeom>
                <a:avLst/>
                <a:gdLst>
                  <a:gd name="T0" fmla="*/ 1236 w 1236"/>
                  <a:gd name="T1" fmla="*/ 372 h 372"/>
                  <a:gd name="T2" fmla="*/ 0 w 1236"/>
                  <a:gd name="T3" fmla="*/ 372 h 372"/>
                  <a:gd name="T4" fmla="*/ 0 w 1236"/>
                  <a:gd name="T5" fmla="*/ 215 h 372"/>
                  <a:gd name="T6" fmla="*/ 618 w 1236"/>
                  <a:gd name="T7" fmla="*/ 0 h 372"/>
                  <a:gd name="T8" fmla="*/ 1236 w 1236"/>
                  <a:gd name="T9" fmla="*/ 215 h 372"/>
                  <a:gd name="T10" fmla="*/ 1236 w 1236"/>
                  <a:gd name="T11" fmla="*/ 372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36" h="372">
                    <a:moveTo>
                      <a:pt x="1236" y="372"/>
                    </a:moveTo>
                    <a:cubicBezTo>
                      <a:pt x="0" y="372"/>
                      <a:pt x="0" y="372"/>
                      <a:pt x="0" y="372"/>
                    </a:cubicBezTo>
                    <a:cubicBezTo>
                      <a:pt x="0" y="215"/>
                      <a:pt x="0" y="215"/>
                      <a:pt x="0" y="215"/>
                    </a:cubicBezTo>
                    <a:cubicBezTo>
                      <a:pt x="0" y="98"/>
                      <a:pt x="241" y="0"/>
                      <a:pt x="618" y="0"/>
                    </a:cubicBezTo>
                    <a:cubicBezTo>
                      <a:pt x="1016" y="0"/>
                      <a:pt x="1236" y="98"/>
                      <a:pt x="1236" y="215"/>
                    </a:cubicBezTo>
                    <a:cubicBezTo>
                      <a:pt x="1236" y="241"/>
                      <a:pt x="1236" y="372"/>
                      <a:pt x="1236" y="372"/>
                    </a:cubicBez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" name="Freeform 58">
                <a:extLst>
                  <a:ext uri="{FF2B5EF4-FFF2-40B4-BE49-F238E27FC236}">
                    <a16:creationId xmlns:a16="http://schemas.microsoft.com/office/drawing/2014/main" id="{DC4A0D5B-0F11-490A-9B0A-FDDD55100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457"/>
                <a:ext cx="594" cy="159"/>
              </a:xfrm>
              <a:custGeom>
                <a:avLst/>
                <a:gdLst>
                  <a:gd name="T0" fmla="*/ 779 w 1084"/>
                  <a:gd name="T1" fmla="*/ 290 h 292"/>
                  <a:gd name="T2" fmla="*/ 305 w 1084"/>
                  <a:gd name="T3" fmla="*/ 290 h 292"/>
                  <a:gd name="T4" fmla="*/ 79 w 1084"/>
                  <a:gd name="T5" fmla="*/ 139 h 292"/>
                  <a:gd name="T6" fmla="*/ 0 w 1084"/>
                  <a:gd name="T7" fmla="*/ 0 h 292"/>
                  <a:gd name="T8" fmla="*/ 1084 w 1084"/>
                  <a:gd name="T9" fmla="*/ 0 h 292"/>
                  <a:gd name="T10" fmla="*/ 1004 w 1084"/>
                  <a:gd name="T11" fmla="*/ 139 h 292"/>
                  <a:gd name="T12" fmla="*/ 779 w 1084"/>
                  <a:gd name="T13" fmla="*/ 290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4" h="292">
                    <a:moveTo>
                      <a:pt x="779" y="290"/>
                    </a:moveTo>
                    <a:cubicBezTo>
                      <a:pt x="660" y="292"/>
                      <a:pt x="423" y="292"/>
                      <a:pt x="305" y="290"/>
                    </a:cubicBezTo>
                    <a:cubicBezTo>
                      <a:pt x="231" y="289"/>
                      <a:pt x="121" y="248"/>
                      <a:pt x="79" y="13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84" y="0"/>
                      <a:pt x="1084" y="0"/>
                      <a:pt x="1084" y="0"/>
                    </a:cubicBezTo>
                    <a:cubicBezTo>
                      <a:pt x="1004" y="139"/>
                      <a:pt x="1004" y="139"/>
                      <a:pt x="1004" y="139"/>
                    </a:cubicBezTo>
                    <a:cubicBezTo>
                      <a:pt x="962" y="248"/>
                      <a:pt x="852" y="289"/>
                      <a:pt x="779" y="290"/>
                    </a:cubicBez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" name="Oval 59">
                <a:extLst>
                  <a:ext uri="{FF2B5EF4-FFF2-40B4-BE49-F238E27FC236}">
                    <a16:creationId xmlns:a16="http://schemas.microsoft.com/office/drawing/2014/main" id="{5CDC4DDA-8AAE-415B-9754-A891090942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4" y="276"/>
                <a:ext cx="351" cy="363"/>
              </a:xfrm>
              <a:prstGeom prst="ellipse">
                <a:avLst/>
              </a:pr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" name="Freeform 60">
                <a:extLst>
                  <a:ext uri="{FF2B5EF4-FFF2-40B4-BE49-F238E27FC236}">
                    <a16:creationId xmlns:a16="http://schemas.microsoft.com/office/drawing/2014/main" id="{4B8D1EE1-05D8-4061-86E9-A3E4EBF86C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0" y="616"/>
                <a:ext cx="60" cy="64"/>
              </a:xfrm>
              <a:custGeom>
                <a:avLst/>
                <a:gdLst>
                  <a:gd name="T0" fmla="*/ 29 w 109"/>
                  <a:gd name="T1" fmla="*/ 87 h 117"/>
                  <a:gd name="T2" fmla="*/ 0 w 109"/>
                  <a:gd name="T3" fmla="*/ 0 h 117"/>
                  <a:gd name="T4" fmla="*/ 109 w 109"/>
                  <a:gd name="T5" fmla="*/ 0 h 117"/>
                  <a:gd name="T6" fmla="*/ 80 w 109"/>
                  <a:gd name="T7" fmla="*/ 87 h 117"/>
                  <a:gd name="T8" fmla="*/ 29 w 109"/>
                  <a:gd name="T9" fmla="*/ 8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117">
                    <a:moveTo>
                      <a:pt x="29" y="87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80" y="87"/>
                      <a:pt x="80" y="87"/>
                      <a:pt x="80" y="87"/>
                    </a:cubicBezTo>
                    <a:cubicBezTo>
                      <a:pt x="69" y="117"/>
                      <a:pt x="40" y="117"/>
                      <a:pt x="29" y="87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" name="Freeform 61">
                <a:extLst>
                  <a:ext uri="{FF2B5EF4-FFF2-40B4-BE49-F238E27FC236}">
                    <a16:creationId xmlns:a16="http://schemas.microsoft.com/office/drawing/2014/main" id="{E0D4A6BA-7474-4B01-8437-09FEB68DE2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265"/>
                <a:ext cx="373" cy="369"/>
              </a:xfrm>
              <a:custGeom>
                <a:avLst/>
                <a:gdLst>
                  <a:gd name="T0" fmla="*/ 682 w 682"/>
                  <a:gd name="T1" fmla="*/ 280 h 676"/>
                  <a:gd name="T2" fmla="*/ 341 w 682"/>
                  <a:gd name="T3" fmla="*/ 0 h 676"/>
                  <a:gd name="T4" fmla="*/ 0 w 682"/>
                  <a:gd name="T5" fmla="*/ 280 h 676"/>
                  <a:gd name="T6" fmla="*/ 219 w 682"/>
                  <a:gd name="T7" fmla="*/ 610 h 676"/>
                  <a:gd name="T8" fmla="*/ 219 w 682"/>
                  <a:gd name="T9" fmla="*/ 610 h 676"/>
                  <a:gd name="T10" fmla="*/ 222 w 682"/>
                  <a:gd name="T11" fmla="*/ 611 h 676"/>
                  <a:gd name="T12" fmla="*/ 224 w 682"/>
                  <a:gd name="T13" fmla="*/ 612 h 676"/>
                  <a:gd name="T14" fmla="*/ 270 w 682"/>
                  <a:gd name="T15" fmla="*/ 676 h 676"/>
                  <a:gd name="T16" fmla="*/ 389 w 682"/>
                  <a:gd name="T17" fmla="*/ 623 h 676"/>
                  <a:gd name="T18" fmla="*/ 391 w 682"/>
                  <a:gd name="T19" fmla="*/ 623 h 676"/>
                  <a:gd name="T20" fmla="*/ 374 w 682"/>
                  <a:gd name="T21" fmla="*/ 652 h 676"/>
                  <a:gd name="T22" fmla="*/ 473 w 682"/>
                  <a:gd name="T23" fmla="*/ 599 h 676"/>
                  <a:gd name="T24" fmla="*/ 473 w 682"/>
                  <a:gd name="T25" fmla="*/ 627 h 676"/>
                  <a:gd name="T26" fmla="*/ 628 w 682"/>
                  <a:gd name="T27" fmla="*/ 489 h 676"/>
                  <a:gd name="T28" fmla="*/ 627 w 682"/>
                  <a:gd name="T29" fmla="*/ 489 h 676"/>
                  <a:gd name="T30" fmla="*/ 682 w 682"/>
                  <a:gd name="T31" fmla="*/ 280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82" h="676">
                    <a:moveTo>
                      <a:pt x="682" y="280"/>
                    </a:moveTo>
                    <a:cubicBezTo>
                      <a:pt x="682" y="59"/>
                      <a:pt x="530" y="0"/>
                      <a:pt x="341" y="0"/>
                    </a:cubicBezTo>
                    <a:cubicBezTo>
                      <a:pt x="153" y="0"/>
                      <a:pt x="0" y="59"/>
                      <a:pt x="0" y="280"/>
                    </a:cubicBezTo>
                    <a:cubicBezTo>
                      <a:pt x="0" y="450"/>
                      <a:pt x="91" y="566"/>
                      <a:pt x="219" y="610"/>
                    </a:cubicBezTo>
                    <a:cubicBezTo>
                      <a:pt x="219" y="610"/>
                      <a:pt x="219" y="610"/>
                      <a:pt x="219" y="610"/>
                    </a:cubicBezTo>
                    <a:cubicBezTo>
                      <a:pt x="219" y="610"/>
                      <a:pt x="220" y="610"/>
                      <a:pt x="222" y="611"/>
                    </a:cubicBezTo>
                    <a:cubicBezTo>
                      <a:pt x="223" y="611"/>
                      <a:pt x="224" y="611"/>
                      <a:pt x="224" y="612"/>
                    </a:cubicBezTo>
                    <a:cubicBezTo>
                      <a:pt x="243" y="618"/>
                      <a:pt x="303" y="642"/>
                      <a:pt x="270" y="676"/>
                    </a:cubicBezTo>
                    <a:cubicBezTo>
                      <a:pt x="389" y="623"/>
                      <a:pt x="389" y="623"/>
                      <a:pt x="389" y="623"/>
                    </a:cubicBezTo>
                    <a:cubicBezTo>
                      <a:pt x="390" y="623"/>
                      <a:pt x="390" y="623"/>
                      <a:pt x="391" y="623"/>
                    </a:cubicBezTo>
                    <a:cubicBezTo>
                      <a:pt x="392" y="624"/>
                      <a:pt x="396" y="629"/>
                      <a:pt x="374" y="652"/>
                    </a:cubicBezTo>
                    <a:cubicBezTo>
                      <a:pt x="407" y="656"/>
                      <a:pt x="473" y="599"/>
                      <a:pt x="473" y="599"/>
                    </a:cubicBezTo>
                    <a:cubicBezTo>
                      <a:pt x="473" y="599"/>
                      <a:pt x="483" y="608"/>
                      <a:pt x="473" y="627"/>
                    </a:cubicBezTo>
                    <a:cubicBezTo>
                      <a:pt x="541" y="602"/>
                      <a:pt x="628" y="489"/>
                      <a:pt x="628" y="489"/>
                    </a:cubicBezTo>
                    <a:cubicBezTo>
                      <a:pt x="627" y="489"/>
                      <a:pt x="627" y="489"/>
                      <a:pt x="627" y="489"/>
                    </a:cubicBezTo>
                    <a:cubicBezTo>
                      <a:pt x="664" y="439"/>
                      <a:pt x="682" y="362"/>
                      <a:pt x="682" y="280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" name="Freeform 62">
                <a:extLst>
                  <a:ext uri="{FF2B5EF4-FFF2-40B4-BE49-F238E27FC236}">
                    <a16:creationId xmlns:a16="http://schemas.microsoft.com/office/drawing/2014/main" id="{37BBF909-DFAC-47A1-92AB-4DA38E887F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5" y="287"/>
                <a:ext cx="321" cy="332"/>
              </a:xfrm>
              <a:custGeom>
                <a:avLst/>
                <a:gdLst>
                  <a:gd name="T0" fmla="*/ 580 w 585"/>
                  <a:gd name="T1" fmla="*/ 240 h 608"/>
                  <a:gd name="T2" fmla="*/ 300 w 585"/>
                  <a:gd name="T3" fmla="*/ 0 h 608"/>
                  <a:gd name="T4" fmla="*/ 0 w 585"/>
                  <a:gd name="T5" fmla="*/ 247 h 608"/>
                  <a:gd name="T6" fmla="*/ 193 w 585"/>
                  <a:gd name="T7" fmla="*/ 538 h 608"/>
                  <a:gd name="T8" fmla="*/ 193 w 585"/>
                  <a:gd name="T9" fmla="*/ 538 h 608"/>
                  <a:gd name="T10" fmla="*/ 195 w 585"/>
                  <a:gd name="T11" fmla="*/ 538 h 608"/>
                  <a:gd name="T12" fmla="*/ 197 w 585"/>
                  <a:gd name="T13" fmla="*/ 539 h 608"/>
                  <a:gd name="T14" fmla="*/ 255 w 585"/>
                  <a:gd name="T15" fmla="*/ 608 h 608"/>
                  <a:gd name="T16" fmla="*/ 377 w 585"/>
                  <a:gd name="T17" fmla="*/ 550 h 608"/>
                  <a:gd name="T18" fmla="*/ 364 w 585"/>
                  <a:gd name="T19" fmla="*/ 575 h 608"/>
                  <a:gd name="T20" fmla="*/ 451 w 585"/>
                  <a:gd name="T21" fmla="*/ 528 h 608"/>
                  <a:gd name="T22" fmla="*/ 451 w 585"/>
                  <a:gd name="T23" fmla="*/ 553 h 608"/>
                  <a:gd name="T24" fmla="*/ 580 w 585"/>
                  <a:gd name="T25" fmla="*/ 24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5" h="608">
                    <a:moveTo>
                      <a:pt x="580" y="240"/>
                    </a:moveTo>
                    <a:cubicBezTo>
                      <a:pt x="580" y="46"/>
                      <a:pt x="466" y="0"/>
                      <a:pt x="300" y="0"/>
                    </a:cubicBezTo>
                    <a:cubicBezTo>
                      <a:pt x="134" y="0"/>
                      <a:pt x="0" y="52"/>
                      <a:pt x="0" y="247"/>
                    </a:cubicBezTo>
                    <a:cubicBezTo>
                      <a:pt x="0" y="397"/>
                      <a:pt x="80" y="499"/>
                      <a:pt x="193" y="538"/>
                    </a:cubicBezTo>
                    <a:cubicBezTo>
                      <a:pt x="193" y="538"/>
                      <a:pt x="193" y="538"/>
                      <a:pt x="193" y="538"/>
                    </a:cubicBezTo>
                    <a:cubicBezTo>
                      <a:pt x="193" y="538"/>
                      <a:pt x="194" y="538"/>
                      <a:pt x="195" y="538"/>
                    </a:cubicBezTo>
                    <a:cubicBezTo>
                      <a:pt x="196" y="539"/>
                      <a:pt x="197" y="539"/>
                      <a:pt x="197" y="539"/>
                    </a:cubicBezTo>
                    <a:cubicBezTo>
                      <a:pt x="214" y="545"/>
                      <a:pt x="284" y="578"/>
                      <a:pt x="255" y="608"/>
                    </a:cubicBezTo>
                    <a:cubicBezTo>
                      <a:pt x="377" y="550"/>
                      <a:pt x="377" y="550"/>
                      <a:pt x="377" y="550"/>
                    </a:cubicBezTo>
                    <a:cubicBezTo>
                      <a:pt x="378" y="549"/>
                      <a:pt x="384" y="554"/>
                      <a:pt x="364" y="575"/>
                    </a:cubicBezTo>
                    <a:cubicBezTo>
                      <a:pt x="393" y="578"/>
                      <a:pt x="451" y="528"/>
                      <a:pt x="451" y="528"/>
                    </a:cubicBezTo>
                    <a:cubicBezTo>
                      <a:pt x="451" y="528"/>
                      <a:pt x="460" y="536"/>
                      <a:pt x="451" y="553"/>
                    </a:cubicBezTo>
                    <a:cubicBezTo>
                      <a:pt x="585" y="493"/>
                      <a:pt x="580" y="313"/>
                      <a:pt x="580" y="240"/>
                    </a:cubicBezTo>
                    <a:close/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5" name="Oval 63">
                <a:extLst>
                  <a:ext uri="{FF2B5EF4-FFF2-40B4-BE49-F238E27FC236}">
                    <a16:creationId xmlns:a16="http://schemas.microsoft.com/office/drawing/2014/main" id="{188D2966-B231-47E6-83EA-4D27EE129C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7" y="801"/>
                <a:ext cx="2066" cy="2060"/>
              </a:xfrm>
              <a:prstGeom prst="ellipse">
                <a:avLst/>
              </a:prstGeom>
              <a:solidFill>
                <a:srgbClr val="BF9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6" name="Freeform 64">
                <a:extLst>
                  <a:ext uri="{FF2B5EF4-FFF2-40B4-BE49-F238E27FC236}">
                    <a16:creationId xmlns:a16="http://schemas.microsoft.com/office/drawing/2014/main" id="{FEA5E51C-5F1F-42EF-899C-89BC399171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1" y="1900"/>
                <a:ext cx="164" cy="226"/>
              </a:xfrm>
              <a:custGeom>
                <a:avLst/>
                <a:gdLst>
                  <a:gd name="T0" fmla="*/ 57 w 299"/>
                  <a:gd name="T1" fmla="*/ 19 h 414"/>
                  <a:gd name="T2" fmla="*/ 57 w 299"/>
                  <a:gd name="T3" fmla="*/ 19 h 414"/>
                  <a:gd name="T4" fmla="*/ 163 w 299"/>
                  <a:gd name="T5" fmla="*/ 57 h 414"/>
                  <a:gd name="T6" fmla="*/ 299 w 299"/>
                  <a:gd name="T7" fmla="*/ 346 h 414"/>
                  <a:gd name="T8" fmla="*/ 154 w 299"/>
                  <a:gd name="T9" fmla="*/ 414 h 414"/>
                  <a:gd name="T10" fmla="*/ 18 w 299"/>
                  <a:gd name="T11" fmla="*/ 125 h 414"/>
                  <a:gd name="T12" fmla="*/ 57 w 299"/>
                  <a:gd name="T13" fmla="*/ 19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9" h="414">
                    <a:moveTo>
                      <a:pt x="57" y="19"/>
                    </a:moveTo>
                    <a:cubicBezTo>
                      <a:pt x="57" y="19"/>
                      <a:pt x="57" y="19"/>
                      <a:pt x="57" y="19"/>
                    </a:cubicBezTo>
                    <a:cubicBezTo>
                      <a:pt x="97" y="0"/>
                      <a:pt x="145" y="17"/>
                      <a:pt x="163" y="57"/>
                    </a:cubicBezTo>
                    <a:cubicBezTo>
                      <a:pt x="299" y="346"/>
                      <a:pt x="299" y="346"/>
                      <a:pt x="299" y="346"/>
                    </a:cubicBezTo>
                    <a:cubicBezTo>
                      <a:pt x="154" y="414"/>
                      <a:pt x="154" y="414"/>
                      <a:pt x="154" y="414"/>
                    </a:cubicBezTo>
                    <a:cubicBezTo>
                      <a:pt x="18" y="125"/>
                      <a:pt x="18" y="125"/>
                      <a:pt x="18" y="125"/>
                    </a:cubicBezTo>
                    <a:cubicBezTo>
                      <a:pt x="0" y="85"/>
                      <a:pt x="17" y="37"/>
                      <a:pt x="57" y="1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7" name="Freeform 65">
                <a:extLst>
                  <a:ext uri="{FF2B5EF4-FFF2-40B4-BE49-F238E27FC236}">
                    <a16:creationId xmlns:a16="http://schemas.microsoft.com/office/drawing/2014/main" id="{D8AA0FF3-A2EA-4F2E-9F53-D1719123F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063"/>
                <a:ext cx="74" cy="51"/>
              </a:xfrm>
              <a:custGeom>
                <a:avLst/>
                <a:gdLst>
                  <a:gd name="T0" fmla="*/ 0 w 74"/>
                  <a:gd name="T1" fmla="*/ 30 h 51"/>
                  <a:gd name="T2" fmla="*/ 64 w 74"/>
                  <a:gd name="T3" fmla="*/ 0 h 51"/>
                  <a:gd name="T4" fmla="*/ 74 w 74"/>
                  <a:gd name="T5" fmla="*/ 21 h 51"/>
                  <a:gd name="T6" fmla="*/ 11 w 74"/>
                  <a:gd name="T7" fmla="*/ 51 h 51"/>
                  <a:gd name="T8" fmla="*/ 0 w 74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51">
                    <a:moveTo>
                      <a:pt x="0" y="30"/>
                    </a:moveTo>
                    <a:lnTo>
                      <a:pt x="64" y="0"/>
                    </a:lnTo>
                    <a:lnTo>
                      <a:pt x="74" y="21"/>
                    </a:lnTo>
                    <a:lnTo>
                      <a:pt x="11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BCAA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8" name="Freeform 66">
                <a:extLst>
                  <a:ext uri="{FF2B5EF4-FFF2-40B4-BE49-F238E27FC236}">
                    <a16:creationId xmlns:a16="http://schemas.microsoft.com/office/drawing/2014/main" id="{D550EDB7-E310-4FB2-9BFF-750F190654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8" y="2038"/>
                <a:ext cx="73" cy="50"/>
              </a:xfrm>
              <a:custGeom>
                <a:avLst/>
                <a:gdLst>
                  <a:gd name="T0" fmla="*/ 0 w 73"/>
                  <a:gd name="T1" fmla="*/ 30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3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30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188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9" name="Freeform 67">
                <a:extLst>
                  <a:ext uri="{FF2B5EF4-FFF2-40B4-BE49-F238E27FC236}">
                    <a16:creationId xmlns:a16="http://schemas.microsoft.com/office/drawing/2014/main" id="{A866751A-FCA4-4826-B6B7-D0B1FB4F8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6" y="2012"/>
                <a:ext cx="73" cy="51"/>
              </a:xfrm>
              <a:custGeom>
                <a:avLst/>
                <a:gdLst>
                  <a:gd name="T0" fmla="*/ 0 w 73"/>
                  <a:gd name="T1" fmla="*/ 30 h 51"/>
                  <a:gd name="T2" fmla="*/ 63 w 73"/>
                  <a:gd name="T3" fmla="*/ 0 h 51"/>
                  <a:gd name="T4" fmla="*/ 73 w 73"/>
                  <a:gd name="T5" fmla="*/ 22 h 51"/>
                  <a:gd name="T6" fmla="*/ 10 w 73"/>
                  <a:gd name="T7" fmla="*/ 51 h 51"/>
                  <a:gd name="T8" fmla="*/ 0 w 73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1">
                    <a:moveTo>
                      <a:pt x="0" y="30"/>
                    </a:moveTo>
                    <a:lnTo>
                      <a:pt x="63" y="0"/>
                    </a:lnTo>
                    <a:lnTo>
                      <a:pt x="73" y="22"/>
                    </a:lnTo>
                    <a:lnTo>
                      <a:pt x="10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0" name="Freeform 68">
                <a:extLst>
                  <a:ext uri="{FF2B5EF4-FFF2-40B4-BE49-F238E27FC236}">
                    <a16:creationId xmlns:a16="http://schemas.microsoft.com/office/drawing/2014/main" id="{63E9E06C-CEEA-4FB3-8304-6D15523FB3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987"/>
                <a:ext cx="73" cy="51"/>
              </a:xfrm>
              <a:custGeom>
                <a:avLst/>
                <a:gdLst>
                  <a:gd name="T0" fmla="*/ 0 w 73"/>
                  <a:gd name="T1" fmla="*/ 30 h 51"/>
                  <a:gd name="T2" fmla="*/ 63 w 73"/>
                  <a:gd name="T3" fmla="*/ 0 h 51"/>
                  <a:gd name="T4" fmla="*/ 73 w 73"/>
                  <a:gd name="T5" fmla="*/ 22 h 51"/>
                  <a:gd name="T6" fmla="*/ 10 w 73"/>
                  <a:gd name="T7" fmla="*/ 51 h 51"/>
                  <a:gd name="T8" fmla="*/ 0 w 73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1">
                    <a:moveTo>
                      <a:pt x="0" y="30"/>
                    </a:moveTo>
                    <a:lnTo>
                      <a:pt x="63" y="0"/>
                    </a:lnTo>
                    <a:lnTo>
                      <a:pt x="73" y="22"/>
                    </a:lnTo>
                    <a:lnTo>
                      <a:pt x="10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1" name="Freeform 69">
                <a:extLst>
                  <a:ext uri="{FF2B5EF4-FFF2-40B4-BE49-F238E27FC236}">
                    <a16:creationId xmlns:a16="http://schemas.microsoft.com/office/drawing/2014/main" id="{3F5AB45A-6330-446D-A414-83F8338606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2" y="1962"/>
                <a:ext cx="73" cy="50"/>
              </a:xfrm>
              <a:custGeom>
                <a:avLst/>
                <a:gdLst>
                  <a:gd name="T0" fmla="*/ 0 w 73"/>
                  <a:gd name="T1" fmla="*/ 29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2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29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6D4C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2" name="Freeform 70">
                <a:extLst>
                  <a:ext uri="{FF2B5EF4-FFF2-40B4-BE49-F238E27FC236}">
                    <a16:creationId xmlns:a16="http://schemas.microsoft.com/office/drawing/2014/main" id="{4EA31756-E02D-44B9-B25A-CB91A1EACD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" y="1937"/>
                <a:ext cx="73" cy="50"/>
              </a:xfrm>
              <a:custGeom>
                <a:avLst/>
                <a:gdLst>
                  <a:gd name="T0" fmla="*/ 0 w 73"/>
                  <a:gd name="T1" fmla="*/ 29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2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29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5D4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" name="Freeform 71">
                <a:extLst>
                  <a:ext uri="{FF2B5EF4-FFF2-40B4-BE49-F238E27FC236}">
                    <a16:creationId xmlns:a16="http://schemas.microsoft.com/office/drawing/2014/main" id="{BB3C6AE9-E14B-4FA2-817A-AD687EB49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3" y="1922"/>
                <a:ext cx="18" cy="18"/>
              </a:xfrm>
              <a:custGeom>
                <a:avLst/>
                <a:gdLst>
                  <a:gd name="T0" fmla="*/ 3 w 34"/>
                  <a:gd name="T1" fmla="*/ 23 h 34"/>
                  <a:gd name="T2" fmla="*/ 10 w 34"/>
                  <a:gd name="T3" fmla="*/ 3 h 34"/>
                  <a:gd name="T4" fmla="*/ 30 w 34"/>
                  <a:gd name="T5" fmla="*/ 10 h 34"/>
                  <a:gd name="T6" fmla="*/ 23 w 34"/>
                  <a:gd name="T7" fmla="*/ 30 h 34"/>
                  <a:gd name="T8" fmla="*/ 3 w 34"/>
                  <a:gd name="T9" fmla="*/ 2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3" y="23"/>
                    </a:moveTo>
                    <a:cubicBezTo>
                      <a:pt x="0" y="16"/>
                      <a:pt x="3" y="7"/>
                      <a:pt x="10" y="3"/>
                    </a:cubicBezTo>
                    <a:cubicBezTo>
                      <a:pt x="18" y="0"/>
                      <a:pt x="27" y="3"/>
                      <a:pt x="30" y="10"/>
                    </a:cubicBezTo>
                    <a:cubicBezTo>
                      <a:pt x="34" y="18"/>
                      <a:pt x="30" y="27"/>
                      <a:pt x="23" y="30"/>
                    </a:cubicBezTo>
                    <a:cubicBezTo>
                      <a:pt x="16" y="34"/>
                      <a:pt x="7" y="30"/>
                      <a:pt x="3" y="23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" name="Freeform 72">
                <a:extLst>
                  <a:ext uri="{FF2B5EF4-FFF2-40B4-BE49-F238E27FC236}">
                    <a16:creationId xmlns:a16="http://schemas.microsoft.com/office/drawing/2014/main" id="{6E07BE48-2D8D-415B-AE55-211D5AE4C3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3" y="1898"/>
                <a:ext cx="189" cy="215"/>
              </a:xfrm>
              <a:custGeom>
                <a:avLst/>
                <a:gdLst>
                  <a:gd name="T0" fmla="*/ 43 w 345"/>
                  <a:gd name="T1" fmla="*/ 26 h 394"/>
                  <a:gd name="T2" fmla="*/ 43 w 345"/>
                  <a:gd name="T3" fmla="*/ 26 h 394"/>
                  <a:gd name="T4" fmla="*/ 155 w 345"/>
                  <a:gd name="T5" fmla="*/ 42 h 394"/>
                  <a:gd name="T6" fmla="*/ 345 w 345"/>
                  <a:gd name="T7" fmla="*/ 298 h 394"/>
                  <a:gd name="T8" fmla="*/ 216 w 345"/>
                  <a:gd name="T9" fmla="*/ 394 h 394"/>
                  <a:gd name="T10" fmla="*/ 26 w 345"/>
                  <a:gd name="T11" fmla="*/ 138 h 394"/>
                  <a:gd name="T12" fmla="*/ 43 w 345"/>
                  <a:gd name="T13" fmla="*/ 26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5" h="394">
                    <a:moveTo>
                      <a:pt x="43" y="26"/>
                    </a:moveTo>
                    <a:cubicBezTo>
                      <a:pt x="43" y="26"/>
                      <a:pt x="43" y="26"/>
                      <a:pt x="43" y="26"/>
                    </a:cubicBezTo>
                    <a:cubicBezTo>
                      <a:pt x="78" y="0"/>
                      <a:pt x="128" y="7"/>
                      <a:pt x="155" y="42"/>
                    </a:cubicBezTo>
                    <a:cubicBezTo>
                      <a:pt x="345" y="298"/>
                      <a:pt x="345" y="298"/>
                      <a:pt x="345" y="298"/>
                    </a:cubicBezTo>
                    <a:cubicBezTo>
                      <a:pt x="216" y="394"/>
                      <a:pt x="216" y="394"/>
                      <a:pt x="216" y="394"/>
                    </a:cubicBezTo>
                    <a:cubicBezTo>
                      <a:pt x="26" y="138"/>
                      <a:pt x="26" y="138"/>
                      <a:pt x="26" y="138"/>
                    </a:cubicBezTo>
                    <a:cubicBezTo>
                      <a:pt x="0" y="103"/>
                      <a:pt x="7" y="52"/>
                      <a:pt x="43" y="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5" name="Freeform 73">
                <a:extLst>
                  <a:ext uri="{FF2B5EF4-FFF2-40B4-BE49-F238E27FC236}">
                    <a16:creationId xmlns:a16="http://schemas.microsoft.com/office/drawing/2014/main" id="{FDABCC91-CD3E-4CD6-B37E-A65595047B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9" y="2040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EF9A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6" name="Freeform 74">
                <a:extLst>
                  <a:ext uri="{FF2B5EF4-FFF2-40B4-BE49-F238E27FC236}">
                    <a16:creationId xmlns:a16="http://schemas.microsoft.com/office/drawing/2014/main" id="{9DC5DF73-1C1E-4DDB-BE34-3BA17DC6CB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" y="2017"/>
                <a:ext cx="69" cy="61"/>
              </a:xfrm>
              <a:custGeom>
                <a:avLst/>
                <a:gdLst>
                  <a:gd name="T0" fmla="*/ 0 w 69"/>
                  <a:gd name="T1" fmla="*/ 42 h 61"/>
                  <a:gd name="T2" fmla="*/ 55 w 69"/>
                  <a:gd name="T3" fmla="*/ 0 h 61"/>
                  <a:gd name="T4" fmla="*/ 69 w 69"/>
                  <a:gd name="T5" fmla="*/ 19 h 61"/>
                  <a:gd name="T6" fmla="*/ 13 w 69"/>
                  <a:gd name="T7" fmla="*/ 61 h 61"/>
                  <a:gd name="T8" fmla="*/ 0 w 69"/>
                  <a:gd name="T9" fmla="*/ 42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61">
                    <a:moveTo>
                      <a:pt x="0" y="42"/>
                    </a:moveTo>
                    <a:lnTo>
                      <a:pt x="55" y="0"/>
                    </a:lnTo>
                    <a:lnTo>
                      <a:pt x="69" y="19"/>
                    </a:lnTo>
                    <a:lnTo>
                      <a:pt x="13" y="61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E5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7" name="Freeform 75">
                <a:extLst>
                  <a:ext uri="{FF2B5EF4-FFF2-40B4-BE49-F238E27FC236}">
                    <a16:creationId xmlns:a16="http://schemas.microsoft.com/office/drawing/2014/main" id="{3D82EA04-162C-4821-AB9B-17ABD55BB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1995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5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5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EF53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8" name="Freeform 76">
                <a:extLst>
                  <a:ext uri="{FF2B5EF4-FFF2-40B4-BE49-F238E27FC236}">
                    <a16:creationId xmlns:a16="http://schemas.microsoft.com/office/drawing/2014/main" id="{28CC8D1F-AE39-450F-A7E5-476B29403E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9" y="1973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8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8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9" name="Freeform 77">
                <a:extLst>
                  <a:ext uri="{FF2B5EF4-FFF2-40B4-BE49-F238E27FC236}">
                    <a16:creationId xmlns:a16="http://schemas.microsoft.com/office/drawing/2014/main" id="{88A4E00F-B1F9-4E35-926C-56F4E1AA82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1950"/>
                <a:ext cx="70" cy="60"/>
              </a:xfrm>
              <a:custGeom>
                <a:avLst/>
                <a:gdLst>
                  <a:gd name="T0" fmla="*/ 0 w 70"/>
                  <a:gd name="T1" fmla="*/ 42 h 60"/>
                  <a:gd name="T2" fmla="*/ 56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2"/>
                    </a:moveTo>
                    <a:lnTo>
                      <a:pt x="56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E539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0" name="Freeform 78">
                <a:extLst>
                  <a:ext uri="{FF2B5EF4-FFF2-40B4-BE49-F238E27FC236}">
                    <a16:creationId xmlns:a16="http://schemas.microsoft.com/office/drawing/2014/main" id="{58396785-982C-4C73-8D52-781635E9E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5" y="1928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8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8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D3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1" name="Freeform 79">
                <a:extLst>
                  <a:ext uri="{FF2B5EF4-FFF2-40B4-BE49-F238E27FC236}">
                    <a16:creationId xmlns:a16="http://schemas.microsoft.com/office/drawing/2014/main" id="{6F7B70CB-6D3D-4E85-96E0-14A37BD6C2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1"/>
                <a:ext cx="18" cy="18"/>
              </a:xfrm>
              <a:custGeom>
                <a:avLst/>
                <a:gdLst>
                  <a:gd name="T0" fmla="*/ 5 w 34"/>
                  <a:gd name="T1" fmla="*/ 26 h 33"/>
                  <a:gd name="T2" fmla="*/ 8 w 34"/>
                  <a:gd name="T3" fmla="*/ 5 h 33"/>
                  <a:gd name="T4" fmla="*/ 29 w 34"/>
                  <a:gd name="T5" fmla="*/ 8 h 33"/>
                  <a:gd name="T6" fmla="*/ 26 w 34"/>
                  <a:gd name="T7" fmla="*/ 29 h 33"/>
                  <a:gd name="T8" fmla="*/ 5 w 34"/>
                  <a:gd name="T9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3">
                    <a:moveTo>
                      <a:pt x="5" y="26"/>
                    </a:moveTo>
                    <a:cubicBezTo>
                      <a:pt x="0" y="19"/>
                      <a:pt x="1" y="10"/>
                      <a:pt x="8" y="5"/>
                    </a:cubicBezTo>
                    <a:cubicBezTo>
                      <a:pt x="15" y="0"/>
                      <a:pt x="24" y="1"/>
                      <a:pt x="29" y="8"/>
                    </a:cubicBezTo>
                    <a:cubicBezTo>
                      <a:pt x="34" y="14"/>
                      <a:pt x="32" y="24"/>
                      <a:pt x="26" y="29"/>
                    </a:cubicBezTo>
                    <a:cubicBezTo>
                      <a:pt x="19" y="33"/>
                      <a:pt x="10" y="32"/>
                      <a:pt x="5" y="26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2" name="Freeform 80">
                <a:extLst>
                  <a:ext uri="{FF2B5EF4-FFF2-40B4-BE49-F238E27FC236}">
                    <a16:creationId xmlns:a16="http://schemas.microsoft.com/office/drawing/2014/main" id="{E22FA0C5-3AAF-496E-A5BF-274A3139C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2" y="1898"/>
                <a:ext cx="207" cy="198"/>
              </a:xfrm>
              <a:custGeom>
                <a:avLst/>
                <a:gdLst>
                  <a:gd name="T0" fmla="*/ 30 w 378"/>
                  <a:gd name="T1" fmla="*/ 35 h 363"/>
                  <a:gd name="T2" fmla="*/ 30 w 378"/>
                  <a:gd name="T3" fmla="*/ 35 h 363"/>
                  <a:gd name="T4" fmla="*/ 143 w 378"/>
                  <a:gd name="T5" fmla="*/ 30 h 363"/>
                  <a:gd name="T6" fmla="*/ 378 w 378"/>
                  <a:gd name="T7" fmla="*/ 245 h 363"/>
                  <a:gd name="T8" fmla="*/ 270 w 378"/>
                  <a:gd name="T9" fmla="*/ 363 h 363"/>
                  <a:gd name="T10" fmla="*/ 35 w 378"/>
                  <a:gd name="T11" fmla="*/ 149 h 363"/>
                  <a:gd name="T12" fmla="*/ 30 w 378"/>
                  <a:gd name="T13" fmla="*/ 3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8" h="363">
                    <a:moveTo>
                      <a:pt x="30" y="35"/>
                    </a:moveTo>
                    <a:cubicBezTo>
                      <a:pt x="30" y="35"/>
                      <a:pt x="30" y="35"/>
                      <a:pt x="30" y="35"/>
                    </a:cubicBezTo>
                    <a:cubicBezTo>
                      <a:pt x="59" y="3"/>
                      <a:pt x="110" y="0"/>
                      <a:pt x="143" y="30"/>
                    </a:cubicBezTo>
                    <a:cubicBezTo>
                      <a:pt x="378" y="245"/>
                      <a:pt x="378" y="245"/>
                      <a:pt x="378" y="245"/>
                    </a:cubicBezTo>
                    <a:cubicBezTo>
                      <a:pt x="270" y="363"/>
                      <a:pt x="270" y="363"/>
                      <a:pt x="270" y="363"/>
                    </a:cubicBezTo>
                    <a:cubicBezTo>
                      <a:pt x="35" y="149"/>
                      <a:pt x="35" y="149"/>
                      <a:pt x="35" y="149"/>
                    </a:cubicBezTo>
                    <a:cubicBezTo>
                      <a:pt x="2" y="119"/>
                      <a:pt x="0" y="68"/>
                      <a:pt x="30" y="3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3" name="Freeform 81">
                <a:extLst>
                  <a:ext uri="{FF2B5EF4-FFF2-40B4-BE49-F238E27FC236}">
                    <a16:creationId xmlns:a16="http://schemas.microsoft.com/office/drawing/2014/main" id="{A181CF10-6A52-4615-B0D7-5F2147E3E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017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6 w 64"/>
                  <a:gd name="T3" fmla="*/ 0 h 67"/>
                  <a:gd name="T4" fmla="*/ 64 w 64"/>
                  <a:gd name="T5" fmla="*/ 16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6" y="0"/>
                    </a:lnTo>
                    <a:lnTo>
                      <a:pt x="64" y="16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CC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4" name="Freeform 82">
                <a:extLst>
                  <a:ext uri="{FF2B5EF4-FFF2-40B4-BE49-F238E27FC236}">
                    <a16:creationId xmlns:a16="http://schemas.microsoft.com/office/drawing/2014/main" id="{FF8EF73D-DC8B-46DE-8BCF-BB2D4177A4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1" y="1998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5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5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B7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5" name="Freeform 83">
                <a:extLst>
                  <a:ext uri="{FF2B5EF4-FFF2-40B4-BE49-F238E27FC236}">
                    <a16:creationId xmlns:a16="http://schemas.microsoft.com/office/drawing/2014/main" id="{8C6327A9-F585-4F3E-BD25-8FCB73694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0" y="1979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6 h 67"/>
                  <a:gd name="T6" fmla="*/ 18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8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A7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6" name="Freeform 84">
                <a:extLst>
                  <a:ext uri="{FF2B5EF4-FFF2-40B4-BE49-F238E27FC236}">
                    <a16:creationId xmlns:a16="http://schemas.microsoft.com/office/drawing/2014/main" id="{0D4F97B8-E9AD-40CA-A233-BF051AE1A9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0" y="1960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6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9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7" name="Freeform 85">
                <a:extLst>
                  <a:ext uri="{FF2B5EF4-FFF2-40B4-BE49-F238E27FC236}">
                    <a16:creationId xmlns:a16="http://schemas.microsoft.com/office/drawing/2014/main" id="{69B176E8-5DD5-467E-A131-1001F7D25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1941"/>
                <a:ext cx="64" cy="68"/>
              </a:xfrm>
              <a:custGeom>
                <a:avLst/>
                <a:gdLst>
                  <a:gd name="T0" fmla="*/ 0 w 64"/>
                  <a:gd name="T1" fmla="*/ 52 h 68"/>
                  <a:gd name="T2" fmla="*/ 47 w 64"/>
                  <a:gd name="T3" fmla="*/ 0 h 68"/>
                  <a:gd name="T4" fmla="*/ 64 w 64"/>
                  <a:gd name="T5" fmla="*/ 16 h 68"/>
                  <a:gd name="T6" fmla="*/ 17 w 64"/>
                  <a:gd name="T7" fmla="*/ 68 h 68"/>
                  <a:gd name="T8" fmla="*/ 0 w 64"/>
                  <a:gd name="T9" fmla="*/ 52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8">
                    <a:moveTo>
                      <a:pt x="0" y="52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7" y="68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F57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8" name="Freeform 86">
                <a:extLst>
                  <a:ext uri="{FF2B5EF4-FFF2-40B4-BE49-F238E27FC236}">
                    <a16:creationId xmlns:a16="http://schemas.microsoft.com/office/drawing/2014/main" id="{C1E6594C-5BC3-466A-9C50-BD976E134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8" y="1922"/>
                <a:ext cx="65" cy="67"/>
              </a:xfrm>
              <a:custGeom>
                <a:avLst/>
                <a:gdLst>
                  <a:gd name="T0" fmla="*/ 0 w 65"/>
                  <a:gd name="T1" fmla="*/ 52 h 67"/>
                  <a:gd name="T2" fmla="*/ 47 w 65"/>
                  <a:gd name="T3" fmla="*/ 0 h 67"/>
                  <a:gd name="T4" fmla="*/ 65 w 65"/>
                  <a:gd name="T5" fmla="*/ 16 h 67"/>
                  <a:gd name="T6" fmla="*/ 17 w 65"/>
                  <a:gd name="T7" fmla="*/ 67 h 67"/>
                  <a:gd name="T8" fmla="*/ 0 w 65"/>
                  <a:gd name="T9" fmla="*/ 5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67">
                    <a:moveTo>
                      <a:pt x="0" y="52"/>
                    </a:moveTo>
                    <a:lnTo>
                      <a:pt x="47" y="0"/>
                    </a:lnTo>
                    <a:lnTo>
                      <a:pt x="65" y="16"/>
                    </a:lnTo>
                    <a:lnTo>
                      <a:pt x="17" y="67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EF6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9" name="Freeform 87">
                <a:extLst>
                  <a:ext uri="{FF2B5EF4-FFF2-40B4-BE49-F238E27FC236}">
                    <a16:creationId xmlns:a16="http://schemas.microsoft.com/office/drawing/2014/main" id="{BC081AAF-A0D6-4602-AAD2-C7AF38959A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8"/>
              </a:xfrm>
              <a:custGeom>
                <a:avLst/>
                <a:gdLst>
                  <a:gd name="T0" fmla="*/ 7 w 33"/>
                  <a:gd name="T1" fmla="*/ 28 h 33"/>
                  <a:gd name="T2" fmla="*/ 6 w 33"/>
                  <a:gd name="T3" fmla="*/ 7 h 33"/>
                  <a:gd name="T4" fmla="*/ 27 w 33"/>
                  <a:gd name="T5" fmla="*/ 6 h 33"/>
                  <a:gd name="T6" fmla="*/ 28 w 33"/>
                  <a:gd name="T7" fmla="*/ 27 h 33"/>
                  <a:gd name="T8" fmla="*/ 7 w 33"/>
                  <a:gd name="T9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3">
                    <a:moveTo>
                      <a:pt x="7" y="28"/>
                    </a:moveTo>
                    <a:cubicBezTo>
                      <a:pt x="1" y="22"/>
                      <a:pt x="0" y="13"/>
                      <a:pt x="6" y="7"/>
                    </a:cubicBezTo>
                    <a:cubicBezTo>
                      <a:pt x="11" y="1"/>
                      <a:pt x="21" y="0"/>
                      <a:pt x="27" y="6"/>
                    </a:cubicBezTo>
                    <a:cubicBezTo>
                      <a:pt x="33" y="11"/>
                      <a:pt x="33" y="21"/>
                      <a:pt x="28" y="27"/>
                    </a:cubicBezTo>
                    <a:cubicBezTo>
                      <a:pt x="22" y="33"/>
                      <a:pt x="13" y="33"/>
                      <a:pt x="7" y="28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0" name="Freeform 88">
                <a:extLst>
                  <a:ext uri="{FF2B5EF4-FFF2-40B4-BE49-F238E27FC236}">
                    <a16:creationId xmlns:a16="http://schemas.microsoft.com/office/drawing/2014/main" id="{D4484202-5762-4E9C-BA21-297799D03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8" y="1892"/>
                <a:ext cx="221" cy="179"/>
              </a:xfrm>
              <a:custGeom>
                <a:avLst/>
                <a:gdLst>
                  <a:gd name="T0" fmla="*/ 23 w 404"/>
                  <a:gd name="T1" fmla="*/ 49 h 328"/>
                  <a:gd name="T2" fmla="*/ 23 w 404"/>
                  <a:gd name="T3" fmla="*/ 49 h 328"/>
                  <a:gd name="T4" fmla="*/ 134 w 404"/>
                  <a:gd name="T5" fmla="*/ 23 h 328"/>
                  <a:gd name="T6" fmla="*/ 404 w 404"/>
                  <a:gd name="T7" fmla="*/ 192 h 328"/>
                  <a:gd name="T8" fmla="*/ 319 w 404"/>
                  <a:gd name="T9" fmla="*/ 328 h 328"/>
                  <a:gd name="T10" fmla="*/ 49 w 404"/>
                  <a:gd name="T11" fmla="*/ 159 h 328"/>
                  <a:gd name="T12" fmla="*/ 23 w 404"/>
                  <a:gd name="T13" fmla="*/ 4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4" h="328">
                    <a:moveTo>
                      <a:pt x="23" y="49"/>
                    </a:moveTo>
                    <a:cubicBezTo>
                      <a:pt x="23" y="49"/>
                      <a:pt x="23" y="49"/>
                      <a:pt x="23" y="49"/>
                    </a:cubicBezTo>
                    <a:cubicBezTo>
                      <a:pt x="47" y="11"/>
                      <a:pt x="96" y="0"/>
                      <a:pt x="134" y="23"/>
                    </a:cubicBezTo>
                    <a:cubicBezTo>
                      <a:pt x="404" y="192"/>
                      <a:pt x="404" y="192"/>
                      <a:pt x="404" y="192"/>
                    </a:cubicBezTo>
                    <a:cubicBezTo>
                      <a:pt x="319" y="328"/>
                      <a:pt x="319" y="328"/>
                      <a:pt x="319" y="328"/>
                    </a:cubicBezTo>
                    <a:cubicBezTo>
                      <a:pt x="49" y="159"/>
                      <a:pt x="49" y="159"/>
                      <a:pt x="49" y="159"/>
                    </a:cubicBezTo>
                    <a:cubicBezTo>
                      <a:pt x="11" y="136"/>
                      <a:pt x="0" y="86"/>
                      <a:pt x="23" y="4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1" name="Freeform 89">
                <a:extLst>
                  <a:ext uri="{FF2B5EF4-FFF2-40B4-BE49-F238E27FC236}">
                    <a16:creationId xmlns:a16="http://schemas.microsoft.com/office/drawing/2014/main" id="{2BC3A16C-5427-43FA-A41E-F1669D3C2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" y="1987"/>
                <a:ext cx="57" cy="71"/>
              </a:xfrm>
              <a:custGeom>
                <a:avLst/>
                <a:gdLst>
                  <a:gd name="T0" fmla="*/ 0 w 57"/>
                  <a:gd name="T1" fmla="*/ 59 h 71"/>
                  <a:gd name="T2" fmla="*/ 38 w 57"/>
                  <a:gd name="T3" fmla="*/ 0 h 71"/>
                  <a:gd name="T4" fmla="*/ 57 w 57"/>
                  <a:gd name="T5" fmla="*/ 13 h 71"/>
                  <a:gd name="T6" fmla="*/ 21 w 57"/>
                  <a:gd name="T7" fmla="*/ 71 h 71"/>
                  <a:gd name="T8" fmla="*/ 0 w 57"/>
                  <a:gd name="T9" fmla="*/ 5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9"/>
                    </a:moveTo>
                    <a:lnTo>
                      <a:pt x="38" y="0"/>
                    </a:lnTo>
                    <a:lnTo>
                      <a:pt x="57" y="13"/>
                    </a:lnTo>
                    <a:lnTo>
                      <a:pt x="21" y="71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FFF1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2" name="Freeform 90">
                <a:extLst>
                  <a:ext uri="{FF2B5EF4-FFF2-40B4-BE49-F238E27FC236}">
                    <a16:creationId xmlns:a16="http://schemas.microsoft.com/office/drawing/2014/main" id="{C6AD274A-BEF3-4F88-B231-B79A9995DD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" y="1973"/>
                <a:ext cx="57" cy="71"/>
              </a:xfrm>
              <a:custGeom>
                <a:avLst/>
                <a:gdLst>
                  <a:gd name="T0" fmla="*/ 0 w 57"/>
                  <a:gd name="T1" fmla="*/ 58 h 71"/>
                  <a:gd name="T2" fmla="*/ 36 w 57"/>
                  <a:gd name="T3" fmla="*/ 0 h 71"/>
                  <a:gd name="T4" fmla="*/ 57 w 57"/>
                  <a:gd name="T5" fmla="*/ 12 h 71"/>
                  <a:gd name="T6" fmla="*/ 19 w 57"/>
                  <a:gd name="T7" fmla="*/ 71 h 71"/>
                  <a:gd name="T8" fmla="*/ 0 w 57"/>
                  <a:gd name="T9" fmla="*/ 5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8"/>
                    </a:moveTo>
                    <a:lnTo>
                      <a:pt x="36" y="0"/>
                    </a:lnTo>
                    <a:lnTo>
                      <a:pt x="57" y="12"/>
                    </a:lnTo>
                    <a:lnTo>
                      <a:pt x="19" y="71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FFEE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3" name="Freeform 91">
                <a:extLst>
                  <a:ext uri="{FF2B5EF4-FFF2-40B4-BE49-F238E27FC236}">
                    <a16:creationId xmlns:a16="http://schemas.microsoft.com/office/drawing/2014/main" id="{53031A32-B1F0-4AED-B628-BDAE850E2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2" y="1957"/>
                <a:ext cx="57" cy="72"/>
              </a:xfrm>
              <a:custGeom>
                <a:avLst/>
                <a:gdLst>
                  <a:gd name="T0" fmla="*/ 0 w 57"/>
                  <a:gd name="T1" fmla="*/ 59 h 72"/>
                  <a:gd name="T2" fmla="*/ 37 w 57"/>
                  <a:gd name="T3" fmla="*/ 0 h 72"/>
                  <a:gd name="T4" fmla="*/ 57 w 57"/>
                  <a:gd name="T5" fmla="*/ 13 h 72"/>
                  <a:gd name="T6" fmla="*/ 20 w 57"/>
                  <a:gd name="T7" fmla="*/ 72 h 72"/>
                  <a:gd name="T8" fmla="*/ 0 w 57"/>
                  <a:gd name="T9" fmla="*/ 5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2">
                    <a:moveTo>
                      <a:pt x="0" y="59"/>
                    </a:moveTo>
                    <a:lnTo>
                      <a:pt x="37" y="0"/>
                    </a:lnTo>
                    <a:lnTo>
                      <a:pt x="57" y="13"/>
                    </a:lnTo>
                    <a:lnTo>
                      <a:pt x="20" y="72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4" name="Freeform 92">
                <a:extLst>
                  <a:ext uri="{FF2B5EF4-FFF2-40B4-BE49-F238E27FC236}">
                    <a16:creationId xmlns:a16="http://schemas.microsoft.com/office/drawing/2014/main" id="{08E38D7B-919C-4434-8D49-DA594F595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8" y="1943"/>
                <a:ext cx="57" cy="71"/>
              </a:xfrm>
              <a:custGeom>
                <a:avLst/>
                <a:gdLst>
                  <a:gd name="T0" fmla="*/ 0 w 57"/>
                  <a:gd name="T1" fmla="*/ 58 h 71"/>
                  <a:gd name="T2" fmla="*/ 37 w 57"/>
                  <a:gd name="T3" fmla="*/ 0 h 71"/>
                  <a:gd name="T4" fmla="*/ 57 w 57"/>
                  <a:gd name="T5" fmla="*/ 12 h 71"/>
                  <a:gd name="T6" fmla="*/ 20 w 57"/>
                  <a:gd name="T7" fmla="*/ 71 h 71"/>
                  <a:gd name="T8" fmla="*/ 0 w 57"/>
                  <a:gd name="T9" fmla="*/ 5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8"/>
                    </a:moveTo>
                    <a:lnTo>
                      <a:pt x="37" y="0"/>
                    </a:lnTo>
                    <a:lnTo>
                      <a:pt x="57" y="12"/>
                    </a:lnTo>
                    <a:lnTo>
                      <a:pt x="20" y="71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FDD8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" name="Freeform 93">
                <a:extLst>
                  <a:ext uri="{FF2B5EF4-FFF2-40B4-BE49-F238E27FC236}">
                    <a16:creationId xmlns:a16="http://schemas.microsoft.com/office/drawing/2014/main" id="{E05E122E-6F56-4413-A8F4-2AFE148E9D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5" y="1928"/>
                <a:ext cx="57" cy="71"/>
              </a:xfrm>
              <a:custGeom>
                <a:avLst/>
                <a:gdLst>
                  <a:gd name="T0" fmla="*/ 0 w 57"/>
                  <a:gd name="T1" fmla="*/ 59 h 71"/>
                  <a:gd name="T2" fmla="*/ 36 w 57"/>
                  <a:gd name="T3" fmla="*/ 0 h 71"/>
                  <a:gd name="T4" fmla="*/ 57 w 57"/>
                  <a:gd name="T5" fmla="*/ 12 h 71"/>
                  <a:gd name="T6" fmla="*/ 19 w 57"/>
                  <a:gd name="T7" fmla="*/ 71 h 71"/>
                  <a:gd name="T8" fmla="*/ 0 w 57"/>
                  <a:gd name="T9" fmla="*/ 5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9"/>
                    </a:moveTo>
                    <a:lnTo>
                      <a:pt x="36" y="0"/>
                    </a:lnTo>
                    <a:lnTo>
                      <a:pt x="57" y="12"/>
                    </a:lnTo>
                    <a:lnTo>
                      <a:pt x="19" y="71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" name="Freeform 94">
                <a:extLst>
                  <a:ext uri="{FF2B5EF4-FFF2-40B4-BE49-F238E27FC236}">
                    <a16:creationId xmlns:a16="http://schemas.microsoft.com/office/drawing/2014/main" id="{6656C0CE-DFC8-43BF-BE91-0F45A3C2B0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" y="1913"/>
                <a:ext cx="56" cy="72"/>
              </a:xfrm>
              <a:custGeom>
                <a:avLst/>
                <a:gdLst>
                  <a:gd name="T0" fmla="*/ 0 w 56"/>
                  <a:gd name="T1" fmla="*/ 59 h 72"/>
                  <a:gd name="T2" fmla="*/ 37 w 56"/>
                  <a:gd name="T3" fmla="*/ 0 h 72"/>
                  <a:gd name="T4" fmla="*/ 56 w 56"/>
                  <a:gd name="T5" fmla="*/ 13 h 72"/>
                  <a:gd name="T6" fmla="*/ 20 w 56"/>
                  <a:gd name="T7" fmla="*/ 72 h 72"/>
                  <a:gd name="T8" fmla="*/ 0 w 56"/>
                  <a:gd name="T9" fmla="*/ 5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72">
                    <a:moveTo>
                      <a:pt x="0" y="59"/>
                    </a:moveTo>
                    <a:lnTo>
                      <a:pt x="37" y="0"/>
                    </a:lnTo>
                    <a:lnTo>
                      <a:pt x="56" y="13"/>
                    </a:lnTo>
                    <a:lnTo>
                      <a:pt x="20" y="72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7" name="Freeform 95">
                <a:extLst>
                  <a:ext uri="{FF2B5EF4-FFF2-40B4-BE49-F238E27FC236}">
                    <a16:creationId xmlns:a16="http://schemas.microsoft.com/office/drawing/2014/main" id="{D587F3E1-7E71-4AA6-955A-1E01FFF4A8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1"/>
                <a:ext cx="18" cy="19"/>
              </a:xfrm>
              <a:custGeom>
                <a:avLst/>
                <a:gdLst>
                  <a:gd name="T0" fmla="*/ 9 w 34"/>
                  <a:gd name="T1" fmla="*/ 29 h 34"/>
                  <a:gd name="T2" fmla="*/ 4 w 34"/>
                  <a:gd name="T3" fmla="*/ 9 h 34"/>
                  <a:gd name="T4" fmla="*/ 25 w 34"/>
                  <a:gd name="T5" fmla="*/ 4 h 34"/>
                  <a:gd name="T6" fmla="*/ 30 w 34"/>
                  <a:gd name="T7" fmla="*/ 25 h 34"/>
                  <a:gd name="T8" fmla="*/ 9 w 34"/>
                  <a:gd name="T9" fmla="*/ 2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9" y="29"/>
                    </a:moveTo>
                    <a:cubicBezTo>
                      <a:pt x="2" y="25"/>
                      <a:pt x="0" y="16"/>
                      <a:pt x="4" y="9"/>
                    </a:cubicBezTo>
                    <a:cubicBezTo>
                      <a:pt x="9" y="2"/>
                      <a:pt x="18" y="0"/>
                      <a:pt x="25" y="4"/>
                    </a:cubicBezTo>
                    <a:cubicBezTo>
                      <a:pt x="32" y="9"/>
                      <a:pt x="34" y="18"/>
                      <a:pt x="30" y="25"/>
                    </a:cubicBezTo>
                    <a:cubicBezTo>
                      <a:pt x="25" y="32"/>
                      <a:pt x="16" y="34"/>
                      <a:pt x="9" y="29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8" name="Freeform 96">
                <a:extLst>
                  <a:ext uri="{FF2B5EF4-FFF2-40B4-BE49-F238E27FC236}">
                    <a16:creationId xmlns:a16="http://schemas.microsoft.com/office/drawing/2014/main" id="{65D28321-5E42-4B38-9631-98D7F74CC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" y="1891"/>
                <a:ext cx="229" cy="149"/>
              </a:xfrm>
              <a:custGeom>
                <a:avLst/>
                <a:gdLst>
                  <a:gd name="T0" fmla="*/ 15 w 418"/>
                  <a:gd name="T1" fmla="*/ 63 h 272"/>
                  <a:gd name="T2" fmla="*/ 15 w 418"/>
                  <a:gd name="T3" fmla="*/ 63 h 272"/>
                  <a:gd name="T4" fmla="*/ 117 w 418"/>
                  <a:gd name="T5" fmla="*/ 15 h 272"/>
                  <a:gd name="T6" fmla="*/ 418 w 418"/>
                  <a:gd name="T7" fmla="*/ 121 h 272"/>
                  <a:gd name="T8" fmla="*/ 364 w 418"/>
                  <a:gd name="T9" fmla="*/ 272 h 272"/>
                  <a:gd name="T10" fmla="*/ 64 w 418"/>
                  <a:gd name="T11" fmla="*/ 166 h 272"/>
                  <a:gd name="T12" fmla="*/ 15 w 418"/>
                  <a:gd name="T13" fmla="*/ 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8" h="272">
                    <a:moveTo>
                      <a:pt x="15" y="63"/>
                    </a:moveTo>
                    <a:cubicBezTo>
                      <a:pt x="15" y="63"/>
                      <a:pt x="15" y="63"/>
                      <a:pt x="15" y="63"/>
                    </a:cubicBezTo>
                    <a:cubicBezTo>
                      <a:pt x="30" y="22"/>
                      <a:pt x="76" y="0"/>
                      <a:pt x="117" y="15"/>
                    </a:cubicBezTo>
                    <a:cubicBezTo>
                      <a:pt x="418" y="121"/>
                      <a:pt x="418" y="121"/>
                      <a:pt x="418" y="121"/>
                    </a:cubicBezTo>
                    <a:cubicBezTo>
                      <a:pt x="364" y="272"/>
                      <a:pt x="364" y="272"/>
                      <a:pt x="364" y="272"/>
                    </a:cubicBezTo>
                    <a:cubicBezTo>
                      <a:pt x="64" y="166"/>
                      <a:pt x="64" y="166"/>
                      <a:pt x="64" y="166"/>
                    </a:cubicBezTo>
                    <a:cubicBezTo>
                      <a:pt x="22" y="151"/>
                      <a:pt x="0" y="105"/>
                      <a:pt x="15" y="6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9" name="Freeform 97">
                <a:extLst>
                  <a:ext uri="{FF2B5EF4-FFF2-40B4-BE49-F238E27FC236}">
                    <a16:creationId xmlns:a16="http://schemas.microsoft.com/office/drawing/2014/main" id="{565565E1-DA7C-4C7C-81BE-3897131B68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955"/>
                <a:ext cx="45" cy="73"/>
              </a:xfrm>
              <a:custGeom>
                <a:avLst/>
                <a:gdLst>
                  <a:gd name="T0" fmla="*/ 0 w 45"/>
                  <a:gd name="T1" fmla="*/ 66 h 73"/>
                  <a:gd name="T2" fmla="*/ 23 w 45"/>
                  <a:gd name="T3" fmla="*/ 0 h 73"/>
                  <a:gd name="T4" fmla="*/ 45 w 45"/>
                  <a:gd name="T5" fmla="*/ 8 h 73"/>
                  <a:gd name="T6" fmla="*/ 22 w 45"/>
                  <a:gd name="T7" fmla="*/ 73 h 73"/>
                  <a:gd name="T8" fmla="*/ 0 w 45"/>
                  <a:gd name="T9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6"/>
                    </a:moveTo>
                    <a:lnTo>
                      <a:pt x="23" y="0"/>
                    </a:lnTo>
                    <a:lnTo>
                      <a:pt x="45" y="8"/>
                    </a:lnTo>
                    <a:lnTo>
                      <a:pt x="22" y="73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E6EE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0" name="Freeform 98">
                <a:extLst>
                  <a:ext uri="{FF2B5EF4-FFF2-40B4-BE49-F238E27FC236}">
                    <a16:creationId xmlns:a16="http://schemas.microsoft.com/office/drawing/2014/main" id="{A726B54A-F4F4-4DA4-8282-724AC687F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0" y="1946"/>
                <a:ext cx="45" cy="73"/>
              </a:xfrm>
              <a:custGeom>
                <a:avLst/>
                <a:gdLst>
                  <a:gd name="T0" fmla="*/ 0 w 45"/>
                  <a:gd name="T1" fmla="*/ 65 h 73"/>
                  <a:gd name="T2" fmla="*/ 24 w 45"/>
                  <a:gd name="T3" fmla="*/ 0 h 73"/>
                  <a:gd name="T4" fmla="*/ 45 w 45"/>
                  <a:gd name="T5" fmla="*/ 7 h 73"/>
                  <a:gd name="T6" fmla="*/ 22 w 45"/>
                  <a:gd name="T7" fmla="*/ 73 h 73"/>
                  <a:gd name="T8" fmla="*/ 0 w 45"/>
                  <a:gd name="T9" fmla="*/ 6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5"/>
                    </a:moveTo>
                    <a:lnTo>
                      <a:pt x="24" y="0"/>
                    </a:lnTo>
                    <a:lnTo>
                      <a:pt x="45" y="7"/>
                    </a:lnTo>
                    <a:lnTo>
                      <a:pt x="22" y="73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DCE77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1" name="Freeform 99">
                <a:extLst>
                  <a:ext uri="{FF2B5EF4-FFF2-40B4-BE49-F238E27FC236}">
                    <a16:creationId xmlns:a16="http://schemas.microsoft.com/office/drawing/2014/main" id="{F69E95FD-011E-4FC5-B499-6C359ED9E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4" y="1937"/>
                <a:ext cx="45" cy="73"/>
              </a:xfrm>
              <a:custGeom>
                <a:avLst/>
                <a:gdLst>
                  <a:gd name="T0" fmla="*/ 0 w 45"/>
                  <a:gd name="T1" fmla="*/ 64 h 73"/>
                  <a:gd name="T2" fmla="*/ 23 w 45"/>
                  <a:gd name="T3" fmla="*/ 0 h 73"/>
                  <a:gd name="T4" fmla="*/ 45 w 45"/>
                  <a:gd name="T5" fmla="*/ 7 h 73"/>
                  <a:gd name="T6" fmla="*/ 22 w 45"/>
                  <a:gd name="T7" fmla="*/ 73 h 73"/>
                  <a:gd name="T8" fmla="*/ 0 w 45"/>
                  <a:gd name="T9" fmla="*/ 6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4"/>
                    </a:moveTo>
                    <a:lnTo>
                      <a:pt x="23" y="0"/>
                    </a:lnTo>
                    <a:lnTo>
                      <a:pt x="45" y="7"/>
                    </a:lnTo>
                    <a:lnTo>
                      <a:pt x="22" y="73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2" name="Freeform 100">
                <a:extLst>
                  <a:ext uri="{FF2B5EF4-FFF2-40B4-BE49-F238E27FC236}">
                    <a16:creationId xmlns:a16="http://schemas.microsoft.com/office/drawing/2014/main" id="{3320A667-29D2-4325-9627-6DD64612C1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7" y="1927"/>
                <a:ext cx="46" cy="73"/>
              </a:xfrm>
              <a:custGeom>
                <a:avLst/>
                <a:gdLst>
                  <a:gd name="T0" fmla="*/ 0 w 46"/>
                  <a:gd name="T1" fmla="*/ 65 h 73"/>
                  <a:gd name="T2" fmla="*/ 23 w 46"/>
                  <a:gd name="T3" fmla="*/ 0 h 73"/>
                  <a:gd name="T4" fmla="*/ 46 w 46"/>
                  <a:gd name="T5" fmla="*/ 8 h 73"/>
                  <a:gd name="T6" fmla="*/ 22 w 46"/>
                  <a:gd name="T7" fmla="*/ 73 h 73"/>
                  <a:gd name="T8" fmla="*/ 0 w 46"/>
                  <a:gd name="T9" fmla="*/ 6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0" y="65"/>
                    </a:moveTo>
                    <a:lnTo>
                      <a:pt x="23" y="0"/>
                    </a:lnTo>
                    <a:lnTo>
                      <a:pt x="46" y="8"/>
                    </a:lnTo>
                    <a:lnTo>
                      <a:pt x="22" y="73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CDDC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3" name="Freeform 101">
                <a:extLst>
                  <a:ext uri="{FF2B5EF4-FFF2-40B4-BE49-F238E27FC236}">
                    <a16:creationId xmlns:a16="http://schemas.microsoft.com/office/drawing/2014/main" id="{9F976ACC-0A27-4728-8AB9-92F1DC017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1" y="1917"/>
                <a:ext cx="45" cy="74"/>
              </a:xfrm>
              <a:custGeom>
                <a:avLst/>
                <a:gdLst>
                  <a:gd name="T0" fmla="*/ 0 w 45"/>
                  <a:gd name="T1" fmla="*/ 66 h 74"/>
                  <a:gd name="T2" fmla="*/ 23 w 45"/>
                  <a:gd name="T3" fmla="*/ 0 h 74"/>
                  <a:gd name="T4" fmla="*/ 45 w 45"/>
                  <a:gd name="T5" fmla="*/ 9 h 74"/>
                  <a:gd name="T6" fmla="*/ 22 w 45"/>
                  <a:gd name="T7" fmla="*/ 74 h 74"/>
                  <a:gd name="T8" fmla="*/ 0 w 45"/>
                  <a:gd name="T9" fmla="*/ 6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4">
                    <a:moveTo>
                      <a:pt x="0" y="66"/>
                    </a:moveTo>
                    <a:lnTo>
                      <a:pt x="23" y="0"/>
                    </a:lnTo>
                    <a:lnTo>
                      <a:pt x="45" y="9"/>
                    </a:lnTo>
                    <a:lnTo>
                      <a:pt x="22" y="74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C0CA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4" name="Freeform 102">
                <a:extLst>
                  <a:ext uri="{FF2B5EF4-FFF2-40B4-BE49-F238E27FC236}">
                    <a16:creationId xmlns:a16="http://schemas.microsoft.com/office/drawing/2014/main" id="{5E758009-E188-468F-8DF0-D50F294FC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908"/>
                <a:ext cx="46" cy="73"/>
              </a:xfrm>
              <a:custGeom>
                <a:avLst/>
                <a:gdLst>
                  <a:gd name="T0" fmla="*/ 0 w 46"/>
                  <a:gd name="T1" fmla="*/ 66 h 73"/>
                  <a:gd name="T2" fmla="*/ 24 w 46"/>
                  <a:gd name="T3" fmla="*/ 0 h 73"/>
                  <a:gd name="T4" fmla="*/ 46 w 46"/>
                  <a:gd name="T5" fmla="*/ 8 h 73"/>
                  <a:gd name="T6" fmla="*/ 23 w 46"/>
                  <a:gd name="T7" fmla="*/ 73 h 73"/>
                  <a:gd name="T8" fmla="*/ 0 w 46"/>
                  <a:gd name="T9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0" y="66"/>
                    </a:moveTo>
                    <a:lnTo>
                      <a:pt x="24" y="0"/>
                    </a:lnTo>
                    <a:lnTo>
                      <a:pt x="46" y="8"/>
                    </a:lnTo>
                    <a:lnTo>
                      <a:pt x="23" y="73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AFB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5" name="Freeform 103">
                <a:extLst>
                  <a:ext uri="{FF2B5EF4-FFF2-40B4-BE49-F238E27FC236}">
                    <a16:creationId xmlns:a16="http://schemas.microsoft.com/office/drawing/2014/main" id="{80356FB1-D90D-4EF3-84A4-00B7FE1863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9"/>
              </a:xfrm>
              <a:custGeom>
                <a:avLst/>
                <a:gdLst>
                  <a:gd name="T0" fmla="*/ 12 w 33"/>
                  <a:gd name="T1" fmla="*/ 30 h 33"/>
                  <a:gd name="T2" fmla="*/ 2 w 33"/>
                  <a:gd name="T3" fmla="*/ 11 h 33"/>
                  <a:gd name="T4" fmla="*/ 21 w 33"/>
                  <a:gd name="T5" fmla="*/ 2 h 33"/>
                  <a:gd name="T6" fmla="*/ 31 w 33"/>
                  <a:gd name="T7" fmla="*/ 21 h 33"/>
                  <a:gd name="T8" fmla="*/ 12 w 33"/>
                  <a:gd name="T9" fmla="*/ 3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3">
                    <a:moveTo>
                      <a:pt x="12" y="30"/>
                    </a:moveTo>
                    <a:cubicBezTo>
                      <a:pt x="4" y="28"/>
                      <a:pt x="0" y="19"/>
                      <a:pt x="2" y="11"/>
                    </a:cubicBezTo>
                    <a:cubicBezTo>
                      <a:pt x="5" y="4"/>
                      <a:pt x="14" y="0"/>
                      <a:pt x="21" y="2"/>
                    </a:cubicBezTo>
                    <a:cubicBezTo>
                      <a:pt x="29" y="5"/>
                      <a:pt x="33" y="14"/>
                      <a:pt x="31" y="21"/>
                    </a:cubicBezTo>
                    <a:cubicBezTo>
                      <a:pt x="28" y="29"/>
                      <a:pt x="19" y="33"/>
                      <a:pt x="12" y="30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6" name="Freeform 104">
                <a:extLst>
                  <a:ext uri="{FF2B5EF4-FFF2-40B4-BE49-F238E27FC236}">
                    <a16:creationId xmlns:a16="http://schemas.microsoft.com/office/drawing/2014/main" id="{F288D20D-0249-4BB9-B795-C0BCBCC03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" y="1887"/>
                <a:ext cx="225" cy="107"/>
              </a:xfrm>
              <a:custGeom>
                <a:avLst/>
                <a:gdLst>
                  <a:gd name="T0" fmla="*/ 5 w 410"/>
                  <a:gd name="T1" fmla="*/ 76 h 196"/>
                  <a:gd name="T2" fmla="*/ 5 w 410"/>
                  <a:gd name="T3" fmla="*/ 76 h 196"/>
                  <a:gd name="T4" fmla="*/ 93 w 410"/>
                  <a:gd name="T5" fmla="*/ 4 h 196"/>
                  <a:gd name="T6" fmla="*/ 410 w 410"/>
                  <a:gd name="T7" fmla="*/ 37 h 196"/>
                  <a:gd name="T8" fmla="*/ 393 w 410"/>
                  <a:gd name="T9" fmla="*/ 196 h 196"/>
                  <a:gd name="T10" fmla="*/ 76 w 410"/>
                  <a:gd name="T11" fmla="*/ 164 h 196"/>
                  <a:gd name="T12" fmla="*/ 5 w 410"/>
                  <a:gd name="T13" fmla="*/ 7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0" h="196">
                    <a:moveTo>
                      <a:pt x="5" y="76"/>
                    </a:moveTo>
                    <a:cubicBezTo>
                      <a:pt x="5" y="76"/>
                      <a:pt x="5" y="76"/>
                      <a:pt x="5" y="76"/>
                    </a:cubicBezTo>
                    <a:cubicBezTo>
                      <a:pt x="9" y="32"/>
                      <a:pt x="49" y="0"/>
                      <a:pt x="93" y="4"/>
                    </a:cubicBezTo>
                    <a:cubicBezTo>
                      <a:pt x="410" y="37"/>
                      <a:pt x="410" y="37"/>
                      <a:pt x="410" y="37"/>
                    </a:cubicBezTo>
                    <a:cubicBezTo>
                      <a:pt x="393" y="196"/>
                      <a:pt x="393" y="196"/>
                      <a:pt x="393" y="196"/>
                    </a:cubicBezTo>
                    <a:cubicBezTo>
                      <a:pt x="76" y="164"/>
                      <a:pt x="76" y="164"/>
                      <a:pt x="76" y="164"/>
                    </a:cubicBezTo>
                    <a:cubicBezTo>
                      <a:pt x="32" y="159"/>
                      <a:pt x="0" y="120"/>
                      <a:pt x="5" y="7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7" name="Freeform 105">
                <a:extLst>
                  <a:ext uri="{FF2B5EF4-FFF2-40B4-BE49-F238E27FC236}">
                    <a16:creationId xmlns:a16="http://schemas.microsoft.com/office/drawing/2014/main" id="{297A74DF-660D-472E-8098-462149FDFB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8" y="1912"/>
                <a:ext cx="31" cy="72"/>
              </a:xfrm>
              <a:custGeom>
                <a:avLst/>
                <a:gdLst>
                  <a:gd name="T0" fmla="*/ 0 w 31"/>
                  <a:gd name="T1" fmla="*/ 70 h 72"/>
                  <a:gd name="T2" fmla="*/ 7 w 31"/>
                  <a:gd name="T3" fmla="*/ 0 h 72"/>
                  <a:gd name="T4" fmla="*/ 31 w 31"/>
                  <a:gd name="T5" fmla="*/ 3 h 72"/>
                  <a:gd name="T6" fmla="*/ 24 w 31"/>
                  <a:gd name="T7" fmla="*/ 72 h 72"/>
                  <a:gd name="T8" fmla="*/ 0 w 31"/>
                  <a:gd name="T9" fmla="*/ 7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0" y="70"/>
                    </a:moveTo>
                    <a:lnTo>
                      <a:pt x="7" y="0"/>
                    </a:lnTo>
                    <a:lnTo>
                      <a:pt x="31" y="3"/>
                    </a:lnTo>
                    <a:lnTo>
                      <a:pt x="24" y="72"/>
                    </a:lnTo>
                    <a:lnTo>
                      <a:pt x="0" y="70"/>
                    </a:lnTo>
                    <a:close/>
                  </a:path>
                </a:pathLst>
              </a:custGeom>
              <a:solidFill>
                <a:srgbClr val="C5E1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8" name="Freeform 106">
                <a:extLst>
                  <a:ext uri="{FF2B5EF4-FFF2-40B4-BE49-F238E27FC236}">
                    <a16:creationId xmlns:a16="http://schemas.microsoft.com/office/drawing/2014/main" id="{4D6225FE-D55C-40DC-A38A-94CD4D9AB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" y="1910"/>
                <a:ext cx="31" cy="71"/>
              </a:xfrm>
              <a:custGeom>
                <a:avLst/>
                <a:gdLst>
                  <a:gd name="T0" fmla="*/ 0 w 31"/>
                  <a:gd name="T1" fmla="*/ 69 h 71"/>
                  <a:gd name="T2" fmla="*/ 7 w 31"/>
                  <a:gd name="T3" fmla="*/ 0 h 71"/>
                  <a:gd name="T4" fmla="*/ 31 w 31"/>
                  <a:gd name="T5" fmla="*/ 2 h 71"/>
                  <a:gd name="T6" fmla="*/ 24 w 31"/>
                  <a:gd name="T7" fmla="*/ 71 h 71"/>
                  <a:gd name="T8" fmla="*/ 0 w 31"/>
                  <a:gd name="T9" fmla="*/ 6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0" y="69"/>
                    </a:moveTo>
                    <a:lnTo>
                      <a:pt x="7" y="0"/>
                    </a:lnTo>
                    <a:lnTo>
                      <a:pt x="31" y="2"/>
                    </a:lnTo>
                    <a:lnTo>
                      <a:pt x="24" y="71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AED5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9" name="Freeform 107">
                <a:extLst>
                  <a:ext uri="{FF2B5EF4-FFF2-40B4-BE49-F238E27FC236}">
                    <a16:creationId xmlns:a16="http://schemas.microsoft.com/office/drawing/2014/main" id="{184F0614-A5A6-4C2A-A30B-2ECD9DD132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2" y="1907"/>
                <a:ext cx="31" cy="72"/>
              </a:xfrm>
              <a:custGeom>
                <a:avLst/>
                <a:gdLst>
                  <a:gd name="T0" fmla="*/ 0 w 31"/>
                  <a:gd name="T1" fmla="*/ 69 h 72"/>
                  <a:gd name="T2" fmla="*/ 7 w 31"/>
                  <a:gd name="T3" fmla="*/ 0 h 72"/>
                  <a:gd name="T4" fmla="*/ 31 w 31"/>
                  <a:gd name="T5" fmla="*/ 2 h 72"/>
                  <a:gd name="T6" fmla="*/ 24 w 31"/>
                  <a:gd name="T7" fmla="*/ 72 h 72"/>
                  <a:gd name="T8" fmla="*/ 0 w 31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0" y="69"/>
                    </a:moveTo>
                    <a:lnTo>
                      <a:pt x="7" y="0"/>
                    </a:lnTo>
                    <a:lnTo>
                      <a:pt x="31" y="2"/>
                    </a:lnTo>
                    <a:lnTo>
                      <a:pt x="24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9CCC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0" name="Freeform 108">
                <a:extLst>
                  <a:ext uri="{FF2B5EF4-FFF2-40B4-BE49-F238E27FC236}">
                    <a16:creationId xmlns:a16="http://schemas.microsoft.com/office/drawing/2014/main" id="{885973B0-D7BC-41B3-95B0-E0B3F35A58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1904"/>
                <a:ext cx="31" cy="71"/>
              </a:xfrm>
              <a:custGeom>
                <a:avLst/>
                <a:gdLst>
                  <a:gd name="T0" fmla="*/ 0 w 31"/>
                  <a:gd name="T1" fmla="*/ 69 h 71"/>
                  <a:gd name="T2" fmla="*/ 8 w 31"/>
                  <a:gd name="T3" fmla="*/ 0 h 71"/>
                  <a:gd name="T4" fmla="*/ 31 w 31"/>
                  <a:gd name="T5" fmla="*/ 2 h 71"/>
                  <a:gd name="T6" fmla="*/ 24 w 31"/>
                  <a:gd name="T7" fmla="*/ 71 h 71"/>
                  <a:gd name="T8" fmla="*/ 0 w 31"/>
                  <a:gd name="T9" fmla="*/ 6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0" y="69"/>
                    </a:moveTo>
                    <a:lnTo>
                      <a:pt x="8" y="0"/>
                    </a:lnTo>
                    <a:lnTo>
                      <a:pt x="31" y="2"/>
                    </a:lnTo>
                    <a:lnTo>
                      <a:pt x="24" y="71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1" name="Freeform 109">
                <a:extLst>
                  <a:ext uri="{FF2B5EF4-FFF2-40B4-BE49-F238E27FC236}">
                    <a16:creationId xmlns:a16="http://schemas.microsoft.com/office/drawing/2014/main" id="{E952FAAE-79ED-4F86-A93C-3626A2032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1901"/>
                <a:ext cx="30" cy="72"/>
              </a:xfrm>
              <a:custGeom>
                <a:avLst/>
                <a:gdLst>
                  <a:gd name="T0" fmla="*/ 0 w 30"/>
                  <a:gd name="T1" fmla="*/ 69 h 72"/>
                  <a:gd name="T2" fmla="*/ 7 w 30"/>
                  <a:gd name="T3" fmla="*/ 0 h 72"/>
                  <a:gd name="T4" fmla="*/ 30 w 30"/>
                  <a:gd name="T5" fmla="*/ 3 h 72"/>
                  <a:gd name="T6" fmla="*/ 23 w 30"/>
                  <a:gd name="T7" fmla="*/ 72 h 72"/>
                  <a:gd name="T8" fmla="*/ 0 w 30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72">
                    <a:moveTo>
                      <a:pt x="0" y="69"/>
                    </a:moveTo>
                    <a:lnTo>
                      <a:pt x="7" y="0"/>
                    </a:lnTo>
                    <a:lnTo>
                      <a:pt x="30" y="3"/>
                    </a:lnTo>
                    <a:lnTo>
                      <a:pt x="23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7CB3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2" name="Freeform 110">
                <a:extLst>
                  <a:ext uri="{FF2B5EF4-FFF2-40B4-BE49-F238E27FC236}">
                    <a16:creationId xmlns:a16="http://schemas.microsoft.com/office/drawing/2014/main" id="{FBF8D14E-A43B-49E7-8676-A560D1259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9" y="1898"/>
                <a:ext cx="30" cy="72"/>
              </a:xfrm>
              <a:custGeom>
                <a:avLst/>
                <a:gdLst>
                  <a:gd name="T0" fmla="*/ 0 w 30"/>
                  <a:gd name="T1" fmla="*/ 69 h 72"/>
                  <a:gd name="T2" fmla="*/ 7 w 30"/>
                  <a:gd name="T3" fmla="*/ 0 h 72"/>
                  <a:gd name="T4" fmla="*/ 30 w 30"/>
                  <a:gd name="T5" fmla="*/ 2 h 72"/>
                  <a:gd name="T6" fmla="*/ 23 w 30"/>
                  <a:gd name="T7" fmla="*/ 72 h 72"/>
                  <a:gd name="T8" fmla="*/ 0 w 30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72">
                    <a:moveTo>
                      <a:pt x="0" y="69"/>
                    </a:moveTo>
                    <a:lnTo>
                      <a:pt x="7" y="0"/>
                    </a:lnTo>
                    <a:lnTo>
                      <a:pt x="30" y="2"/>
                    </a:lnTo>
                    <a:lnTo>
                      <a:pt x="23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689F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3" name="Freeform 111">
                <a:extLst>
                  <a:ext uri="{FF2B5EF4-FFF2-40B4-BE49-F238E27FC236}">
                    <a16:creationId xmlns:a16="http://schemas.microsoft.com/office/drawing/2014/main" id="{194F6BEB-A6F3-4204-A3E7-28D0AB2875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2"/>
                <a:ext cx="17" cy="17"/>
              </a:xfrm>
              <a:custGeom>
                <a:avLst/>
                <a:gdLst>
                  <a:gd name="T0" fmla="*/ 14 w 31"/>
                  <a:gd name="T1" fmla="*/ 31 h 32"/>
                  <a:gd name="T2" fmla="*/ 1 w 31"/>
                  <a:gd name="T3" fmla="*/ 14 h 32"/>
                  <a:gd name="T4" fmla="*/ 17 w 31"/>
                  <a:gd name="T5" fmla="*/ 1 h 32"/>
                  <a:gd name="T6" fmla="*/ 30 w 31"/>
                  <a:gd name="T7" fmla="*/ 17 h 32"/>
                  <a:gd name="T8" fmla="*/ 14 w 31"/>
                  <a:gd name="T9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2">
                    <a:moveTo>
                      <a:pt x="14" y="31"/>
                    </a:moveTo>
                    <a:cubicBezTo>
                      <a:pt x="6" y="30"/>
                      <a:pt x="0" y="23"/>
                      <a:pt x="1" y="14"/>
                    </a:cubicBezTo>
                    <a:cubicBezTo>
                      <a:pt x="2" y="6"/>
                      <a:pt x="9" y="0"/>
                      <a:pt x="17" y="1"/>
                    </a:cubicBezTo>
                    <a:cubicBezTo>
                      <a:pt x="25" y="2"/>
                      <a:pt x="31" y="9"/>
                      <a:pt x="30" y="17"/>
                    </a:cubicBezTo>
                    <a:cubicBezTo>
                      <a:pt x="30" y="26"/>
                      <a:pt x="22" y="32"/>
                      <a:pt x="14" y="31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4" name="Freeform 112">
                <a:extLst>
                  <a:ext uri="{FF2B5EF4-FFF2-40B4-BE49-F238E27FC236}">
                    <a16:creationId xmlns:a16="http://schemas.microsoft.com/office/drawing/2014/main" id="{E6A7D0A3-C279-46E0-A2AD-A201233ACE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" y="1866"/>
                <a:ext cx="224" cy="109"/>
              </a:xfrm>
              <a:custGeom>
                <a:avLst/>
                <a:gdLst>
                  <a:gd name="T0" fmla="*/ 5 w 410"/>
                  <a:gd name="T1" fmla="*/ 124 h 200"/>
                  <a:gd name="T2" fmla="*/ 5 w 410"/>
                  <a:gd name="T3" fmla="*/ 124 h 200"/>
                  <a:gd name="T4" fmla="*/ 75 w 410"/>
                  <a:gd name="T5" fmla="*/ 35 h 200"/>
                  <a:gd name="T6" fmla="*/ 392 w 410"/>
                  <a:gd name="T7" fmla="*/ 0 h 200"/>
                  <a:gd name="T8" fmla="*/ 410 w 410"/>
                  <a:gd name="T9" fmla="*/ 159 h 200"/>
                  <a:gd name="T10" fmla="*/ 93 w 410"/>
                  <a:gd name="T11" fmla="*/ 195 h 200"/>
                  <a:gd name="T12" fmla="*/ 5 w 410"/>
                  <a:gd name="T13" fmla="*/ 124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0" h="200">
                    <a:moveTo>
                      <a:pt x="5" y="124"/>
                    </a:moveTo>
                    <a:cubicBezTo>
                      <a:pt x="5" y="124"/>
                      <a:pt x="5" y="124"/>
                      <a:pt x="5" y="124"/>
                    </a:cubicBezTo>
                    <a:cubicBezTo>
                      <a:pt x="0" y="80"/>
                      <a:pt x="31" y="40"/>
                      <a:pt x="75" y="35"/>
                    </a:cubicBezTo>
                    <a:cubicBezTo>
                      <a:pt x="392" y="0"/>
                      <a:pt x="392" y="0"/>
                      <a:pt x="392" y="0"/>
                    </a:cubicBezTo>
                    <a:cubicBezTo>
                      <a:pt x="410" y="159"/>
                      <a:pt x="410" y="159"/>
                      <a:pt x="410" y="159"/>
                    </a:cubicBezTo>
                    <a:cubicBezTo>
                      <a:pt x="93" y="195"/>
                      <a:pt x="93" y="195"/>
                      <a:pt x="93" y="195"/>
                    </a:cubicBezTo>
                    <a:cubicBezTo>
                      <a:pt x="49" y="200"/>
                      <a:pt x="10" y="168"/>
                      <a:pt x="5" y="1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5" name="Freeform 113">
                <a:extLst>
                  <a:ext uri="{FF2B5EF4-FFF2-40B4-BE49-F238E27FC236}">
                    <a16:creationId xmlns:a16="http://schemas.microsoft.com/office/drawing/2014/main" id="{D9EB15A7-C8BC-498E-B5AC-BF1CB4446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7" y="1876"/>
                <a:ext cx="31" cy="71"/>
              </a:xfrm>
              <a:custGeom>
                <a:avLst/>
                <a:gdLst>
                  <a:gd name="T0" fmla="*/ 8 w 31"/>
                  <a:gd name="T1" fmla="*/ 71 h 71"/>
                  <a:gd name="T2" fmla="*/ 0 w 31"/>
                  <a:gd name="T3" fmla="*/ 3 h 71"/>
                  <a:gd name="T4" fmla="*/ 23 w 31"/>
                  <a:gd name="T5" fmla="*/ 0 h 71"/>
                  <a:gd name="T6" fmla="*/ 31 w 31"/>
                  <a:gd name="T7" fmla="*/ 69 h 71"/>
                  <a:gd name="T8" fmla="*/ 8 w 31"/>
                  <a:gd name="T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8" y="71"/>
                    </a:moveTo>
                    <a:lnTo>
                      <a:pt x="0" y="3"/>
                    </a:lnTo>
                    <a:lnTo>
                      <a:pt x="23" y="0"/>
                    </a:lnTo>
                    <a:lnTo>
                      <a:pt x="31" y="69"/>
                    </a:lnTo>
                    <a:lnTo>
                      <a:pt x="8" y="71"/>
                    </a:lnTo>
                    <a:close/>
                  </a:path>
                </a:pathLst>
              </a:custGeom>
              <a:solidFill>
                <a:srgbClr val="80CB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6" name="Freeform 114">
                <a:extLst>
                  <a:ext uri="{FF2B5EF4-FFF2-40B4-BE49-F238E27FC236}">
                    <a16:creationId xmlns:a16="http://schemas.microsoft.com/office/drawing/2014/main" id="{FC3880F6-7A19-4FBC-80C9-497368FF86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9" y="1879"/>
                <a:ext cx="31" cy="72"/>
              </a:xfrm>
              <a:custGeom>
                <a:avLst/>
                <a:gdLst>
                  <a:gd name="T0" fmla="*/ 8 w 31"/>
                  <a:gd name="T1" fmla="*/ 72 h 72"/>
                  <a:gd name="T2" fmla="*/ 0 w 31"/>
                  <a:gd name="T3" fmla="*/ 3 h 72"/>
                  <a:gd name="T4" fmla="*/ 23 w 31"/>
                  <a:gd name="T5" fmla="*/ 0 h 72"/>
                  <a:gd name="T6" fmla="*/ 31 w 31"/>
                  <a:gd name="T7" fmla="*/ 69 h 72"/>
                  <a:gd name="T8" fmla="*/ 8 w 31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8" y="72"/>
                    </a:moveTo>
                    <a:lnTo>
                      <a:pt x="0" y="3"/>
                    </a:lnTo>
                    <a:lnTo>
                      <a:pt x="23" y="0"/>
                    </a:lnTo>
                    <a:lnTo>
                      <a:pt x="31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4DB6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7" name="Freeform 115">
                <a:extLst>
                  <a:ext uri="{FF2B5EF4-FFF2-40B4-BE49-F238E27FC236}">
                    <a16:creationId xmlns:a16="http://schemas.microsoft.com/office/drawing/2014/main" id="{8995C09D-66A0-4A50-A710-B881A9354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" y="1882"/>
                <a:ext cx="31" cy="72"/>
              </a:xfrm>
              <a:custGeom>
                <a:avLst/>
                <a:gdLst>
                  <a:gd name="T0" fmla="*/ 8 w 31"/>
                  <a:gd name="T1" fmla="*/ 72 h 72"/>
                  <a:gd name="T2" fmla="*/ 0 w 31"/>
                  <a:gd name="T3" fmla="*/ 3 h 72"/>
                  <a:gd name="T4" fmla="*/ 24 w 31"/>
                  <a:gd name="T5" fmla="*/ 0 h 72"/>
                  <a:gd name="T6" fmla="*/ 31 w 31"/>
                  <a:gd name="T7" fmla="*/ 69 h 72"/>
                  <a:gd name="T8" fmla="*/ 8 w 31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1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26A6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8" name="Freeform 116">
                <a:extLst>
                  <a:ext uri="{FF2B5EF4-FFF2-40B4-BE49-F238E27FC236}">
                    <a16:creationId xmlns:a16="http://schemas.microsoft.com/office/drawing/2014/main" id="{02E1561F-A0A1-4AD5-A216-6818D5F3E4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3" y="1885"/>
                <a:ext cx="32" cy="72"/>
              </a:xfrm>
              <a:custGeom>
                <a:avLst/>
                <a:gdLst>
                  <a:gd name="T0" fmla="*/ 8 w 32"/>
                  <a:gd name="T1" fmla="*/ 72 h 72"/>
                  <a:gd name="T2" fmla="*/ 0 w 32"/>
                  <a:gd name="T3" fmla="*/ 3 h 72"/>
                  <a:gd name="T4" fmla="*/ 24 w 32"/>
                  <a:gd name="T5" fmla="*/ 0 h 72"/>
                  <a:gd name="T6" fmla="*/ 32 w 32"/>
                  <a:gd name="T7" fmla="*/ 70 h 72"/>
                  <a:gd name="T8" fmla="*/ 8 w 32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2" y="70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0096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9" name="Freeform 117">
                <a:extLst>
                  <a:ext uri="{FF2B5EF4-FFF2-40B4-BE49-F238E27FC236}">
                    <a16:creationId xmlns:a16="http://schemas.microsoft.com/office/drawing/2014/main" id="{5C290804-0A41-4923-BFD7-F8C5E6004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5" y="1888"/>
                <a:ext cx="32" cy="72"/>
              </a:xfrm>
              <a:custGeom>
                <a:avLst/>
                <a:gdLst>
                  <a:gd name="T0" fmla="*/ 8 w 32"/>
                  <a:gd name="T1" fmla="*/ 72 h 72"/>
                  <a:gd name="T2" fmla="*/ 0 w 32"/>
                  <a:gd name="T3" fmla="*/ 3 h 72"/>
                  <a:gd name="T4" fmla="*/ 24 w 32"/>
                  <a:gd name="T5" fmla="*/ 0 h 72"/>
                  <a:gd name="T6" fmla="*/ 32 w 32"/>
                  <a:gd name="T7" fmla="*/ 69 h 72"/>
                  <a:gd name="T8" fmla="*/ 8 w 32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2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0089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0" name="Freeform 118">
                <a:extLst>
                  <a:ext uri="{FF2B5EF4-FFF2-40B4-BE49-F238E27FC236}">
                    <a16:creationId xmlns:a16="http://schemas.microsoft.com/office/drawing/2014/main" id="{FA5CDC67-A3F0-4D12-AEF7-61F0B5829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7" y="1892"/>
                <a:ext cx="32" cy="71"/>
              </a:xfrm>
              <a:custGeom>
                <a:avLst/>
                <a:gdLst>
                  <a:gd name="T0" fmla="*/ 8 w 32"/>
                  <a:gd name="T1" fmla="*/ 71 h 71"/>
                  <a:gd name="T2" fmla="*/ 0 w 32"/>
                  <a:gd name="T3" fmla="*/ 2 h 71"/>
                  <a:gd name="T4" fmla="*/ 24 w 32"/>
                  <a:gd name="T5" fmla="*/ 0 h 71"/>
                  <a:gd name="T6" fmla="*/ 32 w 32"/>
                  <a:gd name="T7" fmla="*/ 69 h 71"/>
                  <a:gd name="T8" fmla="*/ 8 w 32"/>
                  <a:gd name="T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1">
                    <a:moveTo>
                      <a:pt x="8" y="71"/>
                    </a:moveTo>
                    <a:lnTo>
                      <a:pt x="0" y="2"/>
                    </a:lnTo>
                    <a:lnTo>
                      <a:pt x="24" y="0"/>
                    </a:lnTo>
                    <a:lnTo>
                      <a:pt x="32" y="69"/>
                    </a:lnTo>
                    <a:lnTo>
                      <a:pt x="8" y="71"/>
                    </a:lnTo>
                    <a:close/>
                  </a:path>
                </a:pathLst>
              </a:custGeom>
              <a:solidFill>
                <a:srgbClr val="0079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1" name="Freeform 119">
                <a:extLst>
                  <a:ext uri="{FF2B5EF4-FFF2-40B4-BE49-F238E27FC236}">
                    <a16:creationId xmlns:a16="http://schemas.microsoft.com/office/drawing/2014/main" id="{1F040C92-6377-4ECA-B87E-2652886FAE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3"/>
                <a:ext cx="17" cy="17"/>
              </a:xfrm>
              <a:custGeom>
                <a:avLst/>
                <a:gdLst>
                  <a:gd name="T0" fmla="*/ 17 w 31"/>
                  <a:gd name="T1" fmla="*/ 30 h 31"/>
                  <a:gd name="T2" fmla="*/ 0 w 31"/>
                  <a:gd name="T3" fmla="*/ 17 h 31"/>
                  <a:gd name="T4" fmla="*/ 14 w 31"/>
                  <a:gd name="T5" fmla="*/ 1 h 31"/>
                  <a:gd name="T6" fmla="*/ 30 w 31"/>
                  <a:gd name="T7" fmla="*/ 14 h 31"/>
                  <a:gd name="T8" fmla="*/ 17 w 31"/>
                  <a:gd name="T9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1">
                    <a:moveTo>
                      <a:pt x="17" y="30"/>
                    </a:moveTo>
                    <a:cubicBezTo>
                      <a:pt x="9" y="31"/>
                      <a:pt x="1" y="25"/>
                      <a:pt x="0" y="17"/>
                    </a:cubicBezTo>
                    <a:cubicBezTo>
                      <a:pt x="0" y="9"/>
                      <a:pt x="5" y="1"/>
                      <a:pt x="14" y="1"/>
                    </a:cubicBezTo>
                    <a:cubicBezTo>
                      <a:pt x="22" y="0"/>
                      <a:pt x="29" y="5"/>
                      <a:pt x="30" y="14"/>
                    </a:cubicBezTo>
                    <a:cubicBezTo>
                      <a:pt x="31" y="22"/>
                      <a:pt x="25" y="29"/>
                      <a:pt x="17" y="30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2" name="Freeform 120">
                <a:extLst>
                  <a:ext uri="{FF2B5EF4-FFF2-40B4-BE49-F238E27FC236}">
                    <a16:creationId xmlns:a16="http://schemas.microsoft.com/office/drawing/2014/main" id="{7868BCA3-300A-48B0-AACE-433A61A35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" y="1825"/>
                <a:ext cx="228" cy="151"/>
              </a:xfrm>
              <a:custGeom>
                <a:avLst/>
                <a:gdLst>
                  <a:gd name="T0" fmla="*/ 15 w 417"/>
                  <a:gd name="T1" fmla="*/ 213 h 276"/>
                  <a:gd name="T2" fmla="*/ 15 w 417"/>
                  <a:gd name="T3" fmla="*/ 213 h 276"/>
                  <a:gd name="T4" fmla="*/ 62 w 417"/>
                  <a:gd name="T5" fmla="*/ 110 h 276"/>
                  <a:gd name="T6" fmla="*/ 361 w 417"/>
                  <a:gd name="T7" fmla="*/ 0 h 276"/>
                  <a:gd name="T8" fmla="*/ 417 w 417"/>
                  <a:gd name="T9" fmla="*/ 150 h 276"/>
                  <a:gd name="T10" fmla="*/ 118 w 417"/>
                  <a:gd name="T11" fmla="*/ 260 h 276"/>
                  <a:gd name="T12" fmla="*/ 15 w 417"/>
                  <a:gd name="T13" fmla="*/ 213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7" h="276">
                    <a:moveTo>
                      <a:pt x="15" y="213"/>
                    </a:moveTo>
                    <a:cubicBezTo>
                      <a:pt x="15" y="213"/>
                      <a:pt x="15" y="213"/>
                      <a:pt x="15" y="213"/>
                    </a:cubicBezTo>
                    <a:cubicBezTo>
                      <a:pt x="0" y="171"/>
                      <a:pt x="21" y="125"/>
                      <a:pt x="62" y="110"/>
                    </a:cubicBezTo>
                    <a:cubicBezTo>
                      <a:pt x="361" y="0"/>
                      <a:pt x="361" y="0"/>
                      <a:pt x="361" y="0"/>
                    </a:cubicBezTo>
                    <a:cubicBezTo>
                      <a:pt x="417" y="150"/>
                      <a:pt x="417" y="150"/>
                      <a:pt x="417" y="150"/>
                    </a:cubicBezTo>
                    <a:cubicBezTo>
                      <a:pt x="118" y="260"/>
                      <a:pt x="118" y="260"/>
                      <a:pt x="118" y="260"/>
                    </a:cubicBezTo>
                    <a:cubicBezTo>
                      <a:pt x="76" y="276"/>
                      <a:pt x="30" y="254"/>
                      <a:pt x="15" y="2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3" name="Freeform 121">
                <a:extLst>
                  <a:ext uri="{FF2B5EF4-FFF2-40B4-BE49-F238E27FC236}">
                    <a16:creationId xmlns:a16="http://schemas.microsoft.com/office/drawing/2014/main" id="{BDD2F821-504A-4880-94B5-0D04B3F1A4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5" y="1837"/>
                <a:ext cx="47" cy="73"/>
              </a:xfrm>
              <a:custGeom>
                <a:avLst/>
                <a:gdLst>
                  <a:gd name="T0" fmla="*/ 24 w 47"/>
                  <a:gd name="T1" fmla="*/ 73 h 73"/>
                  <a:gd name="T2" fmla="*/ 0 w 47"/>
                  <a:gd name="T3" fmla="*/ 8 h 73"/>
                  <a:gd name="T4" fmla="*/ 23 w 47"/>
                  <a:gd name="T5" fmla="*/ 0 h 73"/>
                  <a:gd name="T6" fmla="*/ 47 w 47"/>
                  <a:gd name="T7" fmla="*/ 65 h 73"/>
                  <a:gd name="T8" fmla="*/ 24 w 47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3">
                    <a:moveTo>
                      <a:pt x="24" y="73"/>
                    </a:moveTo>
                    <a:lnTo>
                      <a:pt x="0" y="8"/>
                    </a:lnTo>
                    <a:lnTo>
                      <a:pt x="23" y="0"/>
                    </a:lnTo>
                    <a:lnTo>
                      <a:pt x="47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81D4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4" name="Freeform 122">
                <a:extLst>
                  <a:ext uri="{FF2B5EF4-FFF2-40B4-BE49-F238E27FC236}">
                    <a16:creationId xmlns:a16="http://schemas.microsoft.com/office/drawing/2014/main" id="{74E1474D-72B8-4E21-99E0-C0EA235A4C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1846"/>
                <a:ext cx="46" cy="74"/>
              </a:xfrm>
              <a:custGeom>
                <a:avLst/>
                <a:gdLst>
                  <a:gd name="T0" fmla="*/ 24 w 46"/>
                  <a:gd name="T1" fmla="*/ 74 h 74"/>
                  <a:gd name="T2" fmla="*/ 0 w 46"/>
                  <a:gd name="T3" fmla="*/ 8 h 74"/>
                  <a:gd name="T4" fmla="*/ 22 w 46"/>
                  <a:gd name="T5" fmla="*/ 0 h 74"/>
                  <a:gd name="T6" fmla="*/ 46 w 46"/>
                  <a:gd name="T7" fmla="*/ 65 h 74"/>
                  <a:gd name="T8" fmla="*/ 24 w 46"/>
                  <a:gd name="T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4">
                    <a:moveTo>
                      <a:pt x="24" y="74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4"/>
                    </a:lnTo>
                    <a:close/>
                  </a:path>
                </a:pathLst>
              </a:custGeom>
              <a:solidFill>
                <a:srgbClr val="4FC3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5" name="Freeform 123">
                <a:extLst>
                  <a:ext uri="{FF2B5EF4-FFF2-40B4-BE49-F238E27FC236}">
                    <a16:creationId xmlns:a16="http://schemas.microsoft.com/office/drawing/2014/main" id="{B46B7594-62AF-4D46-B95E-6CEC97D81D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3" y="1856"/>
                <a:ext cx="46" cy="73"/>
              </a:xfrm>
              <a:custGeom>
                <a:avLst/>
                <a:gdLst>
                  <a:gd name="T0" fmla="*/ 24 w 46"/>
                  <a:gd name="T1" fmla="*/ 73 h 73"/>
                  <a:gd name="T2" fmla="*/ 0 w 46"/>
                  <a:gd name="T3" fmla="*/ 8 h 73"/>
                  <a:gd name="T4" fmla="*/ 22 w 46"/>
                  <a:gd name="T5" fmla="*/ 0 h 73"/>
                  <a:gd name="T6" fmla="*/ 46 w 46"/>
                  <a:gd name="T7" fmla="*/ 65 h 73"/>
                  <a:gd name="T8" fmla="*/ 24 w 46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24" y="73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29B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6" name="Freeform 124">
                <a:extLst>
                  <a:ext uri="{FF2B5EF4-FFF2-40B4-BE49-F238E27FC236}">
                    <a16:creationId xmlns:a16="http://schemas.microsoft.com/office/drawing/2014/main" id="{E36BE161-1C98-4A65-9E28-29C9BF2FD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6" y="1866"/>
                <a:ext cx="47" cy="73"/>
              </a:xfrm>
              <a:custGeom>
                <a:avLst/>
                <a:gdLst>
                  <a:gd name="T0" fmla="*/ 24 w 47"/>
                  <a:gd name="T1" fmla="*/ 73 h 73"/>
                  <a:gd name="T2" fmla="*/ 0 w 47"/>
                  <a:gd name="T3" fmla="*/ 8 h 73"/>
                  <a:gd name="T4" fmla="*/ 23 w 47"/>
                  <a:gd name="T5" fmla="*/ 0 h 73"/>
                  <a:gd name="T6" fmla="*/ 47 w 47"/>
                  <a:gd name="T7" fmla="*/ 64 h 73"/>
                  <a:gd name="T8" fmla="*/ 24 w 47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3">
                    <a:moveTo>
                      <a:pt x="24" y="73"/>
                    </a:moveTo>
                    <a:lnTo>
                      <a:pt x="0" y="8"/>
                    </a:lnTo>
                    <a:lnTo>
                      <a:pt x="23" y="0"/>
                    </a:lnTo>
                    <a:lnTo>
                      <a:pt x="47" y="64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03A9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7" name="Freeform 125">
                <a:extLst>
                  <a:ext uri="{FF2B5EF4-FFF2-40B4-BE49-F238E27FC236}">
                    <a16:creationId xmlns:a16="http://schemas.microsoft.com/office/drawing/2014/main" id="{FFD2CA59-B02F-40A9-BF67-2DE923216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0" y="1875"/>
                <a:ext cx="47" cy="74"/>
              </a:xfrm>
              <a:custGeom>
                <a:avLst/>
                <a:gdLst>
                  <a:gd name="T0" fmla="*/ 24 w 47"/>
                  <a:gd name="T1" fmla="*/ 74 h 74"/>
                  <a:gd name="T2" fmla="*/ 0 w 47"/>
                  <a:gd name="T3" fmla="*/ 9 h 74"/>
                  <a:gd name="T4" fmla="*/ 22 w 47"/>
                  <a:gd name="T5" fmla="*/ 0 h 74"/>
                  <a:gd name="T6" fmla="*/ 47 w 47"/>
                  <a:gd name="T7" fmla="*/ 65 h 74"/>
                  <a:gd name="T8" fmla="*/ 24 w 47"/>
                  <a:gd name="T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4">
                    <a:moveTo>
                      <a:pt x="24" y="74"/>
                    </a:moveTo>
                    <a:lnTo>
                      <a:pt x="0" y="9"/>
                    </a:lnTo>
                    <a:lnTo>
                      <a:pt x="22" y="0"/>
                    </a:lnTo>
                    <a:lnTo>
                      <a:pt x="47" y="65"/>
                    </a:lnTo>
                    <a:lnTo>
                      <a:pt x="24" y="74"/>
                    </a:lnTo>
                    <a:close/>
                  </a:path>
                </a:pathLst>
              </a:custGeom>
              <a:solidFill>
                <a:srgbClr val="039B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8" name="Freeform 126">
                <a:extLst>
                  <a:ext uri="{FF2B5EF4-FFF2-40B4-BE49-F238E27FC236}">
                    <a16:creationId xmlns:a16="http://schemas.microsoft.com/office/drawing/2014/main" id="{1D05BC67-9929-44B7-83A6-5BA3D2873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885"/>
                <a:ext cx="46" cy="73"/>
              </a:xfrm>
              <a:custGeom>
                <a:avLst/>
                <a:gdLst>
                  <a:gd name="T0" fmla="*/ 24 w 46"/>
                  <a:gd name="T1" fmla="*/ 73 h 73"/>
                  <a:gd name="T2" fmla="*/ 0 w 46"/>
                  <a:gd name="T3" fmla="*/ 8 h 73"/>
                  <a:gd name="T4" fmla="*/ 22 w 46"/>
                  <a:gd name="T5" fmla="*/ 0 h 73"/>
                  <a:gd name="T6" fmla="*/ 46 w 46"/>
                  <a:gd name="T7" fmla="*/ 65 h 73"/>
                  <a:gd name="T8" fmla="*/ 24 w 46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24" y="73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0288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9" name="Freeform 127">
                <a:extLst>
                  <a:ext uri="{FF2B5EF4-FFF2-40B4-BE49-F238E27FC236}">
                    <a16:creationId xmlns:a16="http://schemas.microsoft.com/office/drawing/2014/main" id="{F6B8E404-D271-410F-9E05-9DAF97083D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9"/>
              </a:xfrm>
              <a:custGeom>
                <a:avLst/>
                <a:gdLst>
                  <a:gd name="T0" fmla="*/ 22 w 33"/>
                  <a:gd name="T1" fmla="*/ 31 h 34"/>
                  <a:gd name="T2" fmla="*/ 2 w 33"/>
                  <a:gd name="T3" fmla="*/ 22 h 34"/>
                  <a:gd name="T4" fmla="*/ 11 w 33"/>
                  <a:gd name="T5" fmla="*/ 3 h 34"/>
                  <a:gd name="T6" fmla="*/ 30 w 33"/>
                  <a:gd name="T7" fmla="*/ 12 h 34"/>
                  <a:gd name="T8" fmla="*/ 22 w 33"/>
                  <a:gd name="T9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4">
                    <a:moveTo>
                      <a:pt x="22" y="31"/>
                    </a:moveTo>
                    <a:cubicBezTo>
                      <a:pt x="14" y="34"/>
                      <a:pt x="5" y="30"/>
                      <a:pt x="2" y="22"/>
                    </a:cubicBezTo>
                    <a:cubicBezTo>
                      <a:pt x="0" y="15"/>
                      <a:pt x="4" y="6"/>
                      <a:pt x="11" y="3"/>
                    </a:cubicBezTo>
                    <a:cubicBezTo>
                      <a:pt x="19" y="0"/>
                      <a:pt x="28" y="4"/>
                      <a:pt x="30" y="12"/>
                    </a:cubicBezTo>
                    <a:cubicBezTo>
                      <a:pt x="33" y="20"/>
                      <a:pt x="29" y="28"/>
                      <a:pt x="22" y="31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0" name="Freeform 128">
                <a:extLst>
                  <a:ext uri="{FF2B5EF4-FFF2-40B4-BE49-F238E27FC236}">
                    <a16:creationId xmlns:a16="http://schemas.microsoft.com/office/drawing/2014/main" id="{9ED94142-CE4D-400D-BF8C-381737330E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14"/>
                <a:ext cx="492" cy="389"/>
              </a:xfrm>
              <a:custGeom>
                <a:avLst/>
                <a:gdLst>
                  <a:gd name="T0" fmla="*/ 729 w 900"/>
                  <a:gd name="T1" fmla="*/ 705 h 711"/>
                  <a:gd name="T2" fmla="*/ 34 w 900"/>
                  <a:gd name="T3" fmla="*/ 519 h 711"/>
                  <a:gd name="T4" fmla="*/ 6 w 900"/>
                  <a:gd name="T5" fmla="*/ 471 h 711"/>
                  <a:gd name="T6" fmla="*/ 123 w 900"/>
                  <a:gd name="T7" fmla="*/ 34 h 711"/>
                  <a:gd name="T8" fmla="*/ 172 w 900"/>
                  <a:gd name="T9" fmla="*/ 6 h 711"/>
                  <a:gd name="T10" fmla="*/ 866 w 900"/>
                  <a:gd name="T11" fmla="*/ 192 h 711"/>
                  <a:gd name="T12" fmla="*/ 894 w 900"/>
                  <a:gd name="T13" fmla="*/ 240 h 711"/>
                  <a:gd name="T14" fmla="*/ 777 w 900"/>
                  <a:gd name="T15" fmla="*/ 677 h 711"/>
                  <a:gd name="T16" fmla="*/ 729 w 900"/>
                  <a:gd name="T17" fmla="*/ 705 h 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0" h="711">
                    <a:moveTo>
                      <a:pt x="729" y="705"/>
                    </a:moveTo>
                    <a:cubicBezTo>
                      <a:pt x="34" y="519"/>
                      <a:pt x="34" y="519"/>
                      <a:pt x="34" y="519"/>
                    </a:cubicBezTo>
                    <a:cubicBezTo>
                      <a:pt x="13" y="514"/>
                      <a:pt x="0" y="492"/>
                      <a:pt x="6" y="471"/>
                    </a:cubicBezTo>
                    <a:cubicBezTo>
                      <a:pt x="123" y="34"/>
                      <a:pt x="123" y="34"/>
                      <a:pt x="123" y="34"/>
                    </a:cubicBezTo>
                    <a:cubicBezTo>
                      <a:pt x="129" y="12"/>
                      <a:pt x="151" y="0"/>
                      <a:pt x="172" y="6"/>
                    </a:cubicBezTo>
                    <a:cubicBezTo>
                      <a:pt x="866" y="192"/>
                      <a:pt x="866" y="192"/>
                      <a:pt x="866" y="192"/>
                    </a:cubicBezTo>
                    <a:cubicBezTo>
                      <a:pt x="888" y="197"/>
                      <a:pt x="900" y="219"/>
                      <a:pt x="894" y="240"/>
                    </a:cubicBezTo>
                    <a:cubicBezTo>
                      <a:pt x="777" y="677"/>
                      <a:pt x="777" y="677"/>
                      <a:pt x="777" y="677"/>
                    </a:cubicBezTo>
                    <a:cubicBezTo>
                      <a:pt x="772" y="698"/>
                      <a:pt x="750" y="711"/>
                      <a:pt x="729" y="705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1" name="Freeform 129">
                <a:extLst>
                  <a:ext uri="{FF2B5EF4-FFF2-40B4-BE49-F238E27FC236}">
                    <a16:creationId xmlns:a16="http://schemas.microsoft.com/office/drawing/2014/main" id="{929AA544-EC89-400D-A01F-6076D4388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2239"/>
                <a:ext cx="253" cy="299"/>
              </a:xfrm>
              <a:custGeom>
                <a:avLst/>
                <a:gdLst>
                  <a:gd name="T0" fmla="*/ 462 w 462"/>
                  <a:gd name="T1" fmla="*/ 87 h 548"/>
                  <a:gd name="T2" fmla="*/ 152 w 462"/>
                  <a:gd name="T3" fmla="*/ 5 h 548"/>
                  <a:gd name="T4" fmla="*/ 111 w 462"/>
                  <a:gd name="T5" fmla="*/ 28 h 548"/>
                  <a:gd name="T6" fmla="*/ 5 w 462"/>
                  <a:gd name="T7" fmla="*/ 424 h 548"/>
                  <a:gd name="T8" fmla="*/ 29 w 462"/>
                  <a:gd name="T9" fmla="*/ 465 h 548"/>
                  <a:gd name="T10" fmla="*/ 338 w 462"/>
                  <a:gd name="T11" fmla="*/ 548 h 548"/>
                  <a:gd name="T12" fmla="*/ 462 w 462"/>
                  <a:gd name="T13" fmla="*/ 87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8">
                    <a:moveTo>
                      <a:pt x="462" y="87"/>
                    </a:moveTo>
                    <a:cubicBezTo>
                      <a:pt x="152" y="5"/>
                      <a:pt x="152" y="5"/>
                      <a:pt x="152" y="5"/>
                    </a:cubicBezTo>
                    <a:cubicBezTo>
                      <a:pt x="134" y="0"/>
                      <a:pt x="116" y="10"/>
                      <a:pt x="111" y="28"/>
                    </a:cubicBezTo>
                    <a:cubicBezTo>
                      <a:pt x="5" y="424"/>
                      <a:pt x="5" y="424"/>
                      <a:pt x="5" y="424"/>
                    </a:cubicBezTo>
                    <a:cubicBezTo>
                      <a:pt x="0" y="442"/>
                      <a:pt x="11" y="461"/>
                      <a:pt x="29" y="465"/>
                    </a:cubicBezTo>
                    <a:cubicBezTo>
                      <a:pt x="338" y="548"/>
                      <a:pt x="338" y="548"/>
                      <a:pt x="338" y="548"/>
                    </a:cubicBezTo>
                    <a:cubicBezTo>
                      <a:pt x="462" y="87"/>
                      <a:pt x="462" y="87"/>
                      <a:pt x="462" y="87"/>
                    </a:cubicBezTo>
                  </a:path>
                </a:pathLst>
              </a:custGeom>
              <a:solidFill>
                <a:srgbClr val="454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2" name="Freeform 130">
                <a:extLst>
                  <a:ext uri="{FF2B5EF4-FFF2-40B4-BE49-F238E27FC236}">
                    <a16:creationId xmlns:a16="http://schemas.microsoft.com/office/drawing/2014/main" id="{D781287F-E95B-4B89-B4CC-A35700D4BA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4" y="2289"/>
                <a:ext cx="253" cy="299"/>
              </a:xfrm>
              <a:custGeom>
                <a:avLst/>
                <a:gdLst>
                  <a:gd name="T0" fmla="*/ 124 w 462"/>
                  <a:gd name="T1" fmla="*/ 0 h 549"/>
                  <a:gd name="T2" fmla="*/ 0 w 462"/>
                  <a:gd name="T3" fmla="*/ 461 h 549"/>
                  <a:gd name="T4" fmla="*/ 310 w 462"/>
                  <a:gd name="T5" fmla="*/ 544 h 549"/>
                  <a:gd name="T6" fmla="*/ 351 w 462"/>
                  <a:gd name="T7" fmla="*/ 520 h 549"/>
                  <a:gd name="T8" fmla="*/ 457 w 462"/>
                  <a:gd name="T9" fmla="*/ 124 h 549"/>
                  <a:gd name="T10" fmla="*/ 434 w 462"/>
                  <a:gd name="T11" fmla="*/ 83 h 549"/>
                  <a:gd name="T12" fmla="*/ 124 w 462"/>
                  <a:gd name="T13" fmla="*/ 0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9">
                    <a:moveTo>
                      <a:pt x="124" y="0"/>
                    </a:moveTo>
                    <a:cubicBezTo>
                      <a:pt x="0" y="461"/>
                      <a:pt x="0" y="461"/>
                      <a:pt x="0" y="461"/>
                    </a:cubicBezTo>
                    <a:cubicBezTo>
                      <a:pt x="310" y="544"/>
                      <a:pt x="310" y="544"/>
                      <a:pt x="310" y="544"/>
                    </a:cubicBezTo>
                    <a:cubicBezTo>
                      <a:pt x="328" y="549"/>
                      <a:pt x="346" y="538"/>
                      <a:pt x="351" y="520"/>
                    </a:cubicBezTo>
                    <a:cubicBezTo>
                      <a:pt x="457" y="124"/>
                      <a:pt x="457" y="124"/>
                      <a:pt x="457" y="124"/>
                    </a:cubicBezTo>
                    <a:cubicBezTo>
                      <a:pt x="462" y="106"/>
                      <a:pt x="451" y="88"/>
                      <a:pt x="434" y="83"/>
                    </a:cubicBezTo>
                    <a:cubicBezTo>
                      <a:pt x="124" y="0"/>
                      <a:pt x="124" y="0"/>
                      <a:pt x="124" y="0"/>
                    </a:cubicBezTo>
                  </a:path>
                </a:pathLst>
              </a:custGeom>
              <a:solidFill>
                <a:srgbClr val="454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3" name="Freeform 131">
                <a:extLst>
                  <a:ext uri="{FF2B5EF4-FFF2-40B4-BE49-F238E27FC236}">
                    <a16:creationId xmlns:a16="http://schemas.microsoft.com/office/drawing/2014/main" id="{3A7A8ECC-86C1-4AB3-A109-4BEB37B6E4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9" y="2234"/>
                <a:ext cx="252" cy="299"/>
              </a:xfrm>
              <a:custGeom>
                <a:avLst/>
                <a:gdLst>
                  <a:gd name="T0" fmla="*/ 461 w 461"/>
                  <a:gd name="T1" fmla="*/ 87 h 548"/>
                  <a:gd name="T2" fmla="*/ 152 w 461"/>
                  <a:gd name="T3" fmla="*/ 4 h 548"/>
                  <a:gd name="T4" fmla="*/ 111 w 461"/>
                  <a:gd name="T5" fmla="*/ 28 h 548"/>
                  <a:gd name="T6" fmla="*/ 5 w 461"/>
                  <a:gd name="T7" fmla="*/ 424 h 548"/>
                  <a:gd name="T8" fmla="*/ 28 w 461"/>
                  <a:gd name="T9" fmla="*/ 465 h 548"/>
                  <a:gd name="T10" fmla="*/ 338 w 461"/>
                  <a:gd name="T11" fmla="*/ 548 h 548"/>
                  <a:gd name="T12" fmla="*/ 461 w 461"/>
                  <a:gd name="T13" fmla="*/ 87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1" h="548">
                    <a:moveTo>
                      <a:pt x="461" y="87"/>
                    </a:moveTo>
                    <a:cubicBezTo>
                      <a:pt x="152" y="4"/>
                      <a:pt x="152" y="4"/>
                      <a:pt x="152" y="4"/>
                    </a:cubicBezTo>
                    <a:cubicBezTo>
                      <a:pt x="134" y="0"/>
                      <a:pt x="115" y="10"/>
                      <a:pt x="111" y="28"/>
                    </a:cubicBezTo>
                    <a:cubicBezTo>
                      <a:pt x="5" y="424"/>
                      <a:pt x="5" y="424"/>
                      <a:pt x="5" y="424"/>
                    </a:cubicBezTo>
                    <a:cubicBezTo>
                      <a:pt x="0" y="442"/>
                      <a:pt x="10" y="460"/>
                      <a:pt x="28" y="465"/>
                    </a:cubicBezTo>
                    <a:cubicBezTo>
                      <a:pt x="338" y="548"/>
                      <a:pt x="338" y="548"/>
                      <a:pt x="338" y="548"/>
                    </a:cubicBezTo>
                    <a:cubicBezTo>
                      <a:pt x="461" y="87"/>
                      <a:pt x="461" y="87"/>
                      <a:pt x="461" y="87"/>
                    </a:cubicBezTo>
                  </a:path>
                </a:pathLst>
              </a:cu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4" name="Freeform 132">
                <a:extLst>
                  <a:ext uri="{FF2B5EF4-FFF2-40B4-BE49-F238E27FC236}">
                    <a16:creationId xmlns:a16="http://schemas.microsoft.com/office/drawing/2014/main" id="{0E2781FA-0F5E-4D2B-9452-AA49BBBDE9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1" y="2284"/>
                <a:ext cx="253" cy="299"/>
              </a:xfrm>
              <a:custGeom>
                <a:avLst/>
                <a:gdLst>
                  <a:gd name="T0" fmla="*/ 123 w 462"/>
                  <a:gd name="T1" fmla="*/ 0 h 548"/>
                  <a:gd name="T2" fmla="*/ 0 w 462"/>
                  <a:gd name="T3" fmla="*/ 461 h 548"/>
                  <a:gd name="T4" fmla="*/ 310 w 462"/>
                  <a:gd name="T5" fmla="*/ 544 h 548"/>
                  <a:gd name="T6" fmla="*/ 351 w 462"/>
                  <a:gd name="T7" fmla="*/ 520 h 548"/>
                  <a:gd name="T8" fmla="*/ 457 w 462"/>
                  <a:gd name="T9" fmla="*/ 124 h 548"/>
                  <a:gd name="T10" fmla="*/ 433 w 462"/>
                  <a:gd name="T11" fmla="*/ 83 h 548"/>
                  <a:gd name="T12" fmla="*/ 123 w 462"/>
                  <a:gd name="T13" fmla="*/ 0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8">
                    <a:moveTo>
                      <a:pt x="123" y="0"/>
                    </a:moveTo>
                    <a:cubicBezTo>
                      <a:pt x="0" y="461"/>
                      <a:pt x="0" y="461"/>
                      <a:pt x="0" y="461"/>
                    </a:cubicBezTo>
                    <a:cubicBezTo>
                      <a:pt x="310" y="544"/>
                      <a:pt x="310" y="544"/>
                      <a:pt x="310" y="544"/>
                    </a:cubicBezTo>
                    <a:cubicBezTo>
                      <a:pt x="328" y="548"/>
                      <a:pt x="346" y="538"/>
                      <a:pt x="351" y="520"/>
                    </a:cubicBezTo>
                    <a:cubicBezTo>
                      <a:pt x="457" y="124"/>
                      <a:pt x="457" y="124"/>
                      <a:pt x="457" y="124"/>
                    </a:cubicBezTo>
                    <a:cubicBezTo>
                      <a:pt x="462" y="106"/>
                      <a:pt x="451" y="88"/>
                      <a:pt x="433" y="83"/>
                    </a:cubicBezTo>
                    <a:cubicBezTo>
                      <a:pt x="123" y="0"/>
                      <a:pt x="123" y="0"/>
                      <a:pt x="123" y="0"/>
                    </a:cubicBezTo>
                  </a:path>
                </a:pathLst>
              </a:cu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5" name="Freeform 133">
                <a:extLst>
                  <a:ext uri="{FF2B5EF4-FFF2-40B4-BE49-F238E27FC236}">
                    <a16:creationId xmlns:a16="http://schemas.microsoft.com/office/drawing/2014/main" id="{F75E5D12-B8DA-4CA5-BD74-245710789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2281"/>
                <a:ext cx="249" cy="252"/>
              </a:xfrm>
              <a:custGeom>
                <a:avLst/>
                <a:gdLst>
                  <a:gd name="T0" fmla="*/ 451 w 455"/>
                  <a:gd name="T1" fmla="*/ 0 h 462"/>
                  <a:gd name="T2" fmla="*/ 329 w 455"/>
                  <a:gd name="T3" fmla="*/ 457 h 462"/>
                  <a:gd name="T4" fmla="*/ 19 w 455"/>
                  <a:gd name="T5" fmla="*/ 374 h 462"/>
                  <a:gd name="T6" fmla="*/ 0 w 455"/>
                  <a:gd name="T7" fmla="*/ 361 h 462"/>
                  <a:gd name="T8" fmla="*/ 22 w 455"/>
                  <a:gd name="T9" fmla="*/ 379 h 462"/>
                  <a:gd name="T10" fmla="*/ 332 w 455"/>
                  <a:gd name="T11" fmla="*/ 462 h 462"/>
                  <a:gd name="T12" fmla="*/ 455 w 455"/>
                  <a:gd name="T13" fmla="*/ 1 h 462"/>
                  <a:gd name="T14" fmla="*/ 451 w 455"/>
                  <a:gd name="T15" fmla="*/ 0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5" h="462">
                    <a:moveTo>
                      <a:pt x="451" y="0"/>
                    </a:moveTo>
                    <a:cubicBezTo>
                      <a:pt x="329" y="457"/>
                      <a:pt x="329" y="457"/>
                      <a:pt x="329" y="457"/>
                    </a:cubicBezTo>
                    <a:cubicBezTo>
                      <a:pt x="19" y="374"/>
                      <a:pt x="19" y="374"/>
                      <a:pt x="19" y="374"/>
                    </a:cubicBezTo>
                    <a:cubicBezTo>
                      <a:pt x="11" y="372"/>
                      <a:pt x="5" y="367"/>
                      <a:pt x="0" y="361"/>
                    </a:cubicBezTo>
                    <a:cubicBezTo>
                      <a:pt x="4" y="369"/>
                      <a:pt x="12" y="376"/>
                      <a:pt x="22" y="379"/>
                    </a:cubicBezTo>
                    <a:cubicBezTo>
                      <a:pt x="332" y="462"/>
                      <a:pt x="332" y="462"/>
                      <a:pt x="332" y="462"/>
                    </a:cubicBezTo>
                    <a:cubicBezTo>
                      <a:pt x="455" y="1"/>
                      <a:pt x="455" y="1"/>
                      <a:pt x="455" y="1"/>
                    </a:cubicBezTo>
                    <a:cubicBezTo>
                      <a:pt x="451" y="0"/>
                      <a:pt x="451" y="0"/>
                      <a:pt x="451" y="0"/>
                    </a:cubicBezTo>
                  </a:path>
                </a:pathLst>
              </a:custGeom>
              <a:solidFill>
                <a:srgbClr val="D6D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6" name="Freeform 134">
                <a:extLst>
                  <a:ext uri="{FF2B5EF4-FFF2-40B4-BE49-F238E27FC236}">
                    <a16:creationId xmlns:a16="http://schemas.microsoft.com/office/drawing/2014/main" id="{6F6C67F7-A486-4D39-9157-733A17DD2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1" y="2336"/>
                <a:ext cx="252" cy="247"/>
              </a:xfrm>
              <a:custGeom>
                <a:avLst/>
                <a:gdLst>
                  <a:gd name="T0" fmla="*/ 452 w 460"/>
                  <a:gd name="T1" fmla="*/ 0 h 452"/>
                  <a:gd name="T2" fmla="*/ 454 w 460"/>
                  <a:gd name="T3" fmla="*/ 22 h 452"/>
                  <a:gd name="T4" fmla="*/ 348 w 460"/>
                  <a:gd name="T5" fmla="*/ 418 h 452"/>
                  <a:gd name="T6" fmla="*/ 307 w 460"/>
                  <a:gd name="T7" fmla="*/ 442 h 452"/>
                  <a:gd name="T8" fmla="*/ 1 w 460"/>
                  <a:gd name="T9" fmla="*/ 360 h 452"/>
                  <a:gd name="T10" fmla="*/ 0 w 460"/>
                  <a:gd name="T11" fmla="*/ 365 h 452"/>
                  <a:gd name="T12" fmla="*/ 310 w 460"/>
                  <a:gd name="T13" fmla="*/ 448 h 452"/>
                  <a:gd name="T14" fmla="*/ 351 w 460"/>
                  <a:gd name="T15" fmla="*/ 424 h 452"/>
                  <a:gd name="T16" fmla="*/ 457 w 460"/>
                  <a:gd name="T17" fmla="*/ 28 h 452"/>
                  <a:gd name="T18" fmla="*/ 452 w 460"/>
                  <a:gd name="T19" fmla="*/ 0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0" h="452">
                    <a:moveTo>
                      <a:pt x="452" y="0"/>
                    </a:moveTo>
                    <a:cubicBezTo>
                      <a:pt x="455" y="7"/>
                      <a:pt x="456" y="15"/>
                      <a:pt x="454" y="22"/>
                    </a:cubicBezTo>
                    <a:cubicBezTo>
                      <a:pt x="348" y="418"/>
                      <a:pt x="348" y="418"/>
                      <a:pt x="348" y="418"/>
                    </a:cubicBezTo>
                    <a:cubicBezTo>
                      <a:pt x="343" y="436"/>
                      <a:pt x="324" y="447"/>
                      <a:pt x="307" y="442"/>
                    </a:cubicBezTo>
                    <a:cubicBezTo>
                      <a:pt x="1" y="360"/>
                      <a:pt x="1" y="360"/>
                      <a:pt x="1" y="360"/>
                    </a:cubicBezTo>
                    <a:cubicBezTo>
                      <a:pt x="0" y="365"/>
                      <a:pt x="0" y="365"/>
                      <a:pt x="0" y="365"/>
                    </a:cubicBezTo>
                    <a:cubicBezTo>
                      <a:pt x="310" y="448"/>
                      <a:pt x="310" y="448"/>
                      <a:pt x="310" y="448"/>
                    </a:cubicBezTo>
                    <a:cubicBezTo>
                      <a:pt x="328" y="452"/>
                      <a:pt x="346" y="442"/>
                      <a:pt x="351" y="424"/>
                    </a:cubicBezTo>
                    <a:cubicBezTo>
                      <a:pt x="457" y="28"/>
                      <a:pt x="457" y="28"/>
                      <a:pt x="457" y="28"/>
                    </a:cubicBezTo>
                    <a:cubicBezTo>
                      <a:pt x="460" y="18"/>
                      <a:pt x="457" y="8"/>
                      <a:pt x="452" y="0"/>
                    </a:cubicBezTo>
                    <a:close/>
                  </a:path>
                </a:pathLst>
              </a:custGeom>
              <a:solidFill>
                <a:srgbClr val="D6D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7" name="Freeform 135">
                <a:extLst>
                  <a:ext uri="{FF2B5EF4-FFF2-40B4-BE49-F238E27FC236}">
                    <a16:creationId xmlns:a16="http://schemas.microsoft.com/office/drawing/2014/main" id="{D0557176-3D17-4324-8754-7AA2CAF2B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8" y="2301"/>
                <a:ext cx="10" cy="9"/>
              </a:xfrm>
              <a:custGeom>
                <a:avLst/>
                <a:gdLst>
                  <a:gd name="T0" fmla="*/ 16 w 17"/>
                  <a:gd name="T1" fmla="*/ 10 h 16"/>
                  <a:gd name="T2" fmla="*/ 6 w 17"/>
                  <a:gd name="T3" fmla="*/ 15 h 16"/>
                  <a:gd name="T4" fmla="*/ 1 w 17"/>
                  <a:gd name="T5" fmla="*/ 6 h 16"/>
                  <a:gd name="T6" fmla="*/ 10 w 17"/>
                  <a:gd name="T7" fmla="*/ 1 h 16"/>
                  <a:gd name="T8" fmla="*/ 16 w 17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6">
                    <a:moveTo>
                      <a:pt x="16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7" y="6"/>
                      <a:pt x="16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8" name="Freeform 136">
                <a:extLst>
                  <a:ext uri="{FF2B5EF4-FFF2-40B4-BE49-F238E27FC236}">
                    <a16:creationId xmlns:a16="http://schemas.microsoft.com/office/drawing/2014/main" id="{452F5131-FBC4-431E-9881-F2D0BAAC8F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8" y="2341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5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9" name="Freeform 137">
                <a:extLst>
                  <a:ext uri="{FF2B5EF4-FFF2-40B4-BE49-F238E27FC236}">
                    <a16:creationId xmlns:a16="http://schemas.microsoft.com/office/drawing/2014/main" id="{9E0AA0F9-CDB4-44C5-92CE-983366CB74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7" y="2380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6 w 17"/>
                  <a:gd name="T3" fmla="*/ 16 h 17"/>
                  <a:gd name="T4" fmla="*/ 1 w 17"/>
                  <a:gd name="T5" fmla="*/ 7 h 17"/>
                  <a:gd name="T6" fmla="*/ 10 w 17"/>
                  <a:gd name="T7" fmla="*/ 2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0" y="17"/>
                      <a:pt x="6" y="16"/>
                    </a:cubicBezTo>
                    <a:cubicBezTo>
                      <a:pt x="2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2"/>
                    </a:cubicBezTo>
                    <a:cubicBezTo>
                      <a:pt x="14" y="3"/>
                      <a:pt x="17" y="7"/>
                      <a:pt x="16" y="11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0" name="Freeform 138">
                <a:extLst>
                  <a:ext uri="{FF2B5EF4-FFF2-40B4-BE49-F238E27FC236}">
                    <a16:creationId xmlns:a16="http://schemas.microsoft.com/office/drawing/2014/main" id="{B069C2DA-3D81-4ECD-9BBA-D3606A29E9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5" y="2499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1" name="Freeform 139">
                <a:extLst>
                  <a:ext uri="{FF2B5EF4-FFF2-40B4-BE49-F238E27FC236}">
                    <a16:creationId xmlns:a16="http://schemas.microsoft.com/office/drawing/2014/main" id="{C16E0FBA-C5A8-4B0F-ACB6-ED184B66D4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" y="2459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1 w 17"/>
                  <a:gd name="T7" fmla="*/ 2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7" y="0"/>
                      <a:pt x="11" y="2"/>
                    </a:cubicBezTo>
                    <a:cubicBezTo>
                      <a:pt x="15" y="3"/>
                      <a:pt x="17" y="7"/>
                      <a:pt x="16" y="11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2" name="Freeform 140">
                <a:extLst>
                  <a:ext uri="{FF2B5EF4-FFF2-40B4-BE49-F238E27FC236}">
                    <a16:creationId xmlns:a16="http://schemas.microsoft.com/office/drawing/2014/main" id="{9D8FFD49-F164-47E9-A903-62A9498860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6" y="2420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3" name="Freeform 141">
                <a:extLst>
                  <a:ext uri="{FF2B5EF4-FFF2-40B4-BE49-F238E27FC236}">
                    <a16:creationId xmlns:a16="http://schemas.microsoft.com/office/drawing/2014/main" id="{7196D28A-6498-4F67-A11F-9F5BF76DCA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8" y="2309"/>
                <a:ext cx="10" cy="9"/>
              </a:xfrm>
              <a:custGeom>
                <a:avLst/>
                <a:gdLst>
                  <a:gd name="T0" fmla="*/ 16 w 17"/>
                  <a:gd name="T1" fmla="*/ 11 h 17"/>
                  <a:gd name="T2" fmla="*/ 6 w 17"/>
                  <a:gd name="T3" fmla="*/ 16 h 17"/>
                  <a:gd name="T4" fmla="*/ 1 w 17"/>
                  <a:gd name="T5" fmla="*/ 7 h 17"/>
                  <a:gd name="T6" fmla="*/ 10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0" y="17"/>
                      <a:pt x="6" y="16"/>
                    </a:cubicBezTo>
                    <a:cubicBezTo>
                      <a:pt x="2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1"/>
                    </a:cubicBezTo>
                    <a:cubicBezTo>
                      <a:pt x="14" y="2"/>
                      <a:pt x="17" y="7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4" name="Freeform 142">
                <a:extLst>
                  <a:ext uri="{FF2B5EF4-FFF2-40B4-BE49-F238E27FC236}">
                    <a16:creationId xmlns:a16="http://schemas.microsoft.com/office/drawing/2014/main" id="{DFEEF809-7DE3-4CF5-9B6A-CA52D021E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" y="2349"/>
                <a:ext cx="9" cy="8"/>
              </a:xfrm>
              <a:custGeom>
                <a:avLst/>
                <a:gdLst>
                  <a:gd name="T0" fmla="*/ 15 w 16"/>
                  <a:gd name="T1" fmla="*/ 10 h 16"/>
                  <a:gd name="T2" fmla="*/ 6 w 16"/>
                  <a:gd name="T3" fmla="*/ 15 h 16"/>
                  <a:gd name="T4" fmla="*/ 1 w 16"/>
                  <a:gd name="T5" fmla="*/ 6 h 16"/>
                  <a:gd name="T6" fmla="*/ 10 w 16"/>
                  <a:gd name="T7" fmla="*/ 1 h 16"/>
                  <a:gd name="T8" fmla="*/ 15 w 16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5" name="Freeform 143">
                <a:extLst>
                  <a:ext uri="{FF2B5EF4-FFF2-40B4-BE49-F238E27FC236}">
                    <a16:creationId xmlns:a16="http://schemas.microsoft.com/office/drawing/2014/main" id="{27271D7D-6C8C-4898-B62F-50227D4D2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" y="2388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0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1"/>
                    </a:cubicBezTo>
                    <a:cubicBezTo>
                      <a:pt x="14" y="2"/>
                      <a:pt x="17" y="7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6" name="Freeform 144">
                <a:extLst>
                  <a:ext uri="{FF2B5EF4-FFF2-40B4-BE49-F238E27FC236}">
                    <a16:creationId xmlns:a16="http://schemas.microsoft.com/office/drawing/2014/main" id="{A01E69B0-9E9D-4800-A071-94D724630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507"/>
                <a:ext cx="10" cy="9"/>
              </a:xfrm>
              <a:custGeom>
                <a:avLst/>
                <a:gdLst>
                  <a:gd name="T0" fmla="*/ 15 w 17"/>
                  <a:gd name="T1" fmla="*/ 10 h 16"/>
                  <a:gd name="T2" fmla="*/ 6 w 17"/>
                  <a:gd name="T3" fmla="*/ 15 h 16"/>
                  <a:gd name="T4" fmla="*/ 1 w 17"/>
                  <a:gd name="T5" fmla="*/ 6 h 16"/>
                  <a:gd name="T6" fmla="*/ 10 w 17"/>
                  <a:gd name="T7" fmla="*/ 1 h 16"/>
                  <a:gd name="T8" fmla="*/ 15 w 17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7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7" name="Freeform 145">
                <a:extLst>
                  <a:ext uri="{FF2B5EF4-FFF2-40B4-BE49-F238E27FC236}">
                    <a16:creationId xmlns:a16="http://schemas.microsoft.com/office/drawing/2014/main" id="{97C5AAC5-A058-45DE-BE4F-788BFB4F9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" y="2467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1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7" y="0"/>
                      <a:pt x="11" y="1"/>
                    </a:cubicBezTo>
                    <a:cubicBezTo>
                      <a:pt x="15" y="2"/>
                      <a:pt x="17" y="6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8" name="Freeform 146">
                <a:extLst>
                  <a:ext uri="{FF2B5EF4-FFF2-40B4-BE49-F238E27FC236}">
                    <a16:creationId xmlns:a16="http://schemas.microsoft.com/office/drawing/2014/main" id="{3FCABD4D-5EC9-47E5-B42A-32719E9DF6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28"/>
                <a:ext cx="8" cy="9"/>
              </a:xfrm>
              <a:custGeom>
                <a:avLst/>
                <a:gdLst>
                  <a:gd name="T0" fmla="*/ 15 w 16"/>
                  <a:gd name="T1" fmla="*/ 10 h 16"/>
                  <a:gd name="T2" fmla="*/ 6 w 16"/>
                  <a:gd name="T3" fmla="*/ 15 h 16"/>
                  <a:gd name="T4" fmla="*/ 1 w 16"/>
                  <a:gd name="T5" fmla="*/ 6 h 16"/>
                  <a:gd name="T6" fmla="*/ 10 w 16"/>
                  <a:gd name="T7" fmla="*/ 1 h 16"/>
                  <a:gd name="T8" fmla="*/ 15 w 16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9" name="Freeform 147">
                <a:extLst>
                  <a:ext uri="{FF2B5EF4-FFF2-40B4-BE49-F238E27FC236}">
                    <a16:creationId xmlns:a16="http://schemas.microsoft.com/office/drawing/2014/main" id="{CC954639-0540-4E3E-B78E-901088D35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304"/>
                <a:ext cx="30" cy="11"/>
              </a:xfrm>
              <a:custGeom>
                <a:avLst/>
                <a:gdLst>
                  <a:gd name="T0" fmla="*/ 55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5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5" y="18"/>
                    </a:moveTo>
                    <a:cubicBezTo>
                      <a:pt x="55" y="19"/>
                      <a:pt x="54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2"/>
                      <a:pt x="1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5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0" name="Freeform 148">
                <a:extLst>
                  <a:ext uri="{FF2B5EF4-FFF2-40B4-BE49-F238E27FC236}">
                    <a16:creationId xmlns:a16="http://schemas.microsoft.com/office/drawing/2014/main" id="{C26C0854-DBE7-47BD-BECE-0B8C3B447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304"/>
                <a:ext cx="30" cy="9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4 w 55"/>
                  <a:gd name="T5" fmla="*/ 15 h 16"/>
                  <a:gd name="T6" fmla="*/ 55 w 55"/>
                  <a:gd name="T7" fmla="*/ 16 h 16"/>
                  <a:gd name="T8" fmla="*/ 53 w 55"/>
                  <a:gd name="T9" fmla="*/ 13 h 16"/>
                  <a:gd name="T10" fmla="*/ 5 w 55"/>
                  <a:gd name="T11" fmla="*/ 0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4" y="15"/>
                      <a:pt x="55" y="15"/>
                      <a:pt x="55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4"/>
                      <a:pt x="0" y="6"/>
                      <a:pt x="1" y="7"/>
                    </a:cubicBezTo>
                    <a:cubicBezTo>
                      <a:pt x="1" y="6"/>
                      <a:pt x="1" y="5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1" name="Freeform 149">
                <a:extLst>
                  <a:ext uri="{FF2B5EF4-FFF2-40B4-BE49-F238E27FC236}">
                    <a16:creationId xmlns:a16="http://schemas.microsoft.com/office/drawing/2014/main" id="{2BC59B2B-7C53-4333-94D6-E061631EBE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8" y="2308"/>
                <a:ext cx="4" cy="5"/>
              </a:xfrm>
              <a:custGeom>
                <a:avLst/>
                <a:gdLst>
                  <a:gd name="T0" fmla="*/ 0 w 4"/>
                  <a:gd name="T1" fmla="*/ 4 h 5"/>
                  <a:gd name="T2" fmla="*/ 0 w 4"/>
                  <a:gd name="T3" fmla="*/ 4 h 5"/>
                  <a:gd name="T4" fmla="*/ 3 w 4"/>
                  <a:gd name="T5" fmla="*/ 5 h 5"/>
                  <a:gd name="T6" fmla="*/ 3 w 4"/>
                  <a:gd name="T7" fmla="*/ 5 h 5"/>
                  <a:gd name="T8" fmla="*/ 0 w 4"/>
                  <a:gd name="T9" fmla="*/ 4 h 5"/>
                  <a:gd name="T10" fmla="*/ 1 w 4"/>
                  <a:gd name="T11" fmla="*/ 0 h 5"/>
                  <a:gd name="T12" fmla="*/ 1 w 4"/>
                  <a:gd name="T13" fmla="*/ 0 h 5"/>
                  <a:gd name="T14" fmla="*/ 4 w 4"/>
                  <a:gd name="T15" fmla="*/ 0 h 5"/>
                  <a:gd name="T16" fmla="*/ 4 w 4"/>
                  <a:gd name="T17" fmla="*/ 0 h 5"/>
                  <a:gd name="T18" fmla="*/ 1 w 4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5">
                    <a:moveTo>
                      <a:pt x="0" y="4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4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2" name="Freeform 150">
                <a:extLst>
                  <a:ext uri="{FF2B5EF4-FFF2-40B4-BE49-F238E27FC236}">
                    <a16:creationId xmlns:a16="http://schemas.microsoft.com/office/drawing/2014/main" id="{D98D57EF-CC79-4C01-8AFC-BEFECF1552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8" y="2308"/>
                <a:ext cx="4" cy="5"/>
              </a:xfrm>
              <a:custGeom>
                <a:avLst/>
                <a:gdLst>
                  <a:gd name="T0" fmla="*/ 0 w 4"/>
                  <a:gd name="T1" fmla="*/ 4 h 5"/>
                  <a:gd name="T2" fmla="*/ 0 w 4"/>
                  <a:gd name="T3" fmla="*/ 4 h 5"/>
                  <a:gd name="T4" fmla="*/ 3 w 4"/>
                  <a:gd name="T5" fmla="*/ 5 h 5"/>
                  <a:gd name="T6" fmla="*/ 3 w 4"/>
                  <a:gd name="T7" fmla="*/ 5 h 5"/>
                  <a:gd name="T8" fmla="*/ 0 w 4"/>
                  <a:gd name="T9" fmla="*/ 4 h 5"/>
                  <a:gd name="T10" fmla="*/ 1 w 4"/>
                  <a:gd name="T11" fmla="*/ 0 h 5"/>
                  <a:gd name="T12" fmla="*/ 1 w 4"/>
                  <a:gd name="T13" fmla="*/ 0 h 5"/>
                  <a:gd name="T14" fmla="*/ 4 w 4"/>
                  <a:gd name="T15" fmla="*/ 0 h 5"/>
                  <a:gd name="T16" fmla="*/ 4 w 4"/>
                  <a:gd name="T17" fmla="*/ 0 h 5"/>
                  <a:gd name="T18" fmla="*/ 1 w 4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5">
                    <a:moveTo>
                      <a:pt x="0" y="4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4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3" name="Freeform 151">
                <a:extLst>
                  <a:ext uri="{FF2B5EF4-FFF2-40B4-BE49-F238E27FC236}">
                    <a16:creationId xmlns:a16="http://schemas.microsoft.com/office/drawing/2014/main" id="{98D45B23-5FC9-4F77-B8F1-64A0C4AFC4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7" y="2307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1 w 2"/>
                  <a:gd name="T5" fmla="*/ 5 h 5"/>
                  <a:gd name="T6" fmla="*/ 1 w 2"/>
                  <a:gd name="T7" fmla="*/ 5 h 5"/>
                  <a:gd name="T8" fmla="*/ 0 w 2"/>
                  <a:gd name="T9" fmla="*/ 5 h 5"/>
                  <a:gd name="T10" fmla="*/ 2 w 2"/>
                  <a:gd name="T11" fmla="*/ 0 h 5"/>
                  <a:gd name="T12" fmla="*/ 2 w 2"/>
                  <a:gd name="T13" fmla="*/ 0 h 5"/>
                  <a:gd name="T14" fmla="*/ 2 w 2"/>
                  <a:gd name="T15" fmla="*/ 1 h 5"/>
                  <a:gd name="T16" fmla="*/ 2 w 2"/>
                  <a:gd name="T17" fmla="*/ 1 h 5"/>
                  <a:gd name="T18" fmla="*/ 2 w 2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5"/>
                    </a:lnTo>
                    <a:close/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4" name="Freeform 152">
                <a:extLst>
                  <a:ext uri="{FF2B5EF4-FFF2-40B4-BE49-F238E27FC236}">
                    <a16:creationId xmlns:a16="http://schemas.microsoft.com/office/drawing/2014/main" id="{0450F220-CED6-442A-A883-5442B54462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7" y="2307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1 w 2"/>
                  <a:gd name="T5" fmla="*/ 5 h 5"/>
                  <a:gd name="T6" fmla="*/ 1 w 2"/>
                  <a:gd name="T7" fmla="*/ 5 h 5"/>
                  <a:gd name="T8" fmla="*/ 0 w 2"/>
                  <a:gd name="T9" fmla="*/ 5 h 5"/>
                  <a:gd name="T10" fmla="*/ 2 w 2"/>
                  <a:gd name="T11" fmla="*/ 0 h 5"/>
                  <a:gd name="T12" fmla="*/ 2 w 2"/>
                  <a:gd name="T13" fmla="*/ 0 h 5"/>
                  <a:gd name="T14" fmla="*/ 2 w 2"/>
                  <a:gd name="T15" fmla="*/ 1 h 5"/>
                  <a:gd name="T16" fmla="*/ 2 w 2"/>
                  <a:gd name="T17" fmla="*/ 1 h 5"/>
                  <a:gd name="T18" fmla="*/ 2 w 2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5"/>
                    </a:lnTo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5" name="Freeform 153">
                <a:extLst>
                  <a:ext uri="{FF2B5EF4-FFF2-40B4-BE49-F238E27FC236}">
                    <a16:creationId xmlns:a16="http://schemas.microsoft.com/office/drawing/2014/main" id="{DE3EECDF-EAA2-4843-A36C-3CFE2712A6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1" y="2308"/>
                <a:ext cx="9" cy="7"/>
              </a:xfrm>
              <a:custGeom>
                <a:avLst/>
                <a:gdLst>
                  <a:gd name="T0" fmla="*/ 0 w 9"/>
                  <a:gd name="T1" fmla="*/ 5 h 7"/>
                  <a:gd name="T2" fmla="*/ 0 w 9"/>
                  <a:gd name="T3" fmla="*/ 5 h 7"/>
                  <a:gd name="T4" fmla="*/ 8 w 9"/>
                  <a:gd name="T5" fmla="*/ 7 h 7"/>
                  <a:gd name="T6" fmla="*/ 8 w 9"/>
                  <a:gd name="T7" fmla="*/ 7 h 7"/>
                  <a:gd name="T8" fmla="*/ 0 w 9"/>
                  <a:gd name="T9" fmla="*/ 5 h 7"/>
                  <a:gd name="T10" fmla="*/ 1 w 9"/>
                  <a:gd name="T11" fmla="*/ 0 h 7"/>
                  <a:gd name="T12" fmla="*/ 1 w 9"/>
                  <a:gd name="T13" fmla="*/ 0 h 7"/>
                  <a:gd name="T14" fmla="*/ 9 w 9"/>
                  <a:gd name="T15" fmla="*/ 2 h 7"/>
                  <a:gd name="T16" fmla="*/ 9 w 9"/>
                  <a:gd name="T17" fmla="*/ 2 h 7"/>
                  <a:gd name="T18" fmla="*/ 1 w 9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7">
                    <a:moveTo>
                      <a:pt x="0" y="5"/>
                    </a:moveTo>
                    <a:lnTo>
                      <a:pt x="0" y="5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0" y="5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6" name="Freeform 154">
                <a:extLst>
                  <a:ext uri="{FF2B5EF4-FFF2-40B4-BE49-F238E27FC236}">
                    <a16:creationId xmlns:a16="http://schemas.microsoft.com/office/drawing/2014/main" id="{9C8545D3-C945-41A6-AD9D-1F2E09C0BE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1" y="2308"/>
                <a:ext cx="9" cy="7"/>
              </a:xfrm>
              <a:custGeom>
                <a:avLst/>
                <a:gdLst>
                  <a:gd name="T0" fmla="*/ 0 w 9"/>
                  <a:gd name="T1" fmla="*/ 5 h 7"/>
                  <a:gd name="T2" fmla="*/ 0 w 9"/>
                  <a:gd name="T3" fmla="*/ 5 h 7"/>
                  <a:gd name="T4" fmla="*/ 8 w 9"/>
                  <a:gd name="T5" fmla="*/ 7 h 7"/>
                  <a:gd name="T6" fmla="*/ 8 w 9"/>
                  <a:gd name="T7" fmla="*/ 7 h 7"/>
                  <a:gd name="T8" fmla="*/ 0 w 9"/>
                  <a:gd name="T9" fmla="*/ 5 h 7"/>
                  <a:gd name="T10" fmla="*/ 1 w 9"/>
                  <a:gd name="T11" fmla="*/ 0 h 7"/>
                  <a:gd name="T12" fmla="*/ 1 w 9"/>
                  <a:gd name="T13" fmla="*/ 0 h 7"/>
                  <a:gd name="T14" fmla="*/ 9 w 9"/>
                  <a:gd name="T15" fmla="*/ 2 h 7"/>
                  <a:gd name="T16" fmla="*/ 9 w 9"/>
                  <a:gd name="T17" fmla="*/ 2 h 7"/>
                  <a:gd name="T18" fmla="*/ 1 w 9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7">
                    <a:moveTo>
                      <a:pt x="0" y="5"/>
                    </a:moveTo>
                    <a:lnTo>
                      <a:pt x="0" y="5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0" y="5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7" name="Freeform 155">
                <a:extLst>
                  <a:ext uri="{FF2B5EF4-FFF2-40B4-BE49-F238E27FC236}">
                    <a16:creationId xmlns:a16="http://schemas.microsoft.com/office/drawing/2014/main" id="{6425F98C-AD42-4627-81DE-7706010C0D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9" y="2310"/>
                <a:ext cx="4" cy="5"/>
              </a:xfrm>
              <a:custGeom>
                <a:avLst/>
                <a:gdLst>
                  <a:gd name="T0" fmla="*/ 0 w 7"/>
                  <a:gd name="T1" fmla="*/ 8 h 8"/>
                  <a:gd name="T2" fmla="*/ 0 w 7"/>
                  <a:gd name="T3" fmla="*/ 8 h 8"/>
                  <a:gd name="T4" fmla="*/ 3 w 7"/>
                  <a:gd name="T5" fmla="*/ 8 h 8"/>
                  <a:gd name="T6" fmla="*/ 0 w 7"/>
                  <a:gd name="T7" fmla="*/ 8 h 8"/>
                  <a:gd name="T8" fmla="*/ 2 w 7"/>
                  <a:gd name="T9" fmla="*/ 0 h 8"/>
                  <a:gd name="T10" fmla="*/ 2 w 7"/>
                  <a:gd name="T11" fmla="*/ 0 h 8"/>
                  <a:gd name="T12" fmla="*/ 5 w 7"/>
                  <a:gd name="T13" fmla="*/ 1 h 8"/>
                  <a:gd name="T14" fmla="*/ 7 w 7"/>
                  <a:gd name="T15" fmla="*/ 5 h 8"/>
                  <a:gd name="T16" fmla="*/ 5 w 7"/>
                  <a:gd name="T17" fmla="*/ 1 h 8"/>
                  <a:gd name="T18" fmla="*/ 2 w 7"/>
                  <a:gd name="T1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8">
                    <a:moveTo>
                      <a:pt x="0" y="8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0" y="8"/>
                      <a:pt x="0" y="8"/>
                      <a:pt x="0" y="8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3"/>
                      <a:pt x="7" y="5"/>
                    </a:cubicBezTo>
                    <a:cubicBezTo>
                      <a:pt x="7" y="3"/>
                      <a:pt x="6" y="1"/>
                      <a:pt x="5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8" name="Freeform 156">
                <a:extLst>
                  <a:ext uri="{FF2B5EF4-FFF2-40B4-BE49-F238E27FC236}">
                    <a16:creationId xmlns:a16="http://schemas.microsoft.com/office/drawing/2014/main" id="{F479153C-B8B0-456C-A4A1-AC7710D500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7" y="2307"/>
                <a:ext cx="16" cy="8"/>
              </a:xfrm>
              <a:custGeom>
                <a:avLst/>
                <a:gdLst>
                  <a:gd name="T0" fmla="*/ 2 w 28"/>
                  <a:gd name="T1" fmla="*/ 0 h 14"/>
                  <a:gd name="T2" fmla="*/ 2 w 28"/>
                  <a:gd name="T3" fmla="*/ 0 h 14"/>
                  <a:gd name="T4" fmla="*/ 26 w 28"/>
                  <a:gd name="T5" fmla="*/ 7 h 14"/>
                  <a:gd name="T6" fmla="*/ 28 w 28"/>
                  <a:gd name="T7" fmla="*/ 10 h 14"/>
                  <a:gd name="T8" fmla="*/ 27 w 28"/>
                  <a:gd name="T9" fmla="*/ 9 h 14"/>
                  <a:gd name="T10" fmla="*/ 1 w 28"/>
                  <a:gd name="T11" fmla="*/ 2 h 14"/>
                  <a:gd name="T12" fmla="*/ 0 w 28"/>
                  <a:gd name="T13" fmla="*/ 8 h 14"/>
                  <a:gd name="T14" fmla="*/ 1 w 28"/>
                  <a:gd name="T15" fmla="*/ 8 h 14"/>
                  <a:gd name="T16" fmla="*/ 6 w 28"/>
                  <a:gd name="T17" fmla="*/ 10 h 14"/>
                  <a:gd name="T18" fmla="*/ 21 w 28"/>
                  <a:gd name="T19" fmla="*/ 14 h 14"/>
                  <a:gd name="T20" fmla="*/ 24 w 28"/>
                  <a:gd name="T21" fmla="*/ 14 h 14"/>
                  <a:gd name="T22" fmla="*/ 25 w 28"/>
                  <a:gd name="T23" fmla="*/ 14 h 14"/>
                  <a:gd name="T24" fmla="*/ 27 w 28"/>
                  <a:gd name="T25" fmla="*/ 14 h 14"/>
                  <a:gd name="T26" fmla="*/ 28 w 28"/>
                  <a:gd name="T27" fmla="*/ 12 h 14"/>
                  <a:gd name="T28" fmla="*/ 28 w 28"/>
                  <a:gd name="T29" fmla="*/ 11 h 14"/>
                  <a:gd name="T30" fmla="*/ 26 w 28"/>
                  <a:gd name="T31" fmla="*/ 7 h 14"/>
                  <a:gd name="T32" fmla="*/ 23 w 28"/>
                  <a:gd name="T33" fmla="*/ 6 h 14"/>
                  <a:gd name="T34" fmla="*/ 8 w 28"/>
                  <a:gd name="T35" fmla="*/ 2 h 14"/>
                  <a:gd name="T36" fmla="*/ 3 w 28"/>
                  <a:gd name="T37" fmla="*/ 1 h 14"/>
                  <a:gd name="T38" fmla="*/ 2 w 28"/>
                  <a:gd name="T3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8" y="10"/>
                    </a:cubicBezTo>
                    <a:cubicBezTo>
                      <a:pt x="28" y="9"/>
                      <a:pt x="27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4" y="14"/>
                      <a:pt x="25" y="14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7" y="13"/>
                      <a:pt x="28" y="13"/>
                      <a:pt x="28" y="12"/>
                    </a:cubicBezTo>
                    <a:cubicBezTo>
                      <a:pt x="28" y="11"/>
                      <a:pt x="28" y="11"/>
                      <a:pt x="28" y="11"/>
                    </a:cubicBezTo>
                    <a:cubicBezTo>
                      <a:pt x="28" y="9"/>
                      <a:pt x="27" y="7"/>
                      <a:pt x="26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9" name="Freeform 157">
                <a:extLst>
                  <a:ext uri="{FF2B5EF4-FFF2-40B4-BE49-F238E27FC236}">
                    <a16:creationId xmlns:a16="http://schemas.microsoft.com/office/drawing/2014/main" id="{7E76D4A4-D9D7-44B7-92E8-78E614674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" y="2307"/>
                <a:ext cx="15" cy="6"/>
              </a:xfrm>
              <a:custGeom>
                <a:avLst/>
                <a:gdLst>
                  <a:gd name="T0" fmla="*/ 1 w 27"/>
                  <a:gd name="T1" fmla="*/ 0 h 10"/>
                  <a:gd name="T2" fmla="*/ 0 w 27"/>
                  <a:gd name="T3" fmla="*/ 2 h 10"/>
                  <a:gd name="T4" fmla="*/ 26 w 27"/>
                  <a:gd name="T5" fmla="*/ 9 h 10"/>
                  <a:gd name="T6" fmla="*/ 27 w 27"/>
                  <a:gd name="T7" fmla="*/ 10 h 10"/>
                  <a:gd name="T8" fmla="*/ 25 w 27"/>
                  <a:gd name="T9" fmla="*/ 7 h 10"/>
                  <a:gd name="T10" fmla="*/ 1 w 27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6" y="9"/>
                      <a:pt x="27" y="9"/>
                      <a:pt x="27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0" name="Freeform 158">
                <a:extLst>
                  <a:ext uri="{FF2B5EF4-FFF2-40B4-BE49-F238E27FC236}">
                    <a16:creationId xmlns:a16="http://schemas.microsoft.com/office/drawing/2014/main" id="{8742E592-4BCA-4A17-9791-2169AF1370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343"/>
                <a:ext cx="30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1 h 21"/>
                  <a:gd name="T6" fmla="*/ 4 w 56"/>
                  <a:gd name="T7" fmla="*/ 8 h 21"/>
                  <a:gd name="T8" fmla="*/ 1 w 56"/>
                  <a:gd name="T9" fmla="*/ 3 h 21"/>
                  <a:gd name="T10" fmla="*/ 3 w 56"/>
                  <a:gd name="T11" fmla="*/ 1 h 21"/>
                  <a:gd name="T12" fmla="*/ 6 w 56"/>
                  <a:gd name="T13" fmla="*/ 1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6" y="19"/>
                      <a:pt x="55" y="20"/>
                      <a:pt x="54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3" y="1"/>
                      <a:pt x="5" y="0"/>
                      <a:pt x="6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1" name="Freeform 159">
                <a:extLst>
                  <a:ext uri="{FF2B5EF4-FFF2-40B4-BE49-F238E27FC236}">
                    <a16:creationId xmlns:a16="http://schemas.microsoft.com/office/drawing/2014/main" id="{40DCCC97-2150-4B81-BC4C-9C1D92B79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343"/>
                <a:ext cx="30" cy="9"/>
              </a:xfrm>
              <a:custGeom>
                <a:avLst/>
                <a:gdLst>
                  <a:gd name="T0" fmla="*/ 2 w 56"/>
                  <a:gd name="T1" fmla="*/ 5 h 16"/>
                  <a:gd name="T2" fmla="*/ 7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6 w 56"/>
                  <a:gd name="T11" fmla="*/ 1 h 16"/>
                  <a:gd name="T12" fmla="*/ 1 w 56"/>
                  <a:gd name="T13" fmla="*/ 3 h 16"/>
                  <a:gd name="T14" fmla="*/ 2 w 56"/>
                  <a:gd name="T15" fmla="*/ 7 h 16"/>
                  <a:gd name="T16" fmla="*/ 2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2" y="5"/>
                    </a:moveTo>
                    <a:cubicBezTo>
                      <a:pt x="2" y="3"/>
                      <a:pt x="5" y="2"/>
                      <a:pt x="7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6"/>
                      <a:pt x="56" y="16"/>
                    </a:cubicBezTo>
                    <a:cubicBezTo>
                      <a:pt x="56" y="15"/>
                      <a:pt x="55" y="14"/>
                      <a:pt x="53" y="13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3" y="0"/>
                      <a:pt x="1" y="1"/>
                      <a:pt x="1" y="3"/>
                    </a:cubicBezTo>
                    <a:cubicBezTo>
                      <a:pt x="0" y="5"/>
                      <a:pt x="1" y="6"/>
                      <a:pt x="2" y="7"/>
                    </a:cubicBezTo>
                    <a:cubicBezTo>
                      <a:pt x="2" y="6"/>
                      <a:pt x="2" y="6"/>
                      <a:pt x="2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2" name="Freeform 160">
                <a:extLst>
                  <a:ext uri="{FF2B5EF4-FFF2-40B4-BE49-F238E27FC236}">
                    <a16:creationId xmlns:a16="http://schemas.microsoft.com/office/drawing/2014/main" id="{BC381D31-BB2C-486B-BC91-11F164C30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6" y="2347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6 h 14"/>
                  <a:gd name="T6" fmla="*/ 29 w 29"/>
                  <a:gd name="T7" fmla="*/ 9 h 14"/>
                  <a:gd name="T8" fmla="*/ 27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3 h 14"/>
                  <a:gd name="T20" fmla="*/ 29 w 29"/>
                  <a:gd name="T21" fmla="*/ 11 h 14"/>
                  <a:gd name="T22" fmla="*/ 29 w 29"/>
                  <a:gd name="T23" fmla="*/ 10 h 14"/>
                  <a:gd name="T24" fmla="*/ 26 w 29"/>
                  <a:gd name="T25" fmla="*/ 6 h 14"/>
                  <a:gd name="T26" fmla="*/ 26 w 29"/>
                  <a:gd name="T27" fmla="*/ 6 h 14"/>
                  <a:gd name="T28" fmla="*/ 2 w 29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8" y="9"/>
                      <a:pt x="28" y="8"/>
                      <a:pt x="27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6" y="6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3" name="Freeform 161">
                <a:extLst>
                  <a:ext uri="{FF2B5EF4-FFF2-40B4-BE49-F238E27FC236}">
                    <a16:creationId xmlns:a16="http://schemas.microsoft.com/office/drawing/2014/main" id="{B9EEC40D-6233-447A-AAF5-352FAD9B6D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8" y="2347"/>
                <a:ext cx="14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5 w 27"/>
                  <a:gd name="T5" fmla="*/ 8 h 9"/>
                  <a:gd name="T6" fmla="*/ 27 w 27"/>
                  <a:gd name="T7" fmla="*/ 9 h 9"/>
                  <a:gd name="T8" fmla="*/ 24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6" y="8"/>
                      <a:pt x="26" y="9"/>
                      <a:pt x="27" y="9"/>
                    </a:cubicBezTo>
                    <a:cubicBezTo>
                      <a:pt x="27" y="8"/>
                      <a:pt x="26" y="7"/>
                      <a:pt x="24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4" name="Freeform 162">
                <a:extLst>
                  <a:ext uri="{FF2B5EF4-FFF2-40B4-BE49-F238E27FC236}">
                    <a16:creationId xmlns:a16="http://schemas.microsoft.com/office/drawing/2014/main" id="{6830D058-1AB9-4E67-BA08-CCC59DB7B3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1" y="2383"/>
                <a:ext cx="31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5" y="19"/>
                      <a:pt x="55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2"/>
                      <a:pt x="1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5" name="Freeform 163">
                <a:extLst>
                  <a:ext uri="{FF2B5EF4-FFF2-40B4-BE49-F238E27FC236}">
                    <a16:creationId xmlns:a16="http://schemas.microsoft.com/office/drawing/2014/main" id="{5CE19905-0BA7-421D-ADCD-AF08BA4BE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1" y="2383"/>
                <a:ext cx="31" cy="9"/>
              </a:xfrm>
              <a:custGeom>
                <a:avLst/>
                <a:gdLst>
                  <a:gd name="T0" fmla="*/ 1 w 56"/>
                  <a:gd name="T1" fmla="*/ 5 h 16"/>
                  <a:gd name="T2" fmla="*/ 6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5 w 56"/>
                  <a:gd name="T11" fmla="*/ 0 h 16"/>
                  <a:gd name="T12" fmla="*/ 0 w 56"/>
                  <a:gd name="T13" fmla="*/ 3 h 16"/>
                  <a:gd name="T14" fmla="*/ 1 w 56"/>
                  <a:gd name="T15" fmla="*/ 7 h 16"/>
                  <a:gd name="T16" fmla="*/ 1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1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5"/>
                      <a:pt x="56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4"/>
                      <a:pt x="0" y="6"/>
                      <a:pt x="1" y="7"/>
                    </a:cubicBezTo>
                    <a:cubicBezTo>
                      <a:pt x="1" y="6"/>
                      <a:pt x="1" y="5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6" name="Freeform 164">
                <a:extLst>
                  <a:ext uri="{FF2B5EF4-FFF2-40B4-BE49-F238E27FC236}">
                    <a16:creationId xmlns:a16="http://schemas.microsoft.com/office/drawing/2014/main" id="{C2BAE547-43FC-4487-89FF-B405A59833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2386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7 h 14"/>
                  <a:gd name="T6" fmla="*/ 29 w 29"/>
                  <a:gd name="T7" fmla="*/ 10 h 14"/>
                  <a:gd name="T8" fmla="*/ 27 w 29"/>
                  <a:gd name="T9" fmla="*/ 9 h 14"/>
                  <a:gd name="T10" fmla="*/ 1 w 29"/>
                  <a:gd name="T11" fmla="*/ 2 h 14"/>
                  <a:gd name="T12" fmla="*/ 0 w 29"/>
                  <a:gd name="T13" fmla="*/ 8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4 h 14"/>
                  <a:gd name="T20" fmla="*/ 29 w 29"/>
                  <a:gd name="T21" fmla="*/ 12 h 14"/>
                  <a:gd name="T22" fmla="*/ 29 w 29"/>
                  <a:gd name="T23" fmla="*/ 11 h 14"/>
                  <a:gd name="T24" fmla="*/ 26 w 29"/>
                  <a:gd name="T25" fmla="*/ 7 h 14"/>
                  <a:gd name="T26" fmla="*/ 23 w 29"/>
                  <a:gd name="T27" fmla="*/ 6 h 14"/>
                  <a:gd name="T28" fmla="*/ 8 w 29"/>
                  <a:gd name="T29" fmla="*/ 2 h 14"/>
                  <a:gd name="T30" fmla="*/ 3 w 29"/>
                  <a:gd name="T31" fmla="*/ 1 h 14"/>
                  <a:gd name="T32" fmla="*/ 2 w 29"/>
                  <a:gd name="T3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9" y="10"/>
                    </a:cubicBezTo>
                    <a:cubicBezTo>
                      <a:pt x="28" y="9"/>
                      <a:pt x="28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4" y="14"/>
                      <a:pt x="25" y="14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8" y="13"/>
                      <a:pt x="28" y="13"/>
                      <a:pt x="29" y="12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29" y="9"/>
                      <a:pt x="27" y="7"/>
                      <a:pt x="26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7" name="Freeform 165">
                <a:extLst>
                  <a:ext uri="{FF2B5EF4-FFF2-40B4-BE49-F238E27FC236}">
                    <a16:creationId xmlns:a16="http://schemas.microsoft.com/office/drawing/2014/main" id="{1809A618-FA26-4719-9D0A-9DFA53CEE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386"/>
                <a:ext cx="15" cy="6"/>
              </a:xfrm>
              <a:custGeom>
                <a:avLst/>
                <a:gdLst>
                  <a:gd name="T0" fmla="*/ 1 w 28"/>
                  <a:gd name="T1" fmla="*/ 0 h 10"/>
                  <a:gd name="T2" fmla="*/ 0 w 28"/>
                  <a:gd name="T3" fmla="*/ 2 h 10"/>
                  <a:gd name="T4" fmla="*/ 26 w 28"/>
                  <a:gd name="T5" fmla="*/ 9 h 10"/>
                  <a:gd name="T6" fmla="*/ 28 w 28"/>
                  <a:gd name="T7" fmla="*/ 10 h 10"/>
                  <a:gd name="T8" fmla="*/ 25 w 28"/>
                  <a:gd name="T9" fmla="*/ 7 h 10"/>
                  <a:gd name="T10" fmla="*/ 1 w 28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7" y="9"/>
                      <a:pt x="27" y="9"/>
                      <a:pt x="28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8" name="Freeform 166">
                <a:extLst>
                  <a:ext uri="{FF2B5EF4-FFF2-40B4-BE49-F238E27FC236}">
                    <a16:creationId xmlns:a16="http://schemas.microsoft.com/office/drawing/2014/main" id="{23982B3B-1B3D-4412-8750-F73C1A69C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0" y="2422"/>
                <a:ext cx="32" cy="12"/>
              </a:xfrm>
              <a:custGeom>
                <a:avLst/>
                <a:gdLst>
                  <a:gd name="T0" fmla="*/ 56 w 57"/>
                  <a:gd name="T1" fmla="*/ 18 h 21"/>
                  <a:gd name="T2" fmla="*/ 54 w 57"/>
                  <a:gd name="T3" fmla="*/ 20 h 21"/>
                  <a:gd name="T4" fmla="*/ 51 w 57"/>
                  <a:gd name="T5" fmla="*/ 21 h 21"/>
                  <a:gd name="T6" fmla="*/ 4 w 57"/>
                  <a:gd name="T7" fmla="*/ 8 h 21"/>
                  <a:gd name="T8" fmla="*/ 1 w 57"/>
                  <a:gd name="T9" fmla="*/ 3 h 21"/>
                  <a:gd name="T10" fmla="*/ 3 w 57"/>
                  <a:gd name="T11" fmla="*/ 1 h 21"/>
                  <a:gd name="T12" fmla="*/ 6 w 57"/>
                  <a:gd name="T13" fmla="*/ 1 h 21"/>
                  <a:gd name="T14" fmla="*/ 53 w 57"/>
                  <a:gd name="T15" fmla="*/ 13 h 21"/>
                  <a:gd name="T16" fmla="*/ 56 w 57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21">
                    <a:moveTo>
                      <a:pt x="56" y="18"/>
                    </a:moveTo>
                    <a:cubicBezTo>
                      <a:pt x="56" y="19"/>
                      <a:pt x="55" y="20"/>
                      <a:pt x="54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4" y="0"/>
                      <a:pt x="5" y="0"/>
                      <a:pt x="6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7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9" name="Freeform 167">
                <a:extLst>
                  <a:ext uri="{FF2B5EF4-FFF2-40B4-BE49-F238E27FC236}">
                    <a16:creationId xmlns:a16="http://schemas.microsoft.com/office/drawing/2014/main" id="{E7343D37-7A14-4E9D-855E-2D443C1780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1" y="2422"/>
                <a:ext cx="30" cy="9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3 w 55"/>
                  <a:gd name="T5" fmla="*/ 15 h 16"/>
                  <a:gd name="T6" fmla="*/ 55 w 55"/>
                  <a:gd name="T7" fmla="*/ 16 h 16"/>
                  <a:gd name="T8" fmla="*/ 52 w 55"/>
                  <a:gd name="T9" fmla="*/ 13 h 16"/>
                  <a:gd name="T10" fmla="*/ 5 w 55"/>
                  <a:gd name="T11" fmla="*/ 1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2"/>
                      <a:pt x="6" y="2"/>
                    </a:cubicBezTo>
                    <a:cubicBezTo>
                      <a:pt x="53" y="15"/>
                      <a:pt x="53" y="15"/>
                      <a:pt x="53" y="15"/>
                    </a:cubicBezTo>
                    <a:cubicBezTo>
                      <a:pt x="54" y="15"/>
                      <a:pt x="55" y="16"/>
                      <a:pt x="55" y="16"/>
                    </a:cubicBezTo>
                    <a:cubicBezTo>
                      <a:pt x="55" y="15"/>
                      <a:pt x="54" y="14"/>
                      <a:pt x="52" y="1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5"/>
                      <a:pt x="0" y="6"/>
                      <a:pt x="1" y="7"/>
                    </a:cubicBezTo>
                    <a:cubicBezTo>
                      <a:pt x="1" y="6"/>
                      <a:pt x="1" y="6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0" name="Freeform 168">
                <a:extLst>
                  <a:ext uri="{FF2B5EF4-FFF2-40B4-BE49-F238E27FC236}">
                    <a16:creationId xmlns:a16="http://schemas.microsoft.com/office/drawing/2014/main" id="{316F303C-645D-4CEE-A5C6-6661B5FB2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7" y="2426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0 w 3"/>
                  <a:gd name="T3" fmla="*/ 0 h 1"/>
                  <a:gd name="T4" fmla="*/ 3 w 3"/>
                  <a:gd name="T5" fmla="*/ 1 h 1"/>
                  <a:gd name="T6" fmla="*/ 3 w 3"/>
                  <a:gd name="T7" fmla="*/ 1 h 1"/>
                  <a:gd name="T8" fmla="*/ 0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1" name="Freeform 169">
                <a:extLst>
                  <a:ext uri="{FF2B5EF4-FFF2-40B4-BE49-F238E27FC236}">
                    <a16:creationId xmlns:a16="http://schemas.microsoft.com/office/drawing/2014/main" id="{31FC8C7F-961A-47EB-AA9C-4B8ECF3042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7" y="2426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0 w 3"/>
                  <a:gd name="T3" fmla="*/ 0 h 1"/>
                  <a:gd name="T4" fmla="*/ 3 w 3"/>
                  <a:gd name="T5" fmla="*/ 1 h 1"/>
                  <a:gd name="T6" fmla="*/ 3 w 3"/>
                  <a:gd name="T7" fmla="*/ 1 h 1"/>
                  <a:gd name="T8" fmla="*/ 0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2" name="Rectangle 170">
                <a:extLst>
                  <a:ext uri="{FF2B5EF4-FFF2-40B4-BE49-F238E27FC236}">
                    <a16:creationId xmlns:a16="http://schemas.microsoft.com/office/drawing/2014/main" id="{23066A20-55C9-43C7-920C-CADE039018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26"/>
                <a:ext cx="1" cy="1"/>
              </a:xfrm>
              <a:prstGeom prst="rect">
                <a:avLst/>
              </a:pr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3" name="Rectangle 171">
                <a:extLst>
                  <a:ext uri="{FF2B5EF4-FFF2-40B4-BE49-F238E27FC236}">
                    <a16:creationId xmlns:a16="http://schemas.microsoft.com/office/drawing/2014/main" id="{7B5D0D3B-97EB-4F4C-9DA6-518F0D7B12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26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4" name="Freeform 172">
                <a:extLst>
                  <a:ext uri="{FF2B5EF4-FFF2-40B4-BE49-F238E27FC236}">
                    <a16:creationId xmlns:a16="http://schemas.microsoft.com/office/drawing/2014/main" id="{B4047AE1-C7DF-4872-ADAF-95DEB8E62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0" y="2427"/>
                <a:ext cx="8" cy="3"/>
              </a:xfrm>
              <a:custGeom>
                <a:avLst/>
                <a:gdLst>
                  <a:gd name="T0" fmla="*/ 0 w 8"/>
                  <a:gd name="T1" fmla="*/ 0 h 3"/>
                  <a:gd name="T2" fmla="*/ 0 w 8"/>
                  <a:gd name="T3" fmla="*/ 0 h 3"/>
                  <a:gd name="T4" fmla="*/ 8 w 8"/>
                  <a:gd name="T5" fmla="*/ 3 h 3"/>
                  <a:gd name="T6" fmla="*/ 8 w 8"/>
                  <a:gd name="T7" fmla="*/ 3 h 3"/>
                  <a:gd name="T8" fmla="*/ 0 w 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0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5" name="Freeform 173">
                <a:extLst>
                  <a:ext uri="{FF2B5EF4-FFF2-40B4-BE49-F238E27FC236}">
                    <a16:creationId xmlns:a16="http://schemas.microsoft.com/office/drawing/2014/main" id="{B28F1AA0-22EE-401E-A8B5-4DFC0D6D9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0" y="2427"/>
                <a:ext cx="8" cy="3"/>
              </a:xfrm>
              <a:custGeom>
                <a:avLst/>
                <a:gdLst>
                  <a:gd name="T0" fmla="*/ 0 w 8"/>
                  <a:gd name="T1" fmla="*/ 0 h 3"/>
                  <a:gd name="T2" fmla="*/ 0 w 8"/>
                  <a:gd name="T3" fmla="*/ 0 h 3"/>
                  <a:gd name="T4" fmla="*/ 8 w 8"/>
                  <a:gd name="T5" fmla="*/ 3 h 3"/>
                  <a:gd name="T6" fmla="*/ 8 w 8"/>
                  <a:gd name="T7" fmla="*/ 3 h 3"/>
                  <a:gd name="T8" fmla="*/ 0 w 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0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6" name="Freeform 174">
                <a:extLst>
                  <a:ext uri="{FF2B5EF4-FFF2-40B4-BE49-F238E27FC236}">
                    <a16:creationId xmlns:a16="http://schemas.microsoft.com/office/drawing/2014/main" id="{867118F8-407F-4A06-B3EF-CBAFBD95B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8" y="2430"/>
                <a:ext cx="3" cy="2"/>
              </a:xfrm>
              <a:custGeom>
                <a:avLst/>
                <a:gdLst>
                  <a:gd name="T0" fmla="*/ 0 w 5"/>
                  <a:gd name="T1" fmla="*/ 0 h 4"/>
                  <a:gd name="T2" fmla="*/ 0 w 5"/>
                  <a:gd name="T3" fmla="*/ 0 h 4"/>
                  <a:gd name="T4" fmla="*/ 2 w 5"/>
                  <a:gd name="T5" fmla="*/ 0 h 4"/>
                  <a:gd name="T6" fmla="*/ 5 w 5"/>
                  <a:gd name="T7" fmla="*/ 4 h 4"/>
                  <a:gd name="T8" fmla="*/ 2 w 5"/>
                  <a:gd name="T9" fmla="*/ 0 h 4"/>
                  <a:gd name="T10" fmla="*/ 0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4" y="1"/>
                      <a:pt x="5" y="2"/>
                      <a:pt x="5" y="4"/>
                    </a:cubicBezTo>
                    <a:cubicBezTo>
                      <a:pt x="5" y="2"/>
                      <a:pt x="4" y="1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7" name="Rectangle 175">
                <a:extLst>
                  <a:ext uri="{FF2B5EF4-FFF2-40B4-BE49-F238E27FC236}">
                    <a16:creationId xmlns:a16="http://schemas.microsoft.com/office/drawing/2014/main" id="{3FC1DF01-18E7-4481-9EEA-5F78628D7B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31"/>
                <a:ext cx="3" cy="1"/>
              </a:xfrm>
              <a:prstGeom prst="rect">
                <a:avLst/>
              </a:pr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8" name="Rectangle 176">
                <a:extLst>
                  <a:ext uri="{FF2B5EF4-FFF2-40B4-BE49-F238E27FC236}">
                    <a16:creationId xmlns:a16="http://schemas.microsoft.com/office/drawing/2014/main" id="{617C6F6D-305F-430D-B04F-8AF59DFB2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31"/>
                <a:ext cx="3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9" name="Freeform 177">
                <a:extLst>
                  <a:ext uri="{FF2B5EF4-FFF2-40B4-BE49-F238E27FC236}">
                    <a16:creationId xmlns:a16="http://schemas.microsoft.com/office/drawing/2014/main" id="{E9312015-5D1A-4B6E-A2A4-819DB9D14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30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1 w 1"/>
                  <a:gd name="T7" fmla="*/ 1 h 1"/>
                  <a:gd name="T8" fmla="*/ 0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0" name="Freeform 178">
                <a:extLst>
                  <a:ext uri="{FF2B5EF4-FFF2-40B4-BE49-F238E27FC236}">
                    <a16:creationId xmlns:a16="http://schemas.microsoft.com/office/drawing/2014/main" id="{F3098728-8FAC-4346-89D8-56E5EB3AA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30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1 w 1"/>
                  <a:gd name="T7" fmla="*/ 1 h 1"/>
                  <a:gd name="T8" fmla="*/ 0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1" name="Freeform 179">
                <a:extLst>
                  <a:ext uri="{FF2B5EF4-FFF2-40B4-BE49-F238E27FC236}">
                    <a16:creationId xmlns:a16="http://schemas.microsoft.com/office/drawing/2014/main" id="{D0522D0F-ACCC-4D6F-B1F3-FAB35CD83E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9" y="2431"/>
                <a:ext cx="8" cy="2"/>
              </a:xfrm>
              <a:custGeom>
                <a:avLst/>
                <a:gdLst>
                  <a:gd name="T0" fmla="*/ 0 w 8"/>
                  <a:gd name="T1" fmla="*/ 0 h 2"/>
                  <a:gd name="T2" fmla="*/ 0 w 8"/>
                  <a:gd name="T3" fmla="*/ 0 h 2"/>
                  <a:gd name="T4" fmla="*/ 8 w 8"/>
                  <a:gd name="T5" fmla="*/ 2 h 2"/>
                  <a:gd name="T6" fmla="*/ 8 w 8"/>
                  <a:gd name="T7" fmla="*/ 2 h 2"/>
                  <a:gd name="T8" fmla="*/ 0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2" name="Freeform 180">
                <a:extLst>
                  <a:ext uri="{FF2B5EF4-FFF2-40B4-BE49-F238E27FC236}">
                    <a16:creationId xmlns:a16="http://schemas.microsoft.com/office/drawing/2014/main" id="{4A447CD6-9986-4BD0-A919-97073D05F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9" y="2431"/>
                <a:ext cx="8" cy="2"/>
              </a:xfrm>
              <a:custGeom>
                <a:avLst/>
                <a:gdLst>
                  <a:gd name="T0" fmla="*/ 0 w 8"/>
                  <a:gd name="T1" fmla="*/ 0 h 2"/>
                  <a:gd name="T2" fmla="*/ 0 w 8"/>
                  <a:gd name="T3" fmla="*/ 0 h 2"/>
                  <a:gd name="T4" fmla="*/ 8 w 8"/>
                  <a:gd name="T5" fmla="*/ 2 h 2"/>
                  <a:gd name="T6" fmla="*/ 8 w 8"/>
                  <a:gd name="T7" fmla="*/ 2 h 2"/>
                  <a:gd name="T8" fmla="*/ 0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3" name="Freeform 181">
                <a:extLst>
                  <a:ext uri="{FF2B5EF4-FFF2-40B4-BE49-F238E27FC236}">
                    <a16:creationId xmlns:a16="http://schemas.microsoft.com/office/drawing/2014/main" id="{80A35623-76FD-4FFA-95FE-67F7A90C7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33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4" name="Freeform 182">
                <a:extLst>
                  <a:ext uri="{FF2B5EF4-FFF2-40B4-BE49-F238E27FC236}">
                    <a16:creationId xmlns:a16="http://schemas.microsoft.com/office/drawing/2014/main" id="{5D31CC78-95CE-4EE2-9124-3313730A82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33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5" name="Freeform 183">
                <a:extLst>
                  <a:ext uri="{FF2B5EF4-FFF2-40B4-BE49-F238E27FC236}">
                    <a16:creationId xmlns:a16="http://schemas.microsoft.com/office/drawing/2014/main" id="{1CBDB465-0962-4CC8-B6E1-8682E3C955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26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6 h 14"/>
                  <a:gd name="T6" fmla="*/ 29 w 29"/>
                  <a:gd name="T7" fmla="*/ 9 h 14"/>
                  <a:gd name="T8" fmla="*/ 27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1 w 29"/>
                  <a:gd name="T15" fmla="*/ 8 h 14"/>
                  <a:gd name="T16" fmla="*/ 7 w 29"/>
                  <a:gd name="T17" fmla="*/ 9 h 14"/>
                  <a:gd name="T18" fmla="*/ 22 w 29"/>
                  <a:gd name="T19" fmla="*/ 13 h 14"/>
                  <a:gd name="T20" fmla="*/ 24 w 29"/>
                  <a:gd name="T21" fmla="*/ 14 h 14"/>
                  <a:gd name="T22" fmla="*/ 25 w 29"/>
                  <a:gd name="T23" fmla="*/ 14 h 14"/>
                  <a:gd name="T24" fmla="*/ 27 w 29"/>
                  <a:gd name="T25" fmla="*/ 13 h 14"/>
                  <a:gd name="T26" fmla="*/ 29 w 29"/>
                  <a:gd name="T27" fmla="*/ 11 h 14"/>
                  <a:gd name="T28" fmla="*/ 29 w 29"/>
                  <a:gd name="T29" fmla="*/ 10 h 14"/>
                  <a:gd name="T30" fmla="*/ 26 w 29"/>
                  <a:gd name="T31" fmla="*/ 6 h 14"/>
                  <a:gd name="T32" fmla="*/ 24 w 29"/>
                  <a:gd name="T33" fmla="*/ 6 h 14"/>
                  <a:gd name="T34" fmla="*/ 9 w 29"/>
                  <a:gd name="T35" fmla="*/ 2 h 14"/>
                  <a:gd name="T36" fmla="*/ 3 w 29"/>
                  <a:gd name="T37" fmla="*/ 0 h 14"/>
                  <a:gd name="T38" fmla="*/ 2 w 29"/>
                  <a:gd name="T3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9" y="9"/>
                      <a:pt x="28" y="8"/>
                      <a:pt x="27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6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6" name="Freeform 184">
                <a:extLst>
                  <a:ext uri="{FF2B5EF4-FFF2-40B4-BE49-F238E27FC236}">
                    <a16:creationId xmlns:a16="http://schemas.microsoft.com/office/drawing/2014/main" id="{EF13A941-8D7E-42BF-A9D7-47B026796F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" y="2426"/>
                <a:ext cx="15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5 w 27"/>
                  <a:gd name="T5" fmla="*/ 8 h 9"/>
                  <a:gd name="T6" fmla="*/ 27 w 27"/>
                  <a:gd name="T7" fmla="*/ 9 h 9"/>
                  <a:gd name="T8" fmla="*/ 24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6" y="8"/>
                      <a:pt x="27" y="9"/>
                      <a:pt x="27" y="9"/>
                    </a:cubicBezTo>
                    <a:cubicBezTo>
                      <a:pt x="27" y="8"/>
                      <a:pt x="26" y="7"/>
                      <a:pt x="24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7" name="Freeform 185">
                <a:extLst>
                  <a:ext uri="{FF2B5EF4-FFF2-40B4-BE49-F238E27FC236}">
                    <a16:creationId xmlns:a16="http://schemas.microsoft.com/office/drawing/2014/main" id="{37C08602-DE69-44C1-8266-AD4B46677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0" y="2462"/>
                <a:ext cx="31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1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5" y="19"/>
                      <a:pt x="55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8" name="Freeform 186">
                <a:extLst>
                  <a:ext uri="{FF2B5EF4-FFF2-40B4-BE49-F238E27FC236}">
                    <a16:creationId xmlns:a16="http://schemas.microsoft.com/office/drawing/2014/main" id="{44D72623-B546-4F70-B3AD-64351C4B4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0" y="2462"/>
                <a:ext cx="31" cy="9"/>
              </a:xfrm>
              <a:custGeom>
                <a:avLst/>
                <a:gdLst>
                  <a:gd name="T0" fmla="*/ 2 w 56"/>
                  <a:gd name="T1" fmla="*/ 5 h 16"/>
                  <a:gd name="T2" fmla="*/ 6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5 w 56"/>
                  <a:gd name="T11" fmla="*/ 0 h 16"/>
                  <a:gd name="T12" fmla="*/ 1 w 56"/>
                  <a:gd name="T13" fmla="*/ 3 h 16"/>
                  <a:gd name="T14" fmla="*/ 2 w 56"/>
                  <a:gd name="T15" fmla="*/ 7 h 16"/>
                  <a:gd name="T16" fmla="*/ 2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2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5"/>
                      <a:pt x="56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1" y="3"/>
                    </a:cubicBezTo>
                    <a:cubicBezTo>
                      <a:pt x="0" y="4"/>
                      <a:pt x="1" y="6"/>
                      <a:pt x="2" y="7"/>
                    </a:cubicBezTo>
                    <a:cubicBezTo>
                      <a:pt x="1" y="6"/>
                      <a:pt x="1" y="5"/>
                      <a:pt x="2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9" name="Freeform 187">
                <a:extLst>
                  <a:ext uri="{FF2B5EF4-FFF2-40B4-BE49-F238E27FC236}">
                    <a16:creationId xmlns:a16="http://schemas.microsoft.com/office/drawing/2014/main" id="{3EC875B0-F179-48A2-9CEF-7726801476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466"/>
                <a:ext cx="16" cy="7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7 h 14"/>
                  <a:gd name="T6" fmla="*/ 29 w 29"/>
                  <a:gd name="T7" fmla="*/ 10 h 14"/>
                  <a:gd name="T8" fmla="*/ 27 w 29"/>
                  <a:gd name="T9" fmla="*/ 9 h 14"/>
                  <a:gd name="T10" fmla="*/ 1 w 29"/>
                  <a:gd name="T11" fmla="*/ 2 h 14"/>
                  <a:gd name="T12" fmla="*/ 0 w 29"/>
                  <a:gd name="T13" fmla="*/ 8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4 h 14"/>
                  <a:gd name="T20" fmla="*/ 29 w 29"/>
                  <a:gd name="T21" fmla="*/ 12 h 14"/>
                  <a:gd name="T22" fmla="*/ 29 w 29"/>
                  <a:gd name="T23" fmla="*/ 11 h 14"/>
                  <a:gd name="T24" fmla="*/ 26 w 29"/>
                  <a:gd name="T25" fmla="*/ 7 h 14"/>
                  <a:gd name="T26" fmla="*/ 26 w 29"/>
                  <a:gd name="T27" fmla="*/ 7 h 14"/>
                  <a:gd name="T28" fmla="*/ 2 w 29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9" y="10"/>
                    </a:cubicBezTo>
                    <a:cubicBezTo>
                      <a:pt x="28" y="9"/>
                      <a:pt x="28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5" y="14"/>
                      <a:pt x="25" y="14"/>
                    </a:cubicBezTo>
                    <a:cubicBezTo>
                      <a:pt x="26" y="14"/>
                      <a:pt x="26" y="14"/>
                      <a:pt x="27" y="14"/>
                    </a:cubicBezTo>
                    <a:cubicBezTo>
                      <a:pt x="28" y="13"/>
                      <a:pt x="28" y="13"/>
                      <a:pt x="29" y="12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29" y="9"/>
                      <a:pt x="28" y="7"/>
                      <a:pt x="26" y="7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0" name="Freeform 188">
                <a:extLst>
                  <a:ext uri="{FF2B5EF4-FFF2-40B4-BE49-F238E27FC236}">
                    <a16:creationId xmlns:a16="http://schemas.microsoft.com/office/drawing/2014/main" id="{D7B93DA0-EC89-44A1-BCBB-162569C69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466"/>
                <a:ext cx="16" cy="5"/>
              </a:xfrm>
              <a:custGeom>
                <a:avLst/>
                <a:gdLst>
                  <a:gd name="T0" fmla="*/ 1 w 28"/>
                  <a:gd name="T1" fmla="*/ 0 h 10"/>
                  <a:gd name="T2" fmla="*/ 0 w 28"/>
                  <a:gd name="T3" fmla="*/ 2 h 10"/>
                  <a:gd name="T4" fmla="*/ 26 w 28"/>
                  <a:gd name="T5" fmla="*/ 9 h 10"/>
                  <a:gd name="T6" fmla="*/ 28 w 28"/>
                  <a:gd name="T7" fmla="*/ 10 h 10"/>
                  <a:gd name="T8" fmla="*/ 25 w 28"/>
                  <a:gd name="T9" fmla="*/ 7 h 10"/>
                  <a:gd name="T10" fmla="*/ 1 w 28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7" y="9"/>
                      <a:pt x="27" y="9"/>
                      <a:pt x="28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1" name="Freeform 189">
                <a:extLst>
                  <a:ext uri="{FF2B5EF4-FFF2-40B4-BE49-F238E27FC236}">
                    <a16:creationId xmlns:a16="http://schemas.microsoft.com/office/drawing/2014/main" id="{7FFBEA9A-5CED-41B9-9113-30219B5A4F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" y="2502"/>
                <a:ext cx="30" cy="11"/>
              </a:xfrm>
              <a:custGeom>
                <a:avLst/>
                <a:gdLst>
                  <a:gd name="T0" fmla="*/ 55 w 56"/>
                  <a:gd name="T1" fmla="*/ 18 h 21"/>
                  <a:gd name="T2" fmla="*/ 53 w 56"/>
                  <a:gd name="T3" fmla="*/ 20 h 21"/>
                  <a:gd name="T4" fmla="*/ 51 w 56"/>
                  <a:gd name="T5" fmla="*/ 21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1 h 21"/>
                  <a:gd name="T12" fmla="*/ 5 w 56"/>
                  <a:gd name="T13" fmla="*/ 1 h 21"/>
                  <a:gd name="T14" fmla="*/ 53 w 56"/>
                  <a:gd name="T15" fmla="*/ 13 h 21"/>
                  <a:gd name="T16" fmla="*/ 55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5" y="18"/>
                    </a:moveTo>
                    <a:cubicBezTo>
                      <a:pt x="55" y="19"/>
                      <a:pt x="54" y="20"/>
                      <a:pt x="53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2"/>
                      <a:pt x="1" y="1"/>
                      <a:pt x="2" y="1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6" y="16"/>
                      <a:pt x="55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2" name="Freeform 190">
                <a:extLst>
                  <a:ext uri="{FF2B5EF4-FFF2-40B4-BE49-F238E27FC236}">
                    <a16:creationId xmlns:a16="http://schemas.microsoft.com/office/drawing/2014/main" id="{9C1D49C4-082D-4B81-A8FF-3DCF987A6E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" y="2502"/>
                <a:ext cx="30" cy="8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4 w 55"/>
                  <a:gd name="T5" fmla="*/ 15 h 16"/>
                  <a:gd name="T6" fmla="*/ 55 w 55"/>
                  <a:gd name="T7" fmla="*/ 16 h 16"/>
                  <a:gd name="T8" fmla="*/ 53 w 55"/>
                  <a:gd name="T9" fmla="*/ 13 h 16"/>
                  <a:gd name="T10" fmla="*/ 5 w 55"/>
                  <a:gd name="T11" fmla="*/ 1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2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4" y="15"/>
                      <a:pt x="55" y="16"/>
                      <a:pt x="55" y="16"/>
                    </a:cubicBezTo>
                    <a:cubicBezTo>
                      <a:pt x="55" y="15"/>
                      <a:pt x="54" y="14"/>
                      <a:pt x="53" y="1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5"/>
                      <a:pt x="0" y="6"/>
                      <a:pt x="1" y="7"/>
                    </a:cubicBezTo>
                    <a:cubicBezTo>
                      <a:pt x="1" y="6"/>
                      <a:pt x="1" y="6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3" name="Freeform 191">
                <a:extLst>
                  <a:ext uri="{FF2B5EF4-FFF2-40B4-BE49-F238E27FC236}">
                    <a16:creationId xmlns:a16="http://schemas.microsoft.com/office/drawing/2014/main" id="{49629C6D-DD11-4CDB-B4CB-D5AE74EF47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4" y="2505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7 w 29"/>
                  <a:gd name="T5" fmla="*/ 6 h 14"/>
                  <a:gd name="T6" fmla="*/ 29 w 29"/>
                  <a:gd name="T7" fmla="*/ 9 h 14"/>
                  <a:gd name="T8" fmla="*/ 28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25 w 29"/>
                  <a:gd name="T15" fmla="*/ 14 h 14"/>
                  <a:gd name="T16" fmla="*/ 26 w 29"/>
                  <a:gd name="T17" fmla="*/ 14 h 14"/>
                  <a:gd name="T18" fmla="*/ 27 w 29"/>
                  <a:gd name="T19" fmla="*/ 13 h 14"/>
                  <a:gd name="T20" fmla="*/ 29 w 29"/>
                  <a:gd name="T21" fmla="*/ 11 h 14"/>
                  <a:gd name="T22" fmla="*/ 29 w 29"/>
                  <a:gd name="T23" fmla="*/ 10 h 14"/>
                  <a:gd name="T24" fmla="*/ 27 w 29"/>
                  <a:gd name="T25" fmla="*/ 6 h 14"/>
                  <a:gd name="T26" fmla="*/ 24 w 29"/>
                  <a:gd name="T27" fmla="*/ 6 h 14"/>
                  <a:gd name="T28" fmla="*/ 9 w 29"/>
                  <a:gd name="T29" fmla="*/ 2 h 14"/>
                  <a:gd name="T30" fmla="*/ 3 w 29"/>
                  <a:gd name="T31" fmla="*/ 0 h 14"/>
                  <a:gd name="T32" fmla="*/ 2 w 29"/>
                  <a:gd name="T3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9" y="9"/>
                      <a:pt x="28" y="8"/>
                      <a:pt x="28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5" y="14"/>
                      <a:pt x="25" y="14"/>
                      <a:pt x="26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7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4" name="Freeform 192">
                <a:extLst>
                  <a:ext uri="{FF2B5EF4-FFF2-40B4-BE49-F238E27FC236}">
                    <a16:creationId xmlns:a16="http://schemas.microsoft.com/office/drawing/2014/main" id="{0F1F4AFA-E954-4505-A904-BD5A49F1F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5" y="2505"/>
                <a:ext cx="15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6 w 27"/>
                  <a:gd name="T5" fmla="*/ 8 h 9"/>
                  <a:gd name="T6" fmla="*/ 27 w 27"/>
                  <a:gd name="T7" fmla="*/ 9 h 9"/>
                  <a:gd name="T8" fmla="*/ 25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6" y="8"/>
                      <a:pt x="27" y="9"/>
                      <a:pt x="27" y="9"/>
                    </a:cubicBezTo>
                    <a:cubicBezTo>
                      <a:pt x="27" y="8"/>
                      <a:pt x="26" y="7"/>
                      <a:pt x="25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5" name="Freeform 193">
                <a:extLst>
                  <a:ext uri="{FF2B5EF4-FFF2-40B4-BE49-F238E27FC236}">
                    <a16:creationId xmlns:a16="http://schemas.microsoft.com/office/drawing/2014/main" id="{C94BCCFC-6E1E-42B6-AA08-634FC5DE0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0" y="2362"/>
                <a:ext cx="20" cy="32"/>
              </a:xfrm>
              <a:custGeom>
                <a:avLst/>
                <a:gdLst>
                  <a:gd name="T0" fmla="*/ 13 w 20"/>
                  <a:gd name="T1" fmla="*/ 32 h 32"/>
                  <a:gd name="T2" fmla="*/ 0 w 20"/>
                  <a:gd name="T3" fmla="*/ 28 h 32"/>
                  <a:gd name="T4" fmla="*/ 7 w 20"/>
                  <a:gd name="T5" fmla="*/ 0 h 32"/>
                  <a:gd name="T6" fmla="*/ 20 w 20"/>
                  <a:gd name="T7" fmla="*/ 4 h 32"/>
                  <a:gd name="T8" fmla="*/ 13 w 20"/>
                  <a:gd name="T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2">
                    <a:moveTo>
                      <a:pt x="13" y="32"/>
                    </a:moveTo>
                    <a:lnTo>
                      <a:pt x="0" y="28"/>
                    </a:lnTo>
                    <a:lnTo>
                      <a:pt x="7" y="0"/>
                    </a:lnTo>
                    <a:lnTo>
                      <a:pt x="20" y="4"/>
                    </a:lnTo>
                    <a:lnTo>
                      <a:pt x="13" y="32"/>
                    </a:lnTo>
                    <a:close/>
                  </a:path>
                </a:pathLst>
              </a:custGeom>
              <a:solidFill>
                <a:srgbClr val="EF53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6" name="Freeform 194">
                <a:extLst>
                  <a:ext uri="{FF2B5EF4-FFF2-40B4-BE49-F238E27FC236}">
                    <a16:creationId xmlns:a16="http://schemas.microsoft.com/office/drawing/2014/main" id="{A4201B50-FE4A-4494-9B00-A0ADE304C2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9" y="2404"/>
                <a:ext cx="20" cy="32"/>
              </a:xfrm>
              <a:custGeom>
                <a:avLst/>
                <a:gdLst>
                  <a:gd name="T0" fmla="*/ 12 w 20"/>
                  <a:gd name="T1" fmla="*/ 32 h 32"/>
                  <a:gd name="T2" fmla="*/ 0 w 20"/>
                  <a:gd name="T3" fmla="*/ 28 h 32"/>
                  <a:gd name="T4" fmla="*/ 7 w 20"/>
                  <a:gd name="T5" fmla="*/ 0 h 32"/>
                  <a:gd name="T6" fmla="*/ 20 w 20"/>
                  <a:gd name="T7" fmla="*/ 3 h 32"/>
                  <a:gd name="T8" fmla="*/ 12 w 20"/>
                  <a:gd name="T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2">
                    <a:moveTo>
                      <a:pt x="12" y="32"/>
                    </a:moveTo>
                    <a:lnTo>
                      <a:pt x="0" y="28"/>
                    </a:lnTo>
                    <a:lnTo>
                      <a:pt x="7" y="0"/>
                    </a:lnTo>
                    <a:lnTo>
                      <a:pt x="20" y="3"/>
                    </a:lnTo>
                    <a:lnTo>
                      <a:pt x="12" y="32"/>
                    </a:lnTo>
                    <a:close/>
                  </a:path>
                </a:pathLst>
              </a:custGeom>
              <a:solidFill>
                <a:srgbClr val="8FDC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7" name="Freeform 195">
                <a:extLst>
                  <a:ext uri="{FF2B5EF4-FFF2-40B4-BE49-F238E27FC236}">
                    <a16:creationId xmlns:a16="http://schemas.microsoft.com/office/drawing/2014/main" id="{040EC471-B18B-4524-856E-E917E25575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" y="2387"/>
                <a:ext cx="25" cy="33"/>
              </a:xfrm>
              <a:custGeom>
                <a:avLst/>
                <a:gdLst>
                  <a:gd name="T0" fmla="*/ 17 w 25"/>
                  <a:gd name="T1" fmla="*/ 33 h 33"/>
                  <a:gd name="T2" fmla="*/ 0 w 25"/>
                  <a:gd name="T3" fmla="*/ 28 h 33"/>
                  <a:gd name="T4" fmla="*/ 8 w 25"/>
                  <a:gd name="T5" fmla="*/ 0 h 33"/>
                  <a:gd name="T6" fmla="*/ 25 w 25"/>
                  <a:gd name="T7" fmla="*/ 5 h 33"/>
                  <a:gd name="T8" fmla="*/ 17 w 25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33">
                    <a:moveTo>
                      <a:pt x="17" y="33"/>
                    </a:moveTo>
                    <a:lnTo>
                      <a:pt x="0" y="28"/>
                    </a:lnTo>
                    <a:lnTo>
                      <a:pt x="8" y="0"/>
                    </a:lnTo>
                    <a:lnTo>
                      <a:pt x="25" y="5"/>
                    </a:lnTo>
                    <a:lnTo>
                      <a:pt x="17" y="33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8" name="Freeform 196">
                <a:extLst>
                  <a:ext uri="{FF2B5EF4-FFF2-40B4-BE49-F238E27FC236}">
                    <a16:creationId xmlns:a16="http://schemas.microsoft.com/office/drawing/2014/main" id="{760A5B0F-2515-4410-8688-3BBF8312B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" y="2263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9" name="Freeform 197">
                <a:extLst>
                  <a:ext uri="{FF2B5EF4-FFF2-40B4-BE49-F238E27FC236}">
                    <a16:creationId xmlns:a16="http://schemas.microsoft.com/office/drawing/2014/main" id="{136B7A02-33E1-42E4-8FAE-B8B576DAF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" y="2276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0" name="Freeform 198">
                <a:extLst>
                  <a:ext uri="{FF2B5EF4-FFF2-40B4-BE49-F238E27FC236}">
                    <a16:creationId xmlns:a16="http://schemas.microsoft.com/office/drawing/2014/main" id="{A038D938-5D4E-4058-A4E1-504C0D303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5" y="2288"/>
                <a:ext cx="138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1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1" name="Freeform 199">
                <a:extLst>
                  <a:ext uri="{FF2B5EF4-FFF2-40B4-BE49-F238E27FC236}">
                    <a16:creationId xmlns:a16="http://schemas.microsoft.com/office/drawing/2014/main" id="{1B9D715A-EC9F-4B8A-A0B6-B52A154E0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2" y="2301"/>
                <a:ext cx="138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8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2" name="Freeform 200">
                <a:extLst>
                  <a:ext uri="{FF2B5EF4-FFF2-40B4-BE49-F238E27FC236}">
                    <a16:creationId xmlns:a16="http://schemas.microsoft.com/office/drawing/2014/main" id="{C42C2F4D-5A74-4676-AF9F-674E374861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313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8"/>
                      <a:pt x="253" y="68"/>
                      <a:pt x="253" y="68"/>
                    </a:cubicBezTo>
                    <a:cubicBezTo>
                      <a:pt x="252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3" name="Freeform 201">
                <a:extLst>
                  <a:ext uri="{FF2B5EF4-FFF2-40B4-BE49-F238E27FC236}">
                    <a16:creationId xmlns:a16="http://schemas.microsoft.com/office/drawing/2014/main" id="{86647506-B47B-4A12-93DA-D479FB3C2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5" y="2326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8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4" name="Freeform 202">
                <a:extLst>
                  <a:ext uri="{FF2B5EF4-FFF2-40B4-BE49-F238E27FC236}">
                    <a16:creationId xmlns:a16="http://schemas.microsoft.com/office/drawing/2014/main" id="{60B9C95F-56D4-4BDB-A109-729A91631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2" y="2338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8 h 69"/>
                  <a:gd name="T10" fmla="*/ 252 w 252"/>
                  <a:gd name="T11" fmla="*/ 69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2" y="68"/>
                      <a:pt x="252" y="69"/>
                    </a:cubicBezTo>
                    <a:cubicBezTo>
                      <a:pt x="252" y="69"/>
                      <a:pt x="252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5" name="Freeform 203">
                <a:extLst>
                  <a:ext uri="{FF2B5EF4-FFF2-40B4-BE49-F238E27FC236}">
                    <a16:creationId xmlns:a16="http://schemas.microsoft.com/office/drawing/2014/main" id="{72742FF2-CC75-48D5-A901-04594EB81E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51"/>
                <a:ext cx="137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1 w 252"/>
                  <a:gd name="T9" fmla="*/ 68 h 69"/>
                  <a:gd name="T10" fmla="*/ 252 w 252"/>
                  <a:gd name="T11" fmla="*/ 69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51" y="68"/>
                      <a:pt x="251" y="68"/>
                      <a:pt x="251" y="68"/>
                    </a:cubicBezTo>
                    <a:cubicBezTo>
                      <a:pt x="252" y="68"/>
                      <a:pt x="252" y="68"/>
                      <a:pt x="252" y="69"/>
                    </a:cubicBezTo>
                    <a:cubicBezTo>
                      <a:pt x="252" y="69"/>
                      <a:pt x="251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6" name="Freeform 204">
                <a:extLst>
                  <a:ext uri="{FF2B5EF4-FFF2-40B4-BE49-F238E27FC236}">
                    <a16:creationId xmlns:a16="http://schemas.microsoft.com/office/drawing/2014/main" id="{A1917ECF-7CD9-45B8-B9AC-361BBE00F3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5" y="2363"/>
                <a:ext cx="138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1 w 253"/>
                  <a:gd name="T5" fmla="*/ 1 h 69"/>
                  <a:gd name="T6" fmla="*/ 1 w 253"/>
                  <a:gd name="T7" fmla="*/ 1 h 69"/>
                  <a:gd name="T8" fmla="*/ 252 w 253"/>
                  <a:gd name="T9" fmla="*/ 68 h 69"/>
                  <a:gd name="T10" fmla="*/ 253 w 253"/>
                  <a:gd name="T11" fmla="*/ 69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1"/>
                      <a:pt x="1" y="0"/>
                      <a:pt x="1" y="1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3" y="68"/>
                      <a:pt x="253" y="68"/>
                      <a:pt x="253" y="69"/>
                    </a:cubicBezTo>
                    <a:cubicBezTo>
                      <a:pt x="253" y="69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" name="Group 406">
              <a:extLst>
                <a:ext uri="{FF2B5EF4-FFF2-40B4-BE49-F238E27FC236}">
                  <a16:creationId xmlns:a16="http://schemas.microsoft.com/office/drawing/2014/main" id="{53EA9CB8-50DC-473C-99CE-8AFCCA8D6E4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08950" y="1360488"/>
              <a:ext cx="2019300" cy="2759075"/>
              <a:chOff x="5108" y="857"/>
              <a:chExt cx="1272" cy="1738"/>
            </a:xfrm>
          </p:grpSpPr>
          <p:sp>
            <p:nvSpPr>
              <p:cNvPr id="367" name="Freeform 206">
                <a:extLst>
                  <a:ext uri="{FF2B5EF4-FFF2-40B4-BE49-F238E27FC236}">
                    <a16:creationId xmlns:a16="http://schemas.microsoft.com/office/drawing/2014/main" id="{4798BC5C-9BB4-4BEF-B74B-D74DC9D7C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1" y="2376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1 h 69"/>
                  <a:gd name="T8" fmla="*/ 252 w 253"/>
                  <a:gd name="T9" fmla="*/ 68 h 69"/>
                  <a:gd name="T10" fmla="*/ 253 w 253"/>
                  <a:gd name="T11" fmla="*/ 69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3" y="68"/>
                      <a:pt x="253" y="69"/>
                    </a:cubicBezTo>
                    <a:cubicBezTo>
                      <a:pt x="253" y="69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207">
                <a:extLst>
                  <a:ext uri="{FF2B5EF4-FFF2-40B4-BE49-F238E27FC236}">
                    <a16:creationId xmlns:a16="http://schemas.microsoft.com/office/drawing/2014/main" id="{A0EB452C-429D-43A4-BF61-139972950A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8" y="2389"/>
                <a:ext cx="139" cy="37"/>
              </a:xfrm>
              <a:custGeom>
                <a:avLst/>
                <a:gdLst>
                  <a:gd name="T0" fmla="*/ 252 w 253"/>
                  <a:gd name="T1" fmla="*/ 68 h 68"/>
                  <a:gd name="T2" fmla="*/ 1 w 253"/>
                  <a:gd name="T3" fmla="*/ 1 h 68"/>
                  <a:gd name="T4" fmla="*/ 0 w 253"/>
                  <a:gd name="T5" fmla="*/ 0 h 68"/>
                  <a:gd name="T6" fmla="*/ 1 w 253"/>
                  <a:gd name="T7" fmla="*/ 0 h 68"/>
                  <a:gd name="T8" fmla="*/ 252 w 253"/>
                  <a:gd name="T9" fmla="*/ 67 h 68"/>
                  <a:gd name="T10" fmla="*/ 252 w 253"/>
                  <a:gd name="T11" fmla="*/ 68 h 68"/>
                  <a:gd name="T12" fmla="*/ 252 w 253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8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7"/>
                      <a:pt x="252" y="68"/>
                    </a:cubicBezTo>
                    <a:cubicBezTo>
                      <a:pt x="252" y="68"/>
                      <a:pt x="252" y="68"/>
                      <a:pt x="252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208">
                <a:extLst>
                  <a:ext uri="{FF2B5EF4-FFF2-40B4-BE49-F238E27FC236}">
                    <a16:creationId xmlns:a16="http://schemas.microsoft.com/office/drawing/2014/main" id="{2ABE8BC9-3174-430E-89B0-0F09902AA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5" y="2402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1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2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8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209">
                <a:extLst>
                  <a:ext uri="{FF2B5EF4-FFF2-40B4-BE49-F238E27FC236}">
                    <a16:creationId xmlns:a16="http://schemas.microsoft.com/office/drawing/2014/main" id="{8C8B4ACF-C1DB-4164-9EF5-BA6B276939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2" y="2414"/>
                <a:ext cx="138" cy="38"/>
              </a:xfrm>
              <a:custGeom>
                <a:avLst/>
                <a:gdLst>
                  <a:gd name="T0" fmla="*/ 251 w 252"/>
                  <a:gd name="T1" fmla="*/ 68 h 69"/>
                  <a:gd name="T2" fmla="*/ 0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9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210">
                <a:extLst>
                  <a:ext uri="{FF2B5EF4-FFF2-40B4-BE49-F238E27FC236}">
                    <a16:creationId xmlns:a16="http://schemas.microsoft.com/office/drawing/2014/main" id="{95729F69-4135-42E8-84F4-D115D9BD5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8" y="2427"/>
                <a:ext cx="138" cy="37"/>
              </a:xfrm>
              <a:custGeom>
                <a:avLst/>
                <a:gdLst>
                  <a:gd name="T0" fmla="*/ 251 w 252"/>
                  <a:gd name="T1" fmla="*/ 68 h 69"/>
                  <a:gd name="T2" fmla="*/ 0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1 w 252"/>
                  <a:gd name="T9" fmla="*/ 67 h 69"/>
                  <a:gd name="T10" fmla="*/ 252 w 252"/>
                  <a:gd name="T11" fmla="*/ 68 h 69"/>
                  <a:gd name="T12" fmla="*/ 251 w 252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8"/>
                      <a:pt x="251" y="69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211">
                <a:extLst>
                  <a:ext uri="{FF2B5EF4-FFF2-40B4-BE49-F238E27FC236}">
                    <a16:creationId xmlns:a16="http://schemas.microsoft.com/office/drawing/2014/main" id="{B35A6572-A9D5-42F2-B142-EB51E9581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" y="2439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8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212">
                <a:extLst>
                  <a:ext uri="{FF2B5EF4-FFF2-40B4-BE49-F238E27FC236}">
                    <a16:creationId xmlns:a16="http://schemas.microsoft.com/office/drawing/2014/main" id="{724AF34D-A7CA-4631-A3DE-D64054DA3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1" y="2452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3" y="68"/>
                    </a:cubicBezTo>
                    <a:cubicBezTo>
                      <a:pt x="252" y="68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213">
                <a:extLst>
                  <a:ext uri="{FF2B5EF4-FFF2-40B4-BE49-F238E27FC236}">
                    <a16:creationId xmlns:a16="http://schemas.microsoft.com/office/drawing/2014/main" id="{929E761E-EEA1-43E0-8A22-F8E3A7D36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8" y="2464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1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214">
                <a:extLst>
                  <a:ext uri="{FF2B5EF4-FFF2-40B4-BE49-F238E27FC236}">
                    <a16:creationId xmlns:a16="http://schemas.microsoft.com/office/drawing/2014/main" id="{961B78A1-2549-45D1-8A96-69A74B297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8" y="2339"/>
                <a:ext cx="47" cy="14"/>
              </a:xfrm>
              <a:custGeom>
                <a:avLst/>
                <a:gdLst>
                  <a:gd name="T0" fmla="*/ 83 w 85"/>
                  <a:gd name="T1" fmla="*/ 24 h 24"/>
                  <a:gd name="T2" fmla="*/ 0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2 h 24"/>
                  <a:gd name="T10" fmla="*/ 84 w 85"/>
                  <a:gd name="T11" fmla="*/ 23 h 24"/>
                  <a:gd name="T12" fmla="*/ 83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3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84" y="22"/>
                      <a:pt x="84" y="22"/>
                      <a:pt x="84" y="22"/>
                    </a:cubicBezTo>
                    <a:cubicBezTo>
                      <a:pt x="84" y="23"/>
                      <a:pt x="85" y="23"/>
                      <a:pt x="84" y="23"/>
                    </a:cubicBezTo>
                    <a:cubicBezTo>
                      <a:pt x="84" y="24"/>
                      <a:pt x="84" y="24"/>
                      <a:pt x="83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Freeform 215">
                <a:extLst>
                  <a:ext uri="{FF2B5EF4-FFF2-40B4-BE49-F238E27FC236}">
                    <a16:creationId xmlns:a16="http://schemas.microsoft.com/office/drawing/2014/main" id="{F71F5D83-F820-4831-971A-332CBD4782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" y="2352"/>
                <a:ext cx="46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1 w 85"/>
                  <a:gd name="T5" fmla="*/ 1 h 24"/>
                  <a:gd name="T6" fmla="*/ 1 w 85"/>
                  <a:gd name="T7" fmla="*/ 0 h 24"/>
                  <a:gd name="T8" fmla="*/ 85 w 85"/>
                  <a:gd name="T9" fmla="*/ 22 h 24"/>
                  <a:gd name="T10" fmla="*/ 85 w 85"/>
                  <a:gd name="T11" fmla="*/ 23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85" y="22"/>
                      <a:pt x="85" y="22"/>
                      <a:pt x="85" y="22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4"/>
                      <a:pt x="85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Freeform 216">
                <a:extLst>
                  <a:ext uri="{FF2B5EF4-FFF2-40B4-BE49-F238E27FC236}">
                    <a16:creationId xmlns:a16="http://schemas.microsoft.com/office/drawing/2014/main" id="{D85BCA8D-A4C0-45BE-8163-CD5B7F2CCD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" y="2365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5 w 85"/>
                  <a:gd name="T9" fmla="*/ 23 h 24"/>
                  <a:gd name="T10" fmla="*/ 85 w 85"/>
                  <a:gd name="T11" fmla="*/ 23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4"/>
                      <a:pt x="85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8" name="Freeform 217">
                <a:extLst>
                  <a:ext uri="{FF2B5EF4-FFF2-40B4-BE49-F238E27FC236}">
                    <a16:creationId xmlns:a16="http://schemas.microsoft.com/office/drawing/2014/main" id="{B6A3291E-0158-4ED9-9B71-A1C0A37DC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8" y="2377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5" y="23"/>
                      <a:pt x="85" y="23"/>
                      <a:pt x="85" y="24"/>
                    </a:cubicBezTo>
                    <a:cubicBezTo>
                      <a:pt x="85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Freeform 218">
                <a:extLst>
                  <a:ext uri="{FF2B5EF4-FFF2-40B4-BE49-F238E27FC236}">
                    <a16:creationId xmlns:a16="http://schemas.microsoft.com/office/drawing/2014/main" id="{1E7A9B52-08CC-4676-BC25-BED9AA389F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" y="2390"/>
                <a:ext cx="46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5" y="23"/>
                      <a:pt x="85" y="23"/>
                      <a:pt x="85" y="24"/>
                    </a:cubicBezTo>
                    <a:cubicBezTo>
                      <a:pt x="85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Freeform 219">
                <a:extLst>
                  <a:ext uri="{FF2B5EF4-FFF2-40B4-BE49-F238E27FC236}">
                    <a16:creationId xmlns:a16="http://schemas.microsoft.com/office/drawing/2014/main" id="{7A375989-39E0-48AF-98E8-BD16A064E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1" y="2402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0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4" y="23"/>
                      <a:pt x="85" y="23"/>
                      <a:pt x="85" y="24"/>
                    </a:cubicBezTo>
                    <a:cubicBezTo>
                      <a:pt x="84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Freeform 220">
                <a:extLst>
                  <a:ext uri="{FF2B5EF4-FFF2-40B4-BE49-F238E27FC236}">
                    <a16:creationId xmlns:a16="http://schemas.microsoft.com/office/drawing/2014/main" id="{4D436458-25E7-4C60-B0D1-74FC0A19F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15"/>
                <a:ext cx="46" cy="13"/>
              </a:xfrm>
              <a:custGeom>
                <a:avLst/>
                <a:gdLst>
                  <a:gd name="T0" fmla="*/ 83 w 84"/>
                  <a:gd name="T1" fmla="*/ 24 h 24"/>
                  <a:gd name="T2" fmla="*/ 0 w 84"/>
                  <a:gd name="T3" fmla="*/ 2 h 24"/>
                  <a:gd name="T4" fmla="*/ 0 w 84"/>
                  <a:gd name="T5" fmla="*/ 1 h 24"/>
                  <a:gd name="T6" fmla="*/ 1 w 84"/>
                  <a:gd name="T7" fmla="*/ 0 h 24"/>
                  <a:gd name="T8" fmla="*/ 84 w 84"/>
                  <a:gd name="T9" fmla="*/ 23 h 24"/>
                  <a:gd name="T10" fmla="*/ 84 w 84"/>
                  <a:gd name="T11" fmla="*/ 24 h 24"/>
                  <a:gd name="T12" fmla="*/ 83 w 84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24">
                    <a:moveTo>
                      <a:pt x="83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4" y="23"/>
                      <a:pt x="84" y="23"/>
                      <a:pt x="84" y="24"/>
                    </a:cubicBezTo>
                    <a:cubicBezTo>
                      <a:pt x="84" y="24"/>
                      <a:pt x="84" y="24"/>
                      <a:pt x="83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Freeform 221">
                <a:extLst>
                  <a:ext uri="{FF2B5EF4-FFF2-40B4-BE49-F238E27FC236}">
                    <a16:creationId xmlns:a16="http://schemas.microsoft.com/office/drawing/2014/main" id="{2E21A502-C4FF-4D97-8827-90BAF8BCC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3" y="2403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0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2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8"/>
                      <a:pt x="251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Freeform 222">
                <a:extLst>
                  <a:ext uri="{FF2B5EF4-FFF2-40B4-BE49-F238E27FC236}">
                    <a16:creationId xmlns:a16="http://schemas.microsoft.com/office/drawing/2014/main" id="{A4140B52-F92F-4B4A-8EFE-AF18F4E24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0" y="2416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0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1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1" y="68"/>
                      <a:pt x="251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Freeform 223">
                <a:extLst>
                  <a:ext uri="{FF2B5EF4-FFF2-40B4-BE49-F238E27FC236}">
                    <a16:creationId xmlns:a16="http://schemas.microsoft.com/office/drawing/2014/main" id="{3138074F-679D-4718-A5C3-37FFE83E42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6" y="2428"/>
                <a:ext cx="138" cy="38"/>
              </a:xfrm>
              <a:custGeom>
                <a:avLst/>
                <a:gdLst>
                  <a:gd name="T0" fmla="*/ 252 w 253"/>
                  <a:gd name="T1" fmla="*/ 68 h 69"/>
                  <a:gd name="T2" fmla="*/ 1 w 253"/>
                  <a:gd name="T3" fmla="*/ 1 h 69"/>
                  <a:gd name="T4" fmla="*/ 1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7"/>
                      <a:pt x="253" y="68"/>
                    </a:cubicBezTo>
                    <a:cubicBezTo>
                      <a:pt x="253" y="68"/>
                      <a:pt x="252" y="69"/>
                      <a:pt x="252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Freeform 224">
                <a:extLst>
                  <a:ext uri="{FF2B5EF4-FFF2-40B4-BE49-F238E27FC236}">
                    <a16:creationId xmlns:a16="http://schemas.microsoft.com/office/drawing/2014/main" id="{52A93AF8-AC8B-4347-97FD-C2D1A5EAB7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2" y="2441"/>
                <a:ext cx="139" cy="38"/>
              </a:xfrm>
              <a:custGeom>
                <a:avLst/>
                <a:gdLst>
                  <a:gd name="T0" fmla="*/ 252 w 253"/>
                  <a:gd name="T1" fmla="*/ 68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8"/>
                      <a:pt x="252" y="69"/>
                      <a:pt x="252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Freeform 225">
                <a:extLst>
                  <a:ext uri="{FF2B5EF4-FFF2-40B4-BE49-F238E27FC236}">
                    <a16:creationId xmlns:a16="http://schemas.microsoft.com/office/drawing/2014/main" id="{4D9DEC18-B19B-4FAF-B9F3-3383055F13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9" y="2454"/>
                <a:ext cx="139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2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2" y="68"/>
                    </a:cubicBezTo>
                    <a:cubicBezTo>
                      <a:pt x="252" y="68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Freeform 226">
                <a:extLst>
                  <a:ext uri="{FF2B5EF4-FFF2-40B4-BE49-F238E27FC236}">
                    <a16:creationId xmlns:a16="http://schemas.microsoft.com/office/drawing/2014/main" id="{971BE79F-923D-4A4D-A416-053168D78A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6" y="2466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8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Freeform 227">
                <a:extLst>
                  <a:ext uri="{FF2B5EF4-FFF2-40B4-BE49-F238E27FC236}">
                    <a16:creationId xmlns:a16="http://schemas.microsoft.com/office/drawing/2014/main" id="{494E53A7-3C3F-4CDC-BD0B-DA2147628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479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1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Freeform 228">
                <a:extLst>
                  <a:ext uri="{FF2B5EF4-FFF2-40B4-BE49-F238E27FC236}">
                    <a16:creationId xmlns:a16="http://schemas.microsoft.com/office/drawing/2014/main" id="{78080B31-D1DB-46E4-883D-13E1FA5F22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9" y="2491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1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1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Freeform 229">
                <a:extLst>
                  <a:ext uri="{FF2B5EF4-FFF2-40B4-BE49-F238E27FC236}">
                    <a16:creationId xmlns:a16="http://schemas.microsoft.com/office/drawing/2014/main" id="{C6491041-D199-46E5-82B5-55AF5BABF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2504"/>
                <a:ext cx="138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Freeform 230">
                <a:extLst>
                  <a:ext uri="{FF2B5EF4-FFF2-40B4-BE49-F238E27FC236}">
                    <a16:creationId xmlns:a16="http://schemas.microsoft.com/office/drawing/2014/main" id="{5ADE6041-EDAB-41C0-B9E2-699796B8C0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516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3" y="68"/>
                    </a:cubicBezTo>
                    <a:cubicBezTo>
                      <a:pt x="252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Freeform 231">
                <a:extLst>
                  <a:ext uri="{FF2B5EF4-FFF2-40B4-BE49-F238E27FC236}">
                    <a16:creationId xmlns:a16="http://schemas.microsoft.com/office/drawing/2014/main" id="{89D26C9E-77DB-439C-A41A-D935B7734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9" y="2314"/>
                <a:ext cx="22" cy="79"/>
              </a:xfrm>
              <a:custGeom>
                <a:avLst/>
                <a:gdLst>
                  <a:gd name="T0" fmla="*/ 1 w 41"/>
                  <a:gd name="T1" fmla="*/ 146 h 146"/>
                  <a:gd name="T2" fmla="*/ 1 w 41"/>
                  <a:gd name="T3" fmla="*/ 145 h 146"/>
                  <a:gd name="T4" fmla="*/ 39 w 41"/>
                  <a:gd name="T5" fmla="*/ 0 h 146"/>
                  <a:gd name="T6" fmla="*/ 40 w 41"/>
                  <a:gd name="T7" fmla="*/ 0 h 146"/>
                  <a:gd name="T8" fmla="*/ 41 w 41"/>
                  <a:gd name="T9" fmla="*/ 1 h 146"/>
                  <a:gd name="T10" fmla="*/ 2 w 41"/>
                  <a:gd name="T11" fmla="*/ 146 h 146"/>
                  <a:gd name="T12" fmla="*/ 1 w 41"/>
                  <a:gd name="T13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146">
                    <a:moveTo>
                      <a:pt x="1" y="146"/>
                    </a:moveTo>
                    <a:cubicBezTo>
                      <a:pt x="1" y="146"/>
                      <a:pt x="0" y="146"/>
                      <a:pt x="1" y="14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40" y="0"/>
                      <a:pt x="40" y="0"/>
                    </a:cubicBezTo>
                    <a:cubicBezTo>
                      <a:pt x="41" y="0"/>
                      <a:pt x="41" y="0"/>
                      <a:pt x="41" y="1"/>
                    </a:cubicBezTo>
                    <a:cubicBezTo>
                      <a:pt x="2" y="146"/>
                      <a:pt x="2" y="146"/>
                      <a:pt x="2" y="146"/>
                    </a:cubicBezTo>
                    <a:cubicBezTo>
                      <a:pt x="2" y="146"/>
                      <a:pt x="1" y="146"/>
                      <a:pt x="1" y="146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Freeform 232">
                <a:extLst>
                  <a:ext uri="{FF2B5EF4-FFF2-40B4-BE49-F238E27FC236}">
                    <a16:creationId xmlns:a16="http://schemas.microsoft.com/office/drawing/2014/main" id="{14C0270B-D41F-4ACE-8E23-9E39D785C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6" y="2387"/>
                <a:ext cx="81" cy="23"/>
              </a:xfrm>
              <a:custGeom>
                <a:avLst/>
                <a:gdLst>
                  <a:gd name="T0" fmla="*/ 146 w 148"/>
                  <a:gd name="T1" fmla="*/ 41 h 41"/>
                  <a:gd name="T2" fmla="*/ 1 w 148"/>
                  <a:gd name="T3" fmla="*/ 2 h 41"/>
                  <a:gd name="T4" fmla="*/ 0 w 148"/>
                  <a:gd name="T5" fmla="*/ 1 h 41"/>
                  <a:gd name="T6" fmla="*/ 1 w 148"/>
                  <a:gd name="T7" fmla="*/ 0 h 41"/>
                  <a:gd name="T8" fmla="*/ 147 w 148"/>
                  <a:gd name="T9" fmla="*/ 39 h 41"/>
                  <a:gd name="T10" fmla="*/ 147 w 148"/>
                  <a:gd name="T11" fmla="*/ 40 h 41"/>
                  <a:gd name="T12" fmla="*/ 146 w 148"/>
                  <a:gd name="T13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" h="41">
                    <a:moveTo>
                      <a:pt x="146" y="41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47" y="39"/>
                      <a:pt x="147" y="39"/>
                      <a:pt x="147" y="39"/>
                    </a:cubicBezTo>
                    <a:cubicBezTo>
                      <a:pt x="147" y="39"/>
                      <a:pt x="148" y="40"/>
                      <a:pt x="147" y="40"/>
                    </a:cubicBezTo>
                    <a:cubicBezTo>
                      <a:pt x="147" y="41"/>
                      <a:pt x="147" y="41"/>
                      <a:pt x="146" y="41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Freeform 233">
                <a:extLst>
                  <a:ext uri="{FF2B5EF4-FFF2-40B4-BE49-F238E27FC236}">
                    <a16:creationId xmlns:a16="http://schemas.microsoft.com/office/drawing/2014/main" id="{B3A106E9-D298-477B-9D94-C48936C46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0" y="2334"/>
                <a:ext cx="87" cy="52"/>
              </a:xfrm>
              <a:custGeom>
                <a:avLst/>
                <a:gdLst>
                  <a:gd name="T0" fmla="*/ 0 w 87"/>
                  <a:gd name="T1" fmla="*/ 47 h 52"/>
                  <a:gd name="T2" fmla="*/ 0 w 87"/>
                  <a:gd name="T3" fmla="*/ 47 h 52"/>
                  <a:gd name="T4" fmla="*/ 0 w 87"/>
                  <a:gd name="T5" fmla="*/ 47 h 52"/>
                  <a:gd name="T6" fmla="*/ 21 w 87"/>
                  <a:gd name="T7" fmla="*/ 27 h 52"/>
                  <a:gd name="T8" fmla="*/ 21 w 87"/>
                  <a:gd name="T9" fmla="*/ 27 h 52"/>
                  <a:gd name="T10" fmla="*/ 22 w 87"/>
                  <a:gd name="T11" fmla="*/ 27 h 52"/>
                  <a:gd name="T12" fmla="*/ 28 w 87"/>
                  <a:gd name="T13" fmla="*/ 35 h 52"/>
                  <a:gd name="T14" fmla="*/ 43 w 87"/>
                  <a:gd name="T15" fmla="*/ 15 h 52"/>
                  <a:gd name="T16" fmla="*/ 43 w 87"/>
                  <a:gd name="T17" fmla="*/ 15 h 52"/>
                  <a:gd name="T18" fmla="*/ 43 w 87"/>
                  <a:gd name="T19" fmla="*/ 15 h 52"/>
                  <a:gd name="T20" fmla="*/ 43 w 87"/>
                  <a:gd name="T21" fmla="*/ 15 h 52"/>
                  <a:gd name="T22" fmla="*/ 46 w 87"/>
                  <a:gd name="T23" fmla="*/ 50 h 52"/>
                  <a:gd name="T24" fmla="*/ 56 w 87"/>
                  <a:gd name="T25" fmla="*/ 31 h 52"/>
                  <a:gd name="T26" fmla="*/ 57 w 87"/>
                  <a:gd name="T27" fmla="*/ 30 h 52"/>
                  <a:gd name="T28" fmla="*/ 57 w 87"/>
                  <a:gd name="T29" fmla="*/ 31 h 52"/>
                  <a:gd name="T30" fmla="*/ 60 w 87"/>
                  <a:gd name="T31" fmla="*/ 39 h 52"/>
                  <a:gd name="T32" fmla="*/ 70 w 87"/>
                  <a:gd name="T33" fmla="*/ 17 h 52"/>
                  <a:gd name="T34" fmla="*/ 70 w 87"/>
                  <a:gd name="T35" fmla="*/ 17 h 52"/>
                  <a:gd name="T36" fmla="*/ 70 w 87"/>
                  <a:gd name="T37" fmla="*/ 17 h 52"/>
                  <a:gd name="T38" fmla="*/ 73 w 87"/>
                  <a:gd name="T39" fmla="*/ 22 h 52"/>
                  <a:gd name="T40" fmla="*/ 86 w 87"/>
                  <a:gd name="T41" fmla="*/ 0 h 52"/>
                  <a:gd name="T42" fmla="*/ 87 w 87"/>
                  <a:gd name="T43" fmla="*/ 0 h 52"/>
                  <a:gd name="T44" fmla="*/ 87 w 87"/>
                  <a:gd name="T45" fmla="*/ 1 h 52"/>
                  <a:gd name="T46" fmla="*/ 73 w 87"/>
                  <a:gd name="T47" fmla="*/ 23 h 52"/>
                  <a:gd name="T48" fmla="*/ 73 w 87"/>
                  <a:gd name="T49" fmla="*/ 23 h 52"/>
                  <a:gd name="T50" fmla="*/ 72 w 87"/>
                  <a:gd name="T51" fmla="*/ 23 h 52"/>
                  <a:gd name="T52" fmla="*/ 70 w 87"/>
                  <a:gd name="T53" fmla="*/ 19 h 52"/>
                  <a:gd name="T54" fmla="*/ 60 w 87"/>
                  <a:gd name="T55" fmla="*/ 40 h 52"/>
                  <a:gd name="T56" fmla="*/ 60 w 87"/>
                  <a:gd name="T57" fmla="*/ 40 h 52"/>
                  <a:gd name="T58" fmla="*/ 60 w 87"/>
                  <a:gd name="T59" fmla="*/ 40 h 52"/>
                  <a:gd name="T60" fmla="*/ 57 w 87"/>
                  <a:gd name="T61" fmla="*/ 32 h 52"/>
                  <a:gd name="T62" fmla="*/ 46 w 87"/>
                  <a:gd name="T63" fmla="*/ 52 h 52"/>
                  <a:gd name="T64" fmla="*/ 45 w 87"/>
                  <a:gd name="T65" fmla="*/ 52 h 52"/>
                  <a:gd name="T66" fmla="*/ 45 w 87"/>
                  <a:gd name="T67" fmla="*/ 52 h 52"/>
                  <a:gd name="T68" fmla="*/ 43 w 87"/>
                  <a:gd name="T69" fmla="*/ 16 h 52"/>
                  <a:gd name="T70" fmla="*/ 28 w 87"/>
                  <a:gd name="T71" fmla="*/ 36 h 52"/>
                  <a:gd name="T72" fmla="*/ 28 w 87"/>
                  <a:gd name="T73" fmla="*/ 36 h 52"/>
                  <a:gd name="T74" fmla="*/ 28 w 87"/>
                  <a:gd name="T75" fmla="*/ 36 h 52"/>
                  <a:gd name="T76" fmla="*/ 21 w 87"/>
                  <a:gd name="T77" fmla="*/ 28 h 52"/>
                  <a:gd name="T78" fmla="*/ 0 w 87"/>
                  <a:gd name="T79" fmla="*/ 47 h 52"/>
                  <a:gd name="T80" fmla="*/ 0 w 87"/>
                  <a:gd name="T81" fmla="*/ 47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7" h="52">
                    <a:moveTo>
                      <a:pt x="0" y="47"/>
                    </a:moveTo>
                    <a:lnTo>
                      <a:pt x="0" y="47"/>
                    </a:lnTo>
                    <a:lnTo>
                      <a:pt x="0" y="47"/>
                    </a:lnTo>
                    <a:lnTo>
                      <a:pt x="21" y="27"/>
                    </a:lnTo>
                    <a:lnTo>
                      <a:pt x="21" y="27"/>
                    </a:lnTo>
                    <a:lnTo>
                      <a:pt x="22" y="27"/>
                    </a:lnTo>
                    <a:lnTo>
                      <a:pt x="28" y="3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6" y="50"/>
                    </a:lnTo>
                    <a:lnTo>
                      <a:pt x="56" y="31"/>
                    </a:lnTo>
                    <a:lnTo>
                      <a:pt x="57" y="30"/>
                    </a:lnTo>
                    <a:lnTo>
                      <a:pt x="57" y="31"/>
                    </a:lnTo>
                    <a:lnTo>
                      <a:pt x="60" y="39"/>
                    </a:lnTo>
                    <a:lnTo>
                      <a:pt x="70" y="17"/>
                    </a:lnTo>
                    <a:lnTo>
                      <a:pt x="70" y="17"/>
                    </a:lnTo>
                    <a:lnTo>
                      <a:pt x="70" y="17"/>
                    </a:lnTo>
                    <a:lnTo>
                      <a:pt x="73" y="22"/>
                    </a:lnTo>
                    <a:lnTo>
                      <a:pt x="86" y="0"/>
                    </a:lnTo>
                    <a:lnTo>
                      <a:pt x="87" y="0"/>
                    </a:lnTo>
                    <a:lnTo>
                      <a:pt x="87" y="1"/>
                    </a:lnTo>
                    <a:lnTo>
                      <a:pt x="73" y="23"/>
                    </a:lnTo>
                    <a:lnTo>
                      <a:pt x="73" y="23"/>
                    </a:lnTo>
                    <a:lnTo>
                      <a:pt x="72" y="23"/>
                    </a:lnTo>
                    <a:lnTo>
                      <a:pt x="70" y="19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57" y="32"/>
                    </a:lnTo>
                    <a:lnTo>
                      <a:pt x="46" y="52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43" y="1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1" y="28"/>
                    </a:lnTo>
                    <a:lnTo>
                      <a:pt x="0" y="47"/>
                    </a:lnTo>
                    <a:lnTo>
                      <a:pt x="0" y="47"/>
                    </a:ln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Freeform 234">
                <a:extLst>
                  <a:ext uri="{FF2B5EF4-FFF2-40B4-BE49-F238E27FC236}">
                    <a16:creationId xmlns:a16="http://schemas.microsoft.com/office/drawing/2014/main" id="{4D1DCA91-FFF0-4EFE-986A-F086172B8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2" y="2334"/>
                <a:ext cx="5" cy="7"/>
              </a:xfrm>
              <a:custGeom>
                <a:avLst/>
                <a:gdLst>
                  <a:gd name="T0" fmla="*/ 6 w 9"/>
                  <a:gd name="T1" fmla="*/ 12 h 12"/>
                  <a:gd name="T2" fmla="*/ 5 w 9"/>
                  <a:gd name="T3" fmla="*/ 11 h 12"/>
                  <a:gd name="T4" fmla="*/ 7 w 9"/>
                  <a:gd name="T5" fmla="*/ 3 h 12"/>
                  <a:gd name="T6" fmla="*/ 1 w 9"/>
                  <a:gd name="T7" fmla="*/ 8 h 12"/>
                  <a:gd name="T8" fmla="*/ 0 w 9"/>
                  <a:gd name="T9" fmla="*/ 8 h 12"/>
                  <a:gd name="T10" fmla="*/ 0 w 9"/>
                  <a:gd name="T11" fmla="*/ 7 h 12"/>
                  <a:gd name="T12" fmla="*/ 8 w 9"/>
                  <a:gd name="T13" fmla="*/ 0 h 12"/>
                  <a:gd name="T14" fmla="*/ 9 w 9"/>
                  <a:gd name="T15" fmla="*/ 0 h 12"/>
                  <a:gd name="T16" fmla="*/ 9 w 9"/>
                  <a:gd name="T17" fmla="*/ 1 h 12"/>
                  <a:gd name="T18" fmla="*/ 7 w 9"/>
                  <a:gd name="T19" fmla="*/ 11 h 12"/>
                  <a:gd name="T20" fmla="*/ 6 w 9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12">
                    <a:moveTo>
                      <a:pt x="6" y="12"/>
                    </a:moveTo>
                    <a:cubicBezTo>
                      <a:pt x="5" y="11"/>
                      <a:pt x="5" y="11"/>
                      <a:pt x="5" y="1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11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Freeform 235">
                <a:extLst>
                  <a:ext uri="{FF2B5EF4-FFF2-40B4-BE49-F238E27FC236}">
                    <a16:creationId xmlns:a16="http://schemas.microsoft.com/office/drawing/2014/main" id="{6732AD72-9403-4264-A93A-E3AE94C5E0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8" y="2307"/>
                <a:ext cx="85" cy="288"/>
              </a:xfrm>
              <a:custGeom>
                <a:avLst/>
                <a:gdLst>
                  <a:gd name="T0" fmla="*/ 8 w 85"/>
                  <a:gd name="T1" fmla="*/ 288 h 288"/>
                  <a:gd name="T2" fmla="*/ 0 w 85"/>
                  <a:gd name="T3" fmla="*/ 286 h 288"/>
                  <a:gd name="T4" fmla="*/ 77 w 85"/>
                  <a:gd name="T5" fmla="*/ 0 h 288"/>
                  <a:gd name="T6" fmla="*/ 85 w 85"/>
                  <a:gd name="T7" fmla="*/ 2 h 288"/>
                  <a:gd name="T8" fmla="*/ 8 w 85"/>
                  <a:gd name="T9" fmla="*/ 288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288">
                    <a:moveTo>
                      <a:pt x="8" y="288"/>
                    </a:moveTo>
                    <a:lnTo>
                      <a:pt x="0" y="286"/>
                    </a:lnTo>
                    <a:lnTo>
                      <a:pt x="77" y="0"/>
                    </a:lnTo>
                    <a:lnTo>
                      <a:pt x="85" y="2"/>
                    </a:lnTo>
                    <a:lnTo>
                      <a:pt x="8" y="288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Freeform 236">
                <a:extLst>
                  <a:ext uri="{FF2B5EF4-FFF2-40B4-BE49-F238E27FC236}">
                    <a16:creationId xmlns:a16="http://schemas.microsoft.com/office/drawing/2014/main" id="{BA9D7340-C884-488F-B991-4DAEE78E1D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4" y="2159"/>
                <a:ext cx="13" cy="30"/>
              </a:xfrm>
              <a:custGeom>
                <a:avLst/>
                <a:gdLst>
                  <a:gd name="T0" fmla="*/ 1 w 24"/>
                  <a:gd name="T1" fmla="*/ 40 h 55"/>
                  <a:gd name="T2" fmla="*/ 8 w 24"/>
                  <a:gd name="T3" fmla="*/ 11 h 55"/>
                  <a:gd name="T4" fmla="*/ 23 w 24"/>
                  <a:gd name="T5" fmla="*/ 2 h 55"/>
                  <a:gd name="T6" fmla="*/ 24 w 24"/>
                  <a:gd name="T7" fmla="*/ 2 h 55"/>
                  <a:gd name="T8" fmla="*/ 12 w 24"/>
                  <a:gd name="T9" fmla="*/ 55 h 55"/>
                  <a:gd name="T10" fmla="*/ 10 w 24"/>
                  <a:gd name="T11" fmla="*/ 54 h 55"/>
                  <a:gd name="T12" fmla="*/ 1 w 24"/>
                  <a:gd name="T13" fmla="*/ 4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55">
                    <a:moveTo>
                      <a:pt x="1" y="40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10" y="4"/>
                      <a:pt x="16" y="0"/>
                      <a:pt x="23" y="2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0" y="54"/>
                      <a:pt x="10" y="54"/>
                      <a:pt x="10" y="54"/>
                    </a:cubicBezTo>
                    <a:cubicBezTo>
                      <a:pt x="4" y="53"/>
                      <a:pt x="0" y="46"/>
                      <a:pt x="1" y="4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Freeform 237">
                <a:extLst>
                  <a:ext uri="{FF2B5EF4-FFF2-40B4-BE49-F238E27FC236}">
                    <a16:creationId xmlns:a16="http://schemas.microsoft.com/office/drawing/2014/main" id="{99F5156E-9E47-4592-807E-FD36680F7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7" y="2154"/>
                <a:ext cx="132" cy="66"/>
              </a:xfrm>
              <a:custGeom>
                <a:avLst/>
                <a:gdLst>
                  <a:gd name="T0" fmla="*/ 196 w 240"/>
                  <a:gd name="T1" fmla="*/ 120 h 121"/>
                  <a:gd name="T2" fmla="*/ 17 w 240"/>
                  <a:gd name="T3" fmla="*/ 79 h 121"/>
                  <a:gd name="T4" fmla="*/ 2 w 240"/>
                  <a:gd name="T5" fmla="*/ 61 h 121"/>
                  <a:gd name="T6" fmla="*/ 13 w 240"/>
                  <a:gd name="T7" fmla="*/ 12 h 121"/>
                  <a:gd name="T8" fmla="*/ 35 w 240"/>
                  <a:gd name="T9" fmla="*/ 2 h 121"/>
                  <a:gd name="T10" fmla="*/ 214 w 240"/>
                  <a:gd name="T11" fmla="*/ 43 h 121"/>
                  <a:gd name="T12" fmla="*/ 216 w 240"/>
                  <a:gd name="T13" fmla="*/ 44 h 121"/>
                  <a:gd name="T14" fmla="*/ 229 w 240"/>
                  <a:gd name="T15" fmla="*/ 74 h 121"/>
                  <a:gd name="T16" fmla="*/ 229 w 240"/>
                  <a:gd name="T17" fmla="*/ 73 h 121"/>
                  <a:gd name="T18" fmla="*/ 240 w 240"/>
                  <a:gd name="T19" fmla="*/ 76 h 121"/>
                  <a:gd name="T20" fmla="*/ 234 w 240"/>
                  <a:gd name="T21" fmla="*/ 102 h 121"/>
                  <a:gd name="T22" fmla="*/ 223 w 240"/>
                  <a:gd name="T23" fmla="*/ 100 h 121"/>
                  <a:gd name="T24" fmla="*/ 223 w 240"/>
                  <a:gd name="T25" fmla="*/ 100 h 121"/>
                  <a:gd name="T26" fmla="*/ 198 w 240"/>
                  <a:gd name="T27" fmla="*/ 121 h 121"/>
                  <a:gd name="T28" fmla="*/ 196 w 240"/>
                  <a:gd name="T29" fmla="*/ 12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0" h="121">
                    <a:moveTo>
                      <a:pt x="196" y="120"/>
                    </a:moveTo>
                    <a:cubicBezTo>
                      <a:pt x="17" y="79"/>
                      <a:pt x="17" y="79"/>
                      <a:pt x="17" y="79"/>
                    </a:cubicBezTo>
                    <a:cubicBezTo>
                      <a:pt x="7" y="77"/>
                      <a:pt x="0" y="69"/>
                      <a:pt x="2" y="61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5" y="4"/>
                      <a:pt x="25" y="0"/>
                      <a:pt x="35" y="2"/>
                    </a:cubicBezTo>
                    <a:cubicBezTo>
                      <a:pt x="214" y="43"/>
                      <a:pt x="214" y="43"/>
                      <a:pt x="214" y="43"/>
                    </a:cubicBezTo>
                    <a:cubicBezTo>
                      <a:pt x="215" y="43"/>
                      <a:pt x="215" y="43"/>
                      <a:pt x="216" y="44"/>
                    </a:cubicBezTo>
                    <a:cubicBezTo>
                      <a:pt x="225" y="49"/>
                      <a:pt x="229" y="74"/>
                      <a:pt x="229" y="74"/>
                    </a:cubicBezTo>
                    <a:cubicBezTo>
                      <a:pt x="229" y="73"/>
                      <a:pt x="229" y="73"/>
                      <a:pt x="229" y="73"/>
                    </a:cubicBezTo>
                    <a:cubicBezTo>
                      <a:pt x="240" y="76"/>
                      <a:pt x="240" y="76"/>
                      <a:pt x="240" y="76"/>
                    </a:cubicBezTo>
                    <a:cubicBezTo>
                      <a:pt x="234" y="102"/>
                      <a:pt x="234" y="102"/>
                      <a:pt x="234" y="102"/>
                    </a:cubicBezTo>
                    <a:cubicBezTo>
                      <a:pt x="223" y="100"/>
                      <a:pt x="223" y="100"/>
                      <a:pt x="223" y="100"/>
                    </a:cubicBezTo>
                    <a:cubicBezTo>
                      <a:pt x="223" y="100"/>
                      <a:pt x="223" y="100"/>
                      <a:pt x="223" y="100"/>
                    </a:cubicBezTo>
                    <a:cubicBezTo>
                      <a:pt x="223" y="100"/>
                      <a:pt x="208" y="120"/>
                      <a:pt x="198" y="121"/>
                    </a:cubicBezTo>
                    <a:cubicBezTo>
                      <a:pt x="197" y="121"/>
                      <a:pt x="197" y="121"/>
                      <a:pt x="196" y="12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Freeform 238">
                <a:extLst>
                  <a:ext uri="{FF2B5EF4-FFF2-40B4-BE49-F238E27FC236}">
                    <a16:creationId xmlns:a16="http://schemas.microsoft.com/office/drawing/2014/main" id="{D7EAC1EA-79E6-4716-AF50-A81473C58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6" y="2178"/>
                <a:ext cx="23" cy="42"/>
              </a:xfrm>
              <a:custGeom>
                <a:avLst/>
                <a:gdLst>
                  <a:gd name="T0" fmla="*/ 0 w 42"/>
                  <a:gd name="T1" fmla="*/ 77 h 77"/>
                  <a:gd name="T2" fmla="*/ 18 w 42"/>
                  <a:gd name="T3" fmla="*/ 0 h 77"/>
                  <a:gd name="T4" fmla="*/ 31 w 42"/>
                  <a:gd name="T5" fmla="*/ 30 h 77"/>
                  <a:gd name="T6" fmla="*/ 31 w 42"/>
                  <a:gd name="T7" fmla="*/ 29 h 77"/>
                  <a:gd name="T8" fmla="*/ 42 w 42"/>
                  <a:gd name="T9" fmla="*/ 32 h 77"/>
                  <a:gd name="T10" fmla="*/ 36 w 42"/>
                  <a:gd name="T11" fmla="*/ 58 h 77"/>
                  <a:gd name="T12" fmla="*/ 25 w 42"/>
                  <a:gd name="T13" fmla="*/ 56 h 77"/>
                  <a:gd name="T14" fmla="*/ 25 w 42"/>
                  <a:gd name="T15" fmla="*/ 56 h 77"/>
                  <a:gd name="T16" fmla="*/ 0 w 42"/>
                  <a:gd name="T17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77">
                    <a:moveTo>
                      <a:pt x="0" y="77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27" y="5"/>
                      <a:pt x="31" y="30"/>
                      <a:pt x="31" y="30"/>
                    </a:cubicBezTo>
                    <a:cubicBezTo>
                      <a:pt x="31" y="29"/>
                      <a:pt x="31" y="29"/>
                      <a:pt x="31" y="29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25" y="56"/>
                      <a:pt x="25" y="56"/>
                      <a:pt x="25" y="56"/>
                    </a:cubicBezTo>
                    <a:cubicBezTo>
                      <a:pt x="25" y="56"/>
                      <a:pt x="25" y="56"/>
                      <a:pt x="25" y="56"/>
                    </a:cubicBezTo>
                    <a:cubicBezTo>
                      <a:pt x="25" y="56"/>
                      <a:pt x="10" y="76"/>
                      <a:pt x="0" y="77"/>
                    </a:cubicBezTo>
                  </a:path>
                </a:pathLst>
              </a:custGeom>
              <a:solidFill>
                <a:srgbClr val="C9B6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0" name="Freeform 239">
                <a:extLst>
                  <a:ext uri="{FF2B5EF4-FFF2-40B4-BE49-F238E27FC236}">
                    <a16:creationId xmlns:a16="http://schemas.microsoft.com/office/drawing/2014/main" id="{5BD6F254-7E97-4564-AEA1-6414D5897D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5" y="2197"/>
                <a:ext cx="14" cy="12"/>
              </a:xfrm>
              <a:custGeom>
                <a:avLst/>
                <a:gdLst>
                  <a:gd name="T0" fmla="*/ 0 w 24"/>
                  <a:gd name="T1" fmla="*/ 20 h 22"/>
                  <a:gd name="T2" fmla="*/ 5 w 24"/>
                  <a:gd name="T3" fmla="*/ 0 h 22"/>
                  <a:gd name="T4" fmla="*/ 23 w 24"/>
                  <a:gd name="T5" fmla="*/ 7 h 22"/>
                  <a:gd name="T6" fmla="*/ 24 w 24"/>
                  <a:gd name="T7" fmla="*/ 7 h 22"/>
                  <a:gd name="T8" fmla="*/ 24 w 24"/>
                  <a:gd name="T9" fmla="*/ 8 h 22"/>
                  <a:gd name="T10" fmla="*/ 21 w 24"/>
                  <a:gd name="T11" fmla="*/ 21 h 22"/>
                  <a:gd name="T12" fmla="*/ 20 w 24"/>
                  <a:gd name="T13" fmla="*/ 22 h 22"/>
                  <a:gd name="T14" fmla="*/ 19 w 24"/>
                  <a:gd name="T15" fmla="*/ 22 h 22"/>
                  <a:gd name="T16" fmla="*/ 0 w 24"/>
                  <a:gd name="T17" fmla="*/ 2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2">
                    <a:moveTo>
                      <a:pt x="0" y="2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7"/>
                      <a:pt x="24" y="8"/>
                      <a:pt x="24" y="8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1" y="21"/>
                      <a:pt x="21" y="22"/>
                      <a:pt x="20" y="22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0" y="20"/>
                      <a:pt x="0" y="20"/>
                      <a:pt x="0" y="2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1" name="Freeform 240">
                <a:extLst>
                  <a:ext uri="{FF2B5EF4-FFF2-40B4-BE49-F238E27FC236}">
                    <a16:creationId xmlns:a16="http://schemas.microsoft.com/office/drawing/2014/main" id="{DED403AA-BD71-4D1A-9A26-3218B38871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6" y="2201"/>
                <a:ext cx="3" cy="8"/>
              </a:xfrm>
              <a:custGeom>
                <a:avLst/>
                <a:gdLst>
                  <a:gd name="T0" fmla="*/ 0 w 5"/>
                  <a:gd name="T1" fmla="*/ 15 h 15"/>
                  <a:gd name="T2" fmla="*/ 4 w 5"/>
                  <a:gd name="T3" fmla="*/ 0 h 15"/>
                  <a:gd name="T4" fmla="*/ 5 w 5"/>
                  <a:gd name="T5" fmla="*/ 0 h 15"/>
                  <a:gd name="T6" fmla="*/ 5 w 5"/>
                  <a:gd name="T7" fmla="*/ 1 h 15"/>
                  <a:gd name="T8" fmla="*/ 2 w 5"/>
                  <a:gd name="T9" fmla="*/ 14 h 15"/>
                  <a:gd name="T10" fmla="*/ 1 w 5"/>
                  <a:gd name="T11" fmla="*/ 15 h 15"/>
                  <a:gd name="T12" fmla="*/ 0 w 5"/>
                  <a:gd name="T13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15">
                    <a:moveTo>
                      <a:pt x="0" y="15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2" y="14"/>
                      <a:pt x="2" y="15"/>
                      <a:pt x="1" y="15"/>
                    </a:cubicBez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30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2" name="Freeform 241">
                <a:extLst>
                  <a:ext uri="{FF2B5EF4-FFF2-40B4-BE49-F238E27FC236}">
                    <a16:creationId xmlns:a16="http://schemas.microsoft.com/office/drawing/2014/main" id="{6178053C-5132-4CEA-BFC7-65AB89BED1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54" y="2180"/>
                <a:ext cx="112" cy="40"/>
              </a:xfrm>
              <a:custGeom>
                <a:avLst/>
                <a:gdLst>
                  <a:gd name="T0" fmla="*/ 204 w 204"/>
                  <a:gd name="T1" fmla="*/ 74 h 74"/>
                  <a:gd name="T2" fmla="*/ 204 w 204"/>
                  <a:gd name="T3" fmla="*/ 74 h 74"/>
                  <a:gd name="T4" fmla="*/ 204 w 204"/>
                  <a:gd name="T5" fmla="*/ 74 h 74"/>
                  <a:gd name="T6" fmla="*/ 204 w 204"/>
                  <a:gd name="T7" fmla="*/ 74 h 74"/>
                  <a:gd name="T8" fmla="*/ 204 w 204"/>
                  <a:gd name="T9" fmla="*/ 74 h 74"/>
                  <a:gd name="T10" fmla="*/ 204 w 204"/>
                  <a:gd name="T11" fmla="*/ 74 h 74"/>
                  <a:gd name="T12" fmla="*/ 204 w 204"/>
                  <a:gd name="T13" fmla="*/ 74 h 74"/>
                  <a:gd name="T14" fmla="*/ 23 w 204"/>
                  <a:gd name="T15" fmla="*/ 32 h 74"/>
                  <a:gd name="T16" fmla="*/ 23 w 204"/>
                  <a:gd name="T17" fmla="*/ 32 h 74"/>
                  <a:gd name="T18" fmla="*/ 23 w 204"/>
                  <a:gd name="T19" fmla="*/ 32 h 74"/>
                  <a:gd name="T20" fmla="*/ 23 w 204"/>
                  <a:gd name="T21" fmla="*/ 32 h 74"/>
                  <a:gd name="T22" fmla="*/ 23 w 204"/>
                  <a:gd name="T23" fmla="*/ 32 h 74"/>
                  <a:gd name="T24" fmla="*/ 23 w 204"/>
                  <a:gd name="T25" fmla="*/ 32 h 74"/>
                  <a:gd name="T26" fmla="*/ 23 w 204"/>
                  <a:gd name="T27" fmla="*/ 32 h 74"/>
                  <a:gd name="T28" fmla="*/ 23 w 204"/>
                  <a:gd name="T29" fmla="*/ 32 h 74"/>
                  <a:gd name="T30" fmla="*/ 23 w 204"/>
                  <a:gd name="T31" fmla="*/ 32 h 74"/>
                  <a:gd name="T32" fmla="*/ 23 w 204"/>
                  <a:gd name="T33" fmla="*/ 32 h 74"/>
                  <a:gd name="T34" fmla="*/ 23 w 204"/>
                  <a:gd name="T35" fmla="*/ 32 h 74"/>
                  <a:gd name="T36" fmla="*/ 23 w 204"/>
                  <a:gd name="T37" fmla="*/ 32 h 74"/>
                  <a:gd name="T38" fmla="*/ 18 w 204"/>
                  <a:gd name="T39" fmla="*/ 30 h 74"/>
                  <a:gd name="T40" fmla="*/ 23 w 204"/>
                  <a:gd name="T41" fmla="*/ 32 h 74"/>
                  <a:gd name="T42" fmla="*/ 18 w 204"/>
                  <a:gd name="T43" fmla="*/ 30 h 74"/>
                  <a:gd name="T44" fmla="*/ 18 w 204"/>
                  <a:gd name="T45" fmla="*/ 30 h 74"/>
                  <a:gd name="T46" fmla="*/ 18 w 204"/>
                  <a:gd name="T47" fmla="*/ 30 h 74"/>
                  <a:gd name="T48" fmla="*/ 18 w 204"/>
                  <a:gd name="T49" fmla="*/ 30 h 74"/>
                  <a:gd name="T50" fmla="*/ 18 w 204"/>
                  <a:gd name="T51" fmla="*/ 30 h 74"/>
                  <a:gd name="T52" fmla="*/ 18 w 204"/>
                  <a:gd name="T53" fmla="*/ 30 h 74"/>
                  <a:gd name="T54" fmla="*/ 18 w 204"/>
                  <a:gd name="T55" fmla="*/ 30 h 74"/>
                  <a:gd name="T56" fmla="*/ 1 w 204"/>
                  <a:gd name="T57" fmla="*/ 0 h 74"/>
                  <a:gd name="T58" fmla="*/ 0 w 204"/>
                  <a:gd name="T59" fmla="*/ 3 h 74"/>
                  <a:gd name="T60" fmla="*/ 2 w 204"/>
                  <a:gd name="T61" fmla="*/ 11 h 74"/>
                  <a:gd name="T62" fmla="*/ 0 w 204"/>
                  <a:gd name="T63" fmla="*/ 2 h 74"/>
                  <a:gd name="T64" fmla="*/ 1 w 204"/>
                  <a:gd name="T6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4" h="74">
                    <a:moveTo>
                      <a:pt x="204" y="74"/>
                    </a:move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moveTo>
                      <a:pt x="204" y="74"/>
                    </a:move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18" y="30"/>
                    </a:moveTo>
                    <a:cubicBezTo>
                      <a:pt x="19" y="31"/>
                      <a:pt x="21" y="32"/>
                      <a:pt x="23" y="32"/>
                    </a:cubicBezTo>
                    <a:cubicBezTo>
                      <a:pt x="21" y="32"/>
                      <a:pt x="19" y="31"/>
                      <a:pt x="18" y="30"/>
                    </a:cubicBezTo>
                    <a:moveTo>
                      <a:pt x="18" y="30"/>
                    </a:moveTo>
                    <a:cubicBezTo>
                      <a:pt x="18" y="30"/>
                      <a:pt x="18" y="30"/>
                      <a:pt x="18" y="30"/>
                    </a:cubicBezTo>
                    <a:cubicBezTo>
                      <a:pt x="18" y="30"/>
                      <a:pt x="18" y="30"/>
                      <a:pt x="18" y="30"/>
                    </a:cubicBezTo>
                    <a:moveTo>
                      <a:pt x="18" y="30"/>
                    </a:moveTo>
                    <a:cubicBezTo>
                      <a:pt x="18" y="30"/>
                      <a:pt x="18" y="30"/>
                      <a:pt x="18" y="30"/>
                    </a:cubicBezTo>
                    <a:cubicBezTo>
                      <a:pt x="18" y="30"/>
                      <a:pt x="18" y="30"/>
                      <a:pt x="18" y="30"/>
                    </a:cubicBezTo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6"/>
                      <a:pt x="0" y="9"/>
                      <a:pt x="2" y="11"/>
                    </a:cubicBezTo>
                    <a:cubicBezTo>
                      <a:pt x="0" y="8"/>
                      <a:pt x="0" y="5"/>
                      <a:pt x="0" y="2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3" name="Freeform 242">
                <a:extLst>
                  <a:ext uri="{FF2B5EF4-FFF2-40B4-BE49-F238E27FC236}">
                    <a16:creationId xmlns:a16="http://schemas.microsoft.com/office/drawing/2014/main" id="{8449E19B-FD82-4876-ACCA-CAA9E3B42F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4" y="2178"/>
                <a:ext cx="5" cy="10"/>
              </a:xfrm>
              <a:custGeom>
                <a:avLst/>
                <a:gdLst>
                  <a:gd name="T0" fmla="*/ 2 w 9"/>
                  <a:gd name="T1" fmla="*/ 0 h 18"/>
                  <a:gd name="T2" fmla="*/ 1 w 9"/>
                  <a:gd name="T3" fmla="*/ 3 h 18"/>
                  <a:gd name="T4" fmla="*/ 0 w 9"/>
                  <a:gd name="T5" fmla="*/ 5 h 18"/>
                  <a:gd name="T6" fmla="*/ 2 w 9"/>
                  <a:gd name="T7" fmla="*/ 14 h 18"/>
                  <a:gd name="T8" fmla="*/ 8 w 9"/>
                  <a:gd name="T9" fmla="*/ 18 h 18"/>
                  <a:gd name="T10" fmla="*/ 8 w 9"/>
                  <a:gd name="T11" fmla="*/ 17 h 18"/>
                  <a:gd name="T12" fmla="*/ 9 w 9"/>
                  <a:gd name="T13" fmla="*/ 12 h 18"/>
                  <a:gd name="T14" fmla="*/ 2 w 9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8">
                    <a:moveTo>
                      <a:pt x="2" y="0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8"/>
                      <a:pt x="0" y="11"/>
                      <a:pt x="2" y="14"/>
                    </a:cubicBezTo>
                    <a:cubicBezTo>
                      <a:pt x="3" y="16"/>
                      <a:pt x="5" y="17"/>
                      <a:pt x="8" y="18"/>
                    </a:cubicBezTo>
                    <a:cubicBezTo>
                      <a:pt x="8" y="18"/>
                      <a:pt x="8" y="17"/>
                      <a:pt x="8" y="17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4" y="9"/>
                      <a:pt x="1" y="4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4" name="Freeform 243">
                <a:extLst>
                  <a:ext uri="{FF2B5EF4-FFF2-40B4-BE49-F238E27FC236}">
                    <a16:creationId xmlns:a16="http://schemas.microsoft.com/office/drawing/2014/main" id="{264C59A7-6688-4C1A-810A-A22053853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8" y="2185"/>
                <a:ext cx="109" cy="35"/>
              </a:xfrm>
              <a:custGeom>
                <a:avLst/>
                <a:gdLst>
                  <a:gd name="T0" fmla="*/ 2 w 199"/>
                  <a:gd name="T1" fmla="*/ 0 h 65"/>
                  <a:gd name="T2" fmla="*/ 1 w 199"/>
                  <a:gd name="T3" fmla="*/ 5 h 65"/>
                  <a:gd name="T4" fmla="*/ 1 w 199"/>
                  <a:gd name="T5" fmla="*/ 6 h 65"/>
                  <a:gd name="T6" fmla="*/ 1 w 199"/>
                  <a:gd name="T7" fmla="*/ 6 h 65"/>
                  <a:gd name="T8" fmla="*/ 11 w 199"/>
                  <a:gd name="T9" fmla="*/ 21 h 65"/>
                  <a:gd name="T10" fmla="*/ 11 w 199"/>
                  <a:gd name="T11" fmla="*/ 21 h 65"/>
                  <a:gd name="T12" fmla="*/ 11 w 199"/>
                  <a:gd name="T13" fmla="*/ 21 h 65"/>
                  <a:gd name="T14" fmla="*/ 11 w 199"/>
                  <a:gd name="T15" fmla="*/ 21 h 65"/>
                  <a:gd name="T16" fmla="*/ 11 w 199"/>
                  <a:gd name="T17" fmla="*/ 21 h 65"/>
                  <a:gd name="T18" fmla="*/ 16 w 199"/>
                  <a:gd name="T19" fmla="*/ 23 h 65"/>
                  <a:gd name="T20" fmla="*/ 16 w 199"/>
                  <a:gd name="T21" fmla="*/ 23 h 65"/>
                  <a:gd name="T22" fmla="*/ 16 w 199"/>
                  <a:gd name="T23" fmla="*/ 23 h 65"/>
                  <a:gd name="T24" fmla="*/ 16 w 199"/>
                  <a:gd name="T25" fmla="*/ 23 h 65"/>
                  <a:gd name="T26" fmla="*/ 16 w 199"/>
                  <a:gd name="T27" fmla="*/ 23 h 65"/>
                  <a:gd name="T28" fmla="*/ 16 w 199"/>
                  <a:gd name="T29" fmla="*/ 23 h 65"/>
                  <a:gd name="T30" fmla="*/ 16 w 199"/>
                  <a:gd name="T31" fmla="*/ 23 h 65"/>
                  <a:gd name="T32" fmla="*/ 16 w 199"/>
                  <a:gd name="T33" fmla="*/ 23 h 65"/>
                  <a:gd name="T34" fmla="*/ 16 w 199"/>
                  <a:gd name="T35" fmla="*/ 23 h 65"/>
                  <a:gd name="T36" fmla="*/ 16 w 199"/>
                  <a:gd name="T37" fmla="*/ 23 h 65"/>
                  <a:gd name="T38" fmla="*/ 195 w 199"/>
                  <a:gd name="T39" fmla="*/ 64 h 65"/>
                  <a:gd name="T40" fmla="*/ 197 w 199"/>
                  <a:gd name="T41" fmla="*/ 65 h 65"/>
                  <a:gd name="T42" fmla="*/ 197 w 199"/>
                  <a:gd name="T43" fmla="*/ 65 h 65"/>
                  <a:gd name="T44" fmla="*/ 197 w 199"/>
                  <a:gd name="T45" fmla="*/ 65 h 65"/>
                  <a:gd name="T46" fmla="*/ 197 w 199"/>
                  <a:gd name="T47" fmla="*/ 65 h 65"/>
                  <a:gd name="T48" fmla="*/ 197 w 199"/>
                  <a:gd name="T49" fmla="*/ 65 h 65"/>
                  <a:gd name="T50" fmla="*/ 197 w 199"/>
                  <a:gd name="T51" fmla="*/ 65 h 65"/>
                  <a:gd name="T52" fmla="*/ 199 w 199"/>
                  <a:gd name="T53" fmla="*/ 58 h 65"/>
                  <a:gd name="T54" fmla="*/ 198 w 199"/>
                  <a:gd name="T55" fmla="*/ 58 h 65"/>
                  <a:gd name="T56" fmla="*/ 197 w 199"/>
                  <a:gd name="T57" fmla="*/ 58 h 65"/>
                  <a:gd name="T58" fmla="*/ 18 w 199"/>
                  <a:gd name="T59" fmla="*/ 17 h 65"/>
                  <a:gd name="T60" fmla="*/ 2 w 199"/>
                  <a:gd name="T61" fmla="*/ 0 h 65"/>
                  <a:gd name="T62" fmla="*/ 2 w 199"/>
                  <a:gd name="T6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9" h="65">
                    <a:moveTo>
                      <a:pt x="2" y="0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12"/>
                      <a:pt x="4" y="18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2" y="22"/>
                      <a:pt x="14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95" y="64"/>
                      <a:pt x="195" y="64"/>
                      <a:pt x="195" y="64"/>
                    </a:cubicBezTo>
                    <a:cubicBezTo>
                      <a:pt x="196" y="65"/>
                      <a:pt x="196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9" y="58"/>
                      <a:pt x="199" y="58"/>
                      <a:pt x="199" y="58"/>
                    </a:cubicBezTo>
                    <a:cubicBezTo>
                      <a:pt x="198" y="58"/>
                      <a:pt x="198" y="58"/>
                      <a:pt x="198" y="58"/>
                    </a:cubicBezTo>
                    <a:cubicBezTo>
                      <a:pt x="198" y="58"/>
                      <a:pt x="197" y="58"/>
                      <a:pt x="197" y="58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8" y="15"/>
                      <a:pt x="2" y="7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5" name="Freeform 244">
                <a:extLst>
                  <a:ext uri="{FF2B5EF4-FFF2-40B4-BE49-F238E27FC236}">
                    <a16:creationId xmlns:a16="http://schemas.microsoft.com/office/drawing/2014/main" id="{DDC6264D-08B0-406A-82C6-5B73EEE51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6" y="2205"/>
                <a:ext cx="20" cy="15"/>
              </a:xfrm>
              <a:custGeom>
                <a:avLst/>
                <a:gdLst>
                  <a:gd name="T0" fmla="*/ 27 w 37"/>
                  <a:gd name="T1" fmla="*/ 0 h 28"/>
                  <a:gd name="T2" fmla="*/ 2 w 37"/>
                  <a:gd name="T3" fmla="*/ 21 h 28"/>
                  <a:gd name="T4" fmla="*/ 2 w 37"/>
                  <a:gd name="T5" fmla="*/ 21 h 28"/>
                  <a:gd name="T6" fmla="*/ 0 w 37"/>
                  <a:gd name="T7" fmla="*/ 28 h 28"/>
                  <a:gd name="T8" fmla="*/ 25 w 37"/>
                  <a:gd name="T9" fmla="*/ 7 h 28"/>
                  <a:gd name="T10" fmla="*/ 25 w 37"/>
                  <a:gd name="T11" fmla="*/ 7 h 28"/>
                  <a:gd name="T12" fmla="*/ 25 w 37"/>
                  <a:gd name="T13" fmla="*/ 7 h 28"/>
                  <a:gd name="T14" fmla="*/ 25 w 37"/>
                  <a:gd name="T15" fmla="*/ 7 h 28"/>
                  <a:gd name="T16" fmla="*/ 36 w 37"/>
                  <a:gd name="T17" fmla="*/ 9 h 28"/>
                  <a:gd name="T18" fmla="*/ 37 w 37"/>
                  <a:gd name="T19" fmla="*/ 3 h 28"/>
                  <a:gd name="T20" fmla="*/ 27 w 37"/>
                  <a:gd name="T21" fmla="*/ 0 h 28"/>
                  <a:gd name="T22" fmla="*/ 27 w 37"/>
                  <a:gd name="T2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28">
                    <a:moveTo>
                      <a:pt x="27" y="0"/>
                    </a:moveTo>
                    <a:cubicBezTo>
                      <a:pt x="27" y="0"/>
                      <a:pt x="12" y="21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10" y="2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0"/>
                      <a:pt x="27" y="0"/>
                      <a:pt x="27" y="0"/>
                    </a:cubicBezTo>
                  </a:path>
                </a:pathLst>
              </a:custGeom>
              <a:solidFill>
                <a:srgbClr val="9F9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6" name="Freeform 245">
                <a:extLst>
                  <a:ext uri="{FF2B5EF4-FFF2-40B4-BE49-F238E27FC236}">
                    <a16:creationId xmlns:a16="http://schemas.microsoft.com/office/drawing/2014/main" id="{A0E5697D-D1C9-4DFE-BB7E-7BD917635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3" y="2177"/>
                <a:ext cx="67" cy="19"/>
              </a:xfrm>
              <a:custGeom>
                <a:avLst/>
                <a:gdLst>
                  <a:gd name="T0" fmla="*/ 0 w 124"/>
                  <a:gd name="T1" fmla="*/ 3 h 35"/>
                  <a:gd name="T2" fmla="*/ 0 w 124"/>
                  <a:gd name="T3" fmla="*/ 3 h 35"/>
                  <a:gd name="T4" fmla="*/ 5 w 124"/>
                  <a:gd name="T5" fmla="*/ 0 h 35"/>
                  <a:gd name="T6" fmla="*/ 121 w 124"/>
                  <a:gd name="T7" fmla="*/ 27 h 35"/>
                  <a:gd name="T8" fmla="*/ 124 w 124"/>
                  <a:gd name="T9" fmla="*/ 32 h 35"/>
                  <a:gd name="T10" fmla="*/ 119 w 124"/>
                  <a:gd name="T11" fmla="*/ 34 h 35"/>
                  <a:gd name="T12" fmla="*/ 3 w 124"/>
                  <a:gd name="T13" fmla="*/ 8 h 35"/>
                  <a:gd name="T14" fmla="*/ 0 w 124"/>
                  <a:gd name="T15" fmla="*/ 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4" h="35">
                    <a:moveTo>
                      <a:pt x="0" y="3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121" y="27"/>
                      <a:pt x="121" y="27"/>
                      <a:pt x="121" y="27"/>
                    </a:cubicBezTo>
                    <a:cubicBezTo>
                      <a:pt x="123" y="28"/>
                      <a:pt x="124" y="30"/>
                      <a:pt x="124" y="32"/>
                    </a:cubicBezTo>
                    <a:cubicBezTo>
                      <a:pt x="123" y="34"/>
                      <a:pt x="121" y="35"/>
                      <a:pt x="119" y="34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lose/>
                  </a:path>
                </a:pathLst>
              </a:custGeom>
              <a:solidFill>
                <a:srgbClr val="C9B6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7" name="Freeform 246">
                <a:extLst>
                  <a:ext uri="{FF2B5EF4-FFF2-40B4-BE49-F238E27FC236}">
                    <a16:creationId xmlns:a16="http://schemas.microsoft.com/office/drawing/2014/main" id="{FE8B05E2-E65A-4E4F-9AFA-216D5FC52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3" y="1025"/>
                <a:ext cx="30" cy="7"/>
              </a:xfrm>
              <a:custGeom>
                <a:avLst/>
                <a:gdLst>
                  <a:gd name="T0" fmla="*/ 42 w 54"/>
                  <a:gd name="T1" fmla="*/ 0 h 14"/>
                  <a:gd name="T2" fmla="*/ 12 w 54"/>
                  <a:gd name="T3" fmla="*/ 0 h 14"/>
                  <a:gd name="T4" fmla="*/ 0 w 54"/>
                  <a:gd name="T5" fmla="*/ 12 h 14"/>
                  <a:gd name="T6" fmla="*/ 0 w 54"/>
                  <a:gd name="T7" fmla="*/ 14 h 14"/>
                  <a:gd name="T8" fmla="*/ 54 w 54"/>
                  <a:gd name="T9" fmla="*/ 14 h 14"/>
                  <a:gd name="T10" fmla="*/ 54 w 54"/>
                  <a:gd name="T11" fmla="*/ 12 h 14"/>
                  <a:gd name="T12" fmla="*/ 42 w 54"/>
                  <a:gd name="T1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14">
                    <a:moveTo>
                      <a:pt x="42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6"/>
                      <a:pt x="0" y="1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54" y="14"/>
                      <a:pt x="54" y="14"/>
                      <a:pt x="54" y="14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54" y="6"/>
                      <a:pt x="49" y="0"/>
                      <a:pt x="42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8" name="Freeform 247">
                <a:extLst>
                  <a:ext uri="{FF2B5EF4-FFF2-40B4-BE49-F238E27FC236}">
                    <a16:creationId xmlns:a16="http://schemas.microsoft.com/office/drawing/2014/main" id="{40C5B921-85EC-4D97-B1CB-6B01CA33D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1030"/>
                <a:ext cx="44" cy="159"/>
              </a:xfrm>
              <a:custGeom>
                <a:avLst/>
                <a:gdLst>
                  <a:gd name="T0" fmla="*/ 63 w 80"/>
                  <a:gd name="T1" fmla="*/ 0 h 291"/>
                  <a:gd name="T2" fmla="*/ 17 w 80"/>
                  <a:gd name="T3" fmla="*/ 0 h 291"/>
                  <a:gd name="T4" fmla="*/ 0 w 80"/>
                  <a:gd name="T5" fmla="*/ 17 h 291"/>
                  <a:gd name="T6" fmla="*/ 0 w 80"/>
                  <a:gd name="T7" fmla="*/ 275 h 291"/>
                  <a:gd name="T8" fmla="*/ 17 w 80"/>
                  <a:gd name="T9" fmla="*/ 291 h 291"/>
                  <a:gd name="T10" fmla="*/ 63 w 80"/>
                  <a:gd name="T11" fmla="*/ 291 h 291"/>
                  <a:gd name="T12" fmla="*/ 80 w 80"/>
                  <a:gd name="T13" fmla="*/ 275 h 291"/>
                  <a:gd name="T14" fmla="*/ 80 w 80"/>
                  <a:gd name="T15" fmla="*/ 17 h 291"/>
                  <a:gd name="T16" fmla="*/ 63 w 80"/>
                  <a:gd name="T17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291">
                    <a:moveTo>
                      <a:pt x="63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275"/>
                      <a:pt x="0" y="275"/>
                      <a:pt x="0" y="275"/>
                    </a:cubicBezTo>
                    <a:cubicBezTo>
                      <a:pt x="0" y="284"/>
                      <a:pt x="8" y="291"/>
                      <a:pt x="17" y="291"/>
                    </a:cubicBezTo>
                    <a:cubicBezTo>
                      <a:pt x="63" y="291"/>
                      <a:pt x="63" y="291"/>
                      <a:pt x="63" y="291"/>
                    </a:cubicBezTo>
                    <a:cubicBezTo>
                      <a:pt x="72" y="291"/>
                      <a:pt x="80" y="284"/>
                      <a:pt x="80" y="275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80" y="8"/>
                      <a:pt x="72" y="0"/>
                      <a:pt x="63" y="0"/>
                    </a:cubicBezTo>
                  </a:path>
                </a:pathLst>
              </a:custGeom>
              <a:solidFill>
                <a:srgbClr val="6550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9" name="Freeform 248">
                <a:extLst>
                  <a:ext uri="{FF2B5EF4-FFF2-40B4-BE49-F238E27FC236}">
                    <a16:creationId xmlns:a16="http://schemas.microsoft.com/office/drawing/2014/main" id="{655172B2-48DE-4394-A3EB-70C3F8E6B5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1141"/>
                <a:ext cx="44" cy="48"/>
              </a:xfrm>
              <a:custGeom>
                <a:avLst/>
                <a:gdLst>
                  <a:gd name="T0" fmla="*/ 80 w 80"/>
                  <a:gd name="T1" fmla="*/ 0 h 88"/>
                  <a:gd name="T2" fmla="*/ 80 w 80"/>
                  <a:gd name="T3" fmla="*/ 69 h 88"/>
                  <a:gd name="T4" fmla="*/ 65 w 80"/>
                  <a:gd name="T5" fmla="*/ 88 h 88"/>
                  <a:gd name="T6" fmla="*/ 15 w 80"/>
                  <a:gd name="T7" fmla="*/ 88 h 88"/>
                  <a:gd name="T8" fmla="*/ 0 w 80"/>
                  <a:gd name="T9" fmla="*/ 69 h 88"/>
                  <a:gd name="T10" fmla="*/ 0 w 80"/>
                  <a:gd name="T11" fmla="*/ 0 h 88"/>
                  <a:gd name="T12" fmla="*/ 80 w 80"/>
                  <a:gd name="T13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" h="88">
                    <a:moveTo>
                      <a:pt x="80" y="0"/>
                    </a:moveTo>
                    <a:cubicBezTo>
                      <a:pt x="80" y="69"/>
                      <a:pt x="80" y="69"/>
                      <a:pt x="80" y="69"/>
                    </a:cubicBezTo>
                    <a:cubicBezTo>
                      <a:pt x="80" y="80"/>
                      <a:pt x="73" y="88"/>
                      <a:pt x="65" y="88"/>
                    </a:cubicBezTo>
                    <a:cubicBezTo>
                      <a:pt x="15" y="88"/>
                      <a:pt x="15" y="88"/>
                      <a:pt x="15" y="88"/>
                    </a:cubicBezTo>
                    <a:cubicBezTo>
                      <a:pt x="7" y="88"/>
                      <a:pt x="0" y="80"/>
                      <a:pt x="0" y="6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0" y="0"/>
                      <a:pt x="80" y="0"/>
                      <a:pt x="80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0" name="Rectangle 249">
                <a:extLst>
                  <a:ext uri="{FF2B5EF4-FFF2-40B4-BE49-F238E27FC236}">
                    <a16:creationId xmlns:a16="http://schemas.microsoft.com/office/drawing/2014/main" id="{3091854D-1B18-4313-A1D8-42500ABA98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74"/>
                <a:ext cx="44" cy="4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1" name="Rectangle 250">
                <a:extLst>
                  <a:ext uri="{FF2B5EF4-FFF2-40B4-BE49-F238E27FC236}">
                    <a16:creationId xmlns:a16="http://schemas.microsoft.com/office/drawing/2014/main" id="{8DAD6FC0-0AA0-48A1-9D35-B1068558E2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74"/>
                <a:ext cx="44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2" name="Rectangle 251">
                <a:extLst>
                  <a:ext uri="{FF2B5EF4-FFF2-40B4-BE49-F238E27FC236}">
                    <a16:creationId xmlns:a16="http://schemas.microsoft.com/office/drawing/2014/main" id="{634E3984-85B7-43CE-9614-1B4FE2FC1D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9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3" name="Rectangle 252">
                <a:extLst>
                  <a:ext uri="{FF2B5EF4-FFF2-40B4-BE49-F238E27FC236}">
                    <a16:creationId xmlns:a16="http://schemas.microsoft.com/office/drawing/2014/main" id="{95DA32BD-DD37-4FB2-923E-367A8F69D9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9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4" name="Rectangle 253">
                <a:extLst>
                  <a:ext uri="{FF2B5EF4-FFF2-40B4-BE49-F238E27FC236}">
                    <a16:creationId xmlns:a16="http://schemas.microsoft.com/office/drawing/2014/main" id="{D168FD2D-C5E7-4C2D-98F7-88D25F7AB4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3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5" name="Rectangle 254">
                <a:extLst>
                  <a:ext uri="{FF2B5EF4-FFF2-40B4-BE49-F238E27FC236}">
                    <a16:creationId xmlns:a16="http://schemas.microsoft.com/office/drawing/2014/main" id="{F4E935A2-D583-43B9-9369-71B06A247D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3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6" name="Rectangle 255">
                <a:extLst>
                  <a:ext uri="{FF2B5EF4-FFF2-40B4-BE49-F238E27FC236}">
                    <a16:creationId xmlns:a16="http://schemas.microsoft.com/office/drawing/2014/main" id="{2F3219AB-F644-465D-A817-096816C80F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7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7" name="Rectangle 256">
                <a:extLst>
                  <a:ext uri="{FF2B5EF4-FFF2-40B4-BE49-F238E27FC236}">
                    <a16:creationId xmlns:a16="http://schemas.microsoft.com/office/drawing/2014/main" id="{B6C7A092-5083-49F0-B2DA-E660375B36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7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8" name="Rectangle 257">
                <a:extLst>
                  <a:ext uri="{FF2B5EF4-FFF2-40B4-BE49-F238E27FC236}">
                    <a16:creationId xmlns:a16="http://schemas.microsoft.com/office/drawing/2014/main" id="{C00B78D8-FE7E-43B5-8A11-09451E29D9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1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9" name="Rectangle 258">
                <a:extLst>
                  <a:ext uri="{FF2B5EF4-FFF2-40B4-BE49-F238E27FC236}">
                    <a16:creationId xmlns:a16="http://schemas.microsoft.com/office/drawing/2014/main" id="{E905F2BF-0198-4693-AC8D-E085EDA042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1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0" name="Rectangle 259">
                <a:extLst>
                  <a:ext uri="{FF2B5EF4-FFF2-40B4-BE49-F238E27FC236}">
                    <a16:creationId xmlns:a16="http://schemas.microsoft.com/office/drawing/2014/main" id="{42559889-AE7B-4CAE-B2D9-16ECDF2D3C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45"/>
                <a:ext cx="44" cy="4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1" name="Rectangle 260">
                <a:extLst>
                  <a:ext uri="{FF2B5EF4-FFF2-40B4-BE49-F238E27FC236}">
                    <a16:creationId xmlns:a16="http://schemas.microsoft.com/office/drawing/2014/main" id="{F716DB4A-6603-44C4-B6A5-5B961D5725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45"/>
                <a:ext cx="44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2" name="Freeform 261">
                <a:extLst>
                  <a:ext uri="{FF2B5EF4-FFF2-40B4-BE49-F238E27FC236}">
                    <a16:creationId xmlns:a16="http://schemas.microsoft.com/office/drawing/2014/main" id="{89B3A667-F707-4D14-8899-78F04E834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8" y="1123"/>
                <a:ext cx="23" cy="18"/>
              </a:xfrm>
              <a:custGeom>
                <a:avLst/>
                <a:gdLst>
                  <a:gd name="T0" fmla="*/ 29 w 41"/>
                  <a:gd name="T1" fmla="*/ 0 h 33"/>
                  <a:gd name="T2" fmla="*/ 11 w 41"/>
                  <a:gd name="T3" fmla="*/ 0 h 33"/>
                  <a:gd name="T4" fmla="*/ 0 w 41"/>
                  <a:gd name="T5" fmla="*/ 7 h 33"/>
                  <a:gd name="T6" fmla="*/ 8 w 41"/>
                  <a:gd name="T7" fmla="*/ 4 h 33"/>
                  <a:gd name="T8" fmla="*/ 26 w 41"/>
                  <a:gd name="T9" fmla="*/ 4 h 33"/>
                  <a:gd name="T10" fmla="*/ 38 w 41"/>
                  <a:gd name="T11" fmla="*/ 16 h 33"/>
                  <a:gd name="T12" fmla="*/ 38 w 41"/>
                  <a:gd name="T13" fmla="*/ 33 h 33"/>
                  <a:gd name="T14" fmla="*/ 41 w 41"/>
                  <a:gd name="T15" fmla="*/ 33 h 33"/>
                  <a:gd name="T16" fmla="*/ 41 w 41"/>
                  <a:gd name="T17" fmla="*/ 13 h 33"/>
                  <a:gd name="T18" fmla="*/ 29 w 41"/>
                  <a:gd name="T1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33">
                    <a:moveTo>
                      <a:pt x="29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6" y="0"/>
                      <a:pt x="2" y="3"/>
                      <a:pt x="0" y="7"/>
                    </a:cubicBezTo>
                    <a:cubicBezTo>
                      <a:pt x="2" y="5"/>
                      <a:pt x="5" y="4"/>
                      <a:pt x="8" y="4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32" y="4"/>
                      <a:pt x="38" y="9"/>
                      <a:pt x="38" y="16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41" y="6"/>
                      <a:pt x="35" y="0"/>
                      <a:pt x="29" y="0"/>
                    </a:cubicBezTo>
                  </a:path>
                </a:pathLst>
              </a:custGeom>
              <a:solidFill>
                <a:srgbClr val="503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3" name="Freeform 262">
                <a:extLst>
                  <a:ext uri="{FF2B5EF4-FFF2-40B4-BE49-F238E27FC236}">
                    <a16:creationId xmlns:a16="http://schemas.microsoft.com/office/drawing/2014/main" id="{FCA69BE7-CE15-473A-9C12-3BEAA70EB9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9" y="1141"/>
                <a:ext cx="2" cy="48"/>
              </a:xfrm>
              <a:custGeom>
                <a:avLst/>
                <a:gdLst>
                  <a:gd name="T0" fmla="*/ 3 w 3"/>
                  <a:gd name="T1" fmla="*/ 67 h 87"/>
                  <a:gd name="T2" fmla="*/ 0 w 3"/>
                  <a:gd name="T3" fmla="*/ 67 h 87"/>
                  <a:gd name="T4" fmla="*/ 0 w 3"/>
                  <a:gd name="T5" fmla="*/ 87 h 87"/>
                  <a:gd name="T6" fmla="*/ 3 w 3"/>
                  <a:gd name="T7" fmla="*/ 86 h 87"/>
                  <a:gd name="T8" fmla="*/ 3 w 3"/>
                  <a:gd name="T9" fmla="*/ 67 h 87"/>
                  <a:gd name="T10" fmla="*/ 3 w 3"/>
                  <a:gd name="T11" fmla="*/ 56 h 87"/>
                  <a:gd name="T12" fmla="*/ 0 w 3"/>
                  <a:gd name="T13" fmla="*/ 56 h 87"/>
                  <a:gd name="T14" fmla="*/ 0 w 3"/>
                  <a:gd name="T15" fmla="*/ 61 h 87"/>
                  <a:gd name="T16" fmla="*/ 3 w 3"/>
                  <a:gd name="T17" fmla="*/ 61 h 87"/>
                  <a:gd name="T18" fmla="*/ 3 w 3"/>
                  <a:gd name="T19" fmla="*/ 56 h 87"/>
                  <a:gd name="T20" fmla="*/ 3 w 3"/>
                  <a:gd name="T21" fmla="*/ 46 h 87"/>
                  <a:gd name="T22" fmla="*/ 0 w 3"/>
                  <a:gd name="T23" fmla="*/ 46 h 87"/>
                  <a:gd name="T24" fmla="*/ 0 w 3"/>
                  <a:gd name="T25" fmla="*/ 51 h 87"/>
                  <a:gd name="T26" fmla="*/ 3 w 3"/>
                  <a:gd name="T27" fmla="*/ 51 h 87"/>
                  <a:gd name="T28" fmla="*/ 3 w 3"/>
                  <a:gd name="T29" fmla="*/ 46 h 87"/>
                  <a:gd name="T30" fmla="*/ 3 w 3"/>
                  <a:gd name="T31" fmla="*/ 35 h 87"/>
                  <a:gd name="T32" fmla="*/ 0 w 3"/>
                  <a:gd name="T33" fmla="*/ 35 h 87"/>
                  <a:gd name="T34" fmla="*/ 0 w 3"/>
                  <a:gd name="T35" fmla="*/ 40 h 87"/>
                  <a:gd name="T36" fmla="*/ 3 w 3"/>
                  <a:gd name="T37" fmla="*/ 40 h 87"/>
                  <a:gd name="T38" fmla="*/ 3 w 3"/>
                  <a:gd name="T39" fmla="*/ 35 h 87"/>
                  <a:gd name="T40" fmla="*/ 3 w 3"/>
                  <a:gd name="T41" fmla="*/ 24 h 87"/>
                  <a:gd name="T42" fmla="*/ 0 w 3"/>
                  <a:gd name="T43" fmla="*/ 24 h 87"/>
                  <a:gd name="T44" fmla="*/ 0 w 3"/>
                  <a:gd name="T45" fmla="*/ 29 h 87"/>
                  <a:gd name="T46" fmla="*/ 3 w 3"/>
                  <a:gd name="T47" fmla="*/ 29 h 87"/>
                  <a:gd name="T48" fmla="*/ 3 w 3"/>
                  <a:gd name="T49" fmla="*/ 24 h 87"/>
                  <a:gd name="T50" fmla="*/ 3 w 3"/>
                  <a:gd name="T51" fmla="*/ 14 h 87"/>
                  <a:gd name="T52" fmla="*/ 0 w 3"/>
                  <a:gd name="T53" fmla="*/ 14 h 87"/>
                  <a:gd name="T54" fmla="*/ 0 w 3"/>
                  <a:gd name="T55" fmla="*/ 19 h 87"/>
                  <a:gd name="T56" fmla="*/ 3 w 3"/>
                  <a:gd name="T57" fmla="*/ 19 h 87"/>
                  <a:gd name="T58" fmla="*/ 3 w 3"/>
                  <a:gd name="T59" fmla="*/ 14 h 87"/>
                  <a:gd name="T60" fmla="*/ 3 w 3"/>
                  <a:gd name="T61" fmla="*/ 0 h 87"/>
                  <a:gd name="T62" fmla="*/ 0 w 3"/>
                  <a:gd name="T63" fmla="*/ 0 h 87"/>
                  <a:gd name="T64" fmla="*/ 0 w 3"/>
                  <a:gd name="T65" fmla="*/ 8 h 87"/>
                  <a:gd name="T66" fmla="*/ 3 w 3"/>
                  <a:gd name="T67" fmla="*/ 8 h 87"/>
                  <a:gd name="T68" fmla="*/ 3 w 3"/>
                  <a:gd name="T6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" h="87">
                    <a:moveTo>
                      <a:pt x="3" y="67"/>
                    </a:moveTo>
                    <a:cubicBezTo>
                      <a:pt x="0" y="67"/>
                      <a:pt x="0" y="67"/>
                      <a:pt x="0" y="67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1" y="87"/>
                      <a:pt x="2" y="86"/>
                      <a:pt x="3" y="86"/>
                    </a:cubicBezTo>
                    <a:cubicBezTo>
                      <a:pt x="3" y="67"/>
                      <a:pt x="3" y="67"/>
                      <a:pt x="3" y="67"/>
                    </a:cubicBezTo>
                    <a:moveTo>
                      <a:pt x="3" y="56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3" y="56"/>
                      <a:pt x="3" y="56"/>
                      <a:pt x="3" y="56"/>
                    </a:cubicBezTo>
                    <a:moveTo>
                      <a:pt x="3" y="46"/>
                    </a:moveTo>
                    <a:cubicBezTo>
                      <a:pt x="0" y="46"/>
                      <a:pt x="0" y="46"/>
                      <a:pt x="0" y="46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3" y="46"/>
                      <a:pt x="3" y="46"/>
                      <a:pt x="3" y="46"/>
                    </a:cubicBezTo>
                    <a:moveTo>
                      <a:pt x="3" y="35"/>
                    </a:moveTo>
                    <a:cubicBezTo>
                      <a:pt x="0" y="35"/>
                      <a:pt x="0" y="35"/>
                      <a:pt x="0" y="35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35"/>
                      <a:pt x="3" y="35"/>
                      <a:pt x="3" y="35"/>
                    </a:cubicBezTo>
                    <a:moveTo>
                      <a:pt x="3" y="24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24"/>
                      <a:pt x="3" y="24"/>
                      <a:pt x="3" y="24"/>
                    </a:cubicBezTo>
                    <a:moveTo>
                      <a:pt x="3" y="14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4"/>
                      <a:pt x="3" y="14"/>
                      <a:pt x="3" y="14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4" name="Rectangle 263">
                <a:extLst>
                  <a:ext uri="{FF2B5EF4-FFF2-40B4-BE49-F238E27FC236}">
                    <a16:creationId xmlns:a16="http://schemas.microsoft.com/office/drawing/2014/main" id="{B42DA2AE-55A1-41DC-958B-EAC0B85B07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74"/>
                <a:ext cx="2" cy="4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5" name="Rectangle 264">
                <a:extLst>
                  <a:ext uri="{FF2B5EF4-FFF2-40B4-BE49-F238E27FC236}">
                    <a16:creationId xmlns:a16="http://schemas.microsoft.com/office/drawing/2014/main" id="{B787B2DA-7C09-4B87-AC9E-E40B533173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74"/>
                <a:ext cx="2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6" name="Rectangle 265">
                <a:extLst>
                  <a:ext uri="{FF2B5EF4-FFF2-40B4-BE49-F238E27FC236}">
                    <a16:creationId xmlns:a16="http://schemas.microsoft.com/office/drawing/2014/main" id="{2D80265E-C8C5-47DE-BD66-729FEBE53E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9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7" name="Rectangle 266">
                <a:extLst>
                  <a:ext uri="{FF2B5EF4-FFF2-40B4-BE49-F238E27FC236}">
                    <a16:creationId xmlns:a16="http://schemas.microsoft.com/office/drawing/2014/main" id="{A863F956-6273-4925-9F5C-3F70B0571F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9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8" name="Rectangle 267">
                <a:extLst>
                  <a:ext uri="{FF2B5EF4-FFF2-40B4-BE49-F238E27FC236}">
                    <a16:creationId xmlns:a16="http://schemas.microsoft.com/office/drawing/2014/main" id="{759AEB5A-524C-4B0E-B4E0-AA8CB0F190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3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9" name="Rectangle 268">
                <a:extLst>
                  <a:ext uri="{FF2B5EF4-FFF2-40B4-BE49-F238E27FC236}">
                    <a16:creationId xmlns:a16="http://schemas.microsoft.com/office/drawing/2014/main" id="{6F6E782A-0381-43A6-867E-A7AAED6723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3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0" name="Rectangle 269">
                <a:extLst>
                  <a:ext uri="{FF2B5EF4-FFF2-40B4-BE49-F238E27FC236}">
                    <a16:creationId xmlns:a16="http://schemas.microsoft.com/office/drawing/2014/main" id="{CA3056B0-6482-4AD9-91A5-04C12019C9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7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1" name="Rectangle 270">
                <a:extLst>
                  <a:ext uri="{FF2B5EF4-FFF2-40B4-BE49-F238E27FC236}">
                    <a16:creationId xmlns:a16="http://schemas.microsoft.com/office/drawing/2014/main" id="{3DA2B673-739A-4FF9-A41E-A245EDB8A0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7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2" name="Rectangle 271">
                <a:extLst>
                  <a:ext uri="{FF2B5EF4-FFF2-40B4-BE49-F238E27FC236}">
                    <a16:creationId xmlns:a16="http://schemas.microsoft.com/office/drawing/2014/main" id="{22AEC0A4-FBA6-4428-AFE9-C18D3EBA04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1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3" name="Rectangle 272">
                <a:extLst>
                  <a:ext uri="{FF2B5EF4-FFF2-40B4-BE49-F238E27FC236}">
                    <a16:creationId xmlns:a16="http://schemas.microsoft.com/office/drawing/2014/main" id="{E72B4B22-E1B3-4D55-AAC3-A3464D176F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1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4" name="Rectangle 273">
                <a:extLst>
                  <a:ext uri="{FF2B5EF4-FFF2-40B4-BE49-F238E27FC236}">
                    <a16:creationId xmlns:a16="http://schemas.microsoft.com/office/drawing/2014/main" id="{29F5F830-D260-4DD1-8BF5-6403171634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45"/>
                <a:ext cx="2" cy="4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5" name="Rectangle 274">
                <a:extLst>
                  <a:ext uri="{FF2B5EF4-FFF2-40B4-BE49-F238E27FC236}">
                    <a16:creationId xmlns:a16="http://schemas.microsoft.com/office/drawing/2014/main" id="{CCED615F-7B5B-4F65-AD62-2E2A9CEDB9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45"/>
                <a:ext cx="2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6" name="Freeform 275">
                <a:extLst>
                  <a:ext uri="{FF2B5EF4-FFF2-40B4-BE49-F238E27FC236}">
                    <a16:creationId xmlns:a16="http://schemas.microsoft.com/office/drawing/2014/main" id="{82C17471-658F-4D79-86A8-6B7C1E3058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6" y="1125"/>
                <a:ext cx="23" cy="66"/>
              </a:xfrm>
              <a:custGeom>
                <a:avLst/>
                <a:gdLst>
                  <a:gd name="T0" fmla="*/ 30 w 42"/>
                  <a:gd name="T1" fmla="*/ 0 h 121"/>
                  <a:gd name="T2" fmla="*/ 12 w 42"/>
                  <a:gd name="T3" fmla="*/ 0 h 121"/>
                  <a:gd name="T4" fmla="*/ 0 w 42"/>
                  <a:gd name="T5" fmla="*/ 12 h 121"/>
                  <a:gd name="T6" fmla="*/ 0 w 42"/>
                  <a:gd name="T7" fmla="*/ 121 h 121"/>
                  <a:gd name="T8" fmla="*/ 42 w 42"/>
                  <a:gd name="T9" fmla="*/ 121 h 121"/>
                  <a:gd name="T10" fmla="*/ 42 w 42"/>
                  <a:gd name="T11" fmla="*/ 12 h 121"/>
                  <a:gd name="T12" fmla="*/ 30 w 42"/>
                  <a:gd name="T1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121">
                    <a:moveTo>
                      <a:pt x="30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5"/>
                      <a:pt x="0" y="12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42" y="121"/>
                      <a:pt x="42" y="121"/>
                      <a:pt x="42" y="121"/>
                    </a:cubicBezTo>
                    <a:cubicBezTo>
                      <a:pt x="42" y="12"/>
                      <a:pt x="42" y="12"/>
                      <a:pt x="42" y="12"/>
                    </a:cubicBezTo>
                    <a:cubicBezTo>
                      <a:pt x="42" y="5"/>
                      <a:pt x="36" y="0"/>
                      <a:pt x="30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7" name="Freeform 276">
                <a:extLst>
                  <a:ext uri="{FF2B5EF4-FFF2-40B4-BE49-F238E27FC236}">
                    <a16:creationId xmlns:a16="http://schemas.microsoft.com/office/drawing/2014/main" id="{2E44F01F-A831-45EE-83F9-BA19891841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2" y="1025"/>
                <a:ext cx="15" cy="8"/>
              </a:xfrm>
              <a:custGeom>
                <a:avLst/>
                <a:gdLst>
                  <a:gd name="T0" fmla="*/ 19 w 27"/>
                  <a:gd name="T1" fmla="*/ 11 h 16"/>
                  <a:gd name="T2" fmla="*/ 19 w 27"/>
                  <a:gd name="T3" fmla="*/ 11 h 16"/>
                  <a:gd name="T4" fmla="*/ 27 w 27"/>
                  <a:gd name="T5" fmla="*/ 16 h 16"/>
                  <a:gd name="T6" fmla="*/ 19 w 27"/>
                  <a:gd name="T7" fmla="*/ 11 h 16"/>
                  <a:gd name="T8" fmla="*/ 8 w 27"/>
                  <a:gd name="T9" fmla="*/ 0 h 16"/>
                  <a:gd name="T10" fmla="*/ 0 w 27"/>
                  <a:gd name="T11" fmla="*/ 0 h 16"/>
                  <a:gd name="T12" fmla="*/ 0 w 27"/>
                  <a:gd name="T13" fmla="*/ 0 h 16"/>
                  <a:gd name="T14" fmla="*/ 7 w 27"/>
                  <a:gd name="T15" fmla="*/ 0 h 16"/>
                  <a:gd name="T16" fmla="*/ 16 w 27"/>
                  <a:gd name="T17" fmla="*/ 4 h 16"/>
                  <a:gd name="T18" fmla="*/ 8 w 27"/>
                  <a:gd name="T1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16">
                    <a:moveTo>
                      <a:pt x="19" y="11"/>
                    </a:moveTo>
                    <a:cubicBezTo>
                      <a:pt x="19" y="11"/>
                      <a:pt x="19" y="11"/>
                      <a:pt x="19" y="11"/>
                    </a:cubicBezTo>
                    <a:cubicBezTo>
                      <a:pt x="22" y="12"/>
                      <a:pt x="25" y="13"/>
                      <a:pt x="27" y="16"/>
                    </a:cubicBezTo>
                    <a:cubicBezTo>
                      <a:pt x="25" y="13"/>
                      <a:pt x="22" y="11"/>
                      <a:pt x="19" y="11"/>
                    </a:cubicBezTo>
                    <a:moveTo>
                      <a:pt x="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0" y="0"/>
                      <a:pt x="13" y="2"/>
                      <a:pt x="16" y="4"/>
                    </a:cubicBezTo>
                    <a:cubicBezTo>
                      <a:pt x="14" y="2"/>
                      <a:pt x="11" y="0"/>
                      <a:pt x="8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8" name="Freeform 277">
                <a:extLst>
                  <a:ext uri="{FF2B5EF4-FFF2-40B4-BE49-F238E27FC236}">
                    <a16:creationId xmlns:a16="http://schemas.microsoft.com/office/drawing/2014/main" id="{69CFBF8E-5DC4-4762-9DBA-577BD6D609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" y="1025"/>
                <a:ext cx="11" cy="6"/>
              </a:xfrm>
              <a:custGeom>
                <a:avLst/>
                <a:gdLst>
                  <a:gd name="T0" fmla="*/ 7 w 19"/>
                  <a:gd name="T1" fmla="*/ 0 h 11"/>
                  <a:gd name="T2" fmla="*/ 0 w 19"/>
                  <a:gd name="T3" fmla="*/ 0 h 11"/>
                  <a:gd name="T4" fmla="*/ 10 w 19"/>
                  <a:gd name="T5" fmla="*/ 10 h 11"/>
                  <a:gd name="T6" fmla="*/ 15 w 19"/>
                  <a:gd name="T7" fmla="*/ 10 h 11"/>
                  <a:gd name="T8" fmla="*/ 19 w 19"/>
                  <a:gd name="T9" fmla="*/ 11 h 11"/>
                  <a:gd name="T10" fmla="*/ 19 w 19"/>
                  <a:gd name="T11" fmla="*/ 11 h 11"/>
                  <a:gd name="T12" fmla="*/ 19 w 19"/>
                  <a:gd name="T13" fmla="*/ 11 h 11"/>
                  <a:gd name="T14" fmla="*/ 16 w 19"/>
                  <a:gd name="T15" fmla="*/ 4 h 11"/>
                  <a:gd name="T16" fmla="*/ 7 w 19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1">
                    <a:moveTo>
                      <a:pt x="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0"/>
                      <a:pt x="9" y="5"/>
                      <a:pt x="10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6" y="10"/>
                      <a:pt x="18" y="11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8" y="8"/>
                      <a:pt x="17" y="6"/>
                      <a:pt x="16" y="4"/>
                    </a:cubicBezTo>
                    <a:cubicBezTo>
                      <a:pt x="13" y="2"/>
                      <a:pt x="10" y="0"/>
                      <a:pt x="7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9" name="Freeform 278">
                <a:extLst>
                  <a:ext uri="{FF2B5EF4-FFF2-40B4-BE49-F238E27FC236}">
                    <a16:creationId xmlns:a16="http://schemas.microsoft.com/office/drawing/2014/main" id="{1EE55227-8407-4DBC-9D2E-99CE025A8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8" y="1030"/>
                <a:ext cx="12" cy="111"/>
              </a:xfrm>
              <a:custGeom>
                <a:avLst/>
                <a:gdLst>
                  <a:gd name="T0" fmla="*/ 5 w 22"/>
                  <a:gd name="T1" fmla="*/ 0 h 203"/>
                  <a:gd name="T2" fmla="*/ 0 w 22"/>
                  <a:gd name="T3" fmla="*/ 0 h 203"/>
                  <a:gd name="T4" fmla="*/ 0 w 22"/>
                  <a:gd name="T5" fmla="*/ 1 h 203"/>
                  <a:gd name="T6" fmla="*/ 13 w 22"/>
                  <a:gd name="T7" fmla="*/ 20 h 203"/>
                  <a:gd name="T8" fmla="*/ 13 w 22"/>
                  <a:gd name="T9" fmla="*/ 203 h 203"/>
                  <a:gd name="T10" fmla="*/ 22 w 22"/>
                  <a:gd name="T11" fmla="*/ 203 h 203"/>
                  <a:gd name="T12" fmla="*/ 22 w 22"/>
                  <a:gd name="T13" fmla="*/ 20 h 203"/>
                  <a:gd name="T14" fmla="*/ 17 w 22"/>
                  <a:gd name="T15" fmla="*/ 6 h 203"/>
                  <a:gd name="T16" fmla="*/ 9 w 22"/>
                  <a:gd name="T17" fmla="*/ 1 h 203"/>
                  <a:gd name="T18" fmla="*/ 5 w 22"/>
                  <a:gd name="T19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03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7" y="2"/>
                      <a:pt x="13" y="10"/>
                      <a:pt x="13" y="20"/>
                    </a:cubicBezTo>
                    <a:cubicBezTo>
                      <a:pt x="13" y="203"/>
                      <a:pt x="13" y="203"/>
                      <a:pt x="13" y="203"/>
                    </a:cubicBezTo>
                    <a:cubicBezTo>
                      <a:pt x="22" y="203"/>
                      <a:pt x="22" y="203"/>
                      <a:pt x="22" y="203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2" y="14"/>
                      <a:pt x="20" y="9"/>
                      <a:pt x="17" y="6"/>
                    </a:cubicBezTo>
                    <a:cubicBezTo>
                      <a:pt x="15" y="3"/>
                      <a:pt x="12" y="2"/>
                      <a:pt x="9" y="1"/>
                    </a:cubicBezTo>
                    <a:cubicBezTo>
                      <a:pt x="8" y="1"/>
                      <a:pt x="6" y="0"/>
                      <a:pt x="5" y="0"/>
                    </a:cubicBezTo>
                  </a:path>
                </a:pathLst>
              </a:custGeom>
              <a:solidFill>
                <a:srgbClr val="503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0" name="Freeform 279">
                <a:extLst>
                  <a:ext uri="{FF2B5EF4-FFF2-40B4-BE49-F238E27FC236}">
                    <a16:creationId xmlns:a16="http://schemas.microsoft.com/office/drawing/2014/main" id="{714F2CF0-A580-4F7B-B7E0-C32E076A34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1" y="1141"/>
                <a:ext cx="9" cy="48"/>
              </a:xfrm>
              <a:custGeom>
                <a:avLst/>
                <a:gdLst>
                  <a:gd name="T0" fmla="*/ 16 w 16"/>
                  <a:gd name="T1" fmla="*/ 67 h 88"/>
                  <a:gd name="T2" fmla="*/ 7 w 16"/>
                  <a:gd name="T3" fmla="*/ 67 h 88"/>
                  <a:gd name="T4" fmla="*/ 7 w 16"/>
                  <a:gd name="T5" fmla="*/ 69 h 88"/>
                  <a:gd name="T6" fmla="*/ 0 w 16"/>
                  <a:gd name="T7" fmla="*/ 86 h 88"/>
                  <a:gd name="T8" fmla="*/ 0 w 16"/>
                  <a:gd name="T9" fmla="*/ 88 h 88"/>
                  <a:gd name="T10" fmla="*/ 1 w 16"/>
                  <a:gd name="T11" fmla="*/ 88 h 88"/>
                  <a:gd name="T12" fmla="*/ 16 w 16"/>
                  <a:gd name="T13" fmla="*/ 69 h 88"/>
                  <a:gd name="T14" fmla="*/ 16 w 16"/>
                  <a:gd name="T15" fmla="*/ 67 h 88"/>
                  <a:gd name="T16" fmla="*/ 16 w 16"/>
                  <a:gd name="T17" fmla="*/ 56 h 88"/>
                  <a:gd name="T18" fmla="*/ 7 w 16"/>
                  <a:gd name="T19" fmla="*/ 56 h 88"/>
                  <a:gd name="T20" fmla="*/ 7 w 16"/>
                  <a:gd name="T21" fmla="*/ 61 h 88"/>
                  <a:gd name="T22" fmla="*/ 16 w 16"/>
                  <a:gd name="T23" fmla="*/ 61 h 88"/>
                  <a:gd name="T24" fmla="*/ 16 w 16"/>
                  <a:gd name="T25" fmla="*/ 56 h 88"/>
                  <a:gd name="T26" fmla="*/ 16 w 16"/>
                  <a:gd name="T27" fmla="*/ 46 h 88"/>
                  <a:gd name="T28" fmla="*/ 7 w 16"/>
                  <a:gd name="T29" fmla="*/ 46 h 88"/>
                  <a:gd name="T30" fmla="*/ 7 w 16"/>
                  <a:gd name="T31" fmla="*/ 51 h 88"/>
                  <a:gd name="T32" fmla="*/ 16 w 16"/>
                  <a:gd name="T33" fmla="*/ 51 h 88"/>
                  <a:gd name="T34" fmla="*/ 16 w 16"/>
                  <a:gd name="T35" fmla="*/ 46 h 88"/>
                  <a:gd name="T36" fmla="*/ 16 w 16"/>
                  <a:gd name="T37" fmla="*/ 35 h 88"/>
                  <a:gd name="T38" fmla="*/ 7 w 16"/>
                  <a:gd name="T39" fmla="*/ 35 h 88"/>
                  <a:gd name="T40" fmla="*/ 7 w 16"/>
                  <a:gd name="T41" fmla="*/ 40 h 88"/>
                  <a:gd name="T42" fmla="*/ 16 w 16"/>
                  <a:gd name="T43" fmla="*/ 40 h 88"/>
                  <a:gd name="T44" fmla="*/ 16 w 16"/>
                  <a:gd name="T45" fmla="*/ 35 h 88"/>
                  <a:gd name="T46" fmla="*/ 16 w 16"/>
                  <a:gd name="T47" fmla="*/ 24 h 88"/>
                  <a:gd name="T48" fmla="*/ 7 w 16"/>
                  <a:gd name="T49" fmla="*/ 24 h 88"/>
                  <a:gd name="T50" fmla="*/ 7 w 16"/>
                  <a:gd name="T51" fmla="*/ 29 h 88"/>
                  <a:gd name="T52" fmla="*/ 16 w 16"/>
                  <a:gd name="T53" fmla="*/ 29 h 88"/>
                  <a:gd name="T54" fmla="*/ 16 w 16"/>
                  <a:gd name="T55" fmla="*/ 24 h 88"/>
                  <a:gd name="T56" fmla="*/ 16 w 16"/>
                  <a:gd name="T57" fmla="*/ 14 h 88"/>
                  <a:gd name="T58" fmla="*/ 7 w 16"/>
                  <a:gd name="T59" fmla="*/ 14 h 88"/>
                  <a:gd name="T60" fmla="*/ 7 w 16"/>
                  <a:gd name="T61" fmla="*/ 19 h 88"/>
                  <a:gd name="T62" fmla="*/ 16 w 16"/>
                  <a:gd name="T63" fmla="*/ 19 h 88"/>
                  <a:gd name="T64" fmla="*/ 16 w 16"/>
                  <a:gd name="T65" fmla="*/ 14 h 88"/>
                  <a:gd name="T66" fmla="*/ 16 w 16"/>
                  <a:gd name="T67" fmla="*/ 0 h 88"/>
                  <a:gd name="T68" fmla="*/ 16 w 16"/>
                  <a:gd name="T69" fmla="*/ 0 h 88"/>
                  <a:gd name="T70" fmla="*/ 7 w 16"/>
                  <a:gd name="T71" fmla="*/ 0 h 88"/>
                  <a:gd name="T72" fmla="*/ 7 w 16"/>
                  <a:gd name="T73" fmla="*/ 8 h 88"/>
                  <a:gd name="T74" fmla="*/ 16 w 16"/>
                  <a:gd name="T75" fmla="*/ 8 h 88"/>
                  <a:gd name="T76" fmla="*/ 16 w 16"/>
                  <a:gd name="T77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6" h="88">
                    <a:moveTo>
                      <a:pt x="16" y="67"/>
                    </a:moveTo>
                    <a:cubicBezTo>
                      <a:pt x="7" y="67"/>
                      <a:pt x="7" y="67"/>
                      <a:pt x="7" y="67"/>
                    </a:cubicBezTo>
                    <a:cubicBezTo>
                      <a:pt x="7" y="69"/>
                      <a:pt x="7" y="69"/>
                      <a:pt x="7" y="69"/>
                    </a:cubicBezTo>
                    <a:cubicBezTo>
                      <a:pt x="7" y="76"/>
                      <a:pt x="4" y="82"/>
                      <a:pt x="0" y="86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1" y="88"/>
                      <a:pt x="1" y="88"/>
                      <a:pt x="1" y="88"/>
                    </a:cubicBezTo>
                    <a:cubicBezTo>
                      <a:pt x="9" y="88"/>
                      <a:pt x="16" y="80"/>
                      <a:pt x="16" y="69"/>
                    </a:cubicBezTo>
                    <a:cubicBezTo>
                      <a:pt x="16" y="67"/>
                      <a:pt x="16" y="67"/>
                      <a:pt x="16" y="67"/>
                    </a:cubicBezTo>
                    <a:moveTo>
                      <a:pt x="16" y="56"/>
                    </a:moveTo>
                    <a:cubicBezTo>
                      <a:pt x="7" y="56"/>
                      <a:pt x="7" y="56"/>
                      <a:pt x="7" y="56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16" y="61"/>
                      <a:pt x="16" y="61"/>
                      <a:pt x="16" y="61"/>
                    </a:cubicBezTo>
                    <a:cubicBezTo>
                      <a:pt x="16" y="56"/>
                      <a:pt x="16" y="56"/>
                      <a:pt x="16" y="56"/>
                    </a:cubicBezTo>
                    <a:moveTo>
                      <a:pt x="16" y="4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7" y="51"/>
                      <a:pt x="7" y="51"/>
                      <a:pt x="7" y="51"/>
                    </a:cubicBezTo>
                    <a:cubicBezTo>
                      <a:pt x="16" y="51"/>
                      <a:pt x="16" y="51"/>
                      <a:pt x="16" y="51"/>
                    </a:cubicBezTo>
                    <a:cubicBezTo>
                      <a:pt x="16" y="46"/>
                      <a:pt x="16" y="46"/>
                      <a:pt x="16" y="46"/>
                    </a:cubicBezTo>
                    <a:moveTo>
                      <a:pt x="16" y="35"/>
                    </a:moveTo>
                    <a:cubicBezTo>
                      <a:pt x="7" y="35"/>
                      <a:pt x="7" y="35"/>
                      <a:pt x="7" y="35"/>
                    </a:cubicBezTo>
                    <a:cubicBezTo>
                      <a:pt x="7" y="40"/>
                      <a:pt x="7" y="40"/>
                      <a:pt x="7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35"/>
                      <a:pt x="16" y="35"/>
                      <a:pt x="16" y="35"/>
                    </a:cubicBezTo>
                    <a:moveTo>
                      <a:pt x="16" y="24"/>
                    </a:moveTo>
                    <a:cubicBezTo>
                      <a:pt x="7" y="24"/>
                      <a:pt x="7" y="24"/>
                      <a:pt x="7" y="24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16" y="29"/>
                      <a:pt x="16" y="29"/>
                      <a:pt x="16" y="29"/>
                    </a:cubicBezTo>
                    <a:cubicBezTo>
                      <a:pt x="16" y="24"/>
                      <a:pt x="16" y="24"/>
                      <a:pt x="16" y="24"/>
                    </a:cubicBezTo>
                    <a:moveTo>
                      <a:pt x="16" y="14"/>
                    </a:moveTo>
                    <a:cubicBezTo>
                      <a:pt x="7" y="14"/>
                      <a:pt x="7" y="14"/>
                      <a:pt x="7" y="14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6" y="14"/>
                      <a:pt x="16" y="14"/>
                      <a:pt x="16" y="14"/>
                    </a:cubicBezTo>
                    <a:moveTo>
                      <a:pt x="16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1" name="Freeform 280">
                <a:extLst>
                  <a:ext uri="{FF2B5EF4-FFF2-40B4-BE49-F238E27FC236}">
                    <a16:creationId xmlns:a16="http://schemas.microsoft.com/office/drawing/2014/main" id="{2270E81A-102E-4936-91D0-812548463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74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2" name="Freeform 281">
                <a:extLst>
                  <a:ext uri="{FF2B5EF4-FFF2-40B4-BE49-F238E27FC236}">
                    <a16:creationId xmlns:a16="http://schemas.microsoft.com/office/drawing/2014/main" id="{09F69975-325F-42CF-B807-6624B0AE9F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74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3" name="Freeform 282">
                <a:extLst>
                  <a:ext uri="{FF2B5EF4-FFF2-40B4-BE49-F238E27FC236}">
                    <a16:creationId xmlns:a16="http://schemas.microsoft.com/office/drawing/2014/main" id="{951B4EB7-E605-4E02-BA09-2F95858BA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9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4" name="Freeform 283">
                <a:extLst>
                  <a:ext uri="{FF2B5EF4-FFF2-40B4-BE49-F238E27FC236}">
                    <a16:creationId xmlns:a16="http://schemas.microsoft.com/office/drawing/2014/main" id="{EF6D7A92-7B17-483F-B642-C4C7A47B3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9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5" name="Freeform 284">
                <a:extLst>
                  <a:ext uri="{FF2B5EF4-FFF2-40B4-BE49-F238E27FC236}">
                    <a16:creationId xmlns:a16="http://schemas.microsoft.com/office/drawing/2014/main" id="{5D07A1D8-3975-43F5-A598-66C824FB90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3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6" name="Freeform 285">
                <a:extLst>
                  <a:ext uri="{FF2B5EF4-FFF2-40B4-BE49-F238E27FC236}">
                    <a16:creationId xmlns:a16="http://schemas.microsoft.com/office/drawing/2014/main" id="{CD701FCA-D437-40C4-9D03-97B7CE0E7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3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7" name="Freeform 286">
                <a:extLst>
                  <a:ext uri="{FF2B5EF4-FFF2-40B4-BE49-F238E27FC236}">
                    <a16:creationId xmlns:a16="http://schemas.microsoft.com/office/drawing/2014/main" id="{545F19E8-1BB1-447E-9442-D0B41BDC52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7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8" name="Freeform 287">
                <a:extLst>
                  <a:ext uri="{FF2B5EF4-FFF2-40B4-BE49-F238E27FC236}">
                    <a16:creationId xmlns:a16="http://schemas.microsoft.com/office/drawing/2014/main" id="{695DDBBF-D411-4075-A805-B01D419E5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7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9" name="Freeform 288">
                <a:extLst>
                  <a:ext uri="{FF2B5EF4-FFF2-40B4-BE49-F238E27FC236}">
                    <a16:creationId xmlns:a16="http://schemas.microsoft.com/office/drawing/2014/main" id="{BC93D625-0429-4893-B576-AB87808907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1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0" name="Freeform 289">
                <a:extLst>
                  <a:ext uri="{FF2B5EF4-FFF2-40B4-BE49-F238E27FC236}">
                    <a16:creationId xmlns:a16="http://schemas.microsoft.com/office/drawing/2014/main" id="{B8CD1789-9C34-4B88-BBF4-A567CFCC6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1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1" name="Freeform 290">
                <a:extLst>
                  <a:ext uri="{FF2B5EF4-FFF2-40B4-BE49-F238E27FC236}">
                    <a16:creationId xmlns:a16="http://schemas.microsoft.com/office/drawing/2014/main" id="{531DA057-D7F8-4ACA-9BEF-744E5D69AA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45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2" name="Freeform 291">
                <a:extLst>
                  <a:ext uri="{FF2B5EF4-FFF2-40B4-BE49-F238E27FC236}">
                    <a16:creationId xmlns:a16="http://schemas.microsoft.com/office/drawing/2014/main" id="{52BEA705-55B3-46D9-B40E-16B1BE0DE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45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292">
                <a:extLst>
                  <a:ext uri="{FF2B5EF4-FFF2-40B4-BE49-F238E27FC236}">
                    <a16:creationId xmlns:a16="http://schemas.microsoft.com/office/drawing/2014/main" id="{1EAD208A-8B4A-41A9-BC14-22C2B722E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9" y="1188"/>
                <a:ext cx="2" cy="1"/>
              </a:xfrm>
              <a:custGeom>
                <a:avLst/>
                <a:gdLst>
                  <a:gd name="T0" fmla="*/ 3 w 3"/>
                  <a:gd name="T1" fmla="*/ 0 h 2"/>
                  <a:gd name="T2" fmla="*/ 0 w 3"/>
                  <a:gd name="T3" fmla="*/ 1 h 2"/>
                  <a:gd name="T4" fmla="*/ 0 w 3"/>
                  <a:gd name="T5" fmla="*/ 2 h 2"/>
                  <a:gd name="T6" fmla="*/ 3 w 3"/>
                  <a:gd name="T7" fmla="*/ 2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cubicBezTo>
                      <a:pt x="2" y="0"/>
                      <a:pt x="1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2826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4" name="Freeform 293">
                <a:extLst>
                  <a:ext uri="{FF2B5EF4-FFF2-40B4-BE49-F238E27FC236}">
                    <a16:creationId xmlns:a16="http://schemas.microsoft.com/office/drawing/2014/main" id="{5B2A0D1D-51F1-4C0F-9A4C-52E6962CB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7" y="1189"/>
                <a:ext cx="2" cy="0"/>
              </a:xfrm>
              <a:custGeom>
                <a:avLst/>
                <a:gdLst>
                  <a:gd name="T0" fmla="*/ 5 w 5"/>
                  <a:gd name="T1" fmla="*/ 0 h 1"/>
                  <a:gd name="T2" fmla="*/ 0 w 5"/>
                  <a:gd name="T3" fmla="*/ 1 h 1"/>
                  <a:gd name="T4" fmla="*/ 5 w 5"/>
                  <a:gd name="T5" fmla="*/ 1 h 1"/>
                  <a:gd name="T6" fmla="*/ 5 w 5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cubicBezTo>
                      <a:pt x="3" y="1"/>
                      <a:pt x="2" y="1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5" name="Freeform 294">
                <a:extLst>
                  <a:ext uri="{FF2B5EF4-FFF2-40B4-BE49-F238E27FC236}">
                    <a16:creationId xmlns:a16="http://schemas.microsoft.com/office/drawing/2014/main" id="{0E474AF7-E52C-4349-9F8A-83BDC08518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1052"/>
                <a:ext cx="4" cy="69"/>
              </a:xfrm>
              <a:custGeom>
                <a:avLst/>
                <a:gdLst>
                  <a:gd name="T0" fmla="*/ 4 w 8"/>
                  <a:gd name="T1" fmla="*/ 0 h 127"/>
                  <a:gd name="T2" fmla="*/ 4 w 8"/>
                  <a:gd name="T3" fmla="*/ 0 h 127"/>
                  <a:gd name="T4" fmla="*/ 0 w 8"/>
                  <a:gd name="T5" fmla="*/ 4 h 127"/>
                  <a:gd name="T6" fmla="*/ 0 w 8"/>
                  <a:gd name="T7" fmla="*/ 123 h 127"/>
                  <a:gd name="T8" fmla="*/ 4 w 8"/>
                  <a:gd name="T9" fmla="*/ 127 h 127"/>
                  <a:gd name="T10" fmla="*/ 8 w 8"/>
                  <a:gd name="T11" fmla="*/ 123 h 127"/>
                  <a:gd name="T12" fmla="*/ 8 w 8"/>
                  <a:gd name="T13" fmla="*/ 4 h 127"/>
                  <a:gd name="T14" fmla="*/ 4 w 8"/>
                  <a:gd name="T15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27">
                    <a:moveTo>
                      <a:pt x="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23"/>
                      <a:pt x="0" y="123"/>
                      <a:pt x="0" y="123"/>
                    </a:cubicBezTo>
                    <a:cubicBezTo>
                      <a:pt x="0" y="125"/>
                      <a:pt x="2" y="127"/>
                      <a:pt x="4" y="127"/>
                    </a:cubicBezTo>
                    <a:cubicBezTo>
                      <a:pt x="6" y="127"/>
                      <a:pt x="8" y="125"/>
                      <a:pt x="8" y="12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solidFill>
                <a:srgbClr val="2C40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6" name="Freeform 295">
                <a:extLst>
                  <a:ext uri="{FF2B5EF4-FFF2-40B4-BE49-F238E27FC236}">
                    <a16:creationId xmlns:a16="http://schemas.microsoft.com/office/drawing/2014/main" id="{28EF8B93-35D6-4089-942A-986DA9C0FB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2" y="2184"/>
                <a:ext cx="57" cy="53"/>
              </a:xfrm>
              <a:custGeom>
                <a:avLst/>
                <a:gdLst>
                  <a:gd name="T0" fmla="*/ 0 w 103"/>
                  <a:gd name="T1" fmla="*/ 78 h 96"/>
                  <a:gd name="T2" fmla="*/ 68 w 103"/>
                  <a:gd name="T3" fmla="*/ 93 h 96"/>
                  <a:gd name="T4" fmla="*/ 90 w 103"/>
                  <a:gd name="T5" fmla="*/ 83 h 96"/>
                  <a:gd name="T6" fmla="*/ 101 w 103"/>
                  <a:gd name="T7" fmla="*/ 35 h 96"/>
                  <a:gd name="T8" fmla="*/ 85 w 103"/>
                  <a:gd name="T9" fmla="*/ 16 h 96"/>
                  <a:gd name="T10" fmla="*/ 18 w 103"/>
                  <a:gd name="T11" fmla="*/ 0 h 96"/>
                  <a:gd name="T12" fmla="*/ 0 w 103"/>
                  <a:gd name="T13" fmla="*/ 7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96">
                    <a:moveTo>
                      <a:pt x="0" y="78"/>
                    </a:moveTo>
                    <a:cubicBezTo>
                      <a:pt x="68" y="93"/>
                      <a:pt x="68" y="93"/>
                      <a:pt x="68" y="93"/>
                    </a:cubicBezTo>
                    <a:cubicBezTo>
                      <a:pt x="78" y="96"/>
                      <a:pt x="88" y="91"/>
                      <a:pt x="90" y="8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3" y="27"/>
                      <a:pt x="96" y="18"/>
                      <a:pt x="85" y="16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78"/>
                      <a:pt x="0" y="78"/>
                      <a:pt x="0" y="78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7" name="Freeform 296">
                <a:extLst>
                  <a:ext uri="{FF2B5EF4-FFF2-40B4-BE49-F238E27FC236}">
                    <a16:creationId xmlns:a16="http://schemas.microsoft.com/office/drawing/2014/main" id="{886F9BDC-91E4-4B2C-9794-425A0303F5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192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8" name="Freeform 297">
                <a:extLst>
                  <a:ext uri="{FF2B5EF4-FFF2-40B4-BE49-F238E27FC236}">
                    <a16:creationId xmlns:a16="http://schemas.microsoft.com/office/drawing/2014/main" id="{84AB0C22-5AE4-4D9E-9B55-0BB9821442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192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9" name="Freeform 298">
                <a:extLst>
                  <a:ext uri="{FF2B5EF4-FFF2-40B4-BE49-F238E27FC236}">
                    <a16:creationId xmlns:a16="http://schemas.microsoft.com/office/drawing/2014/main" id="{ED5D00F5-4E26-4B35-A14B-7F5A5B9345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191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0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0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0" name="Freeform 299">
                <a:extLst>
                  <a:ext uri="{FF2B5EF4-FFF2-40B4-BE49-F238E27FC236}">
                    <a16:creationId xmlns:a16="http://schemas.microsoft.com/office/drawing/2014/main" id="{7096A632-5CF5-4EC3-A707-026562DC84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191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0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0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" name="Freeform 300">
                <a:extLst>
                  <a:ext uri="{FF2B5EF4-FFF2-40B4-BE49-F238E27FC236}">
                    <a16:creationId xmlns:a16="http://schemas.microsoft.com/office/drawing/2014/main" id="{5985318C-571B-4BB7-9851-8A3BDCADE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189"/>
                <a:ext cx="12" cy="43"/>
              </a:xfrm>
              <a:custGeom>
                <a:avLst/>
                <a:gdLst>
                  <a:gd name="T0" fmla="*/ 0 w 12"/>
                  <a:gd name="T1" fmla="*/ 43 h 43"/>
                  <a:gd name="T2" fmla="*/ 10 w 12"/>
                  <a:gd name="T3" fmla="*/ 0 h 43"/>
                  <a:gd name="T4" fmla="*/ 12 w 12"/>
                  <a:gd name="T5" fmla="*/ 1 h 43"/>
                  <a:gd name="T6" fmla="*/ 3 w 12"/>
                  <a:gd name="T7" fmla="*/ 43 h 43"/>
                  <a:gd name="T8" fmla="*/ 0 w 12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2" name="Freeform 301">
                <a:extLst>
                  <a:ext uri="{FF2B5EF4-FFF2-40B4-BE49-F238E27FC236}">
                    <a16:creationId xmlns:a16="http://schemas.microsoft.com/office/drawing/2014/main" id="{4C03E55F-8F0E-4589-AB32-970271AD48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189"/>
                <a:ext cx="12" cy="43"/>
              </a:xfrm>
              <a:custGeom>
                <a:avLst/>
                <a:gdLst>
                  <a:gd name="T0" fmla="*/ 0 w 12"/>
                  <a:gd name="T1" fmla="*/ 43 h 43"/>
                  <a:gd name="T2" fmla="*/ 10 w 12"/>
                  <a:gd name="T3" fmla="*/ 0 h 43"/>
                  <a:gd name="T4" fmla="*/ 12 w 12"/>
                  <a:gd name="T5" fmla="*/ 1 h 43"/>
                  <a:gd name="T6" fmla="*/ 3 w 12"/>
                  <a:gd name="T7" fmla="*/ 43 h 43"/>
                  <a:gd name="T8" fmla="*/ 0 w 12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3" y="43"/>
                    </a:lnTo>
                    <a:lnTo>
                      <a:pt x="0" y="4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3" name="Freeform 302">
                <a:extLst>
                  <a:ext uri="{FF2B5EF4-FFF2-40B4-BE49-F238E27FC236}">
                    <a16:creationId xmlns:a16="http://schemas.microsoft.com/office/drawing/2014/main" id="{40E01002-F6F9-409B-82B6-2E3AD920C3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188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4" name="Freeform 303">
                <a:extLst>
                  <a:ext uri="{FF2B5EF4-FFF2-40B4-BE49-F238E27FC236}">
                    <a16:creationId xmlns:a16="http://schemas.microsoft.com/office/drawing/2014/main" id="{514269D5-5AE2-43F1-8CD5-D19B0031A6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188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Freeform 304">
                <a:extLst>
                  <a:ext uri="{FF2B5EF4-FFF2-40B4-BE49-F238E27FC236}">
                    <a16:creationId xmlns:a16="http://schemas.microsoft.com/office/drawing/2014/main" id="{D88CB003-30F5-44C9-91F2-8F929AC05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187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4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4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6" name="Freeform 305">
                <a:extLst>
                  <a:ext uri="{FF2B5EF4-FFF2-40B4-BE49-F238E27FC236}">
                    <a16:creationId xmlns:a16="http://schemas.microsoft.com/office/drawing/2014/main" id="{18128655-92FE-4A39-B224-A22A65942B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187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4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4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7" name="Freeform 306">
                <a:extLst>
                  <a:ext uri="{FF2B5EF4-FFF2-40B4-BE49-F238E27FC236}">
                    <a16:creationId xmlns:a16="http://schemas.microsoft.com/office/drawing/2014/main" id="{DF894BD8-8009-4004-8AD7-98B880818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185"/>
                <a:ext cx="12" cy="44"/>
              </a:xfrm>
              <a:custGeom>
                <a:avLst/>
                <a:gdLst>
                  <a:gd name="T0" fmla="*/ 0 w 12"/>
                  <a:gd name="T1" fmla="*/ 43 h 44"/>
                  <a:gd name="T2" fmla="*/ 10 w 12"/>
                  <a:gd name="T3" fmla="*/ 0 h 44"/>
                  <a:gd name="T4" fmla="*/ 12 w 12"/>
                  <a:gd name="T5" fmla="*/ 1 h 44"/>
                  <a:gd name="T6" fmla="*/ 2 w 12"/>
                  <a:gd name="T7" fmla="*/ 44 h 44"/>
                  <a:gd name="T8" fmla="*/ 0 w 12"/>
                  <a:gd name="T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4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2" y="44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Freeform 307">
                <a:extLst>
                  <a:ext uri="{FF2B5EF4-FFF2-40B4-BE49-F238E27FC236}">
                    <a16:creationId xmlns:a16="http://schemas.microsoft.com/office/drawing/2014/main" id="{0E3E2912-A20B-4CB7-BF00-981DE897C7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185"/>
                <a:ext cx="12" cy="44"/>
              </a:xfrm>
              <a:custGeom>
                <a:avLst/>
                <a:gdLst>
                  <a:gd name="T0" fmla="*/ 0 w 12"/>
                  <a:gd name="T1" fmla="*/ 43 h 44"/>
                  <a:gd name="T2" fmla="*/ 10 w 12"/>
                  <a:gd name="T3" fmla="*/ 0 h 44"/>
                  <a:gd name="T4" fmla="*/ 12 w 12"/>
                  <a:gd name="T5" fmla="*/ 1 h 44"/>
                  <a:gd name="T6" fmla="*/ 2 w 12"/>
                  <a:gd name="T7" fmla="*/ 44 h 44"/>
                  <a:gd name="T8" fmla="*/ 0 w 12"/>
                  <a:gd name="T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4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2" y="44"/>
                    </a:lnTo>
                    <a:lnTo>
                      <a:pt x="0" y="4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9" name="Freeform 308">
                <a:extLst>
                  <a:ext uri="{FF2B5EF4-FFF2-40B4-BE49-F238E27FC236}">
                    <a16:creationId xmlns:a16="http://schemas.microsoft.com/office/drawing/2014/main" id="{EBD39137-F98F-4BF3-8DEA-DBF39B935F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194"/>
                <a:ext cx="17" cy="24"/>
              </a:xfrm>
              <a:custGeom>
                <a:avLst/>
                <a:gdLst>
                  <a:gd name="T0" fmla="*/ 14 w 31"/>
                  <a:gd name="T1" fmla="*/ 0 h 45"/>
                  <a:gd name="T2" fmla="*/ 5 w 31"/>
                  <a:gd name="T3" fmla="*/ 9 h 45"/>
                  <a:gd name="T4" fmla="*/ 2 w 31"/>
                  <a:gd name="T5" fmla="*/ 26 h 45"/>
                  <a:gd name="T6" fmla="*/ 11 w 31"/>
                  <a:gd name="T7" fmla="*/ 41 h 45"/>
                  <a:gd name="T8" fmla="*/ 31 w 31"/>
                  <a:gd name="T9" fmla="*/ 45 h 45"/>
                  <a:gd name="T10" fmla="*/ 31 w 31"/>
                  <a:gd name="T11" fmla="*/ 43 h 45"/>
                  <a:gd name="T12" fmla="*/ 15 w 31"/>
                  <a:gd name="T13" fmla="*/ 39 h 45"/>
                  <a:gd name="T14" fmla="*/ 6 w 31"/>
                  <a:gd name="T15" fmla="*/ 24 h 45"/>
                  <a:gd name="T16" fmla="*/ 10 w 31"/>
                  <a:gd name="T17" fmla="*/ 7 h 45"/>
                  <a:gd name="T18" fmla="*/ 14 w 31"/>
                  <a:gd name="T1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14" y="0"/>
                    </a:moveTo>
                    <a:cubicBezTo>
                      <a:pt x="10" y="1"/>
                      <a:pt x="7" y="4"/>
                      <a:pt x="5" y="9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0" y="33"/>
                      <a:pt x="4" y="39"/>
                      <a:pt x="11" y="41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8" y="37"/>
                      <a:pt x="4" y="31"/>
                      <a:pt x="6" y="24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4"/>
                      <a:pt x="12" y="1"/>
                      <a:pt x="14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0" name="Freeform 309">
                <a:extLst>
                  <a:ext uri="{FF2B5EF4-FFF2-40B4-BE49-F238E27FC236}">
                    <a16:creationId xmlns:a16="http://schemas.microsoft.com/office/drawing/2014/main" id="{6D0CC0B9-E9A3-402A-99CC-8B0F579216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5" y="2217"/>
                <a:ext cx="27" cy="8"/>
              </a:xfrm>
              <a:custGeom>
                <a:avLst/>
                <a:gdLst>
                  <a:gd name="T0" fmla="*/ 24 w 27"/>
                  <a:gd name="T1" fmla="*/ 6 h 8"/>
                  <a:gd name="T2" fmla="*/ 24 w 27"/>
                  <a:gd name="T3" fmla="*/ 7 h 8"/>
                  <a:gd name="T4" fmla="*/ 26 w 27"/>
                  <a:gd name="T5" fmla="*/ 8 h 8"/>
                  <a:gd name="T6" fmla="*/ 27 w 27"/>
                  <a:gd name="T7" fmla="*/ 6 h 8"/>
                  <a:gd name="T8" fmla="*/ 24 w 27"/>
                  <a:gd name="T9" fmla="*/ 6 h 8"/>
                  <a:gd name="T10" fmla="*/ 18 w 27"/>
                  <a:gd name="T11" fmla="*/ 4 h 8"/>
                  <a:gd name="T12" fmla="*/ 18 w 27"/>
                  <a:gd name="T13" fmla="*/ 6 h 8"/>
                  <a:gd name="T14" fmla="*/ 21 w 27"/>
                  <a:gd name="T15" fmla="*/ 6 h 8"/>
                  <a:gd name="T16" fmla="*/ 21 w 27"/>
                  <a:gd name="T17" fmla="*/ 5 h 8"/>
                  <a:gd name="T18" fmla="*/ 18 w 27"/>
                  <a:gd name="T19" fmla="*/ 4 h 8"/>
                  <a:gd name="T20" fmla="*/ 13 w 27"/>
                  <a:gd name="T21" fmla="*/ 3 h 8"/>
                  <a:gd name="T22" fmla="*/ 12 w 27"/>
                  <a:gd name="T23" fmla="*/ 4 h 8"/>
                  <a:gd name="T24" fmla="*/ 15 w 27"/>
                  <a:gd name="T25" fmla="*/ 5 h 8"/>
                  <a:gd name="T26" fmla="*/ 15 w 27"/>
                  <a:gd name="T27" fmla="*/ 3 h 8"/>
                  <a:gd name="T28" fmla="*/ 13 w 27"/>
                  <a:gd name="T29" fmla="*/ 3 h 8"/>
                  <a:gd name="T30" fmla="*/ 7 w 27"/>
                  <a:gd name="T31" fmla="*/ 2 h 8"/>
                  <a:gd name="T32" fmla="*/ 7 w 27"/>
                  <a:gd name="T33" fmla="*/ 3 h 8"/>
                  <a:gd name="T34" fmla="*/ 9 w 27"/>
                  <a:gd name="T35" fmla="*/ 4 h 8"/>
                  <a:gd name="T36" fmla="*/ 10 w 27"/>
                  <a:gd name="T37" fmla="*/ 2 h 8"/>
                  <a:gd name="T38" fmla="*/ 7 w 27"/>
                  <a:gd name="T39" fmla="*/ 2 h 8"/>
                  <a:gd name="T40" fmla="*/ 0 w 27"/>
                  <a:gd name="T41" fmla="*/ 0 h 8"/>
                  <a:gd name="T42" fmla="*/ 0 w 27"/>
                  <a:gd name="T43" fmla="*/ 1 h 8"/>
                  <a:gd name="T44" fmla="*/ 4 w 27"/>
                  <a:gd name="T45" fmla="*/ 2 h 8"/>
                  <a:gd name="T46" fmla="*/ 4 w 27"/>
                  <a:gd name="T47" fmla="*/ 1 h 8"/>
                  <a:gd name="T48" fmla="*/ 0 w 27"/>
                  <a:gd name="T4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" h="8">
                    <a:moveTo>
                      <a:pt x="24" y="6"/>
                    </a:moveTo>
                    <a:lnTo>
                      <a:pt x="24" y="7"/>
                    </a:lnTo>
                    <a:lnTo>
                      <a:pt x="26" y="8"/>
                    </a:lnTo>
                    <a:lnTo>
                      <a:pt x="27" y="6"/>
                    </a:lnTo>
                    <a:lnTo>
                      <a:pt x="24" y="6"/>
                    </a:lnTo>
                    <a:close/>
                    <a:moveTo>
                      <a:pt x="18" y="4"/>
                    </a:moveTo>
                    <a:lnTo>
                      <a:pt x="18" y="6"/>
                    </a:lnTo>
                    <a:lnTo>
                      <a:pt x="21" y="6"/>
                    </a:lnTo>
                    <a:lnTo>
                      <a:pt x="21" y="5"/>
                    </a:lnTo>
                    <a:lnTo>
                      <a:pt x="18" y="4"/>
                    </a:lnTo>
                    <a:close/>
                    <a:moveTo>
                      <a:pt x="13" y="3"/>
                    </a:moveTo>
                    <a:lnTo>
                      <a:pt x="12" y="4"/>
                    </a:lnTo>
                    <a:lnTo>
                      <a:pt x="15" y="5"/>
                    </a:lnTo>
                    <a:lnTo>
                      <a:pt x="15" y="3"/>
                    </a:lnTo>
                    <a:lnTo>
                      <a:pt x="13" y="3"/>
                    </a:lnTo>
                    <a:close/>
                    <a:moveTo>
                      <a:pt x="7" y="2"/>
                    </a:moveTo>
                    <a:lnTo>
                      <a:pt x="7" y="3"/>
                    </a:lnTo>
                    <a:lnTo>
                      <a:pt x="9" y="4"/>
                    </a:lnTo>
                    <a:lnTo>
                      <a:pt x="10" y="2"/>
                    </a:lnTo>
                    <a:lnTo>
                      <a:pt x="7" y="2"/>
                    </a:lnTo>
                    <a:close/>
                    <a:moveTo>
                      <a:pt x="0" y="0"/>
                    </a:moveTo>
                    <a:lnTo>
                      <a:pt x="0" y="1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1" name="Freeform 310">
                <a:extLst>
                  <a:ext uri="{FF2B5EF4-FFF2-40B4-BE49-F238E27FC236}">
                    <a16:creationId xmlns:a16="http://schemas.microsoft.com/office/drawing/2014/main" id="{5E59173D-37ED-4261-A904-5F33C8416A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5" y="2217"/>
                <a:ext cx="27" cy="8"/>
              </a:xfrm>
              <a:custGeom>
                <a:avLst/>
                <a:gdLst>
                  <a:gd name="T0" fmla="*/ 24 w 27"/>
                  <a:gd name="T1" fmla="*/ 6 h 8"/>
                  <a:gd name="T2" fmla="*/ 24 w 27"/>
                  <a:gd name="T3" fmla="*/ 7 h 8"/>
                  <a:gd name="T4" fmla="*/ 26 w 27"/>
                  <a:gd name="T5" fmla="*/ 8 h 8"/>
                  <a:gd name="T6" fmla="*/ 27 w 27"/>
                  <a:gd name="T7" fmla="*/ 6 h 8"/>
                  <a:gd name="T8" fmla="*/ 24 w 27"/>
                  <a:gd name="T9" fmla="*/ 6 h 8"/>
                  <a:gd name="T10" fmla="*/ 18 w 27"/>
                  <a:gd name="T11" fmla="*/ 4 h 8"/>
                  <a:gd name="T12" fmla="*/ 18 w 27"/>
                  <a:gd name="T13" fmla="*/ 6 h 8"/>
                  <a:gd name="T14" fmla="*/ 21 w 27"/>
                  <a:gd name="T15" fmla="*/ 6 h 8"/>
                  <a:gd name="T16" fmla="*/ 21 w 27"/>
                  <a:gd name="T17" fmla="*/ 5 h 8"/>
                  <a:gd name="T18" fmla="*/ 18 w 27"/>
                  <a:gd name="T19" fmla="*/ 4 h 8"/>
                  <a:gd name="T20" fmla="*/ 13 w 27"/>
                  <a:gd name="T21" fmla="*/ 3 h 8"/>
                  <a:gd name="T22" fmla="*/ 12 w 27"/>
                  <a:gd name="T23" fmla="*/ 4 h 8"/>
                  <a:gd name="T24" fmla="*/ 15 w 27"/>
                  <a:gd name="T25" fmla="*/ 5 h 8"/>
                  <a:gd name="T26" fmla="*/ 15 w 27"/>
                  <a:gd name="T27" fmla="*/ 3 h 8"/>
                  <a:gd name="T28" fmla="*/ 13 w 27"/>
                  <a:gd name="T29" fmla="*/ 3 h 8"/>
                  <a:gd name="T30" fmla="*/ 7 w 27"/>
                  <a:gd name="T31" fmla="*/ 2 h 8"/>
                  <a:gd name="T32" fmla="*/ 7 w 27"/>
                  <a:gd name="T33" fmla="*/ 3 h 8"/>
                  <a:gd name="T34" fmla="*/ 9 w 27"/>
                  <a:gd name="T35" fmla="*/ 4 h 8"/>
                  <a:gd name="T36" fmla="*/ 10 w 27"/>
                  <a:gd name="T37" fmla="*/ 2 h 8"/>
                  <a:gd name="T38" fmla="*/ 7 w 27"/>
                  <a:gd name="T39" fmla="*/ 2 h 8"/>
                  <a:gd name="T40" fmla="*/ 0 w 27"/>
                  <a:gd name="T41" fmla="*/ 0 h 8"/>
                  <a:gd name="T42" fmla="*/ 0 w 27"/>
                  <a:gd name="T43" fmla="*/ 1 h 8"/>
                  <a:gd name="T44" fmla="*/ 4 w 27"/>
                  <a:gd name="T45" fmla="*/ 2 h 8"/>
                  <a:gd name="T46" fmla="*/ 4 w 27"/>
                  <a:gd name="T47" fmla="*/ 1 h 8"/>
                  <a:gd name="T48" fmla="*/ 0 w 27"/>
                  <a:gd name="T4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" h="8">
                    <a:moveTo>
                      <a:pt x="24" y="6"/>
                    </a:moveTo>
                    <a:lnTo>
                      <a:pt x="24" y="7"/>
                    </a:lnTo>
                    <a:lnTo>
                      <a:pt x="26" y="8"/>
                    </a:lnTo>
                    <a:lnTo>
                      <a:pt x="27" y="6"/>
                    </a:lnTo>
                    <a:lnTo>
                      <a:pt x="24" y="6"/>
                    </a:lnTo>
                    <a:moveTo>
                      <a:pt x="18" y="4"/>
                    </a:moveTo>
                    <a:lnTo>
                      <a:pt x="18" y="6"/>
                    </a:lnTo>
                    <a:lnTo>
                      <a:pt x="21" y="6"/>
                    </a:lnTo>
                    <a:lnTo>
                      <a:pt x="21" y="5"/>
                    </a:lnTo>
                    <a:lnTo>
                      <a:pt x="18" y="4"/>
                    </a:lnTo>
                    <a:moveTo>
                      <a:pt x="13" y="3"/>
                    </a:moveTo>
                    <a:lnTo>
                      <a:pt x="12" y="4"/>
                    </a:lnTo>
                    <a:lnTo>
                      <a:pt x="15" y="5"/>
                    </a:lnTo>
                    <a:lnTo>
                      <a:pt x="15" y="3"/>
                    </a:lnTo>
                    <a:lnTo>
                      <a:pt x="13" y="3"/>
                    </a:lnTo>
                    <a:moveTo>
                      <a:pt x="7" y="2"/>
                    </a:moveTo>
                    <a:lnTo>
                      <a:pt x="7" y="3"/>
                    </a:lnTo>
                    <a:lnTo>
                      <a:pt x="9" y="4"/>
                    </a:lnTo>
                    <a:lnTo>
                      <a:pt x="10" y="2"/>
                    </a:lnTo>
                    <a:lnTo>
                      <a:pt x="7" y="2"/>
                    </a:lnTo>
                    <a:moveTo>
                      <a:pt x="0" y="0"/>
                    </a:moveTo>
                    <a:lnTo>
                      <a:pt x="0" y="1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2" name="Rectangle 311">
                <a:extLst>
                  <a:ext uri="{FF2B5EF4-FFF2-40B4-BE49-F238E27FC236}">
                    <a16:creationId xmlns:a16="http://schemas.microsoft.com/office/drawing/2014/main" id="{9AD7DE13-AAFE-4369-97FD-05FE5D5484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3" name="Rectangle 312">
                <a:extLst>
                  <a:ext uri="{FF2B5EF4-FFF2-40B4-BE49-F238E27FC236}">
                    <a16:creationId xmlns:a16="http://schemas.microsoft.com/office/drawing/2014/main" id="{E16D78B7-27DA-4CF0-AB57-CE645A0478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4" name="Freeform 313">
                <a:extLst>
                  <a:ext uri="{FF2B5EF4-FFF2-40B4-BE49-F238E27FC236}">
                    <a16:creationId xmlns:a16="http://schemas.microsoft.com/office/drawing/2014/main" id="{0E19076A-7656-4EE8-B50C-E5DC6D5129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4" y="2224"/>
                <a:ext cx="18" cy="5"/>
              </a:xfrm>
              <a:custGeom>
                <a:avLst/>
                <a:gdLst>
                  <a:gd name="T0" fmla="*/ 11 w 32"/>
                  <a:gd name="T1" fmla="*/ 3 h 10"/>
                  <a:gd name="T2" fmla="*/ 11 w 32"/>
                  <a:gd name="T3" fmla="*/ 5 h 10"/>
                  <a:gd name="T4" fmla="*/ 29 w 32"/>
                  <a:gd name="T5" fmla="*/ 10 h 10"/>
                  <a:gd name="T6" fmla="*/ 32 w 32"/>
                  <a:gd name="T7" fmla="*/ 7 h 10"/>
                  <a:gd name="T8" fmla="*/ 11 w 32"/>
                  <a:gd name="T9" fmla="*/ 3 h 10"/>
                  <a:gd name="T10" fmla="*/ 1 w 32"/>
                  <a:gd name="T11" fmla="*/ 0 h 10"/>
                  <a:gd name="T12" fmla="*/ 0 w 32"/>
                  <a:gd name="T13" fmla="*/ 3 h 10"/>
                  <a:gd name="T14" fmla="*/ 5 w 32"/>
                  <a:gd name="T15" fmla="*/ 4 h 10"/>
                  <a:gd name="T16" fmla="*/ 6 w 32"/>
                  <a:gd name="T17" fmla="*/ 1 h 10"/>
                  <a:gd name="T18" fmla="*/ 1 w 32"/>
                  <a:gd name="T1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10">
                    <a:moveTo>
                      <a:pt x="11" y="3"/>
                    </a:moveTo>
                    <a:cubicBezTo>
                      <a:pt x="11" y="5"/>
                      <a:pt x="11" y="5"/>
                      <a:pt x="11" y="5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9"/>
                      <a:pt x="31" y="8"/>
                      <a:pt x="32" y="7"/>
                    </a:cubicBezTo>
                    <a:cubicBezTo>
                      <a:pt x="11" y="3"/>
                      <a:pt x="11" y="3"/>
                      <a:pt x="11" y="3"/>
                    </a:cubicBezTo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5" name="Freeform 314">
                <a:extLst>
                  <a:ext uri="{FF2B5EF4-FFF2-40B4-BE49-F238E27FC236}">
                    <a16:creationId xmlns:a16="http://schemas.microsoft.com/office/drawing/2014/main" id="{0F5D374D-8AC1-4BE4-A086-993889EA1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2224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6" name="Freeform 315">
                <a:extLst>
                  <a:ext uri="{FF2B5EF4-FFF2-40B4-BE49-F238E27FC236}">
                    <a16:creationId xmlns:a16="http://schemas.microsoft.com/office/drawing/2014/main" id="{81F23A47-CC08-48D4-9BA2-AD20C80D5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2224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7" name="Freeform 316">
                <a:extLst>
                  <a:ext uri="{FF2B5EF4-FFF2-40B4-BE49-F238E27FC236}">
                    <a16:creationId xmlns:a16="http://schemas.microsoft.com/office/drawing/2014/main" id="{D46FC136-779D-41A1-9D55-5FDB87B0D5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1" y="2223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8" name="Freeform 317">
                <a:extLst>
                  <a:ext uri="{FF2B5EF4-FFF2-40B4-BE49-F238E27FC236}">
                    <a16:creationId xmlns:a16="http://schemas.microsoft.com/office/drawing/2014/main" id="{B5AA8F1A-8521-4D58-BC9C-E09B9EDDF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1" y="2223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9" name="Freeform 318">
                <a:extLst>
                  <a:ext uri="{FF2B5EF4-FFF2-40B4-BE49-F238E27FC236}">
                    <a16:creationId xmlns:a16="http://schemas.microsoft.com/office/drawing/2014/main" id="{76BE28C4-C918-4584-8495-E44E006D75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222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0" name="Freeform 319">
                <a:extLst>
                  <a:ext uri="{FF2B5EF4-FFF2-40B4-BE49-F238E27FC236}">
                    <a16:creationId xmlns:a16="http://schemas.microsoft.com/office/drawing/2014/main" id="{6548F4B1-5804-4316-9AE1-6E0A09DD6C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222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1" name="Freeform 320">
                <a:extLst>
                  <a:ext uri="{FF2B5EF4-FFF2-40B4-BE49-F238E27FC236}">
                    <a16:creationId xmlns:a16="http://schemas.microsoft.com/office/drawing/2014/main" id="{6697C27F-E433-44EC-9B30-1E9A525F7E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220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2 h 3"/>
                  <a:gd name="T4" fmla="*/ 3 w 3"/>
                  <a:gd name="T5" fmla="*/ 3 h 3"/>
                  <a:gd name="T6" fmla="*/ 3 w 3"/>
                  <a:gd name="T7" fmla="*/ 1 h 3"/>
                  <a:gd name="T8" fmla="*/ 0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2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2" name="Freeform 321">
                <a:extLst>
                  <a:ext uri="{FF2B5EF4-FFF2-40B4-BE49-F238E27FC236}">
                    <a16:creationId xmlns:a16="http://schemas.microsoft.com/office/drawing/2014/main" id="{F57788D8-1228-4FC8-9AB3-9CAB96A401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220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2 h 3"/>
                  <a:gd name="T4" fmla="*/ 3 w 3"/>
                  <a:gd name="T5" fmla="*/ 3 h 3"/>
                  <a:gd name="T6" fmla="*/ 3 w 3"/>
                  <a:gd name="T7" fmla="*/ 1 h 3"/>
                  <a:gd name="T8" fmla="*/ 0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2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3" name="Freeform 322">
                <a:extLst>
                  <a:ext uri="{FF2B5EF4-FFF2-40B4-BE49-F238E27FC236}">
                    <a16:creationId xmlns:a16="http://schemas.microsoft.com/office/drawing/2014/main" id="{D9B31C0A-69E9-43C9-ACA5-51FA9C524A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" y="2219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4" name="Freeform 323">
                <a:extLst>
                  <a:ext uri="{FF2B5EF4-FFF2-40B4-BE49-F238E27FC236}">
                    <a16:creationId xmlns:a16="http://schemas.microsoft.com/office/drawing/2014/main" id="{3691F7EC-B6B3-459C-AB5B-594B9A6C9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" y="2219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5" name="Freeform 324">
                <a:extLst>
                  <a:ext uri="{FF2B5EF4-FFF2-40B4-BE49-F238E27FC236}">
                    <a16:creationId xmlns:a16="http://schemas.microsoft.com/office/drawing/2014/main" id="{EFEBAD90-2B2E-489A-AA49-07C0D7568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9" y="2218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6" name="Freeform 325">
                <a:extLst>
                  <a:ext uri="{FF2B5EF4-FFF2-40B4-BE49-F238E27FC236}">
                    <a16:creationId xmlns:a16="http://schemas.microsoft.com/office/drawing/2014/main" id="{06A543B3-7B01-41BE-B670-A93CF0D15C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9" y="2218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7" name="Freeform 326">
                <a:extLst>
                  <a:ext uri="{FF2B5EF4-FFF2-40B4-BE49-F238E27FC236}">
                    <a16:creationId xmlns:a16="http://schemas.microsoft.com/office/drawing/2014/main" id="{DC857BAD-B7EF-4914-A165-A6D9BF742B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0" y="2191"/>
                <a:ext cx="69" cy="37"/>
              </a:xfrm>
              <a:custGeom>
                <a:avLst/>
                <a:gdLst>
                  <a:gd name="T0" fmla="*/ 2 w 127"/>
                  <a:gd name="T1" fmla="*/ 28 h 67"/>
                  <a:gd name="T2" fmla="*/ 6 w 127"/>
                  <a:gd name="T3" fmla="*/ 11 h 67"/>
                  <a:gd name="T4" fmla="*/ 20 w 127"/>
                  <a:gd name="T5" fmla="*/ 2 h 67"/>
                  <a:gd name="T6" fmla="*/ 127 w 127"/>
                  <a:gd name="T7" fmla="*/ 26 h 67"/>
                  <a:gd name="T8" fmla="*/ 117 w 127"/>
                  <a:gd name="T9" fmla="*/ 67 h 67"/>
                  <a:gd name="T10" fmla="*/ 11 w 127"/>
                  <a:gd name="T11" fmla="*/ 43 h 67"/>
                  <a:gd name="T12" fmla="*/ 2 w 127"/>
                  <a:gd name="T13" fmla="*/ 2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67">
                    <a:moveTo>
                      <a:pt x="2" y="28"/>
                    </a:moveTo>
                    <a:cubicBezTo>
                      <a:pt x="6" y="11"/>
                      <a:pt x="6" y="11"/>
                      <a:pt x="6" y="11"/>
                    </a:cubicBezTo>
                    <a:cubicBezTo>
                      <a:pt x="7" y="4"/>
                      <a:pt x="14" y="0"/>
                      <a:pt x="20" y="2"/>
                    </a:cubicBezTo>
                    <a:cubicBezTo>
                      <a:pt x="127" y="26"/>
                      <a:pt x="127" y="26"/>
                      <a:pt x="127" y="26"/>
                    </a:cubicBezTo>
                    <a:cubicBezTo>
                      <a:pt x="117" y="67"/>
                      <a:pt x="117" y="67"/>
                      <a:pt x="117" y="67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4" y="41"/>
                      <a:pt x="0" y="35"/>
                      <a:pt x="2" y="28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8" name="Freeform 327">
                <a:extLst>
                  <a:ext uri="{FF2B5EF4-FFF2-40B4-BE49-F238E27FC236}">
                    <a16:creationId xmlns:a16="http://schemas.microsoft.com/office/drawing/2014/main" id="{46CC2F71-F3D1-4BA3-8BB9-D25AA38881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1" y="2229"/>
                <a:ext cx="1" cy="3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0 w 2"/>
                  <a:gd name="T5" fmla="*/ 5 h 5"/>
                  <a:gd name="T6" fmla="*/ 0 w 2"/>
                  <a:gd name="T7" fmla="*/ 5 h 5"/>
                  <a:gd name="T8" fmla="*/ 0 w 2"/>
                  <a:gd name="T9" fmla="*/ 5 h 5"/>
                  <a:gd name="T10" fmla="*/ 0 w 2"/>
                  <a:gd name="T11" fmla="*/ 5 h 5"/>
                  <a:gd name="T12" fmla="*/ 0 w 2"/>
                  <a:gd name="T13" fmla="*/ 5 h 5"/>
                  <a:gd name="T14" fmla="*/ 0 w 2"/>
                  <a:gd name="T15" fmla="*/ 5 h 5"/>
                  <a:gd name="T16" fmla="*/ 0 w 2"/>
                  <a:gd name="T17" fmla="*/ 5 h 5"/>
                  <a:gd name="T18" fmla="*/ 0 w 2"/>
                  <a:gd name="T19" fmla="*/ 5 h 5"/>
                  <a:gd name="T20" fmla="*/ 0 w 2"/>
                  <a:gd name="T21" fmla="*/ 5 h 5"/>
                  <a:gd name="T22" fmla="*/ 0 w 2"/>
                  <a:gd name="T23" fmla="*/ 5 h 5"/>
                  <a:gd name="T24" fmla="*/ 1 w 2"/>
                  <a:gd name="T25" fmla="*/ 4 h 5"/>
                  <a:gd name="T26" fmla="*/ 0 w 2"/>
                  <a:gd name="T27" fmla="*/ 4 h 5"/>
                  <a:gd name="T28" fmla="*/ 1 w 2"/>
                  <a:gd name="T29" fmla="*/ 4 h 5"/>
                  <a:gd name="T30" fmla="*/ 1 w 2"/>
                  <a:gd name="T31" fmla="*/ 4 h 5"/>
                  <a:gd name="T32" fmla="*/ 1 w 2"/>
                  <a:gd name="T33" fmla="*/ 4 h 5"/>
                  <a:gd name="T34" fmla="*/ 1 w 2"/>
                  <a:gd name="T35" fmla="*/ 4 h 5"/>
                  <a:gd name="T36" fmla="*/ 1 w 2"/>
                  <a:gd name="T37" fmla="*/ 4 h 5"/>
                  <a:gd name="T38" fmla="*/ 1 w 2"/>
                  <a:gd name="T39" fmla="*/ 4 h 5"/>
                  <a:gd name="T40" fmla="*/ 1 w 2"/>
                  <a:gd name="T41" fmla="*/ 4 h 5"/>
                  <a:gd name="T42" fmla="*/ 1 w 2"/>
                  <a:gd name="T43" fmla="*/ 4 h 5"/>
                  <a:gd name="T44" fmla="*/ 1 w 2"/>
                  <a:gd name="T45" fmla="*/ 4 h 5"/>
                  <a:gd name="T46" fmla="*/ 1 w 2"/>
                  <a:gd name="T47" fmla="*/ 4 h 5"/>
                  <a:gd name="T48" fmla="*/ 1 w 2"/>
                  <a:gd name="T49" fmla="*/ 4 h 5"/>
                  <a:gd name="T50" fmla="*/ 1 w 2"/>
                  <a:gd name="T51" fmla="*/ 4 h 5"/>
                  <a:gd name="T52" fmla="*/ 1 w 2"/>
                  <a:gd name="T53" fmla="*/ 4 h 5"/>
                  <a:gd name="T54" fmla="*/ 1 w 2"/>
                  <a:gd name="T55" fmla="*/ 4 h 5"/>
                  <a:gd name="T56" fmla="*/ 1 w 2"/>
                  <a:gd name="T57" fmla="*/ 4 h 5"/>
                  <a:gd name="T58" fmla="*/ 1 w 2"/>
                  <a:gd name="T59" fmla="*/ 4 h 5"/>
                  <a:gd name="T60" fmla="*/ 1 w 2"/>
                  <a:gd name="T61" fmla="*/ 3 h 5"/>
                  <a:gd name="T62" fmla="*/ 1 w 2"/>
                  <a:gd name="T63" fmla="*/ 4 h 5"/>
                  <a:gd name="T64" fmla="*/ 1 w 2"/>
                  <a:gd name="T65" fmla="*/ 3 h 5"/>
                  <a:gd name="T66" fmla="*/ 1 w 2"/>
                  <a:gd name="T67" fmla="*/ 3 h 5"/>
                  <a:gd name="T68" fmla="*/ 1 w 2"/>
                  <a:gd name="T69" fmla="*/ 3 h 5"/>
                  <a:gd name="T70" fmla="*/ 1 w 2"/>
                  <a:gd name="T71" fmla="*/ 3 h 5"/>
                  <a:gd name="T72" fmla="*/ 1 w 2"/>
                  <a:gd name="T73" fmla="*/ 3 h 5"/>
                  <a:gd name="T74" fmla="*/ 1 w 2"/>
                  <a:gd name="T75" fmla="*/ 3 h 5"/>
                  <a:gd name="T76" fmla="*/ 1 w 2"/>
                  <a:gd name="T77" fmla="*/ 3 h 5"/>
                  <a:gd name="T78" fmla="*/ 1 w 2"/>
                  <a:gd name="T79" fmla="*/ 2 h 5"/>
                  <a:gd name="T80" fmla="*/ 1 w 2"/>
                  <a:gd name="T81" fmla="*/ 3 h 5"/>
                  <a:gd name="T82" fmla="*/ 1 w 2"/>
                  <a:gd name="T83" fmla="*/ 2 h 5"/>
                  <a:gd name="T84" fmla="*/ 1 w 2"/>
                  <a:gd name="T85" fmla="*/ 2 h 5"/>
                  <a:gd name="T86" fmla="*/ 1 w 2"/>
                  <a:gd name="T87" fmla="*/ 2 h 5"/>
                  <a:gd name="T88" fmla="*/ 1 w 2"/>
                  <a:gd name="T89" fmla="*/ 2 h 5"/>
                  <a:gd name="T90" fmla="*/ 2 w 2"/>
                  <a:gd name="T91" fmla="*/ 2 h 5"/>
                  <a:gd name="T92" fmla="*/ 2 w 2"/>
                  <a:gd name="T93" fmla="*/ 2 h 5"/>
                  <a:gd name="T94" fmla="*/ 2 w 2"/>
                  <a:gd name="T95" fmla="*/ 2 h 5"/>
                  <a:gd name="T96" fmla="*/ 2 w 2"/>
                  <a:gd name="T97" fmla="*/ 1 h 5"/>
                  <a:gd name="T98" fmla="*/ 2 w 2"/>
                  <a:gd name="T99" fmla="*/ 1 h 5"/>
                  <a:gd name="T100" fmla="*/ 2 w 2"/>
                  <a:gd name="T101" fmla="*/ 1 h 5"/>
                  <a:gd name="T102" fmla="*/ 2 w 2"/>
                  <a:gd name="T103" fmla="*/ 1 h 5"/>
                  <a:gd name="T104" fmla="*/ 2 w 2"/>
                  <a:gd name="T105" fmla="*/ 1 h 5"/>
                  <a:gd name="T106" fmla="*/ 2 w 2"/>
                  <a:gd name="T107" fmla="*/ 1 h 5"/>
                  <a:gd name="T108" fmla="*/ 2 w 2"/>
                  <a:gd name="T109" fmla="*/ 0 h 5"/>
                  <a:gd name="T110" fmla="*/ 2 w 2"/>
                  <a:gd name="T111" fmla="*/ 1 h 5"/>
                  <a:gd name="T112" fmla="*/ 2 w 2"/>
                  <a:gd name="T113" fmla="*/ 0 h 5"/>
                  <a:gd name="T114" fmla="*/ 2 w 2"/>
                  <a:gd name="T1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1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3"/>
                    </a:moveTo>
                    <a:cubicBezTo>
                      <a:pt x="1" y="3"/>
                      <a:pt x="1" y="4"/>
                      <a:pt x="1" y="4"/>
                    </a:cubicBezTo>
                    <a:cubicBezTo>
                      <a:pt x="1" y="4"/>
                      <a:pt x="1" y="3"/>
                      <a:pt x="1" y="3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2"/>
                      <a:pt x="1" y="2"/>
                    </a:cubicBezTo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moveTo>
                      <a:pt x="2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moveTo>
                      <a:pt x="2" y="0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9" name="Freeform 328">
                <a:extLst>
                  <a:ext uri="{FF2B5EF4-FFF2-40B4-BE49-F238E27FC236}">
                    <a16:creationId xmlns:a16="http://schemas.microsoft.com/office/drawing/2014/main" id="{FDE0045B-5F4A-41EC-8206-2957640CB2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2" y="2222"/>
                <a:ext cx="50" cy="14"/>
              </a:xfrm>
              <a:custGeom>
                <a:avLst/>
                <a:gdLst>
                  <a:gd name="T0" fmla="*/ 55 w 90"/>
                  <a:gd name="T1" fmla="*/ 21 h 25"/>
                  <a:gd name="T2" fmla="*/ 62 w 90"/>
                  <a:gd name="T3" fmla="*/ 14 h 25"/>
                  <a:gd name="T4" fmla="*/ 87 w 90"/>
                  <a:gd name="T5" fmla="*/ 13 h 25"/>
                  <a:gd name="T6" fmla="*/ 70 w 90"/>
                  <a:gd name="T7" fmla="*/ 16 h 25"/>
                  <a:gd name="T8" fmla="*/ 65 w 90"/>
                  <a:gd name="T9" fmla="*/ 24 h 25"/>
                  <a:gd name="T10" fmla="*/ 73 w 90"/>
                  <a:gd name="T11" fmla="*/ 25 h 25"/>
                  <a:gd name="T12" fmla="*/ 88 w 90"/>
                  <a:gd name="T13" fmla="*/ 18 h 25"/>
                  <a:gd name="T14" fmla="*/ 88 w 90"/>
                  <a:gd name="T15" fmla="*/ 18 h 25"/>
                  <a:gd name="T16" fmla="*/ 88 w 90"/>
                  <a:gd name="T17" fmla="*/ 18 h 25"/>
                  <a:gd name="T18" fmla="*/ 88 w 90"/>
                  <a:gd name="T19" fmla="*/ 18 h 25"/>
                  <a:gd name="T20" fmla="*/ 89 w 90"/>
                  <a:gd name="T21" fmla="*/ 17 h 25"/>
                  <a:gd name="T22" fmla="*/ 89 w 90"/>
                  <a:gd name="T23" fmla="*/ 17 h 25"/>
                  <a:gd name="T24" fmla="*/ 89 w 90"/>
                  <a:gd name="T25" fmla="*/ 17 h 25"/>
                  <a:gd name="T26" fmla="*/ 89 w 90"/>
                  <a:gd name="T27" fmla="*/ 17 h 25"/>
                  <a:gd name="T28" fmla="*/ 89 w 90"/>
                  <a:gd name="T29" fmla="*/ 17 h 25"/>
                  <a:gd name="T30" fmla="*/ 89 w 90"/>
                  <a:gd name="T31" fmla="*/ 17 h 25"/>
                  <a:gd name="T32" fmla="*/ 89 w 90"/>
                  <a:gd name="T33" fmla="*/ 16 h 25"/>
                  <a:gd name="T34" fmla="*/ 89 w 90"/>
                  <a:gd name="T35" fmla="*/ 16 h 25"/>
                  <a:gd name="T36" fmla="*/ 89 w 90"/>
                  <a:gd name="T37" fmla="*/ 16 h 25"/>
                  <a:gd name="T38" fmla="*/ 89 w 90"/>
                  <a:gd name="T39" fmla="*/ 15 h 25"/>
                  <a:gd name="T40" fmla="*/ 89 w 90"/>
                  <a:gd name="T41" fmla="*/ 15 h 25"/>
                  <a:gd name="T42" fmla="*/ 90 w 90"/>
                  <a:gd name="T43" fmla="*/ 15 h 25"/>
                  <a:gd name="T44" fmla="*/ 90 w 90"/>
                  <a:gd name="T45" fmla="*/ 14 h 25"/>
                  <a:gd name="T46" fmla="*/ 90 w 90"/>
                  <a:gd name="T47" fmla="*/ 14 h 25"/>
                  <a:gd name="T48" fmla="*/ 90 w 90"/>
                  <a:gd name="T49" fmla="*/ 13 h 25"/>
                  <a:gd name="T50" fmla="*/ 46 w 90"/>
                  <a:gd name="T51" fmla="*/ 11 h 25"/>
                  <a:gd name="T52" fmla="*/ 49 w 90"/>
                  <a:gd name="T53" fmla="*/ 20 h 25"/>
                  <a:gd name="T54" fmla="*/ 46 w 90"/>
                  <a:gd name="T55" fmla="*/ 11 h 25"/>
                  <a:gd name="T56" fmla="*/ 34 w 90"/>
                  <a:gd name="T57" fmla="*/ 17 h 25"/>
                  <a:gd name="T58" fmla="*/ 39 w 90"/>
                  <a:gd name="T59" fmla="*/ 18 h 25"/>
                  <a:gd name="T60" fmla="*/ 36 w 90"/>
                  <a:gd name="T61" fmla="*/ 8 h 25"/>
                  <a:gd name="T62" fmla="*/ 24 w 90"/>
                  <a:gd name="T63" fmla="*/ 14 h 25"/>
                  <a:gd name="T64" fmla="*/ 31 w 90"/>
                  <a:gd name="T65" fmla="*/ 7 h 25"/>
                  <a:gd name="T66" fmla="*/ 15 w 90"/>
                  <a:gd name="T67" fmla="*/ 3 h 25"/>
                  <a:gd name="T68" fmla="*/ 18 w 90"/>
                  <a:gd name="T69" fmla="*/ 13 h 25"/>
                  <a:gd name="T70" fmla="*/ 15 w 90"/>
                  <a:gd name="T71" fmla="*/ 3 h 25"/>
                  <a:gd name="T72" fmla="*/ 0 w 90"/>
                  <a:gd name="T73" fmla="*/ 9 h 25"/>
                  <a:gd name="T74" fmla="*/ 8 w 90"/>
                  <a:gd name="T75" fmla="*/ 11 h 25"/>
                  <a:gd name="T76" fmla="*/ 2 w 90"/>
                  <a:gd name="T7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0" h="25">
                    <a:moveTo>
                      <a:pt x="57" y="13"/>
                    </a:moveTo>
                    <a:cubicBezTo>
                      <a:pt x="55" y="21"/>
                      <a:pt x="55" y="21"/>
                      <a:pt x="55" y="21"/>
                    </a:cubicBezTo>
                    <a:cubicBezTo>
                      <a:pt x="60" y="22"/>
                      <a:pt x="60" y="22"/>
                      <a:pt x="60" y="22"/>
                    </a:cubicBezTo>
                    <a:cubicBezTo>
                      <a:pt x="62" y="14"/>
                      <a:pt x="62" y="14"/>
                      <a:pt x="62" y="14"/>
                    </a:cubicBezTo>
                    <a:cubicBezTo>
                      <a:pt x="57" y="13"/>
                      <a:pt x="57" y="13"/>
                      <a:pt x="57" y="13"/>
                    </a:cubicBezTo>
                    <a:moveTo>
                      <a:pt x="87" y="13"/>
                    </a:moveTo>
                    <a:cubicBezTo>
                      <a:pt x="84" y="15"/>
                      <a:pt x="80" y="17"/>
                      <a:pt x="75" y="17"/>
                    </a:cubicBezTo>
                    <a:cubicBezTo>
                      <a:pt x="73" y="17"/>
                      <a:pt x="72" y="16"/>
                      <a:pt x="70" y="16"/>
                    </a:cubicBezTo>
                    <a:cubicBezTo>
                      <a:pt x="67" y="15"/>
                      <a:pt x="67" y="15"/>
                      <a:pt x="67" y="15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70" y="25"/>
                      <a:pt x="71" y="25"/>
                      <a:pt x="73" y="25"/>
                    </a:cubicBezTo>
                    <a:cubicBezTo>
                      <a:pt x="80" y="25"/>
                      <a:pt x="85" y="22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7"/>
                      <a:pt x="88" y="17"/>
                      <a:pt x="88" y="17"/>
                    </a:cubicBezTo>
                    <a:cubicBezTo>
                      <a:pt x="88" y="17"/>
                      <a:pt x="88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90" y="15"/>
                    </a:cubicBezTo>
                    <a:cubicBezTo>
                      <a:pt x="90" y="15"/>
                      <a:pt x="90" y="15"/>
                      <a:pt x="90" y="15"/>
                    </a:cubicBezTo>
                    <a:cubicBezTo>
                      <a:pt x="90" y="15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3"/>
                      <a:pt x="90" y="13"/>
                      <a:pt x="90" y="13"/>
                    </a:cubicBezTo>
                    <a:cubicBezTo>
                      <a:pt x="87" y="13"/>
                      <a:pt x="87" y="13"/>
                      <a:pt x="87" y="13"/>
                    </a:cubicBezTo>
                    <a:moveTo>
                      <a:pt x="46" y="11"/>
                    </a:moveTo>
                    <a:cubicBezTo>
                      <a:pt x="45" y="19"/>
                      <a:pt x="45" y="19"/>
                      <a:pt x="45" y="19"/>
                    </a:cubicBezTo>
                    <a:cubicBezTo>
                      <a:pt x="49" y="20"/>
                      <a:pt x="49" y="20"/>
                      <a:pt x="49" y="20"/>
                    </a:cubicBezTo>
                    <a:cubicBezTo>
                      <a:pt x="51" y="12"/>
                      <a:pt x="51" y="12"/>
                      <a:pt x="51" y="12"/>
                    </a:cubicBezTo>
                    <a:cubicBezTo>
                      <a:pt x="46" y="11"/>
                      <a:pt x="46" y="11"/>
                      <a:pt x="46" y="11"/>
                    </a:cubicBezTo>
                    <a:moveTo>
                      <a:pt x="36" y="8"/>
                    </a:moveTo>
                    <a:cubicBezTo>
                      <a:pt x="34" y="17"/>
                      <a:pt x="34" y="17"/>
                      <a:pt x="34" y="17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36" y="8"/>
                      <a:pt x="36" y="8"/>
                      <a:pt x="36" y="8"/>
                    </a:cubicBezTo>
                    <a:moveTo>
                      <a:pt x="26" y="6"/>
                    </a:moveTo>
                    <a:cubicBezTo>
                      <a:pt x="24" y="14"/>
                      <a:pt x="24" y="14"/>
                      <a:pt x="24" y="14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6" y="6"/>
                      <a:pt x="26" y="6"/>
                      <a:pt x="26" y="6"/>
                    </a:cubicBezTo>
                    <a:moveTo>
                      <a:pt x="15" y="3"/>
                    </a:moveTo>
                    <a:cubicBezTo>
                      <a:pt x="13" y="12"/>
                      <a:pt x="13" y="12"/>
                      <a:pt x="13" y="12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15" y="3"/>
                      <a:pt x="15" y="3"/>
                      <a:pt x="15" y="3"/>
                    </a:cubicBezTo>
                    <a:moveTo>
                      <a:pt x="2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0" name="Freeform 329">
                <a:extLst>
                  <a:ext uri="{FF2B5EF4-FFF2-40B4-BE49-F238E27FC236}">
                    <a16:creationId xmlns:a16="http://schemas.microsoft.com/office/drawing/2014/main" id="{21C40211-3DF2-4900-B294-5FC56038D0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230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3 w 4"/>
                  <a:gd name="T5" fmla="*/ 5 h 5"/>
                  <a:gd name="T6" fmla="*/ 4 w 4"/>
                  <a:gd name="T7" fmla="*/ 0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1" name="Freeform 330">
                <a:extLst>
                  <a:ext uri="{FF2B5EF4-FFF2-40B4-BE49-F238E27FC236}">
                    <a16:creationId xmlns:a16="http://schemas.microsoft.com/office/drawing/2014/main" id="{84EF45CB-FA20-423D-90C9-6D206FB469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230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3 w 4"/>
                  <a:gd name="T5" fmla="*/ 5 h 5"/>
                  <a:gd name="T6" fmla="*/ 4 w 4"/>
                  <a:gd name="T7" fmla="*/ 0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2" name="Freeform 331">
                <a:extLst>
                  <a:ext uri="{FF2B5EF4-FFF2-40B4-BE49-F238E27FC236}">
                    <a16:creationId xmlns:a16="http://schemas.microsoft.com/office/drawing/2014/main" id="{03FC9952-746E-49A8-B733-CF602BB6E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229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3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3" name="Freeform 332">
                <a:extLst>
                  <a:ext uri="{FF2B5EF4-FFF2-40B4-BE49-F238E27FC236}">
                    <a16:creationId xmlns:a16="http://schemas.microsoft.com/office/drawing/2014/main" id="{3D573F7C-4178-4BF1-8E36-14411A4291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229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3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5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4" name="Freeform 333">
                <a:extLst>
                  <a:ext uri="{FF2B5EF4-FFF2-40B4-BE49-F238E27FC236}">
                    <a16:creationId xmlns:a16="http://schemas.microsoft.com/office/drawing/2014/main" id="{F5765AE4-2359-4CFF-A084-003A85E242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227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5 h 5"/>
                  <a:gd name="T4" fmla="*/ 3 w 4"/>
                  <a:gd name="T5" fmla="*/ 5 h 5"/>
                  <a:gd name="T6" fmla="*/ 4 w 4"/>
                  <a:gd name="T7" fmla="*/ 1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5"/>
                    </a:lnTo>
                    <a:lnTo>
                      <a:pt x="3" y="5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5" name="Freeform 334">
                <a:extLst>
                  <a:ext uri="{FF2B5EF4-FFF2-40B4-BE49-F238E27FC236}">
                    <a16:creationId xmlns:a16="http://schemas.microsoft.com/office/drawing/2014/main" id="{99A1B14B-E957-4900-AA63-4B65096A4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227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5 h 5"/>
                  <a:gd name="T4" fmla="*/ 3 w 4"/>
                  <a:gd name="T5" fmla="*/ 5 h 5"/>
                  <a:gd name="T6" fmla="*/ 4 w 4"/>
                  <a:gd name="T7" fmla="*/ 1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5"/>
                    </a:lnTo>
                    <a:lnTo>
                      <a:pt x="3" y="5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6" name="Freeform 335">
                <a:extLst>
                  <a:ext uri="{FF2B5EF4-FFF2-40B4-BE49-F238E27FC236}">
                    <a16:creationId xmlns:a16="http://schemas.microsoft.com/office/drawing/2014/main" id="{0FF797DB-6F86-476D-8B85-9EB86E6F0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226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1 w 4"/>
                  <a:gd name="T5" fmla="*/ 5 h 5"/>
                  <a:gd name="T6" fmla="*/ 3 w 4"/>
                  <a:gd name="T7" fmla="*/ 5 h 5"/>
                  <a:gd name="T8" fmla="*/ 4 w 4"/>
                  <a:gd name="T9" fmla="*/ 0 h 5"/>
                  <a:gd name="T10" fmla="*/ 1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7" name="Freeform 336">
                <a:extLst>
                  <a:ext uri="{FF2B5EF4-FFF2-40B4-BE49-F238E27FC236}">
                    <a16:creationId xmlns:a16="http://schemas.microsoft.com/office/drawing/2014/main" id="{26FB6D40-410D-4E60-AB29-3E9A9A367E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226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1 w 4"/>
                  <a:gd name="T5" fmla="*/ 5 h 5"/>
                  <a:gd name="T6" fmla="*/ 3 w 4"/>
                  <a:gd name="T7" fmla="*/ 5 h 5"/>
                  <a:gd name="T8" fmla="*/ 4 w 4"/>
                  <a:gd name="T9" fmla="*/ 0 h 5"/>
                  <a:gd name="T10" fmla="*/ 1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8" name="Freeform 337">
                <a:extLst>
                  <a:ext uri="{FF2B5EF4-FFF2-40B4-BE49-F238E27FC236}">
                    <a16:creationId xmlns:a16="http://schemas.microsoft.com/office/drawing/2014/main" id="{FACBE5FC-1D07-48C0-9EDC-2DBE50E98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225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4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4" y="5"/>
                    </a:lnTo>
                    <a:lnTo>
                      <a:pt x="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9" name="Freeform 338">
                <a:extLst>
                  <a:ext uri="{FF2B5EF4-FFF2-40B4-BE49-F238E27FC236}">
                    <a16:creationId xmlns:a16="http://schemas.microsoft.com/office/drawing/2014/main" id="{CF4A6D40-44DF-4F96-B013-6513621F0B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225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4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4" y="5"/>
                    </a:lnTo>
                    <a:lnTo>
                      <a:pt x="5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0" name="Freeform 339">
                <a:extLst>
                  <a:ext uri="{FF2B5EF4-FFF2-40B4-BE49-F238E27FC236}">
                    <a16:creationId xmlns:a16="http://schemas.microsoft.com/office/drawing/2014/main" id="{757DF09E-3DD4-4BEF-813D-995F0C97DE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223"/>
                <a:ext cx="4" cy="6"/>
              </a:xfrm>
              <a:custGeom>
                <a:avLst/>
                <a:gdLst>
                  <a:gd name="T0" fmla="*/ 1 w 4"/>
                  <a:gd name="T1" fmla="*/ 0 h 6"/>
                  <a:gd name="T2" fmla="*/ 0 w 4"/>
                  <a:gd name="T3" fmla="*/ 5 h 6"/>
                  <a:gd name="T4" fmla="*/ 0 w 4"/>
                  <a:gd name="T5" fmla="*/ 5 h 6"/>
                  <a:gd name="T6" fmla="*/ 2 w 4"/>
                  <a:gd name="T7" fmla="*/ 6 h 6"/>
                  <a:gd name="T8" fmla="*/ 4 w 4"/>
                  <a:gd name="T9" fmla="*/ 1 h 6"/>
                  <a:gd name="T10" fmla="*/ 1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2" y="6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1" name="Freeform 340">
                <a:extLst>
                  <a:ext uri="{FF2B5EF4-FFF2-40B4-BE49-F238E27FC236}">
                    <a16:creationId xmlns:a16="http://schemas.microsoft.com/office/drawing/2014/main" id="{871A3B9E-3D28-4AEE-A16C-0B3B09715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223"/>
                <a:ext cx="4" cy="6"/>
              </a:xfrm>
              <a:custGeom>
                <a:avLst/>
                <a:gdLst>
                  <a:gd name="T0" fmla="*/ 1 w 4"/>
                  <a:gd name="T1" fmla="*/ 0 h 6"/>
                  <a:gd name="T2" fmla="*/ 0 w 4"/>
                  <a:gd name="T3" fmla="*/ 5 h 6"/>
                  <a:gd name="T4" fmla="*/ 0 w 4"/>
                  <a:gd name="T5" fmla="*/ 5 h 6"/>
                  <a:gd name="T6" fmla="*/ 2 w 4"/>
                  <a:gd name="T7" fmla="*/ 6 h 6"/>
                  <a:gd name="T8" fmla="*/ 4 w 4"/>
                  <a:gd name="T9" fmla="*/ 1 h 6"/>
                  <a:gd name="T10" fmla="*/ 1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2" y="6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2" name="Rectangle 341">
                <a:extLst>
                  <a:ext uri="{FF2B5EF4-FFF2-40B4-BE49-F238E27FC236}">
                    <a16:creationId xmlns:a16="http://schemas.microsoft.com/office/drawing/2014/main" id="{60536545-BC3E-4D2A-9F3A-1BEEF422CF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solidFill>
                <a:srgbClr val="7862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3" name="Rectangle 342">
                <a:extLst>
                  <a:ext uri="{FF2B5EF4-FFF2-40B4-BE49-F238E27FC236}">
                    <a16:creationId xmlns:a16="http://schemas.microsoft.com/office/drawing/2014/main" id="{EB03FCEA-5C19-4BDE-B21B-1511E3A3E3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4" name="Freeform 343">
                <a:extLst>
                  <a:ext uri="{FF2B5EF4-FFF2-40B4-BE49-F238E27FC236}">
                    <a16:creationId xmlns:a16="http://schemas.microsoft.com/office/drawing/2014/main" id="{17ED124B-52DC-4AC7-8ECE-D64F1DA15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228"/>
                <a:ext cx="2" cy="1"/>
              </a:xfrm>
              <a:custGeom>
                <a:avLst/>
                <a:gdLst>
                  <a:gd name="T0" fmla="*/ 3 w 4"/>
                  <a:gd name="T1" fmla="*/ 0 h 3"/>
                  <a:gd name="T2" fmla="*/ 0 w 4"/>
                  <a:gd name="T3" fmla="*/ 3 h 3"/>
                  <a:gd name="T4" fmla="*/ 3 w 4"/>
                  <a:gd name="T5" fmla="*/ 3 h 3"/>
                  <a:gd name="T6" fmla="*/ 4 w 4"/>
                  <a:gd name="T7" fmla="*/ 0 h 3"/>
                  <a:gd name="T8" fmla="*/ 3 w 4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3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2826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5" name="Freeform 344">
                <a:extLst>
                  <a:ext uri="{FF2B5EF4-FFF2-40B4-BE49-F238E27FC236}">
                    <a16:creationId xmlns:a16="http://schemas.microsoft.com/office/drawing/2014/main" id="{1B1A09E1-7067-4370-9829-7EDFBAD324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" y="2225"/>
                <a:ext cx="1" cy="3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4 h 4"/>
                  <a:gd name="T4" fmla="*/ 1 w 2"/>
                  <a:gd name="T5" fmla="*/ 4 h 4"/>
                  <a:gd name="T6" fmla="*/ 1 w 2"/>
                  <a:gd name="T7" fmla="*/ 4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cubicBezTo>
                      <a:pt x="1" y="1"/>
                      <a:pt x="1" y="3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6" name="Freeform 345">
                <a:extLst>
                  <a:ext uri="{FF2B5EF4-FFF2-40B4-BE49-F238E27FC236}">
                    <a16:creationId xmlns:a16="http://schemas.microsoft.com/office/drawing/2014/main" id="{05E34CA3-275D-4C3F-9CCA-E4345264F8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8" y="863"/>
                <a:ext cx="397" cy="316"/>
              </a:xfrm>
              <a:custGeom>
                <a:avLst/>
                <a:gdLst>
                  <a:gd name="T0" fmla="*/ 205 w 397"/>
                  <a:gd name="T1" fmla="*/ 285 h 316"/>
                  <a:gd name="T2" fmla="*/ 164 w 397"/>
                  <a:gd name="T3" fmla="*/ 285 h 316"/>
                  <a:gd name="T4" fmla="*/ 0 w 397"/>
                  <a:gd name="T5" fmla="*/ 310 h 316"/>
                  <a:gd name="T6" fmla="*/ 1 w 397"/>
                  <a:gd name="T7" fmla="*/ 316 h 316"/>
                  <a:gd name="T8" fmla="*/ 205 w 397"/>
                  <a:gd name="T9" fmla="*/ 285 h 316"/>
                  <a:gd name="T10" fmla="*/ 379 w 397"/>
                  <a:gd name="T11" fmla="*/ 142 h 316"/>
                  <a:gd name="T12" fmla="*/ 379 w 397"/>
                  <a:gd name="T13" fmla="*/ 181 h 316"/>
                  <a:gd name="T14" fmla="*/ 390 w 397"/>
                  <a:gd name="T15" fmla="*/ 251 h 316"/>
                  <a:gd name="T16" fmla="*/ 379 w 397"/>
                  <a:gd name="T17" fmla="*/ 253 h 316"/>
                  <a:gd name="T18" fmla="*/ 379 w 397"/>
                  <a:gd name="T19" fmla="*/ 259 h 316"/>
                  <a:gd name="T20" fmla="*/ 397 w 397"/>
                  <a:gd name="T21" fmla="*/ 256 h 316"/>
                  <a:gd name="T22" fmla="*/ 379 w 397"/>
                  <a:gd name="T23" fmla="*/ 142 h 316"/>
                  <a:gd name="T24" fmla="*/ 358 w 397"/>
                  <a:gd name="T25" fmla="*/ 0 h 316"/>
                  <a:gd name="T26" fmla="*/ 352 w 397"/>
                  <a:gd name="T27" fmla="*/ 0 h 316"/>
                  <a:gd name="T28" fmla="*/ 356 w 397"/>
                  <a:gd name="T29" fmla="*/ 25 h 316"/>
                  <a:gd name="T30" fmla="*/ 362 w 397"/>
                  <a:gd name="T31" fmla="*/ 25 h 316"/>
                  <a:gd name="T32" fmla="*/ 358 w 397"/>
                  <a:gd name="T33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7" h="316">
                    <a:moveTo>
                      <a:pt x="205" y="285"/>
                    </a:moveTo>
                    <a:lnTo>
                      <a:pt x="164" y="285"/>
                    </a:lnTo>
                    <a:lnTo>
                      <a:pt x="0" y="310"/>
                    </a:lnTo>
                    <a:lnTo>
                      <a:pt x="1" y="316"/>
                    </a:lnTo>
                    <a:lnTo>
                      <a:pt x="205" y="285"/>
                    </a:lnTo>
                    <a:close/>
                    <a:moveTo>
                      <a:pt x="379" y="142"/>
                    </a:moveTo>
                    <a:lnTo>
                      <a:pt x="379" y="181"/>
                    </a:lnTo>
                    <a:lnTo>
                      <a:pt x="390" y="251"/>
                    </a:lnTo>
                    <a:lnTo>
                      <a:pt x="379" y="253"/>
                    </a:lnTo>
                    <a:lnTo>
                      <a:pt x="379" y="259"/>
                    </a:lnTo>
                    <a:lnTo>
                      <a:pt x="397" y="256"/>
                    </a:lnTo>
                    <a:lnTo>
                      <a:pt x="379" y="142"/>
                    </a:lnTo>
                    <a:close/>
                    <a:moveTo>
                      <a:pt x="358" y="0"/>
                    </a:moveTo>
                    <a:lnTo>
                      <a:pt x="352" y="0"/>
                    </a:lnTo>
                    <a:lnTo>
                      <a:pt x="356" y="25"/>
                    </a:lnTo>
                    <a:lnTo>
                      <a:pt x="362" y="25"/>
                    </a:lnTo>
                    <a:lnTo>
                      <a:pt x="358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7" name="Freeform 346">
                <a:extLst>
                  <a:ext uri="{FF2B5EF4-FFF2-40B4-BE49-F238E27FC236}">
                    <a16:creationId xmlns:a16="http://schemas.microsoft.com/office/drawing/2014/main" id="{211DC401-82E8-464C-8C3E-10BD8D2690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8" y="863"/>
                <a:ext cx="397" cy="316"/>
              </a:xfrm>
              <a:custGeom>
                <a:avLst/>
                <a:gdLst>
                  <a:gd name="T0" fmla="*/ 205 w 397"/>
                  <a:gd name="T1" fmla="*/ 285 h 316"/>
                  <a:gd name="T2" fmla="*/ 164 w 397"/>
                  <a:gd name="T3" fmla="*/ 285 h 316"/>
                  <a:gd name="T4" fmla="*/ 0 w 397"/>
                  <a:gd name="T5" fmla="*/ 310 h 316"/>
                  <a:gd name="T6" fmla="*/ 1 w 397"/>
                  <a:gd name="T7" fmla="*/ 316 h 316"/>
                  <a:gd name="T8" fmla="*/ 205 w 397"/>
                  <a:gd name="T9" fmla="*/ 285 h 316"/>
                  <a:gd name="T10" fmla="*/ 379 w 397"/>
                  <a:gd name="T11" fmla="*/ 142 h 316"/>
                  <a:gd name="T12" fmla="*/ 379 w 397"/>
                  <a:gd name="T13" fmla="*/ 181 h 316"/>
                  <a:gd name="T14" fmla="*/ 390 w 397"/>
                  <a:gd name="T15" fmla="*/ 251 h 316"/>
                  <a:gd name="T16" fmla="*/ 379 w 397"/>
                  <a:gd name="T17" fmla="*/ 253 h 316"/>
                  <a:gd name="T18" fmla="*/ 379 w 397"/>
                  <a:gd name="T19" fmla="*/ 259 h 316"/>
                  <a:gd name="T20" fmla="*/ 397 w 397"/>
                  <a:gd name="T21" fmla="*/ 256 h 316"/>
                  <a:gd name="T22" fmla="*/ 379 w 397"/>
                  <a:gd name="T23" fmla="*/ 142 h 316"/>
                  <a:gd name="T24" fmla="*/ 358 w 397"/>
                  <a:gd name="T25" fmla="*/ 0 h 316"/>
                  <a:gd name="T26" fmla="*/ 352 w 397"/>
                  <a:gd name="T27" fmla="*/ 0 h 316"/>
                  <a:gd name="T28" fmla="*/ 356 w 397"/>
                  <a:gd name="T29" fmla="*/ 25 h 316"/>
                  <a:gd name="T30" fmla="*/ 362 w 397"/>
                  <a:gd name="T31" fmla="*/ 25 h 316"/>
                  <a:gd name="T32" fmla="*/ 358 w 397"/>
                  <a:gd name="T33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7" h="316">
                    <a:moveTo>
                      <a:pt x="205" y="285"/>
                    </a:moveTo>
                    <a:lnTo>
                      <a:pt x="164" y="285"/>
                    </a:lnTo>
                    <a:lnTo>
                      <a:pt x="0" y="310"/>
                    </a:lnTo>
                    <a:lnTo>
                      <a:pt x="1" y="316"/>
                    </a:lnTo>
                    <a:lnTo>
                      <a:pt x="205" y="285"/>
                    </a:lnTo>
                    <a:moveTo>
                      <a:pt x="379" y="142"/>
                    </a:moveTo>
                    <a:lnTo>
                      <a:pt x="379" y="181"/>
                    </a:lnTo>
                    <a:lnTo>
                      <a:pt x="390" y="251"/>
                    </a:lnTo>
                    <a:lnTo>
                      <a:pt x="379" y="253"/>
                    </a:lnTo>
                    <a:lnTo>
                      <a:pt x="379" y="259"/>
                    </a:lnTo>
                    <a:lnTo>
                      <a:pt x="397" y="256"/>
                    </a:lnTo>
                    <a:lnTo>
                      <a:pt x="379" y="142"/>
                    </a:lnTo>
                    <a:moveTo>
                      <a:pt x="358" y="0"/>
                    </a:moveTo>
                    <a:lnTo>
                      <a:pt x="352" y="0"/>
                    </a:lnTo>
                    <a:lnTo>
                      <a:pt x="356" y="25"/>
                    </a:lnTo>
                    <a:lnTo>
                      <a:pt x="362" y="25"/>
                    </a:lnTo>
                    <a:lnTo>
                      <a:pt x="3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8" name="Freeform 347">
                <a:extLst>
                  <a:ext uri="{FF2B5EF4-FFF2-40B4-BE49-F238E27FC236}">
                    <a16:creationId xmlns:a16="http://schemas.microsoft.com/office/drawing/2014/main" id="{B43D8D5F-F283-4466-90DA-E186C0D946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3" y="857"/>
                <a:ext cx="435" cy="317"/>
              </a:xfrm>
              <a:custGeom>
                <a:avLst/>
                <a:gdLst>
                  <a:gd name="T0" fmla="*/ 435 w 435"/>
                  <a:gd name="T1" fmla="*/ 257 h 317"/>
                  <a:gd name="T2" fmla="*/ 39 w 435"/>
                  <a:gd name="T3" fmla="*/ 317 h 317"/>
                  <a:gd name="T4" fmla="*/ 0 w 435"/>
                  <a:gd name="T5" fmla="*/ 60 h 317"/>
                  <a:gd name="T6" fmla="*/ 396 w 435"/>
                  <a:gd name="T7" fmla="*/ 0 h 317"/>
                  <a:gd name="T8" fmla="*/ 435 w 435"/>
                  <a:gd name="T9" fmla="*/ 25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5" h="317">
                    <a:moveTo>
                      <a:pt x="435" y="257"/>
                    </a:moveTo>
                    <a:lnTo>
                      <a:pt x="39" y="317"/>
                    </a:lnTo>
                    <a:lnTo>
                      <a:pt x="0" y="60"/>
                    </a:lnTo>
                    <a:lnTo>
                      <a:pt x="396" y="0"/>
                    </a:lnTo>
                    <a:lnTo>
                      <a:pt x="435" y="257"/>
                    </a:lnTo>
                    <a:close/>
                  </a:path>
                </a:pathLst>
              </a:custGeom>
              <a:solidFill>
                <a:srgbClr val="E2DD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9" name="Freeform 348">
                <a:extLst>
                  <a:ext uri="{FF2B5EF4-FFF2-40B4-BE49-F238E27FC236}">
                    <a16:creationId xmlns:a16="http://schemas.microsoft.com/office/drawing/2014/main" id="{ADE9F6AA-1DF4-4685-9D61-5DA0738AB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3" y="857"/>
                <a:ext cx="435" cy="317"/>
              </a:xfrm>
              <a:custGeom>
                <a:avLst/>
                <a:gdLst>
                  <a:gd name="T0" fmla="*/ 435 w 435"/>
                  <a:gd name="T1" fmla="*/ 257 h 317"/>
                  <a:gd name="T2" fmla="*/ 39 w 435"/>
                  <a:gd name="T3" fmla="*/ 317 h 317"/>
                  <a:gd name="T4" fmla="*/ 0 w 435"/>
                  <a:gd name="T5" fmla="*/ 60 h 317"/>
                  <a:gd name="T6" fmla="*/ 396 w 435"/>
                  <a:gd name="T7" fmla="*/ 0 h 317"/>
                  <a:gd name="T8" fmla="*/ 435 w 435"/>
                  <a:gd name="T9" fmla="*/ 25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5" h="317">
                    <a:moveTo>
                      <a:pt x="435" y="257"/>
                    </a:moveTo>
                    <a:lnTo>
                      <a:pt x="39" y="317"/>
                    </a:lnTo>
                    <a:lnTo>
                      <a:pt x="0" y="60"/>
                    </a:lnTo>
                    <a:lnTo>
                      <a:pt x="396" y="0"/>
                    </a:lnTo>
                    <a:lnTo>
                      <a:pt x="435" y="25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0" name="Freeform 349">
                <a:extLst>
                  <a:ext uri="{FF2B5EF4-FFF2-40B4-BE49-F238E27FC236}">
                    <a16:creationId xmlns:a16="http://schemas.microsoft.com/office/drawing/2014/main" id="{EEDA03AD-1B6C-450A-82F1-3E3B1857AE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400 w 400"/>
                  <a:gd name="T1" fmla="*/ 234 h 260"/>
                  <a:gd name="T2" fmla="*/ 226 w 400"/>
                  <a:gd name="T3" fmla="*/ 260 h 260"/>
                  <a:gd name="T4" fmla="*/ 400 w 400"/>
                  <a:gd name="T5" fmla="*/ 260 h 260"/>
                  <a:gd name="T6" fmla="*/ 400 w 400"/>
                  <a:gd name="T7" fmla="*/ 234 h 260"/>
                  <a:gd name="T8" fmla="*/ 0 w 400"/>
                  <a:gd name="T9" fmla="*/ 186 h 260"/>
                  <a:gd name="T10" fmla="*/ 0 w 400"/>
                  <a:gd name="T11" fmla="*/ 260 h 260"/>
                  <a:gd name="T12" fmla="*/ 12 w 400"/>
                  <a:gd name="T13" fmla="*/ 260 h 260"/>
                  <a:gd name="T14" fmla="*/ 0 w 400"/>
                  <a:gd name="T15" fmla="*/ 186 h 260"/>
                  <a:gd name="T16" fmla="*/ 165 w 400"/>
                  <a:gd name="T17" fmla="*/ 0 h 260"/>
                  <a:gd name="T18" fmla="*/ 0 w 400"/>
                  <a:gd name="T19" fmla="*/ 0 h 260"/>
                  <a:gd name="T20" fmla="*/ 0 w 400"/>
                  <a:gd name="T21" fmla="*/ 25 h 260"/>
                  <a:gd name="T22" fmla="*/ 165 w 400"/>
                  <a:gd name="T23" fmla="*/ 0 h 260"/>
                  <a:gd name="T24" fmla="*/ 400 w 400"/>
                  <a:gd name="T25" fmla="*/ 0 h 260"/>
                  <a:gd name="T26" fmla="*/ 383 w 400"/>
                  <a:gd name="T27" fmla="*/ 0 h 260"/>
                  <a:gd name="T28" fmla="*/ 400 w 400"/>
                  <a:gd name="T29" fmla="*/ 117 h 260"/>
                  <a:gd name="T30" fmla="*/ 400 w 400"/>
                  <a:gd name="T3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0" h="260">
                    <a:moveTo>
                      <a:pt x="400" y="234"/>
                    </a:moveTo>
                    <a:lnTo>
                      <a:pt x="226" y="260"/>
                    </a:lnTo>
                    <a:lnTo>
                      <a:pt x="400" y="260"/>
                    </a:lnTo>
                    <a:lnTo>
                      <a:pt x="400" y="234"/>
                    </a:lnTo>
                    <a:close/>
                    <a:moveTo>
                      <a:pt x="0" y="186"/>
                    </a:moveTo>
                    <a:lnTo>
                      <a:pt x="0" y="260"/>
                    </a:lnTo>
                    <a:lnTo>
                      <a:pt x="12" y="260"/>
                    </a:lnTo>
                    <a:lnTo>
                      <a:pt x="0" y="186"/>
                    </a:lnTo>
                    <a:close/>
                    <a:moveTo>
                      <a:pt x="165" y="0"/>
                    </a:moveTo>
                    <a:lnTo>
                      <a:pt x="0" y="0"/>
                    </a:lnTo>
                    <a:lnTo>
                      <a:pt x="0" y="25"/>
                    </a:lnTo>
                    <a:lnTo>
                      <a:pt x="165" y="0"/>
                    </a:lnTo>
                    <a:close/>
                    <a:moveTo>
                      <a:pt x="400" y="0"/>
                    </a:moveTo>
                    <a:lnTo>
                      <a:pt x="383" y="0"/>
                    </a:lnTo>
                    <a:lnTo>
                      <a:pt x="400" y="117"/>
                    </a:lnTo>
                    <a:lnTo>
                      <a:pt x="400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1" name="Freeform 350">
                <a:extLst>
                  <a:ext uri="{FF2B5EF4-FFF2-40B4-BE49-F238E27FC236}">
                    <a16:creationId xmlns:a16="http://schemas.microsoft.com/office/drawing/2014/main" id="{94EA1242-9382-4D61-B59C-E324C0CEF9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400 w 400"/>
                  <a:gd name="T1" fmla="*/ 234 h 260"/>
                  <a:gd name="T2" fmla="*/ 226 w 400"/>
                  <a:gd name="T3" fmla="*/ 260 h 260"/>
                  <a:gd name="T4" fmla="*/ 400 w 400"/>
                  <a:gd name="T5" fmla="*/ 260 h 260"/>
                  <a:gd name="T6" fmla="*/ 400 w 400"/>
                  <a:gd name="T7" fmla="*/ 234 h 260"/>
                  <a:gd name="T8" fmla="*/ 0 w 400"/>
                  <a:gd name="T9" fmla="*/ 186 h 260"/>
                  <a:gd name="T10" fmla="*/ 0 w 400"/>
                  <a:gd name="T11" fmla="*/ 260 h 260"/>
                  <a:gd name="T12" fmla="*/ 12 w 400"/>
                  <a:gd name="T13" fmla="*/ 260 h 260"/>
                  <a:gd name="T14" fmla="*/ 0 w 400"/>
                  <a:gd name="T15" fmla="*/ 186 h 260"/>
                  <a:gd name="T16" fmla="*/ 165 w 400"/>
                  <a:gd name="T17" fmla="*/ 0 h 260"/>
                  <a:gd name="T18" fmla="*/ 0 w 400"/>
                  <a:gd name="T19" fmla="*/ 0 h 260"/>
                  <a:gd name="T20" fmla="*/ 0 w 400"/>
                  <a:gd name="T21" fmla="*/ 25 h 260"/>
                  <a:gd name="T22" fmla="*/ 165 w 400"/>
                  <a:gd name="T23" fmla="*/ 0 h 260"/>
                  <a:gd name="T24" fmla="*/ 400 w 400"/>
                  <a:gd name="T25" fmla="*/ 0 h 260"/>
                  <a:gd name="T26" fmla="*/ 383 w 400"/>
                  <a:gd name="T27" fmla="*/ 0 h 260"/>
                  <a:gd name="T28" fmla="*/ 400 w 400"/>
                  <a:gd name="T29" fmla="*/ 117 h 260"/>
                  <a:gd name="T30" fmla="*/ 400 w 400"/>
                  <a:gd name="T3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0" h="260">
                    <a:moveTo>
                      <a:pt x="400" y="234"/>
                    </a:moveTo>
                    <a:lnTo>
                      <a:pt x="226" y="260"/>
                    </a:lnTo>
                    <a:lnTo>
                      <a:pt x="400" y="260"/>
                    </a:lnTo>
                    <a:lnTo>
                      <a:pt x="400" y="234"/>
                    </a:lnTo>
                    <a:moveTo>
                      <a:pt x="0" y="186"/>
                    </a:moveTo>
                    <a:lnTo>
                      <a:pt x="0" y="260"/>
                    </a:lnTo>
                    <a:lnTo>
                      <a:pt x="12" y="260"/>
                    </a:lnTo>
                    <a:lnTo>
                      <a:pt x="0" y="186"/>
                    </a:lnTo>
                    <a:moveTo>
                      <a:pt x="165" y="0"/>
                    </a:moveTo>
                    <a:lnTo>
                      <a:pt x="0" y="0"/>
                    </a:lnTo>
                    <a:lnTo>
                      <a:pt x="0" y="25"/>
                    </a:lnTo>
                    <a:lnTo>
                      <a:pt x="165" y="0"/>
                    </a:lnTo>
                    <a:moveTo>
                      <a:pt x="400" y="0"/>
                    </a:moveTo>
                    <a:lnTo>
                      <a:pt x="383" y="0"/>
                    </a:lnTo>
                    <a:lnTo>
                      <a:pt x="400" y="117"/>
                    </a:lnTo>
                    <a:lnTo>
                      <a:pt x="40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2" name="Freeform 351">
                <a:extLst>
                  <a:ext uri="{FF2B5EF4-FFF2-40B4-BE49-F238E27FC236}">
                    <a16:creationId xmlns:a16="http://schemas.microsoft.com/office/drawing/2014/main" id="{50A2B9DA-02EA-4494-ADD1-5E28ED918D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62" y="888"/>
                <a:ext cx="215" cy="260"/>
              </a:xfrm>
              <a:custGeom>
                <a:avLst/>
                <a:gdLst>
                  <a:gd name="T0" fmla="*/ 215 w 215"/>
                  <a:gd name="T1" fmla="*/ 228 h 260"/>
                  <a:gd name="T2" fmla="*/ 0 w 215"/>
                  <a:gd name="T3" fmla="*/ 260 h 260"/>
                  <a:gd name="T4" fmla="*/ 41 w 215"/>
                  <a:gd name="T5" fmla="*/ 260 h 260"/>
                  <a:gd name="T6" fmla="*/ 215 w 215"/>
                  <a:gd name="T7" fmla="*/ 234 h 260"/>
                  <a:gd name="T8" fmla="*/ 215 w 215"/>
                  <a:gd name="T9" fmla="*/ 228 h 260"/>
                  <a:gd name="T10" fmla="*/ 198 w 215"/>
                  <a:gd name="T11" fmla="*/ 0 h 260"/>
                  <a:gd name="T12" fmla="*/ 192 w 215"/>
                  <a:gd name="T13" fmla="*/ 0 h 260"/>
                  <a:gd name="T14" fmla="*/ 215 w 215"/>
                  <a:gd name="T15" fmla="*/ 156 h 260"/>
                  <a:gd name="T16" fmla="*/ 215 w 215"/>
                  <a:gd name="T17" fmla="*/ 117 h 260"/>
                  <a:gd name="T18" fmla="*/ 198 w 215"/>
                  <a:gd name="T1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5" h="260">
                    <a:moveTo>
                      <a:pt x="215" y="228"/>
                    </a:moveTo>
                    <a:lnTo>
                      <a:pt x="0" y="260"/>
                    </a:lnTo>
                    <a:lnTo>
                      <a:pt x="41" y="260"/>
                    </a:lnTo>
                    <a:lnTo>
                      <a:pt x="215" y="234"/>
                    </a:lnTo>
                    <a:lnTo>
                      <a:pt x="215" y="228"/>
                    </a:lnTo>
                    <a:close/>
                    <a:moveTo>
                      <a:pt x="198" y="0"/>
                    </a:moveTo>
                    <a:lnTo>
                      <a:pt x="192" y="0"/>
                    </a:lnTo>
                    <a:lnTo>
                      <a:pt x="215" y="156"/>
                    </a:lnTo>
                    <a:lnTo>
                      <a:pt x="215" y="117"/>
                    </a:lnTo>
                    <a:lnTo>
                      <a:pt x="198" y="0"/>
                    </a:lnTo>
                    <a:close/>
                  </a:path>
                </a:pathLst>
              </a:custGeom>
              <a:solidFill>
                <a:srgbClr val="7862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3" name="Freeform 352">
                <a:extLst>
                  <a:ext uri="{FF2B5EF4-FFF2-40B4-BE49-F238E27FC236}">
                    <a16:creationId xmlns:a16="http://schemas.microsoft.com/office/drawing/2014/main" id="{FE8C425A-8CEB-4F94-988E-EC904B03D0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62" y="888"/>
                <a:ext cx="215" cy="260"/>
              </a:xfrm>
              <a:custGeom>
                <a:avLst/>
                <a:gdLst>
                  <a:gd name="T0" fmla="*/ 215 w 215"/>
                  <a:gd name="T1" fmla="*/ 228 h 260"/>
                  <a:gd name="T2" fmla="*/ 0 w 215"/>
                  <a:gd name="T3" fmla="*/ 260 h 260"/>
                  <a:gd name="T4" fmla="*/ 41 w 215"/>
                  <a:gd name="T5" fmla="*/ 260 h 260"/>
                  <a:gd name="T6" fmla="*/ 215 w 215"/>
                  <a:gd name="T7" fmla="*/ 234 h 260"/>
                  <a:gd name="T8" fmla="*/ 215 w 215"/>
                  <a:gd name="T9" fmla="*/ 228 h 260"/>
                  <a:gd name="T10" fmla="*/ 198 w 215"/>
                  <a:gd name="T11" fmla="*/ 0 h 260"/>
                  <a:gd name="T12" fmla="*/ 192 w 215"/>
                  <a:gd name="T13" fmla="*/ 0 h 260"/>
                  <a:gd name="T14" fmla="*/ 215 w 215"/>
                  <a:gd name="T15" fmla="*/ 156 h 260"/>
                  <a:gd name="T16" fmla="*/ 215 w 215"/>
                  <a:gd name="T17" fmla="*/ 117 h 260"/>
                  <a:gd name="T18" fmla="*/ 198 w 215"/>
                  <a:gd name="T1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5" h="260">
                    <a:moveTo>
                      <a:pt x="215" y="228"/>
                    </a:moveTo>
                    <a:lnTo>
                      <a:pt x="0" y="260"/>
                    </a:lnTo>
                    <a:lnTo>
                      <a:pt x="41" y="260"/>
                    </a:lnTo>
                    <a:lnTo>
                      <a:pt x="215" y="234"/>
                    </a:lnTo>
                    <a:lnTo>
                      <a:pt x="215" y="228"/>
                    </a:lnTo>
                    <a:moveTo>
                      <a:pt x="198" y="0"/>
                    </a:moveTo>
                    <a:lnTo>
                      <a:pt x="192" y="0"/>
                    </a:lnTo>
                    <a:lnTo>
                      <a:pt x="215" y="156"/>
                    </a:lnTo>
                    <a:lnTo>
                      <a:pt x="215" y="117"/>
                    </a:lnTo>
                    <a:lnTo>
                      <a:pt x="19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4" name="Freeform 353">
                <a:extLst>
                  <a:ext uri="{FF2B5EF4-FFF2-40B4-BE49-F238E27FC236}">
                    <a16:creationId xmlns:a16="http://schemas.microsoft.com/office/drawing/2014/main" id="{CE36DA48-5493-42CA-A086-D0F41E39A2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377 w 400"/>
                  <a:gd name="T1" fmla="*/ 0 h 260"/>
                  <a:gd name="T2" fmla="*/ 165 w 400"/>
                  <a:gd name="T3" fmla="*/ 0 h 260"/>
                  <a:gd name="T4" fmla="*/ 0 w 400"/>
                  <a:gd name="T5" fmla="*/ 25 h 260"/>
                  <a:gd name="T6" fmla="*/ 0 w 400"/>
                  <a:gd name="T7" fmla="*/ 186 h 260"/>
                  <a:gd name="T8" fmla="*/ 12 w 400"/>
                  <a:gd name="T9" fmla="*/ 260 h 260"/>
                  <a:gd name="T10" fmla="*/ 185 w 400"/>
                  <a:gd name="T11" fmla="*/ 260 h 260"/>
                  <a:gd name="T12" fmla="*/ 400 w 400"/>
                  <a:gd name="T13" fmla="*/ 228 h 260"/>
                  <a:gd name="T14" fmla="*/ 400 w 400"/>
                  <a:gd name="T15" fmla="*/ 156 h 260"/>
                  <a:gd name="T16" fmla="*/ 377 w 400"/>
                  <a:gd name="T17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0" h="260">
                    <a:moveTo>
                      <a:pt x="377" y="0"/>
                    </a:moveTo>
                    <a:lnTo>
                      <a:pt x="165" y="0"/>
                    </a:lnTo>
                    <a:lnTo>
                      <a:pt x="0" y="25"/>
                    </a:lnTo>
                    <a:lnTo>
                      <a:pt x="0" y="186"/>
                    </a:lnTo>
                    <a:lnTo>
                      <a:pt x="12" y="260"/>
                    </a:lnTo>
                    <a:lnTo>
                      <a:pt x="185" y="260"/>
                    </a:lnTo>
                    <a:lnTo>
                      <a:pt x="400" y="228"/>
                    </a:lnTo>
                    <a:lnTo>
                      <a:pt x="400" y="156"/>
                    </a:lnTo>
                    <a:lnTo>
                      <a:pt x="377" y="0"/>
                    </a:lnTo>
                    <a:close/>
                  </a:path>
                </a:pathLst>
              </a:custGeom>
              <a:solidFill>
                <a:srgbClr val="B3AF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5" name="Freeform 354">
                <a:extLst>
                  <a:ext uri="{FF2B5EF4-FFF2-40B4-BE49-F238E27FC236}">
                    <a16:creationId xmlns:a16="http://schemas.microsoft.com/office/drawing/2014/main" id="{65256C17-12CD-499C-9879-5224FE64A9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377 w 400"/>
                  <a:gd name="T1" fmla="*/ 0 h 260"/>
                  <a:gd name="T2" fmla="*/ 165 w 400"/>
                  <a:gd name="T3" fmla="*/ 0 h 260"/>
                  <a:gd name="T4" fmla="*/ 0 w 400"/>
                  <a:gd name="T5" fmla="*/ 25 h 260"/>
                  <a:gd name="T6" fmla="*/ 0 w 400"/>
                  <a:gd name="T7" fmla="*/ 186 h 260"/>
                  <a:gd name="T8" fmla="*/ 12 w 400"/>
                  <a:gd name="T9" fmla="*/ 260 h 260"/>
                  <a:gd name="T10" fmla="*/ 185 w 400"/>
                  <a:gd name="T11" fmla="*/ 260 h 260"/>
                  <a:gd name="T12" fmla="*/ 400 w 400"/>
                  <a:gd name="T13" fmla="*/ 228 h 260"/>
                  <a:gd name="T14" fmla="*/ 400 w 400"/>
                  <a:gd name="T15" fmla="*/ 156 h 260"/>
                  <a:gd name="T16" fmla="*/ 377 w 400"/>
                  <a:gd name="T17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0" h="260">
                    <a:moveTo>
                      <a:pt x="377" y="0"/>
                    </a:moveTo>
                    <a:lnTo>
                      <a:pt x="165" y="0"/>
                    </a:lnTo>
                    <a:lnTo>
                      <a:pt x="0" y="25"/>
                    </a:lnTo>
                    <a:lnTo>
                      <a:pt x="0" y="186"/>
                    </a:lnTo>
                    <a:lnTo>
                      <a:pt x="12" y="260"/>
                    </a:lnTo>
                    <a:lnTo>
                      <a:pt x="185" y="260"/>
                    </a:lnTo>
                    <a:lnTo>
                      <a:pt x="400" y="228"/>
                    </a:lnTo>
                    <a:lnTo>
                      <a:pt x="400" y="156"/>
                    </a:lnTo>
                    <a:lnTo>
                      <a:pt x="37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6" name="Rectangle 355">
                <a:extLst>
                  <a:ext uri="{FF2B5EF4-FFF2-40B4-BE49-F238E27FC236}">
                    <a16:creationId xmlns:a16="http://schemas.microsoft.com/office/drawing/2014/main" id="{5D9088E9-EE67-4A3E-BF04-C976C2EF6B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2" y="882"/>
                <a:ext cx="400" cy="26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7" name="Freeform 356">
                <a:extLst>
                  <a:ext uri="{FF2B5EF4-FFF2-40B4-BE49-F238E27FC236}">
                    <a16:creationId xmlns:a16="http://schemas.microsoft.com/office/drawing/2014/main" id="{00D702F8-A621-4BA8-BEC2-7F5C99C23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4" y="1270"/>
                <a:ext cx="166" cy="100"/>
              </a:xfrm>
              <a:custGeom>
                <a:avLst/>
                <a:gdLst>
                  <a:gd name="T0" fmla="*/ 304 w 304"/>
                  <a:gd name="T1" fmla="*/ 172 h 183"/>
                  <a:gd name="T2" fmla="*/ 98 w 304"/>
                  <a:gd name="T3" fmla="*/ 4 h 183"/>
                  <a:gd name="T4" fmla="*/ 8 w 304"/>
                  <a:gd name="T5" fmla="*/ 0 h 183"/>
                  <a:gd name="T6" fmla="*/ 0 w 304"/>
                  <a:gd name="T7" fmla="*/ 7 h 183"/>
                  <a:gd name="T8" fmla="*/ 0 w 304"/>
                  <a:gd name="T9" fmla="*/ 9 h 183"/>
                  <a:gd name="T10" fmla="*/ 44 w 304"/>
                  <a:gd name="T11" fmla="*/ 17 h 183"/>
                  <a:gd name="T12" fmla="*/ 95 w 304"/>
                  <a:gd name="T13" fmla="*/ 14 h 183"/>
                  <a:gd name="T14" fmla="*/ 302 w 304"/>
                  <a:gd name="T15" fmla="*/ 183 h 183"/>
                  <a:gd name="T16" fmla="*/ 304 w 304"/>
                  <a:gd name="T17" fmla="*/ 172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4" h="183">
                    <a:moveTo>
                      <a:pt x="304" y="172"/>
                    </a:moveTo>
                    <a:cubicBezTo>
                      <a:pt x="304" y="172"/>
                      <a:pt x="123" y="13"/>
                      <a:pt x="98" y="4"/>
                    </a:cubicBezTo>
                    <a:cubicBezTo>
                      <a:pt x="76" y="2"/>
                      <a:pt x="25" y="0"/>
                      <a:pt x="8" y="0"/>
                    </a:cubicBezTo>
                    <a:cubicBezTo>
                      <a:pt x="4" y="0"/>
                      <a:pt x="0" y="3"/>
                      <a:pt x="0" y="7"/>
                    </a:cubicBezTo>
                    <a:cubicBezTo>
                      <a:pt x="0" y="8"/>
                      <a:pt x="0" y="8"/>
                      <a:pt x="0" y="9"/>
                    </a:cubicBezTo>
                    <a:cubicBezTo>
                      <a:pt x="6" y="18"/>
                      <a:pt x="33" y="17"/>
                      <a:pt x="44" y="17"/>
                    </a:cubicBezTo>
                    <a:cubicBezTo>
                      <a:pt x="56" y="16"/>
                      <a:pt x="83" y="11"/>
                      <a:pt x="95" y="14"/>
                    </a:cubicBezTo>
                    <a:cubicBezTo>
                      <a:pt x="147" y="43"/>
                      <a:pt x="302" y="183"/>
                      <a:pt x="302" y="183"/>
                    </a:cubicBezTo>
                    <a:cubicBezTo>
                      <a:pt x="304" y="172"/>
                      <a:pt x="304" y="172"/>
                      <a:pt x="304" y="172"/>
                    </a:cubicBezTo>
                  </a:path>
                </a:pathLst>
              </a:custGeom>
              <a:solidFill>
                <a:srgbClr val="19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8" name="Freeform 357">
                <a:extLst>
                  <a:ext uri="{FF2B5EF4-FFF2-40B4-BE49-F238E27FC236}">
                    <a16:creationId xmlns:a16="http://schemas.microsoft.com/office/drawing/2014/main" id="{3F852924-712C-458F-8648-8A2C247DBA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4" y="1234"/>
                <a:ext cx="101" cy="166"/>
              </a:xfrm>
              <a:custGeom>
                <a:avLst/>
                <a:gdLst>
                  <a:gd name="T0" fmla="*/ 11 w 184"/>
                  <a:gd name="T1" fmla="*/ 0 h 304"/>
                  <a:gd name="T2" fmla="*/ 179 w 184"/>
                  <a:gd name="T3" fmla="*/ 205 h 304"/>
                  <a:gd name="T4" fmla="*/ 184 w 184"/>
                  <a:gd name="T5" fmla="*/ 295 h 304"/>
                  <a:gd name="T6" fmla="*/ 176 w 184"/>
                  <a:gd name="T7" fmla="*/ 304 h 304"/>
                  <a:gd name="T8" fmla="*/ 175 w 184"/>
                  <a:gd name="T9" fmla="*/ 304 h 304"/>
                  <a:gd name="T10" fmla="*/ 167 w 184"/>
                  <a:gd name="T11" fmla="*/ 259 h 304"/>
                  <a:gd name="T12" fmla="*/ 169 w 184"/>
                  <a:gd name="T13" fmla="*/ 209 h 304"/>
                  <a:gd name="T14" fmla="*/ 0 w 184"/>
                  <a:gd name="T15" fmla="*/ 2 h 304"/>
                  <a:gd name="T16" fmla="*/ 11 w 184"/>
                  <a:gd name="T17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4" h="304">
                    <a:moveTo>
                      <a:pt x="11" y="0"/>
                    </a:moveTo>
                    <a:cubicBezTo>
                      <a:pt x="11" y="0"/>
                      <a:pt x="170" y="180"/>
                      <a:pt x="179" y="205"/>
                    </a:cubicBezTo>
                    <a:cubicBezTo>
                      <a:pt x="181" y="228"/>
                      <a:pt x="183" y="278"/>
                      <a:pt x="184" y="295"/>
                    </a:cubicBezTo>
                    <a:cubicBezTo>
                      <a:pt x="184" y="300"/>
                      <a:pt x="181" y="304"/>
                      <a:pt x="176" y="304"/>
                    </a:cubicBezTo>
                    <a:cubicBezTo>
                      <a:pt x="176" y="304"/>
                      <a:pt x="175" y="304"/>
                      <a:pt x="175" y="304"/>
                    </a:cubicBezTo>
                    <a:cubicBezTo>
                      <a:pt x="165" y="298"/>
                      <a:pt x="166" y="271"/>
                      <a:pt x="167" y="259"/>
                    </a:cubicBezTo>
                    <a:cubicBezTo>
                      <a:pt x="168" y="247"/>
                      <a:pt x="172" y="220"/>
                      <a:pt x="169" y="209"/>
                    </a:cubicBezTo>
                    <a:cubicBezTo>
                      <a:pt x="140" y="156"/>
                      <a:pt x="0" y="2"/>
                      <a:pt x="0" y="2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19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9" name="Freeform 358">
                <a:extLst>
                  <a:ext uri="{FF2B5EF4-FFF2-40B4-BE49-F238E27FC236}">
                    <a16:creationId xmlns:a16="http://schemas.microsoft.com/office/drawing/2014/main" id="{5E5CC89C-BE8D-4F18-9042-5B9C3B1F75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0" y="1305"/>
                <a:ext cx="86" cy="91"/>
              </a:xfrm>
              <a:custGeom>
                <a:avLst/>
                <a:gdLst>
                  <a:gd name="T0" fmla="*/ 148 w 156"/>
                  <a:gd name="T1" fmla="*/ 104 h 167"/>
                  <a:gd name="T2" fmla="*/ 48 w 156"/>
                  <a:gd name="T3" fmla="*/ 3 h 167"/>
                  <a:gd name="T4" fmla="*/ 36 w 156"/>
                  <a:gd name="T5" fmla="*/ 3 h 167"/>
                  <a:gd name="T6" fmla="*/ 30 w 156"/>
                  <a:gd name="T7" fmla="*/ 10 h 167"/>
                  <a:gd name="T8" fmla="*/ 0 w 156"/>
                  <a:gd name="T9" fmla="*/ 76 h 167"/>
                  <a:gd name="T10" fmla="*/ 16 w 156"/>
                  <a:gd name="T11" fmla="*/ 121 h 167"/>
                  <a:gd name="T12" fmla="*/ 53 w 156"/>
                  <a:gd name="T13" fmla="*/ 154 h 167"/>
                  <a:gd name="T14" fmla="*/ 129 w 156"/>
                  <a:gd name="T15" fmla="*/ 138 h 167"/>
                  <a:gd name="T16" fmla="*/ 148 w 156"/>
                  <a:gd name="T17" fmla="*/ 104 h 167"/>
                  <a:gd name="T18" fmla="*/ 124 w 156"/>
                  <a:gd name="T19" fmla="*/ 130 h 167"/>
                  <a:gd name="T20" fmla="*/ 57 w 156"/>
                  <a:gd name="T21" fmla="*/ 146 h 167"/>
                  <a:gd name="T22" fmla="*/ 34 w 156"/>
                  <a:gd name="T23" fmla="*/ 129 h 167"/>
                  <a:gd name="T24" fmla="*/ 23 w 156"/>
                  <a:gd name="T25" fmla="*/ 116 h 167"/>
                  <a:gd name="T26" fmla="*/ 8 w 156"/>
                  <a:gd name="T27" fmla="*/ 76 h 167"/>
                  <a:gd name="T28" fmla="*/ 36 w 156"/>
                  <a:gd name="T29" fmla="*/ 16 h 167"/>
                  <a:gd name="T30" fmla="*/ 41 w 156"/>
                  <a:gd name="T31" fmla="*/ 10 h 167"/>
                  <a:gd name="T32" fmla="*/ 43 w 156"/>
                  <a:gd name="T33" fmla="*/ 11 h 167"/>
                  <a:gd name="T34" fmla="*/ 94 w 156"/>
                  <a:gd name="T35" fmla="*/ 53 h 167"/>
                  <a:gd name="T36" fmla="*/ 141 w 156"/>
                  <a:gd name="T37" fmla="*/ 108 h 167"/>
                  <a:gd name="T38" fmla="*/ 124 w 156"/>
                  <a:gd name="T39" fmla="*/ 13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6" h="167">
                    <a:moveTo>
                      <a:pt x="148" y="104"/>
                    </a:moveTo>
                    <a:cubicBezTo>
                      <a:pt x="129" y="74"/>
                      <a:pt x="78" y="22"/>
                      <a:pt x="48" y="3"/>
                    </a:cubicBezTo>
                    <a:cubicBezTo>
                      <a:pt x="45" y="2"/>
                      <a:pt x="39" y="0"/>
                      <a:pt x="36" y="3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12" y="27"/>
                      <a:pt x="0" y="51"/>
                      <a:pt x="0" y="76"/>
                    </a:cubicBezTo>
                    <a:cubicBezTo>
                      <a:pt x="0" y="91"/>
                      <a:pt x="6" y="107"/>
                      <a:pt x="16" y="121"/>
                    </a:cubicBezTo>
                    <a:cubicBezTo>
                      <a:pt x="26" y="135"/>
                      <a:pt x="39" y="147"/>
                      <a:pt x="53" y="154"/>
                    </a:cubicBezTo>
                    <a:cubicBezTo>
                      <a:pt x="79" y="167"/>
                      <a:pt x="113" y="149"/>
                      <a:pt x="129" y="138"/>
                    </a:cubicBezTo>
                    <a:cubicBezTo>
                      <a:pt x="136" y="132"/>
                      <a:pt x="156" y="115"/>
                      <a:pt x="148" y="104"/>
                    </a:cubicBezTo>
                    <a:moveTo>
                      <a:pt x="124" y="130"/>
                    </a:moveTo>
                    <a:cubicBezTo>
                      <a:pt x="112" y="139"/>
                      <a:pt x="80" y="158"/>
                      <a:pt x="57" y="146"/>
                    </a:cubicBezTo>
                    <a:cubicBezTo>
                      <a:pt x="49" y="142"/>
                      <a:pt x="41" y="136"/>
                      <a:pt x="34" y="129"/>
                    </a:cubicBezTo>
                    <a:cubicBezTo>
                      <a:pt x="30" y="125"/>
                      <a:pt x="26" y="120"/>
                      <a:pt x="23" y="116"/>
                    </a:cubicBezTo>
                    <a:cubicBezTo>
                      <a:pt x="13" y="102"/>
                      <a:pt x="8" y="88"/>
                      <a:pt x="8" y="76"/>
                    </a:cubicBezTo>
                    <a:cubicBezTo>
                      <a:pt x="8" y="55"/>
                      <a:pt x="18" y="33"/>
                      <a:pt x="36" y="16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2" y="10"/>
                      <a:pt x="43" y="11"/>
                      <a:pt x="43" y="11"/>
                    </a:cubicBezTo>
                    <a:cubicBezTo>
                      <a:pt x="56" y="19"/>
                      <a:pt x="75" y="34"/>
                      <a:pt x="94" y="53"/>
                    </a:cubicBezTo>
                    <a:cubicBezTo>
                      <a:pt x="113" y="73"/>
                      <a:pt x="131" y="94"/>
                      <a:pt x="141" y="108"/>
                    </a:cubicBezTo>
                    <a:cubicBezTo>
                      <a:pt x="143" y="112"/>
                      <a:pt x="133" y="124"/>
                      <a:pt x="124" y="13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0" name="Freeform 359">
                <a:extLst>
                  <a:ext uri="{FF2B5EF4-FFF2-40B4-BE49-F238E27FC236}">
                    <a16:creationId xmlns:a16="http://schemas.microsoft.com/office/drawing/2014/main" id="{62940D13-D518-489A-B1ED-431F94A1F9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0" y="1310"/>
                <a:ext cx="56" cy="76"/>
              </a:xfrm>
              <a:custGeom>
                <a:avLst/>
                <a:gdLst>
                  <a:gd name="T0" fmla="*/ 10 w 102"/>
                  <a:gd name="T1" fmla="*/ 24 h 139"/>
                  <a:gd name="T2" fmla="*/ 39 w 102"/>
                  <a:gd name="T3" fmla="*/ 66 h 139"/>
                  <a:gd name="T4" fmla="*/ 43 w 102"/>
                  <a:gd name="T5" fmla="*/ 139 h 139"/>
                  <a:gd name="T6" fmla="*/ 86 w 102"/>
                  <a:gd name="T7" fmla="*/ 121 h 139"/>
                  <a:gd name="T8" fmla="*/ 86 w 102"/>
                  <a:gd name="T9" fmla="*/ 121 h 139"/>
                  <a:gd name="T10" fmla="*/ 87 w 102"/>
                  <a:gd name="T11" fmla="*/ 121 h 139"/>
                  <a:gd name="T12" fmla="*/ 87 w 102"/>
                  <a:gd name="T13" fmla="*/ 121 h 139"/>
                  <a:gd name="T14" fmla="*/ 87 w 102"/>
                  <a:gd name="T15" fmla="*/ 120 h 139"/>
                  <a:gd name="T16" fmla="*/ 87 w 102"/>
                  <a:gd name="T17" fmla="*/ 120 h 139"/>
                  <a:gd name="T18" fmla="*/ 102 w 102"/>
                  <a:gd name="T19" fmla="*/ 105 h 139"/>
                  <a:gd name="T20" fmla="*/ 10 w 102"/>
                  <a:gd name="T21" fmla="*/ 24 h 139"/>
                  <a:gd name="T22" fmla="*/ 4 w 102"/>
                  <a:gd name="T23" fmla="*/ 0 h 139"/>
                  <a:gd name="T24" fmla="*/ 0 w 102"/>
                  <a:gd name="T25" fmla="*/ 5 h 139"/>
                  <a:gd name="T26" fmla="*/ 95 w 102"/>
                  <a:gd name="T27" fmla="*/ 86 h 139"/>
                  <a:gd name="T28" fmla="*/ 57 w 102"/>
                  <a:gd name="T29" fmla="*/ 43 h 139"/>
                  <a:gd name="T30" fmla="*/ 6 w 102"/>
                  <a:gd name="T31" fmla="*/ 1 h 139"/>
                  <a:gd name="T32" fmla="*/ 4 w 102"/>
                  <a:gd name="T33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2" h="139">
                    <a:moveTo>
                      <a:pt x="10" y="24"/>
                    </a:moveTo>
                    <a:cubicBezTo>
                      <a:pt x="26" y="44"/>
                      <a:pt x="37" y="60"/>
                      <a:pt x="39" y="66"/>
                    </a:cubicBezTo>
                    <a:cubicBezTo>
                      <a:pt x="41" y="83"/>
                      <a:pt x="42" y="117"/>
                      <a:pt x="43" y="139"/>
                    </a:cubicBezTo>
                    <a:cubicBezTo>
                      <a:pt x="60" y="137"/>
                      <a:pt x="77" y="127"/>
                      <a:pt x="86" y="121"/>
                    </a:cubicBezTo>
                    <a:cubicBezTo>
                      <a:pt x="86" y="121"/>
                      <a:pt x="86" y="121"/>
                      <a:pt x="86" y="121"/>
                    </a:cubicBezTo>
                    <a:cubicBezTo>
                      <a:pt x="86" y="121"/>
                      <a:pt x="86" y="121"/>
                      <a:pt x="87" y="121"/>
                    </a:cubicBezTo>
                    <a:cubicBezTo>
                      <a:pt x="87" y="121"/>
                      <a:pt x="87" y="121"/>
                      <a:pt x="87" y="121"/>
                    </a:cubicBezTo>
                    <a:cubicBezTo>
                      <a:pt x="87" y="121"/>
                      <a:pt x="87" y="120"/>
                      <a:pt x="87" y="120"/>
                    </a:cubicBezTo>
                    <a:cubicBezTo>
                      <a:pt x="87" y="120"/>
                      <a:pt x="87" y="120"/>
                      <a:pt x="87" y="120"/>
                    </a:cubicBezTo>
                    <a:cubicBezTo>
                      <a:pt x="93" y="116"/>
                      <a:pt x="99" y="110"/>
                      <a:pt x="102" y="105"/>
                    </a:cubicBezTo>
                    <a:cubicBezTo>
                      <a:pt x="89" y="93"/>
                      <a:pt x="51" y="59"/>
                      <a:pt x="10" y="24"/>
                    </a:cubicBezTo>
                    <a:moveTo>
                      <a:pt x="4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37" y="36"/>
                      <a:pt x="75" y="69"/>
                      <a:pt x="95" y="86"/>
                    </a:cubicBezTo>
                    <a:cubicBezTo>
                      <a:pt x="85" y="73"/>
                      <a:pt x="71" y="58"/>
                      <a:pt x="57" y="43"/>
                    </a:cubicBezTo>
                    <a:cubicBezTo>
                      <a:pt x="38" y="24"/>
                      <a:pt x="19" y="9"/>
                      <a:pt x="6" y="1"/>
                    </a:cubicBezTo>
                    <a:cubicBezTo>
                      <a:pt x="6" y="1"/>
                      <a:pt x="5" y="0"/>
                      <a:pt x="4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1" name="Freeform 360">
                <a:extLst>
                  <a:ext uri="{FF2B5EF4-FFF2-40B4-BE49-F238E27FC236}">
                    <a16:creationId xmlns:a16="http://schemas.microsoft.com/office/drawing/2014/main" id="{B5214982-566F-44C0-88CA-121AF66844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9" y="1313"/>
                <a:ext cx="58" cy="55"/>
              </a:xfrm>
              <a:custGeom>
                <a:avLst/>
                <a:gdLst>
                  <a:gd name="T0" fmla="*/ 3 w 107"/>
                  <a:gd name="T1" fmla="*/ 0 h 100"/>
                  <a:gd name="T2" fmla="*/ 2 w 107"/>
                  <a:gd name="T3" fmla="*/ 1 h 100"/>
                  <a:gd name="T4" fmla="*/ 0 w 107"/>
                  <a:gd name="T5" fmla="*/ 3 h 100"/>
                  <a:gd name="T6" fmla="*/ 13 w 107"/>
                  <a:gd name="T7" fmla="*/ 19 h 100"/>
                  <a:gd name="T8" fmla="*/ 105 w 107"/>
                  <a:gd name="T9" fmla="*/ 100 h 100"/>
                  <a:gd name="T10" fmla="*/ 107 w 107"/>
                  <a:gd name="T11" fmla="*/ 95 h 100"/>
                  <a:gd name="T12" fmla="*/ 107 w 107"/>
                  <a:gd name="T13" fmla="*/ 93 h 100"/>
                  <a:gd name="T14" fmla="*/ 98 w 107"/>
                  <a:gd name="T15" fmla="*/ 81 h 100"/>
                  <a:gd name="T16" fmla="*/ 3 w 107"/>
                  <a:gd name="T17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7" h="100">
                    <a:moveTo>
                      <a:pt x="3" y="0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1" y="2"/>
                      <a:pt x="0" y="2"/>
                      <a:pt x="0" y="3"/>
                    </a:cubicBezTo>
                    <a:cubicBezTo>
                      <a:pt x="4" y="9"/>
                      <a:pt x="9" y="14"/>
                      <a:pt x="13" y="19"/>
                    </a:cubicBezTo>
                    <a:cubicBezTo>
                      <a:pt x="54" y="54"/>
                      <a:pt x="92" y="88"/>
                      <a:pt x="105" y="100"/>
                    </a:cubicBezTo>
                    <a:cubicBezTo>
                      <a:pt x="106" y="98"/>
                      <a:pt x="107" y="96"/>
                      <a:pt x="107" y="95"/>
                    </a:cubicBezTo>
                    <a:cubicBezTo>
                      <a:pt x="107" y="94"/>
                      <a:pt x="107" y="94"/>
                      <a:pt x="107" y="93"/>
                    </a:cubicBezTo>
                    <a:cubicBezTo>
                      <a:pt x="104" y="90"/>
                      <a:pt x="101" y="86"/>
                      <a:pt x="98" y="81"/>
                    </a:cubicBezTo>
                    <a:cubicBezTo>
                      <a:pt x="78" y="64"/>
                      <a:pt x="40" y="31"/>
                      <a:pt x="3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2" name="Freeform 361">
                <a:extLst>
                  <a:ext uri="{FF2B5EF4-FFF2-40B4-BE49-F238E27FC236}">
                    <a16:creationId xmlns:a16="http://schemas.microsoft.com/office/drawing/2014/main" id="{55FDCFF2-EA98-4569-8E96-FBEA99DE9F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1318"/>
                <a:ext cx="33" cy="68"/>
              </a:xfrm>
              <a:custGeom>
                <a:avLst/>
                <a:gdLst>
                  <a:gd name="T0" fmla="*/ 20 w 61"/>
                  <a:gd name="T1" fmla="*/ 0 h 123"/>
                  <a:gd name="T2" fmla="*/ 0 w 61"/>
                  <a:gd name="T3" fmla="*/ 51 h 123"/>
                  <a:gd name="T4" fmla="*/ 0 w 61"/>
                  <a:gd name="T5" fmla="*/ 51 h 123"/>
                  <a:gd name="T6" fmla="*/ 15 w 61"/>
                  <a:gd name="T7" fmla="*/ 91 h 123"/>
                  <a:gd name="T8" fmla="*/ 26 w 61"/>
                  <a:gd name="T9" fmla="*/ 104 h 123"/>
                  <a:gd name="T10" fmla="*/ 49 w 61"/>
                  <a:gd name="T11" fmla="*/ 121 h 123"/>
                  <a:gd name="T12" fmla="*/ 56 w 61"/>
                  <a:gd name="T13" fmla="*/ 123 h 123"/>
                  <a:gd name="T14" fmla="*/ 56 w 61"/>
                  <a:gd name="T15" fmla="*/ 105 h 123"/>
                  <a:gd name="T16" fmla="*/ 58 w 61"/>
                  <a:gd name="T17" fmla="*/ 55 h 123"/>
                  <a:gd name="T18" fmla="*/ 20 w 61"/>
                  <a:gd name="T19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123">
                    <a:moveTo>
                      <a:pt x="20" y="0"/>
                    </a:moveTo>
                    <a:cubicBezTo>
                      <a:pt x="7" y="16"/>
                      <a:pt x="0" y="34"/>
                      <a:pt x="0" y="51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63"/>
                      <a:pt x="5" y="78"/>
                      <a:pt x="15" y="91"/>
                    </a:cubicBezTo>
                    <a:cubicBezTo>
                      <a:pt x="18" y="95"/>
                      <a:pt x="22" y="100"/>
                      <a:pt x="26" y="104"/>
                    </a:cubicBezTo>
                    <a:cubicBezTo>
                      <a:pt x="33" y="111"/>
                      <a:pt x="41" y="117"/>
                      <a:pt x="49" y="121"/>
                    </a:cubicBezTo>
                    <a:cubicBezTo>
                      <a:pt x="51" y="122"/>
                      <a:pt x="53" y="123"/>
                      <a:pt x="56" y="123"/>
                    </a:cubicBezTo>
                    <a:cubicBezTo>
                      <a:pt x="55" y="117"/>
                      <a:pt x="56" y="110"/>
                      <a:pt x="56" y="105"/>
                    </a:cubicBezTo>
                    <a:cubicBezTo>
                      <a:pt x="57" y="93"/>
                      <a:pt x="61" y="66"/>
                      <a:pt x="58" y="55"/>
                    </a:cubicBezTo>
                    <a:cubicBezTo>
                      <a:pt x="51" y="42"/>
                      <a:pt x="37" y="22"/>
                      <a:pt x="20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3" name="Freeform 362">
                <a:extLst>
                  <a:ext uri="{FF2B5EF4-FFF2-40B4-BE49-F238E27FC236}">
                    <a16:creationId xmlns:a16="http://schemas.microsoft.com/office/drawing/2014/main" id="{51BBE0B3-C676-4902-BAD3-0FB9B903F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1315"/>
                <a:ext cx="28" cy="72"/>
              </a:xfrm>
              <a:custGeom>
                <a:avLst/>
                <a:gdLst>
                  <a:gd name="T0" fmla="*/ 6 w 52"/>
                  <a:gd name="T1" fmla="*/ 0 h 132"/>
                  <a:gd name="T2" fmla="*/ 0 w 52"/>
                  <a:gd name="T3" fmla="*/ 7 h 132"/>
                  <a:gd name="T4" fmla="*/ 38 w 52"/>
                  <a:gd name="T5" fmla="*/ 62 h 132"/>
                  <a:gd name="T6" fmla="*/ 36 w 52"/>
                  <a:gd name="T7" fmla="*/ 112 h 132"/>
                  <a:gd name="T8" fmla="*/ 36 w 52"/>
                  <a:gd name="T9" fmla="*/ 130 h 132"/>
                  <a:gd name="T10" fmla="*/ 46 w 52"/>
                  <a:gd name="T11" fmla="*/ 132 h 132"/>
                  <a:gd name="T12" fmla="*/ 46 w 52"/>
                  <a:gd name="T13" fmla="*/ 132 h 132"/>
                  <a:gd name="T14" fmla="*/ 46 w 52"/>
                  <a:gd name="T15" fmla="*/ 132 h 132"/>
                  <a:gd name="T16" fmla="*/ 52 w 52"/>
                  <a:gd name="T17" fmla="*/ 131 h 132"/>
                  <a:gd name="T18" fmla="*/ 48 w 52"/>
                  <a:gd name="T19" fmla="*/ 58 h 132"/>
                  <a:gd name="T20" fmla="*/ 19 w 52"/>
                  <a:gd name="T21" fmla="*/ 16 h 132"/>
                  <a:gd name="T22" fmla="*/ 6 w 52"/>
                  <a:gd name="T23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2" h="132">
                    <a:moveTo>
                      <a:pt x="6" y="0"/>
                    </a:moveTo>
                    <a:cubicBezTo>
                      <a:pt x="4" y="2"/>
                      <a:pt x="2" y="5"/>
                      <a:pt x="0" y="7"/>
                    </a:cubicBezTo>
                    <a:cubicBezTo>
                      <a:pt x="17" y="29"/>
                      <a:pt x="31" y="49"/>
                      <a:pt x="38" y="62"/>
                    </a:cubicBezTo>
                    <a:cubicBezTo>
                      <a:pt x="41" y="73"/>
                      <a:pt x="37" y="100"/>
                      <a:pt x="36" y="112"/>
                    </a:cubicBezTo>
                    <a:cubicBezTo>
                      <a:pt x="36" y="117"/>
                      <a:pt x="35" y="124"/>
                      <a:pt x="36" y="130"/>
                    </a:cubicBezTo>
                    <a:cubicBezTo>
                      <a:pt x="39" y="131"/>
                      <a:pt x="42" y="132"/>
                      <a:pt x="46" y="132"/>
                    </a:cubicBezTo>
                    <a:cubicBezTo>
                      <a:pt x="46" y="132"/>
                      <a:pt x="46" y="132"/>
                      <a:pt x="46" y="132"/>
                    </a:cubicBezTo>
                    <a:cubicBezTo>
                      <a:pt x="46" y="132"/>
                      <a:pt x="46" y="132"/>
                      <a:pt x="46" y="132"/>
                    </a:cubicBezTo>
                    <a:cubicBezTo>
                      <a:pt x="48" y="132"/>
                      <a:pt x="50" y="132"/>
                      <a:pt x="52" y="131"/>
                    </a:cubicBezTo>
                    <a:cubicBezTo>
                      <a:pt x="51" y="109"/>
                      <a:pt x="50" y="75"/>
                      <a:pt x="48" y="58"/>
                    </a:cubicBezTo>
                    <a:cubicBezTo>
                      <a:pt x="46" y="52"/>
                      <a:pt x="35" y="36"/>
                      <a:pt x="19" y="16"/>
                    </a:cubicBezTo>
                    <a:cubicBezTo>
                      <a:pt x="15" y="11"/>
                      <a:pt x="10" y="6"/>
                      <a:pt x="6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4" name="Freeform 363">
                <a:extLst>
                  <a:ext uri="{FF2B5EF4-FFF2-40B4-BE49-F238E27FC236}">
                    <a16:creationId xmlns:a16="http://schemas.microsoft.com/office/drawing/2014/main" id="{0438741C-B16F-46F4-8F6C-3CE534E309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" y="1310"/>
                <a:ext cx="72" cy="77"/>
              </a:xfrm>
              <a:custGeom>
                <a:avLst/>
                <a:gdLst>
                  <a:gd name="T0" fmla="*/ 66 w 133"/>
                  <a:gd name="T1" fmla="*/ 140 h 140"/>
                  <a:gd name="T2" fmla="*/ 66 w 133"/>
                  <a:gd name="T3" fmla="*/ 140 h 140"/>
                  <a:gd name="T4" fmla="*/ 66 w 133"/>
                  <a:gd name="T5" fmla="*/ 140 h 140"/>
                  <a:gd name="T6" fmla="*/ 66 w 133"/>
                  <a:gd name="T7" fmla="*/ 140 h 140"/>
                  <a:gd name="T8" fmla="*/ 115 w 133"/>
                  <a:gd name="T9" fmla="*/ 121 h 140"/>
                  <a:gd name="T10" fmla="*/ 72 w 133"/>
                  <a:gd name="T11" fmla="*/ 139 h 140"/>
                  <a:gd name="T12" fmla="*/ 66 w 133"/>
                  <a:gd name="T13" fmla="*/ 140 h 140"/>
                  <a:gd name="T14" fmla="*/ 115 w 133"/>
                  <a:gd name="T15" fmla="*/ 121 h 140"/>
                  <a:gd name="T16" fmla="*/ 116 w 133"/>
                  <a:gd name="T17" fmla="*/ 121 h 140"/>
                  <a:gd name="T18" fmla="*/ 115 w 133"/>
                  <a:gd name="T19" fmla="*/ 121 h 140"/>
                  <a:gd name="T20" fmla="*/ 116 w 133"/>
                  <a:gd name="T21" fmla="*/ 121 h 140"/>
                  <a:gd name="T22" fmla="*/ 116 w 133"/>
                  <a:gd name="T23" fmla="*/ 120 h 140"/>
                  <a:gd name="T24" fmla="*/ 116 w 133"/>
                  <a:gd name="T25" fmla="*/ 121 h 140"/>
                  <a:gd name="T26" fmla="*/ 116 w 133"/>
                  <a:gd name="T27" fmla="*/ 120 h 140"/>
                  <a:gd name="T28" fmla="*/ 33 w 133"/>
                  <a:gd name="T29" fmla="*/ 0 h 140"/>
                  <a:gd name="T30" fmla="*/ 28 w 133"/>
                  <a:gd name="T31" fmla="*/ 6 h 140"/>
                  <a:gd name="T32" fmla="*/ 0 w 133"/>
                  <a:gd name="T33" fmla="*/ 66 h 140"/>
                  <a:gd name="T34" fmla="*/ 0 w 133"/>
                  <a:gd name="T35" fmla="*/ 66 h 140"/>
                  <a:gd name="T36" fmla="*/ 0 w 133"/>
                  <a:gd name="T37" fmla="*/ 66 h 140"/>
                  <a:gd name="T38" fmla="*/ 20 w 133"/>
                  <a:gd name="T39" fmla="*/ 15 h 140"/>
                  <a:gd name="T40" fmla="*/ 26 w 133"/>
                  <a:gd name="T41" fmla="*/ 8 h 140"/>
                  <a:gd name="T42" fmla="*/ 28 w 133"/>
                  <a:gd name="T43" fmla="*/ 6 h 140"/>
                  <a:gd name="T44" fmla="*/ 29 w 133"/>
                  <a:gd name="T45" fmla="*/ 5 h 140"/>
                  <a:gd name="T46" fmla="*/ 33 w 133"/>
                  <a:gd name="T47" fmla="*/ 0 h 140"/>
                  <a:gd name="T48" fmla="*/ 35 w 133"/>
                  <a:gd name="T49" fmla="*/ 1 h 140"/>
                  <a:gd name="T50" fmla="*/ 86 w 133"/>
                  <a:gd name="T51" fmla="*/ 43 h 140"/>
                  <a:gd name="T52" fmla="*/ 124 w 133"/>
                  <a:gd name="T53" fmla="*/ 86 h 140"/>
                  <a:gd name="T54" fmla="*/ 133 w 133"/>
                  <a:gd name="T55" fmla="*/ 98 h 140"/>
                  <a:gd name="T56" fmla="*/ 133 w 133"/>
                  <a:gd name="T57" fmla="*/ 100 h 140"/>
                  <a:gd name="T58" fmla="*/ 133 w 133"/>
                  <a:gd name="T59" fmla="*/ 98 h 140"/>
                  <a:gd name="T60" fmla="*/ 86 w 133"/>
                  <a:gd name="T61" fmla="*/ 43 h 140"/>
                  <a:gd name="T62" fmla="*/ 35 w 133"/>
                  <a:gd name="T63" fmla="*/ 1 h 140"/>
                  <a:gd name="T64" fmla="*/ 33 w 133"/>
                  <a:gd name="T65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3" h="140">
                    <a:moveTo>
                      <a:pt x="66" y="140"/>
                    </a:moveTo>
                    <a:cubicBezTo>
                      <a:pt x="66" y="140"/>
                      <a:pt x="66" y="140"/>
                      <a:pt x="66" y="140"/>
                    </a:cubicBezTo>
                    <a:cubicBezTo>
                      <a:pt x="66" y="140"/>
                      <a:pt x="66" y="140"/>
                      <a:pt x="66" y="140"/>
                    </a:cubicBezTo>
                    <a:cubicBezTo>
                      <a:pt x="66" y="140"/>
                      <a:pt x="66" y="140"/>
                      <a:pt x="66" y="140"/>
                    </a:cubicBezTo>
                    <a:moveTo>
                      <a:pt x="115" y="121"/>
                    </a:moveTo>
                    <a:cubicBezTo>
                      <a:pt x="106" y="127"/>
                      <a:pt x="89" y="137"/>
                      <a:pt x="72" y="139"/>
                    </a:cubicBezTo>
                    <a:cubicBezTo>
                      <a:pt x="70" y="140"/>
                      <a:pt x="68" y="140"/>
                      <a:pt x="66" y="140"/>
                    </a:cubicBezTo>
                    <a:cubicBezTo>
                      <a:pt x="85" y="140"/>
                      <a:pt x="105" y="128"/>
                      <a:pt x="115" y="121"/>
                    </a:cubicBezTo>
                    <a:moveTo>
                      <a:pt x="116" y="121"/>
                    </a:moveTo>
                    <a:cubicBezTo>
                      <a:pt x="115" y="121"/>
                      <a:pt x="115" y="121"/>
                      <a:pt x="115" y="121"/>
                    </a:cubicBezTo>
                    <a:cubicBezTo>
                      <a:pt x="115" y="121"/>
                      <a:pt x="115" y="121"/>
                      <a:pt x="116" y="121"/>
                    </a:cubicBezTo>
                    <a:moveTo>
                      <a:pt x="116" y="120"/>
                    </a:moveTo>
                    <a:cubicBezTo>
                      <a:pt x="116" y="120"/>
                      <a:pt x="116" y="121"/>
                      <a:pt x="116" y="121"/>
                    </a:cubicBezTo>
                    <a:cubicBezTo>
                      <a:pt x="116" y="121"/>
                      <a:pt x="116" y="120"/>
                      <a:pt x="116" y="120"/>
                    </a:cubicBezTo>
                    <a:moveTo>
                      <a:pt x="33" y="0"/>
                    </a:moveTo>
                    <a:cubicBezTo>
                      <a:pt x="28" y="6"/>
                      <a:pt x="28" y="6"/>
                      <a:pt x="28" y="6"/>
                    </a:cubicBezTo>
                    <a:cubicBezTo>
                      <a:pt x="10" y="23"/>
                      <a:pt x="0" y="45"/>
                      <a:pt x="0" y="66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49"/>
                      <a:pt x="7" y="31"/>
                      <a:pt x="20" y="15"/>
                    </a:cubicBezTo>
                    <a:cubicBezTo>
                      <a:pt x="22" y="13"/>
                      <a:pt x="24" y="10"/>
                      <a:pt x="26" y="8"/>
                    </a:cubicBezTo>
                    <a:cubicBezTo>
                      <a:pt x="26" y="7"/>
                      <a:pt x="27" y="7"/>
                      <a:pt x="28" y="6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4" y="0"/>
                      <a:pt x="35" y="1"/>
                      <a:pt x="35" y="1"/>
                    </a:cubicBezTo>
                    <a:cubicBezTo>
                      <a:pt x="48" y="9"/>
                      <a:pt x="67" y="24"/>
                      <a:pt x="86" y="43"/>
                    </a:cubicBezTo>
                    <a:cubicBezTo>
                      <a:pt x="100" y="58"/>
                      <a:pt x="114" y="73"/>
                      <a:pt x="124" y="86"/>
                    </a:cubicBezTo>
                    <a:cubicBezTo>
                      <a:pt x="127" y="91"/>
                      <a:pt x="130" y="95"/>
                      <a:pt x="133" y="98"/>
                    </a:cubicBezTo>
                    <a:cubicBezTo>
                      <a:pt x="133" y="99"/>
                      <a:pt x="133" y="99"/>
                      <a:pt x="133" y="100"/>
                    </a:cubicBezTo>
                    <a:cubicBezTo>
                      <a:pt x="133" y="99"/>
                      <a:pt x="133" y="99"/>
                      <a:pt x="133" y="98"/>
                    </a:cubicBezTo>
                    <a:cubicBezTo>
                      <a:pt x="123" y="84"/>
                      <a:pt x="105" y="63"/>
                      <a:pt x="86" y="43"/>
                    </a:cubicBezTo>
                    <a:cubicBezTo>
                      <a:pt x="67" y="24"/>
                      <a:pt x="48" y="9"/>
                      <a:pt x="35" y="1"/>
                    </a:cubicBezTo>
                    <a:cubicBezTo>
                      <a:pt x="35" y="1"/>
                      <a:pt x="34" y="0"/>
                      <a:pt x="33" y="0"/>
                    </a:cubicBezTo>
                  </a:path>
                </a:pathLst>
              </a:custGeom>
              <a:solidFill>
                <a:srgbClr val="48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5" name="Freeform 364">
                <a:extLst>
                  <a:ext uri="{FF2B5EF4-FFF2-40B4-BE49-F238E27FC236}">
                    <a16:creationId xmlns:a16="http://schemas.microsoft.com/office/drawing/2014/main" id="{495BA7B8-2B4A-4EB9-AF60-41D9BAC3B2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8" y="1229"/>
                <a:ext cx="91" cy="85"/>
              </a:xfrm>
              <a:custGeom>
                <a:avLst/>
                <a:gdLst>
                  <a:gd name="T0" fmla="*/ 163 w 167"/>
                  <a:gd name="T1" fmla="*/ 108 h 156"/>
                  <a:gd name="T2" fmla="*/ 63 w 167"/>
                  <a:gd name="T3" fmla="*/ 8 h 156"/>
                  <a:gd name="T4" fmla="*/ 29 w 167"/>
                  <a:gd name="T5" fmla="*/ 27 h 156"/>
                  <a:gd name="T6" fmla="*/ 13 w 167"/>
                  <a:gd name="T7" fmla="*/ 103 h 156"/>
                  <a:gd name="T8" fmla="*/ 46 w 167"/>
                  <a:gd name="T9" fmla="*/ 140 h 156"/>
                  <a:gd name="T10" fmla="*/ 91 w 167"/>
                  <a:gd name="T11" fmla="*/ 156 h 156"/>
                  <a:gd name="T12" fmla="*/ 157 w 167"/>
                  <a:gd name="T13" fmla="*/ 126 h 156"/>
                  <a:gd name="T14" fmla="*/ 163 w 167"/>
                  <a:gd name="T15" fmla="*/ 120 h 156"/>
                  <a:gd name="T16" fmla="*/ 163 w 167"/>
                  <a:gd name="T17" fmla="*/ 108 h 156"/>
                  <a:gd name="T18" fmla="*/ 151 w 167"/>
                  <a:gd name="T19" fmla="*/ 120 h 156"/>
                  <a:gd name="T20" fmla="*/ 91 w 167"/>
                  <a:gd name="T21" fmla="*/ 147 h 156"/>
                  <a:gd name="T22" fmla="*/ 51 w 167"/>
                  <a:gd name="T23" fmla="*/ 133 h 156"/>
                  <a:gd name="T24" fmla="*/ 38 w 167"/>
                  <a:gd name="T25" fmla="*/ 122 h 156"/>
                  <a:gd name="T26" fmla="*/ 21 w 167"/>
                  <a:gd name="T27" fmla="*/ 99 h 156"/>
                  <a:gd name="T28" fmla="*/ 36 w 167"/>
                  <a:gd name="T29" fmla="*/ 32 h 156"/>
                  <a:gd name="T30" fmla="*/ 58 w 167"/>
                  <a:gd name="T31" fmla="*/ 15 h 156"/>
                  <a:gd name="T32" fmla="*/ 114 w 167"/>
                  <a:gd name="T33" fmla="*/ 62 h 156"/>
                  <a:gd name="T34" fmla="*/ 156 w 167"/>
                  <a:gd name="T35" fmla="*/ 113 h 156"/>
                  <a:gd name="T36" fmla="*/ 157 w 167"/>
                  <a:gd name="T37" fmla="*/ 114 h 156"/>
                  <a:gd name="T38" fmla="*/ 151 w 167"/>
                  <a:gd name="T39" fmla="*/ 12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7" h="156">
                    <a:moveTo>
                      <a:pt x="163" y="108"/>
                    </a:moveTo>
                    <a:cubicBezTo>
                      <a:pt x="145" y="78"/>
                      <a:pt x="93" y="27"/>
                      <a:pt x="63" y="8"/>
                    </a:cubicBezTo>
                    <a:cubicBezTo>
                      <a:pt x="51" y="0"/>
                      <a:pt x="34" y="19"/>
                      <a:pt x="29" y="27"/>
                    </a:cubicBezTo>
                    <a:cubicBezTo>
                      <a:pt x="18" y="43"/>
                      <a:pt x="0" y="76"/>
                      <a:pt x="13" y="103"/>
                    </a:cubicBezTo>
                    <a:cubicBezTo>
                      <a:pt x="20" y="117"/>
                      <a:pt x="32" y="130"/>
                      <a:pt x="46" y="140"/>
                    </a:cubicBezTo>
                    <a:cubicBezTo>
                      <a:pt x="60" y="150"/>
                      <a:pt x="76" y="156"/>
                      <a:pt x="91" y="156"/>
                    </a:cubicBezTo>
                    <a:cubicBezTo>
                      <a:pt x="116" y="156"/>
                      <a:pt x="139" y="144"/>
                      <a:pt x="157" y="126"/>
                    </a:cubicBezTo>
                    <a:cubicBezTo>
                      <a:pt x="163" y="120"/>
                      <a:pt x="163" y="120"/>
                      <a:pt x="163" y="120"/>
                    </a:cubicBezTo>
                    <a:cubicBezTo>
                      <a:pt x="167" y="117"/>
                      <a:pt x="165" y="111"/>
                      <a:pt x="163" y="108"/>
                    </a:cubicBezTo>
                    <a:moveTo>
                      <a:pt x="151" y="120"/>
                    </a:moveTo>
                    <a:cubicBezTo>
                      <a:pt x="133" y="137"/>
                      <a:pt x="112" y="147"/>
                      <a:pt x="91" y="147"/>
                    </a:cubicBezTo>
                    <a:cubicBezTo>
                      <a:pt x="79" y="148"/>
                      <a:pt x="64" y="142"/>
                      <a:pt x="51" y="133"/>
                    </a:cubicBezTo>
                    <a:cubicBezTo>
                      <a:pt x="46" y="130"/>
                      <a:pt x="42" y="126"/>
                      <a:pt x="38" y="122"/>
                    </a:cubicBezTo>
                    <a:cubicBezTo>
                      <a:pt x="31" y="115"/>
                      <a:pt x="25" y="107"/>
                      <a:pt x="21" y="99"/>
                    </a:cubicBezTo>
                    <a:cubicBezTo>
                      <a:pt x="9" y="76"/>
                      <a:pt x="28" y="44"/>
                      <a:pt x="36" y="32"/>
                    </a:cubicBezTo>
                    <a:cubicBezTo>
                      <a:pt x="43" y="22"/>
                      <a:pt x="55" y="13"/>
                      <a:pt x="58" y="15"/>
                    </a:cubicBezTo>
                    <a:cubicBezTo>
                      <a:pt x="73" y="24"/>
                      <a:pt x="94" y="42"/>
                      <a:pt x="114" y="62"/>
                    </a:cubicBezTo>
                    <a:cubicBezTo>
                      <a:pt x="133" y="81"/>
                      <a:pt x="148" y="100"/>
                      <a:pt x="156" y="113"/>
                    </a:cubicBezTo>
                    <a:cubicBezTo>
                      <a:pt x="156" y="113"/>
                      <a:pt x="156" y="114"/>
                      <a:pt x="157" y="114"/>
                    </a:cubicBezTo>
                    <a:cubicBezTo>
                      <a:pt x="151" y="120"/>
                      <a:pt x="151" y="120"/>
                      <a:pt x="151" y="12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6" name="Freeform 365">
                <a:extLst>
                  <a:ext uri="{FF2B5EF4-FFF2-40B4-BE49-F238E27FC236}">
                    <a16:creationId xmlns:a16="http://schemas.microsoft.com/office/drawing/2014/main" id="{CACDA52B-611F-4AF0-99C4-8B0470C53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9" y="1294"/>
                <a:ext cx="21" cy="21"/>
              </a:xfrm>
              <a:custGeom>
                <a:avLst/>
                <a:gdLst>
                  <a:gd name="T0" fmla="*/ 39 w 39"/>
                  <a:gd name="T1" fmla="*/ 29 h 38"/>
                  <a:gd name="T2" fmla="*/ 8 w 39"/>
                  <a:gd name="T3" fmla="*/ 0 h 38"/>
                  <a:gd name="T4" fmla="*/ 0 w 39"/>
                  <a:gd name="T5" fmla="*/ 9 h 38"/>
                  <a:gd name="T6" fmla="*/ 31 w 39"/>
                  <a:gd name="T7" fmla="*/ 38 h 38"/>
                  <a:gd name="T8" fmla="*/ 39 w 39"/>
                  <a:gd name="T9" fmla="*/ 2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8">
                    <a:moveTo>
                      <a:pt x="39" y="29"/>
                    </a:moveTo>
                    <a:cubicBezTo>
                      <a:pt x="31" y="17"/>
                      <a:pt x="21" y="7"/>
                      <a:pt x="8" y="0"/>
                    </a:cubicBezTo>
                    <a:cubicBezTo>
                      <a:pt x="6" y="3"/>
                      <a:pt x="3" y="6"/>
                      <a:pt x="0" y="9"/>
                    </a:cubicBezTo>
                    <a:cubicBezTo>
                      <a:pt x="12" y="16"/>
                      <a:pt x="23" y="26"/>
                      <a:pt x="31" y="38"/>
                    </a:cubicBezTo>
                    <a:cubicBezTo>
                      <a:pt x="33" y="35"/>
                      <a:pt x="36" y="32"/>
                      <a:pt x="39" y="29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7" name="Freeform 366">
                <a:extLst>
                  <a:ext uri="{FF2B5EF4-FFF2-40B4-BE49-F238E27FC236}">
                    <a16:creationId xmlns:a16="http://schemas.microsoft.com/office/drawing/2014/main" id="{BD44EC43-DBC3-48DB-8578-B56C5C6CC9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18" y="1238"/>
                <a:ext cx="68" cy="71"/>
              </a:xfrm>
              <a:custGeom>
                <a:avLst/>
                <a:gdLst>
                  <a:gd name="T0" fmla="*/ 58 w 124"/>
                  <a:gd name="T1" fmla="*/ 71 h 130"/>
                  <a:gd name="T2" fmla="*/ 18 w 124"/>
                  <a:gd name="T3" fmla="*/ 75 h 130"/>
                  <a:gd name="T4" fmla="*/ 5 w 124"/>
                  <a:gd name="T5" fmla="*/ 75 h 130"/>
                  <a:gd name="T6" fmla="*/ 0 w 124"/>
                  <a:gd name="T7" fmla="*/ 75 h 130"/>
                  <a:gd name="T8" fmla="*/ 3 w 124"/>
                  <a:gd name="T9" fmla="*/ 82 h 130"/>
                  <a:gd name="T10" fmla="*/ 20 w 124"/>
                  <a:gd name="T11" fmla="*/ 105 h 130"/>
                  <a:gd name="T12" fmla="*/ 33 w 124"/>
                  <a:gd name="T13" fmla="*/ 116 h 130"/>
                  <a:gd name="T14" fmla="*/ 73 w 124"/>
                  <a:gd name="T15" fmla="*/ 130 h 130"/>
                  <a:gd name="T16" fmla="*/ 73 w 124"/>
                  <a:gd name="T17" fmla="*/ 130 h 130"/>
                  <a:gd name="T18" fmla="*/ 124 w 124"/>
                  <a:gd name="T19" fmla="*/ 111 h 130"/>
                  <a:gd name="T20" fmla="*/ 69 w 124"/>
                  <a:gd name="T21" fmla="*/ 72 h 130"/>
                  <a:gd name="T22" fmla="*/ 58 w 124"/>
                  <a:gd name="T23" fmla="*/ 71 h 130"/>
                  <a:gd name="T24" fmla="*/ 34 w 124"/>
                  <a:gd name="T25" fmla="*/ 0 h 130"/>
                  <a:gd name="T26" fmla="*/ 18 w 124"/>
                  <a:gd name="T27" fmla="*/ 15 h 130"/>
                  <a:gd name="T28" fmla="*/ 0 w 124"/>
                  <a:gd name="T29" fmla="*/ 58 h 130"/>
                  <a:gd name="T30" fmla="*/ 72 w 124"/>
                  <a:gd name="T31" fmla="*/ 62 h 130"/>
                  <a:gd name="T32" fmla="*/ 114 w 124"/>
                  <a:gd name="T33" fmla="*/ 92 h 130"/>
                  <a:gd name="T34" fmla="*/ 34 w 124"/>
                  <a:gd name="T35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4" h="130">
                    <a:moveTo>
                      <a:pt x="58" y="71"/>
                    </a:moveTo>
                    <a:cubicBezTo>
                      <a:pt x="45" y="71"/>
                      <a:pt x="27" y="74"/>
                      <a:pt x="18" y="75"/>
                    </a:cubicBezTo>
                    <a:cubicBezTo>
                      <a:pt x="15" y="75"/>
                      <a:pt x="10" y="75"/>
                      <a:pt x="5" y="75"/>
                    </a:cubicBezTo>
                    <a:cubicBezTo>
                      <a:pt x="4" y="75"/>
                      <a:pt x="2" y="75"/>
                      <a:pt x="0" y="75"/>
                    </a:cubicBezTo>
                    <a:cubicBezTo>
                      <a:pt x="1" y="77"/>
                      <a:pt x="2" y="80"/>
                      <a:pt x="3" y="82"/>
                    </a:cubicBezTo>
                    <a:cubicBezTo>
                      <a:pt x="7" y="90"/>
                      <a:pt x="13" y="98"/>
                      <a:pt x="20" y="105"/>
                    </a:cubicBezTo>
                    <a:cubicBezTo>
                      <a:pt x="24" y="109"/>
                      <a:pt x="28" y="113"/>
                      <a:pt x="33" y="116"/>
                    </a:cubicBezTo>
                    <a:cubicBezTo>
                      <a:pt x="46" y="125"/>
                      <a:pt x="60" y="130"/>
                      <a:pt x="73" y="130"/>
                    </a:cubicBezTo>
                    <a:cubicBezTo>
                      <a:pt x="73" y="130"/>
                      <a:pt x="73" y="130"/>
                      <a:pt x="73" y="130"/>
                    </a:cubicBezTo>
                    <a:cubicBezTo>
                      <a:pt x="90" y="130"/>
                      <a:pt x="108" y="124"/>
                      <a:pt x="124" y="111"/>
                    </a:cubicBezTo>
                    <a:cubicBezTo>
                      <a:pt x="102" y="94"/>
                      <a:pt x="82" y="79"/>
                      <a:pt x="69" y="72"/>
                    </a:cubicBezTo>
                    <a:cubicBezTo>
                      <a:pt x="66" y="72"/>
                      <a:pt x="62" y="71"/>
                      <a:pt x="58" y="71"/>
                    </a:cubicBezTo>
                    <a:moveTo>
                      <a:pt x="34" y="0"/>
                    </a:moveTo>
                    <a:cubicBezTo>
                      <a:pt x="29" y="3"/>
                      <a:pt x="23" y="9"/>
                      <a:pt x="18" y="15"/>
                    </a:cubicBezTo>
                    <a:cubicBezTo>
                      <a:pt x="13" y="23"/>
                      <a:pt x="2" y="41"/>
                      <a:pt x="0" y="58"/>
                    </a:cubicBezTo>
                    <a:cubicBezTo>
                      <a:pt x="22" y="59"/>
                      <a:pt x="55" y="61"/>
                      <a:pt x="72" y="62"/>
                    </a:cubicBezTo>
                    <a:cubicBezTo>
                      <a:pt x="79" y="64"/>
                      <a:pt x="94" y="76"/>
                      <a:pt x="114" y="92"/>
                    </a:cubicBezTo>
                    <a:cubicBezTo>
                      <a:pt x="80" y="51"/>
                      <a:pt x="46" y="13"/>
                      <a:pt x="34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8" name="Freeform 367">
                <a:extLst>
                  <a:ext uri="{FF2B5EF4-FFF2-40B4-BE49-F238E27FC236}">
                    <a16:creationId xmlns:a16="http://schemas.microsoft.com/office/drawing/2014/main" id="{620DCD07-A940-42F3-BCA2-B54A631486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270"/>
                <a:ext cx="71" cy="29"/>
              </a:xfrm>
              <a:custGeom>
                <a:avLst/>
                <a:gdLst>
                  <a:gd name="T0" fmla="*/ 1 w 129"/>
                  <a:gd name="T1" fmla="*/ 0 h 53"/>
                  <a:gd name="T2" fmla="*/ 0 w 129"/>
                  <a:gd name="T3" fmla="*/ 7 h 53"/>
                  <a:gd name="T4" fmla="*/ 1 w 129"/>
                  <a:gd name="T5" fmla="*/ 17 h 53"/>
                  <a:gd name="T6" fmla="*/ 6 w 129"/>
                  <a:gd name="T7" fmla="*/ 17 h 53"/>
                  <a:gd name="T8" fmla="*/ 19 w 129"/>
                  <a:gd name="T9" fmla="*/ 17 h 53"/>
                  <a:gd name="T10" fmla="*/ 59 w 129"/>
                  <a:gd name="T11" fmla="*/ 13 h 53"/>
                  <a:gd name="T12" fmla="*/ 70 w 129"/>
                  <a:gd name="T13" fmla="*/ 14 h 53"/>
                  <a:gd name="T14" fmla="*/ 125 w 129"/>
                  <a:gd name="T15" fmla="*/ 53 h 53"/>
                  <a:gd name="T16" fmla="*/ 129 w 129"/>
                  <a:gd name="T17" fmla="*/ 50 h 53"/>
                  <a:gd name="T18" fmla="*/ 115 w 129"/>
                  <a:gd name="T19" fmla="*/ 34 h 53"/>
                  <a:gd name="T20" fmla="*/ 73 w 129"/>
                  <a:gd name="T21" fmla="*/ 4 h 53"/>
                  <a:gd name="T22" fmla="*/ 1 w 129"/>
                  <a:gd name="T23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9" h="53">
                    <a:moveTo>
                      <a:pt x="1" y="0"/>
                    </a:moveTo>
                    <a:cubicBezTo>
                      <a:pt x="0" y="3"/>
                      <a:pt x="0" y="5"/>
                      <a:pt x="0" y="7"/>
                    </a:cubicBezTo>
                    <a:cubicBezTo>
                      <a:pt x="0" y="11"/>
                      <a:pt x="1" y="14"/>
                      <a:pt x="1" y="17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11" y="17"/>
                      <a:pt x="16" y="17"/>
                      <a:pt x="19" y="17"/>
                    </a:cubicBezTo>
                    <a:cubicBezTo>
                      <a:pt x="28" y="16"/>
                      <a:pt x="46" y="13"/>
                      <a:pt x="59" y="13"/>
                    </a:cubicBezTo>
                    <a:cubicBezTo>
                      <a:pt x="63" y="13"/>
                      <a:pt x="67" y="14"/>
                      <a:pt x="70" y="14"/>
                    </a:cubicBezTo>
                    <a:cubicBezTo>
                      <a:pt x="83" y="21"/>
                      <a:pt x="103" y="36"/>
                      <a:pt x="125" y="53"/>
                    </a:cubicBezTo>
                    <a:cubicBezTo>
                      <a:pt x="126" y="52"/>
                      <a:pt x="127" y="51"/>
                      <a:pt x="129" y="50"/>
                    </a:cubicBezTo>
                    <a:cubicBezTo>
                      <a:pt x="124" y="44"/>
                      <a:pt x="120" y="39"/>
                      <a:pt x="115" y="34"/>
                    </a:cubicBezTo>
                    <a:cubicBezTo>
                      <a:pt x="95" y="18"/>
                      <a:pt x="80" y="6"/>
                      <a:pt x="73" y="4"/>
                    </a:cubicBezTo>
                    <a:cubicBezTo>
                      <a:pt x="56" y="3"/>
                      <a:pt x="23" y="1"/>
                      <a:pt x="1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9" name="Freeform 368">
                <a:extLst>
                  <a:ext uri="{FF2B5EF4-FFF2-40B4-BE49-F238E27FC236}">
                    <a16:creationId xmlns:a16="http://schemas.microsoft.com/office/drawing/2014/main" id="{7BE2DF5E-8710-4894-8955-1D8FCC9B1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7" y="1242"/>
                <a:ext cx="47" cy="52"/>
              </a:xfrm>
              <a:custGeom>
                <a:avLst/>
                <a:gdLst>
                  <a:gd name="T0" fmla="*/ 0 w 86"/>
                  <a:gd name="T1" fmla="*/ 0 h 95"/>
                  <a:gd name="T2" fmla="*/ 81 w 86"/>
                  <a:gd name="T3" fmla="*/ 95 h 95"/>
                  <a:gd name="T4" fmla="*/ 86 w 86"/>
                  <a:gd name="T5" fmla="*/ 90 h 95"/>
                  <a:gd name="T6" fmla="*/ 85 w 86"/>
                  <a:gd name="T7" fmla="*/ 89 h 95"/>
                  <a:gd name="T8" fmla="*/ 43 w 86"/>
                  <a:gd name="T9" fmla="*/ 38 h 95"/>
                  <a:gd name="T10" fmla="*/ 0 w 86"/>
                  <a:gd name="T11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6" h="95">
                    <a:moveTo>
                      <a:pt x="0" y="0"/>
                    </a:moveTo>
                    <a:cubicBezTo>
                      <a:pt x="17" y="20"/>
                      <a:pt x="50" y="58"/>
                      <a:pt x="81" y="95"/>
                    </a:cubicBezTo>
                    <a:cubicBezTo>
                      <a:pt x="86" y="90"/>
                      <a:pt x="86" y="90"/>
                      <a:pt x="86" y="90"/>
                    </a:cubicBezTo>
                    <a:cubicBezTo>
                      <a:pt x="85" y="90"/>
                      <a:pt x="85" y="89"/>
                      <a:pt x="85" y="89"/>
                    </a:cubicBezTo>
                    <a:cubicBezTo>
                      <a:pt x="77" y="76"/>
                      <a:pt x="62" y="57"/>
                      <a:pt x="43" y="38"/>
                    </a:cubicBezTo>
                    <a:cubicBezTo>
                      <a:pt x="28" y="23"/>
                      <a:pt x="12" y="10"/>
                      <a:pt x="0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0" name="Freeform 369">
                <a:extLst>
                  <a:ext uri="{FF2B5EF4-FFF2-40B4-BE49-F238E27FC236}">
                    <a16:creationId xmlns:a16="http://schemas.microsoft.com/office/drawing/2014/main" id="{37102B75-C423-4133-9187-B00C03598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7" y="1237"/>
                <a:ext cx="54" cy="60"/>
              </a:xfrm>
              <a:custGeom>
                <a:avLst/>
                <a:gdLst>
                  <a:gd name="T0" fmla="*/ 5 w 100"/>
                  <a:gd name="T1" fmla="*/ 0 h 110"/>
                  <a:gd name="T2" fmla="*/ 0 w 100"/>
                  <a:gd name="T3" fmla="*/ 2 h 110"/>
                  <a:gd name="T4" fmla="*/ 80 w 100"/>
                  <a:gd name="T5" fmla="*/ 94 h 110"/>
                  <a:gd name="T6" fmla="*/ 94 w 100"/>
                  <a:gd name="T7" fmla="*/ 110 h 110"/>
                  <a:gd name="T8" fmla="*/ 99 w 100"/>
                  <a:gd name="T9" fmla="*/ 105 h 110"/>
                  <a:gd name="T10" fmla="*/ 100 w 100"/>
                  <a:gd name="T11" fmla="*/ 104 h 110"/>
                  <a:gd name="T12" fmla="*/ 19 w 100"/>
                  <a:gd name="T13" fmla="*/ 9 h 110"/>
                  <a:gd name="T14" fmla="*/ 6 w 100"/>
                  <a:gd name="T15" fmla="*/ 0 h 110"/>
                  <a:gd name="T16" fmla="*/ 5 w 100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110">
                    <a:moveTo>
                      <a:pt x="5" y="0"/>
                    </a:moveTo>
                    <a:cubicBezTo>
                      <a:pt x="4" y="0"/>
                      <a:pt x="2" y="0"/>
                      <a:pt x="0" y="2"/>
                    </a:cubicBezTo>
                    <a:cubicBezTo>
                      <a:pt x="12" y="15"/>
                      <a:pt x="46" y="53"/>
                      <a:pt x="80" y="94"/>
                    </a:cubicBezTo>
                    <a:cubicBezTo>
                      <a:pt x="85" y="99"/>
                      <a:pt x="89" y="104"/>
                      <a:pt x="94" y="110"/>
                    </a:cubicBezTo>
                    <a:cubicBezTo>
                      <a:pt x="95" y="108"/>
                      <a:pt x="97" y="107"/>
                      <a:pt x="99" y="105"/>
                    </a:cubicBezTo>
                    <a:cubicBezTo>
                      <a:pt x="100" y="104"/>
                      <a:pt x="100" y="104"/>
                      <a:pt x="100" y="104"/>
                    </a:cubicBezTo>
                    <a:cubicBezTo>
                      <a:pt x="69" y="67"/>
                      <a:pt x="36" y="29"/>
                      <a:pt x="19" y="9"/>
                    </a:cubicBezTo>
                    <a:cubicBezTo>
                      <a:pt x="14" y="5"/>
                      <a:pt x="10" y="3"/>
                      <a:pt x="6" y="0"/>
                    </a:cubicBezTo>
                    <a:cubicBezTo>
                      <a:pt x="6" y="0"/>
                      <a:pt x="6" y="0"/>
                      <a:pt x="5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1" name="Freeform 370">
                <a:extLst>
                  <a:ext uri="{FF2B5EF4-FFF2-40B4-BE49-F238E27FC236}">
                    <a16:creationId xmlns:a16="http://schemas.microsoft.com/office/drawing/2014/main" id="{82ADC757-9319-48E7-8A35-BC7A3D1D1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237"/>
                <a:ext cx="77" cy="54"/>
              </a:xfrm>
              <a:custGeom>
                <a:avLst/>
                <a:gdLst>
                  <a:gd name="T0" fmla="*/ 40 w 140"/>
                  <a:gd name="T1" fmla="*/ 0 h 99"/>
                  <a:gd name="T2" fmla="*/ 19 w 140"/>
                  <a:gd name="T3" fmla="*/ 17 h 99"/>
                  <a:gd name="T4" fmla="*/ 0 w 140"/>
                  <a:gd name="T5" fmla="*/ 67 h 99"/>
                  <a:gd name="T6" fmla="*/ 1 w 140"/>
                  <a:gd name="T7" fmla="*/ 60 h 99"/>
                  <a:gd name="T8" fmla="*/ 19 w 140"/>
                  <a:gd name="T9" fmla="*/ 17 h 99"/>
                  <a:gd name="T10" fmla="*/ 35 w 140"/>
                  <a:gd name="T11" fmla="*/ 2 h 99"/>
                  <a:gd name="T12" fmla="*/ 40 w 140"/>
                  <a:gd name="T13" fmla="*/ 0 h 99"/>
                  <a:gd name="T14" fmla="*/ 41 w 140"/>
                  <a:gd name="T15" fmla="*/ 0 h 99"/>
                  <a:gd name="T16" fmla="*/ 54 w 140"/>
                  <a:gd name="T17" fmla="*/ 9 h 99"/>
                  <a:gd name="T18" fmla="*/ 97 w 140"/>
                  <a:gd name="T19" fmla="*/ 47 h 99"/>
                  <a:gd name="T20" fmla="*/ 139 w 140"/>
                  <a:gd name="T21" fmla="*/ 98 h 99"/>
                  <a:gd name="T22" fmla="*/ 140 w 140"/>
                  <a:gd name="T23" fmla="*/ 99 h 99"/>
                  <a:gd name="T24" fmla="*/ 140 w 140"/>
                  <a:gd name="T25" fmla="*/ 99 h 99"/>
                  <a:gd name="T26" fmla="*/ 139 w 140"/>
                  <a:gd name="T27" fmla="*/ 98 h 99"/>
                  <a:gd name="T28" fmla="*/ 97 w 140"/>
                  <a:gd name="T29" fmla="*/ 47 h 99"/>
                  <a:gd name="T30" fmla="*/ 41 w 140"/>
                  <a:gd name="T31" fmla="*/ 0 h 99"/>
                  <a:gd name="T32" fmla="*/ 40 w 140"/>
                  <a:gd name="T3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0" h="99">
                    <a:moveTo>
                      <a:pt x="40" y="0"/>
                    </a:moveTo>
                    <a:cubicBezTo>
                      <a:pt x="35" y="0"/>
                      <a:pt x="25" y="8"/>
                      <a:pt x="19" y="17"/>
                    </a:cubicBezTo>
                    <a:cubicBezTo>
                      <a:pt x="13" y="26"/>
                      <a:pt x="0" y="48"/>
                      <a:pt x="0" y="67"/>
                    </a:cubicBezTo>
                    <a:cubicBezTo>
                      <a:pt x="0" y="65"/>
                      <a:pt x="0" y="63"/>
                      <a:pt x="1" y="60"/>
                    </a:cubicBezTo>
                    <a:cubicBezTo>
                      <a:pt x="3" y="43"/>
                      <a:pt x="14" y="25"/>
                      <a:pt x="19" y="17"/>
                    </a:cubicBezTo>
                    <a:cubicBezTo>
                      <a:pt x="24" y="11"/>
                      <a:pt x="30" y="5"/>
                      <a:pt x="35" y="2"/>
                    </a:cubicBezTo>
                    <a:cubicBezTo>
                      <a:pt x="37" y="0"/>
                      <a:pt x="39" y="0"/>
                      <a:pt x="40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5" y="3"/>
                      <a:pt x="49" y="5"/>
                      <a:pt x="54" y="9"/>
                    </a:cubicBezTo>
                    <a:cubicBezTo>
                      <a:pt x="66" y="19"/>
                      <a:pt x="82" y="32"/>
                      <a:pt x="97" y="47"/>
                    </a:cubicBezTo>
                    <a:cubicBezTo>
                      <a:pt x="116" y="66"/>
                      <a:pt x="131" y="85"/>
                      <a:pt x="139" y="98"/>
                    </a:cubicBezTo>
                    <a:cubicBezTo>
                      <a:pt x="139" y="98"/>
                      <a:pt x="139" y="99"/>
                      <a:pt x="140" y="99"/>
                    </a:cubicBezTo>
                    <a:cubicBezTo>
                      <a:pt x="140" y="99"/>
                      <a:pt x="140" y="99"/>
                      <a:pt x="140" y="99"/>
                    </a:cubicBezTo>
                    <a:cubicBezTo>
                      <a:pt x="139" y="99"/>
                      <a:pt x="139" y="98"/>
                      <a:pt x="139" y="98"/>
                    </a:cubicBezTo>
                    <a:cubicBezTo>
                      <a:pt x="131" y="85"/>
                      <a:pt x="116" y="66"/>
                      <a:pt x="97" y="47"/>
                    </a:cubicBezTo>
                    <a:cubicBezTo>
                      <a:pt x="77" y="27"/>
                      <a:pt x="56" y="9"/>
                      <a:pt x="41" y="0"/>
                    </a:cubicBezTo>
                    <a:cubicBezTo>
                      <a:pt x="41" y="0"/>
                      <a:pt x="41" y="0"/>
                      <a:pt x="40" y="0"/>
                    </a:cubicBezTo>
                  </a:path>
                </a:pathLst>
              </a:custGeom>
              <a:solidFill>
                <a:srgbClr val="48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2" name="Freeform 371">
                <a:extLst>
                  <a:ext uri="{FF2B5EF4-FFF2-40B4-BE49-F238E27FC236}">
                    <a16:creationId xmlns:a16="http://schemas.microsoft.com/office/drawing/2014/main" id="{B7909B09-4D75-4109-8EBE-ED2424720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0" y="1904"/>
                <a:ext cx="125" cy="31"/>
              </a:xfrm>
              <a:custGeom>
                <a:avLst/>
                <a:gdLst>
                  <a:gd name="T0" fmla="*/ 2 w 125"/>
                  <a:gd name="T1" fmla="*/ 0 h 31"/>
                  <a:gd name="T2" fmla="*/ 0 w 125"/>
                  <a:gd name="T3" fmla="*/ 10 h 31"/>
                  <a:gd name="T4" fmla="*/ 124 w 125"/>
                  <a:gd name="T5" fmla="*/ 31 h 31"/>
                  <a:gd name="T6" fmla="*/ 125 w 125"/>
                  <a:gd name="T7" fmla="*/ 22 h 31"/>
                  <a:gd name="T8" fmla="*/ 2 w 125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31">
                    <a:moveTo>
                      <a:pt x="2" y="0"/>
                    </a:moveTo>
                    <a:lnTo>
                      <a:pt x="0" y="10"/>
                    </a:lnTo>
                    <a:lnTo>
                      <a:pt x="124" y="31"/>
                    </a:lnTo>
                    <a:lnTo>
                      <a:pt x="125" y="2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3" name="Freeform 372">
                <a:extLst>
                  <a:ext uri="{FF2B5EF4-FFF2-40B4-BE49-F238E27FC236}">
                    <a16:creationId xmlns:a16="http://schemas.microsoft.com/office/drawing/2014/main" id="{D3AB4F54-6CC0-4126-829F-75E5416E5C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0" y="1904"/>
                <a:ext cx="125" cy="31"/>
              </a:xfrm>
              <a:custGeom>
                <a:avLst/>
                <a:gdLst>
                  <a:gd name="T0" fmla="*/ 2 w 125"/>
                  <a:gd name="T1" fmla="*/ 0 h 31"/>
                  <a:gd name="T2" fmla="*/ 0 w 125"/>
                  <a:gd name="T3" fmla="*/ 10 h 31"/>
                  <a:gd name="T4" fmla="*/ 124 w 125"/>
                  <a:gd name="T5" fmla="*/ 31 h 31"/>
                  <a:gd name="T6" fmla="*/ 125 w 125"/>
                  <a:gd name="T7" fmla="*/ 22 h 31"/>
                  <a:gd name="T8" fmla="*/ 2 w 125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31">
                    <a:moveTo>
                      <a:pt x="2" y="0"/>
                    </a:moveTo>
                    <a:lnTo>
                      <a:pt x="0" y="10"/>
                    </a:lnTo>
                    <a:lnTo>
                      <a:pt x="124" y="31"/>
                    </a:lnTo>
                    <a:lnTo>
                      <a:pt x="125" y="2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4" name="Freeform 373">
                <a:extLst>
                  <a:ext uri="{FF2B5EF4-FFF2-40B4-BE49-F238E27FC236}">
                    <a16:creationId xmlns:a16="http://schemas.microsoft.com/office/drawing/2014/main" id="{206A8866-9713-40EC-9FF2-84F59C938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8"/>
                <a:ext cx="124" cy="24"/>
              </a:xfrm>
              <a:custGeom>
                <a:avLst/>
                <a:gdLst>
                  <a:gd name="T0" fmla="*/ 0 w 124"/>
                  <a:gd name="T1" fmla="*/ 0 h 24"/>
                  <a:gd name="T2" fmla="*/ 0 w 124"/>
                  <a:gd name="T3" fmla="*/ 3 h 24"/>
                  <a:gd name="T4" fmla="*/ 123 w 124"/>
                  <a:gd name="T5" fmla="*/ 24 h 24"/>
                  <a:gd name="T6" fmla="*/ 124 w 124"/>
                  <a:gd name="T7" fmla="*/ 21 h 24"/>
                  <a:gd name="T8" fmla="*/ 0 w 1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4">
                    <a:moveTo>
                      <a:pt x="0" y="0"/>
                    </a:moveTo>
                    <a:lnTo>
                      <a:pt x="0" y="3"/>
                    </a:lnTo>
                    <a:lnTo>
                      <a:pt x="123" y="24"/>
                    </a:lnTo>
                    <a:lnTo>
                      <a:pt x="124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FD9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5" name="Freeform 374">
                <a:extLst>
                  <a:ext uri="{FF2B5EF4-FFF2-40B4-BE49-F238E27FC236}">
                    <a16:creationId xmlns:a16="http://schemas.microsoft.com/office/drawing/2014/main" id="{50F5B320-CEAB-4C99-AA4E-AA132BF9C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8"/>
                <a:ext cx="124" cy="24"/>
              </a:xfrm>
              <a:custGeom>
                <a:avLst/>
                <a:gdLst>
                  <a:gd name="T0" fmla="*/ 0 w 124"/>
                  <a:gd name="T1" fmla="*/ 0 h 24"/>
                  <a:gd name="T2" fmla="*/ 0 w 124"/>
                  <a:gd name="T3" fmla="*/ 3 h 24"/>
                  <a:gd name="T4" fmla="*/ 123 w 124"/>
                  <a:gd name="T5" fmla="*/ 24 h 24"/>
                  <a:gd name="T6" fmla="*/ 124 w 124"/>
                  <a:gd name="T7" fmla="*/ 21 h 24"/>
                  <a:gd name="T8" fmla="*/ 0 w 1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4">
                    <a:moveTo>
                      <a:pt x="0" y="0"/>
                    </a:moveTo>
                    <a:lnTo>
                      <a:pt x="0" y="3"/>
                    </a:lnTo>
                    <a:lnTo>
                      <a:pt x="123" y="24"/>
                    </a:lnTo>
                    <a:lnTo>
                      <a:pt x="124" y="2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6" name="Freeform 375">
                <a:extLst>
                  <a:ext uri="{FF2B5EF4-FFF2-40B4-BE49-F238E27FC236}">
                    <a16:creationId xmlns:a16="http://schemas.microsoft.com/office/drawing/2014/main" id="{0AFC7B68-01EE-4557-9C7D-F23C34DE6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4"/>
                <a:ext cx="124" cy="25"/>
              </a:xfrm>
              <a:custGeom>
                <a:avLst/>
                <a:gdLst>
                  <a:gd name="T0" fmla="*/ 1 w 124"/>
                  <a:gd name="T1" fmla="*/ 0 h 25"/>
                  <a:gd name="T2" fmla="*/ 0 w 124"/>
                  <a:gd name="T3" fmla="*/ 4 h 25"/>
                  <a:gd name="T4" fmla="*/ 124 w 124"/>
                  <a:gd name="T5" fmla="*/ 25 h 25"/>
                  <a:gd name="T6" fmla="*/ 124 w 124"/>
                  <a:gd name="T7" fmla="*/ 22 h 25"/>
                  <a:gd name="T8" fmla="*/ 1 w 12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5">
                    <a:moveTo>
                      <a:pt x="1" y="0"/>
                    </a:moveTo>
                    <a:lnTo>
                      <a:pt x="0" y="4"/>
                    </a:lnTo>
                    <a:lnTo>
                      <a:pt x="124" y="25"/>
                    </a:lnTo>
                    <a:lnTo>
                      <a:pt x="124" y="2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7" name="Freeform 376">
                <a:extLst>
                  <a:ext uri="{FF2B5EF4-FFF2-40B4-BE49-F238E27FC236}">
                    <a16:creationId xmlns:a16="http://schemas.microsoft.com/office/drawing/2014/main" id="{1299662E-305A-40E1-B984-1F2D961F72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4"/>
                <a:ext cx="124" cy="25"/>
              </a:xfrm>
              <a:custGeom>
                <a:avLst/>
                <a:gdLst>
                  <a:gd name="T0" fmla="*/ 1 w 124"/>
                  <a:gd name="T1" fmla="*/ 0 h 25"/>
                  <a:gd name="T2" fmla="*/ 0 w 124"/>
                  <a:gd name="T3" fmla="*/ 4 h 25"/>
                  <a:gd name="T4" fmla="*/ 124 w 124"/>
                  <a:gd name="T5" fmla="*/ 25 h 25"/>
                  <a:gd name="T6" fmla="*/ 124 w 124"/>
                  <a:gd name="T7" fmla="*/ 22 h 25"/>
                  <a:gd name="T8" fmla="*/ 1 w 12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5">
                    <a:moveTo>
                      <a:pt x="1" y="0"/>
                    </a:moveTo>
                    <a:lnTo>
                      <a:pt x="0" y="4"/>
                    </a:lnTo>
                    <a:lnTo>
                      <a:pt x="124" y="25"/>
                    </a:lnTo>
                    <a:lnTo>
                      <a:pt x="124" y="22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8" name="Freeform 377">
                <a:extLst>
                  <a:ext uri="{FF2B5EF4-FFF2-40B4-BE49-F238E27FC236}">
                    <a16:creationId xmlns:a16="http://schemas.microsoft.com/office/drawing/2014/main" id="{7C639E82-6AE7-440B-8C37-EA257EA9EE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3" y="1926"/>
                <a:ext cx="17" cy="9"/>
              </a:xfrm>
              <a:custGeom>
                <a:avLst/>
                <a:gdLst>
                  <a:gd name="T0" fmla="*/ 4 w 30"/>
                  <a:gd name="T1" fmla="*/ 0 h 18"/>
                  <a:gd name="T2" fmla="*/ 1 w 30"/>
                  <a:gd name="T3" fmla="*/ 9 h 18"/>
                  <a:gd name="T4" fmla="*/ 1 w 30"/>
                  <a:gd name="T5" fmla="*/ 18 h 18"/>
                  <a:gd name="T6" fmla="*/ 29 w 30"/>
                  <a:gd name="T7" fmla="*/ 14 h 18"/>
                  <a:gd name="T8" fmla="*/ 30 w 30"/>
                  <a:gd name="T9" fmla="*/ 14 h 18"/>
                  <a:gd name="T10" fmla="*/ 30 w 30"/>
                  <a:gd name="T11" fmla="*/ 13 h 18"/>
                  <a:gd name="T12" fmla="*/ 4 w 30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8">
                    <a:moveTo>
                      <a:pt x="4" y="0"/>
                    </a:moveTo>
                    <a:cubicBezTo>
                      <a:pt x="4" y="0"/>
                      <a:pt x="2" y="4"/>
                      <a:pt x="1" y="9"/>
                    </a:cubicBezTo>
                    <a:cubicBezTo>
                      <a:pt x="0" y="13"/>
                      <a:pt x="1" y="18"/>
                      <a:pt x="1" y="18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9" name="Freeform 378">
                <a:extLst>
                  <a:ext uri="{FF2B5EF4-FFF2-40B4-BE49-F238E27FC236}">
                    <a16:creationId xmlns:a16="http://schemas.microsoft.com/office/drawing/2014/main" id="{807C67F4-8BC0-44E5-956F-2CBD6556A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1902"/>
                <a:ext cx="17" cy="12"/>
              </a:xfrm>
              <a:custGeom>
                <a:avLst/>
                <a:gdLst>
                  <a:gd name="T0" fmla="*/ 31 w 31"/>
                  <a:gd name="T1" fmla="*/ 4 h 22"/>
                  <a:gd name="T2" fmla="*/ 8 w 31"/>
                  <a:gd name="T3" fmla="*/ 0 h 22"/>
                  <a:gd name="T4" fmla="*/ 2 w 31"/>
                  <a:gd name="T5" fmla="*/ 5 h 22"/>
                  <a:gd name="T6" fmla="*/ 0 w 31"/>
                  <a:gd name="T7" fmla="*/ 12 h 22"/>
                  <a:gd name="T8" fmla="*/ 5 w 31"/>
                  <a:gd name="T9" fmla="*/ 18 h 22"/>
                  <a:gd name="T10" fmla="*/ 28 w 31"/>
                  <a:gd name="T11" fmla="*/ 22 h 22"/>
                  <a:gd name="T12" fmla="*/ 31 w 31"/>
                  <a:gd name="T13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22">
                    <a:moveTo>
                      <a:pt x="31" y="4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5" y="0"/>
                      <a:pt x="2" y="2"/>
                      <a:pt x="2" y="5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5"/>
                      <a:pt x="2" y="18"/>
                      <a:pt x="5" y="18"/>
                    </a:cubicBezTo>
                    <a:cubicBezTo>
                      <a:pt x="28" y="22"/>
                      <a:pt x="28" y="22"/>
                      <a:pt x="28" y="22"/>
                    </a:cubicBezTo>
                    <a:cubicBezTo>
                      <a:pt x="31" y="4"/>
                      <a:pt x="31" y="4"/>
                      <a:pt x="31" y="4"/>
                    </a:cubicBezTo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0" name="Freeform 379">
                <a:extLst>
                  <a:ext uri="{FF2B5EF4-FFF2-40B4-BE49-F238E27FC236}">
                    <a16:creationId xmlns:a16="http://schemas.microsoft.com/office/drawing/2014/main" id="{B2516412-1948-4C95-A96F-92CFAEFCC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1903"/>
                <a:ext cx="9" cy="12"/>
              </a:xfrm>
              <a:custGeom>
                <a:avLst/>
                <a:gdLst>
                  <a:gd name="T0" fmla="*/ 9 w 9"/>
                  <a:gd name="T1" fmla="*/ 1 h 12"/>
                  <a:gd name="T2" fmla="*/ 2 w 9"/>
                  <a:gd name="T3" fmla="*/ 0 h 12"/>
                  <a:gd name="T4" fmla="*/ 0 w 9"/>
                  <a:gd name="T5" fmla="*/ 11 h 12"/>
                  <a:gd name="T6" fmla="*/ 7 w 9"/>
                  <a:gd name="T7" fmla="*/ 12 h 12"/>
                  <a:gd name="T8" fmla="*/ 9 w 9"/>
                  <a:gd name="T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2">
                    <a:moveTo>
                      <a:pt x="9" y="1"/>
                    </a:moveTo>
                    <a:lnTo>
                      <a:pt x="2" y="0"/>
                    </a:lnTo>
                    <a:lnTo>
                      <a:pt x="0" y="11"/>
                    </a:lnTo>
                    <a:lnTo>
                      <a:pt x="7" y="12"/>
                    </a:lnTo>
                    <a:lnTo>
                      <a:pt x="9" y="1"/>
                    </a:lnTo>
                    <a:close/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1" name="Freeform 380">
                <a:extLst>
                  <a:ext uri="{FF2B5EF4-FFF2-40B4-BE49-F238E27FC236}">
                    <a16:creationId xmlns:a16="http://schemas.microsoft.com/office/drawing/2014/main" id="{0105CCF7-99D8-4057-9645-B2FF25547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1903"/>
                <a:ext cx="9" cy="12"/>
              </a:xfrm>
              <a:custGeom>
                <a:avLst/>
                <a:gdLst>
                  <a:gd name="T0" fmla="*/ 9 w 9"/>
                  <a:gd name="T1" fmla="*/ 1 h 12"/>
                  <a:gd name="T2" fmla="*/ 2 w 9"/>
                  <a:gd name="T3" fmla="*/ 0 h 12"/>
                  <a:gd name="T4" fmla="*/ 0 w 9"/>
                  <a:gd name="T5" fmla="*/ 11 h 12"/>
                  <a:gd name="T6" fmla="*/ 7 w 9"/>
                  <a:gd name="T7" fmla="*/ 12 h 12"/>
                  <a:gd name="T8" fmla="*/ 9 w 9"/>
                  <a:gd name="T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2">
                    <a:moveTo>
                      <a:pt x="9" y="1"/>
                    </a:moveTo>
                    <a:lnTo>
                      <a:pt x="2" y="0"/>
                    </a:lnTo>
                    <a:lnTo>
                      <a:pt x="0" y="11"/>
                    </a:lnTo>
                    <a:lnTo>
                      <a:pt x="7" y="12"/>
                    </a:lnTo>
                    <a:lnTo>
                      <a:pt x="9" y="1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2" name="Freeform 381">
                <a:extLst>
                  <a:ext uri="{FF2B5EF4-FFF2-40B4-BE49-F238E27FC236}">
                    <a16:creationId xmlns:a16="http://schemas.microsoft.com/office/drawing/2014/main" id="{1E54C398-CFA7-465C-9B64-86DBB11A31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1930"/>
                <a:ext cx="7" cy="4"/>
              </a:xfrm>
              <a:custGeom>
                <a:avLst/>
                <a:gdLst>
                  <a:gd name="T0" fmla="*/ 2 w 12"/>
                  <a:gd name="T1" fmla="*/ 0 h 7"/>
                  <a:gd name="T2" fmla="*/ 12 w 12"/>
                  <a:gd name="T3" fmla="*/ 4 h 7"/>
                  <a:gd name="T4" fmla="*/ 11 w 12"/>
                  <a:gd name="T5" fmla="*/ 5 h 7"/>
                  <a:gd name="T6" fmla="*/ 1 w 12"/>
                  <a:gd name="T7" fmla="*/ 7 h 7"/>
                  <a:gd name="T8" fmla="*/ 0 w 12"/>
                  <a:gd name="T9" fmla="*/ 3 h 7"/>
                  <a:gd name="T10" fmla="*/ 2 w 12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7">
                    <a:moveTo>
                      <a:pt x="2" y="0"/>
                    </a:moveTo>
                    <a:cubicBezTo>
                      <a:pt x="12" y="4"/>
                      <a:pt x="12" y="4"/>
                      <a:pt x="12" y="4"/>
                    </a:cubicBezTo>
                    <a:cubicBezTo>
                      <a:pt x="12" y="5"/>
                      <a:pt x="12" y="5"/>
                      <a:pt x="11" y="5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2" y="0"/>
                      <a:pt x="2" y="0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3" name="Freeform 382">
                <a:extLst>
                  <a:ext uri="{FF2B5EF4-FFF2-40B4-BE49-F238E27FC236}">
                    <a16:creationId xmlns:a16="http://schemas.microsoft.com/office/drawing/2014/main" id="{896FB7CE-3B6B-42C6-9F7A-4563CB072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4" y="1926"/>
                <a:ext cx="10" cy="6"/>
              </a:xfrm>
              <a:custGeom>
                <a:avLst/>
                <a:gdLst>
                  <a:gd name="T0" fmla="*/ 3 w 19"/>
                  <a:gd name="T1" fmla="*/ 0 h 12"/>
                  <a:gd name="T2" fmla="*/ 3 w 19"/>
                  <a:gd name="T3" fmla="*/ 0 h 12"/>
                  <a:gd name="T4" fmla="*/ 0 w 19"/>
                  <a:gd name="T5" fmla="*/ 6 h 12"/>
                  <a:gd name="T6" fmla="*/ 0 w 19"/>
                  <a:gd name="T7" fmla="*/ 6 h 12"/>
                  <a:gd name="T8" fmla="*/ 0 w 19"/>
                  <a:gd name="T9" fmla="*/ 9 h 12"/>
                  <a:gd name="T10" fmla="*/ 17 w 19"/>
                  <a:gd name="T11" fmla="*/ 12 h 12"/>
                  <a:gd name="T12" fmla="*/ 17 w 19"/>
                  <a:gd name="T13" fmla="*/ 12 h 12"/>
                  <a:gd name="T14" fmla="*/ 19 w 19"/>
                  <a:gd name="T15" fmla="*/ 9 h 12"/>
                  <a:gd name="T16" fmla="*/ 3 w 19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2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1" y="3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8" y="10"/>
                      <a:pt x="19" y="9"/>
                      <a:pt x="19" y="9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4" name="Freeform 383">
                <a:extLst>
                  <a:ext uri="{FF2B5EF4-FFF2-40B4-BE49-F238E27FC236}">
                    <a16:creationId xmlns:a16="http://schemas.microsoft.com/office/drawing/2014/main" id="{05AC44AD-B32D-455B-A728-BC1AFAEC1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1930"/>
                <a:ext cx="7" cy="3"/>
              </a:xfrm>
              <a:custGeom>
                <a:avLst/>
                <a:gdLst>
                  <a:gd name="T0" fmla="*/ 2 w 12"/>
                  <a:gd name="T1" fmla="*/ 0 h 5"/>
                  <a:gd name="T2" fmla="*/ 2 w 12"/>
                  <a:gd name="T3" fmla="*/ 0 h 5"/>
                  <a:gd name="T4" fmla="*/ 0 w 12"/>
                  <a:gd name="T5" fmla="*/ 3 h 5"/>
                  <a:gd name="T6" fmla="*/ 0 w 12"/>
                  <a:gd name="T7" fmla="*/ 3 h 5"/>
                  <a:gd name="T8" fmla="*/ 12 w 12"/>
                  <a:gd name="T9" fmla="*/ 5 h 5"/>
                  <a:gd name="T10" fmla="*/ 12 w 12"/>
                  <a:gd name="T11" fmla="*/ 4 h 5"/>
                  <a:gd name="T12" fmla="*/ 12 w 12"/>
                  <a:gd name="T13" fmla="*/ 4 h 5"/>
                  <a:gd name="T14" fmla="*/ 2 w 12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5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1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5" name="Freeform 384">
                <a:extLst>
                  <a:ext uri="{FF2B5EF4-FFF2-40B4-BE49-F238E27FC236}">
                    <a16:creationId xmlns:a16="http://schemas.microsoft.com/office/drawing/2014/main" id="{6A4423B9-8FAC-403A-A409-FA8EDC1328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6" y="1902"/>
                <a:ext cx="16" cy="3"/>
              </a:xfrm>
              <a:custGeom>
                <a:avLst/>
                <a:gdLst>
                  <a:gd name="T0" fmla="*/ 30 w 30"/>
                  <a:gd name="T1" fmla="*/ 4 h 5"/>
                  <a:gd name="T2" fmla="*/ 29 w 30"/>
                  <a:gd name="T3" fmla="*/ 4 h 5"/>
                  <a:gd name="T4" fmla="*/ 29 w 30"/>
                  <a:gd name="T5" fmla="*/ 4 h 5"/>
                  <a:gd name="T6" fmla="*/ 30 w 30"/>
                  <a:gd name="T7" fmla="*/ 4 h 5"/>
                  <a:gd name="T8" fmla="*/ 5 w 30"/>
                  <a:gd name="T9" fmla="*/ 0 h 5"/>
                  <a:gd name="T10" fmla="*/ 0 w 30"/>
                  <a:gd name="T11" fmla="*/ 5 h 5"/>
                  <a:gd name="T12" fmla="*/ 0 w 30"/>
                  <a:gd name="T13" fmla="*/ 5 h 5"/>
                  <a:gd name="T14" fmla="*/ 5 w 30"/>
                  <a:gd name="T15" fmla="*/ 0 h 5"/>
                  <a:gd name="T16" fmla="*/ 6 w 30"/>
                  <a:gd name="T17" fmla="*/ 0 h 5"/>
                  <a:gd name="T18" fmla="*/ 17 w 30"/>
                  <a:gd name="T19" fmla="*/ 2 h 5"/>
                  <a:gd name="T20" fmla="*/ 17 w 30"/>
                  <a:gd name="T21" fmla="*/ 2 h 5"/>
                  <a:gd name="T22" fmla="*/ 6 w 30"/>
                  <a:gd name="T23" fmla="*/ 0 h 5"/>
                  <a:gd name="T24" fmla="*/ 5 w 30"/>
                  <a:gd name="T2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5">
                    <a:moveTo>
                      <a:pt x="30" y="4"/>
                    </a:moveTo>
                    <a:cubicBezTo>
                      <a:pt x="29" y="4"/>
                      <a:pt x="29" y="4"/>
                      <a:pt x="29" y="4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30" y="4"/>
                      <a:pt x="30" y="4"/>
                      <a:pt x="30" y="4"/>
                    </a:cubicBezTo>
                    <a:moveTo>
                      <a:pt x="5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6" y="0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6" name="Rectangle 385">
                <a:extLst>
                  <a:ext uri="{FF2B5EF4-FFF2-40B4-BE49-F238E27FC236}">
                    <a16:creationId xmlns:a16="http://schemas.microsoft.com/office/drawing/2014/main" id="{68D40DAB-CDA5-423B-96C9-AF66D0C451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1" y="1908"/>
                <a:ext cx="1" cy="1"/>
              </a:xfrm>
              <a:prstGeom prst="rect">
                <a:avLst/>
              </a:prstGeom>
              <a:solidFill>
                <a:srgbClr val="BDAC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7" name="Rectangle 386">
                <a:extLst>
                  <a:ext uri="{FF2B5EF4-FFF2-40B4-BE49-F238E27FC236}">
                    <a16:creationId xmlns:a16="http://schemas.microsoft.com/office/drawing/2014/main" id="{B459FC52-0A21-4E08-A17C-FA6A7353CA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1" y="190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8" name="Freeform 387">
                <a:extLst>
                  <a:ext uri="{FF2B5EF4-FFF2-40B4-BE49-F238E27FC236}">
                    <a16:creationId xmlns:a16="http://schemas.microsoft.com/office/drawing/2014/main" id="{10CE0AD1-52AE-4A55-9742-9BEBF5101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1" y="1904"/>
                <a:ext cx="1" cy="4"/>
              </a:xfrm>
              <a:custGeom>
                <a:avLst/>
                <a:gdLst>
                  <a:gd name="T0" fmla="*/ 1 w 1"/>
                  <a:gd name="T1" fmla="*/ 2 h 4"/>
                  <a:gd name="T2" fmla="*/ 0 w 1"/>
                  <a:gd name="T3" fmla="*/ 4 h 4"/>
                  <a:gd name="T4" fmla="*/ 0 w 1"/>
                  <a:gd name="T5" fmla="*/ 4 h 4"/>
                  <a:gd name="T6" fmla="*/ 1 w 1"/>
                  <a:gd name="T7" fmla="*/ 2 h 4"/>
                  <a:gd name="T8" fmla="*/ 1 w 1"/>
                  <a:gd name="T9" fmla="*/ 0 h 4"/>
                  <a:gd name="T10" fmla="*/ 1 w 1"/>
                  <a:gd name="T11" fmla="*/ 0 h 4"/>
                  <a:gd name="T12" fmla="*/ 1 w 1"/>
                  <a:gd name="T13" fmla="*/ 0 h 4"/>
                  <a:gd name="T14" fmla="*/ 1 w 1"/>
                  <a:gd name="T15" fmla="*/ 0 h 4"/>
                  <a:gd name="T16" fmla="*/ 1 w 1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4">
                    <a:moveTo>
                      <a:pt x="1" y="2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2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9" name="Freeform 388">
                <a:extLst>
                  <a:ext uri="{FF2B5EF4-FFF2-40B4-BE49-F238E27FC236}">
                    <a16:creationId xmlns:a16="http://schemas.microsoft.com/office/drawing/2014/main" id="{30BA4BB7-0EB6-4BE2-BBC8-7826FE917C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1" y="1904"/>
                <a:ext cx="1" cy="4"/>
              </a:xfrm>
              <a:custGeom>
                <a:avLst/>
                <a:gdLst>
                  <a:gd name="T0" fmla="*/ 1 w 1"/>
                  <a:gd name="T1" fmla="*/ 2 h 4"/>
                  <a:gd name="T2" fmla="*/ 0 w 1"/>
                  <a:gd name="T3" fmla="*/ 4 h 4"/>
                  <a:gd name="T4" fmla="*/ 0 w 1"/>
                  <a:gd name="T5" fmla="*/ 4 h 4"/>
                  <a:gd name="T6" fmla="*/ 1 w 1"/>
                  <a:gd name="T7" fmla="*/ 2 h 4"/>
                  <a:gd name="T8" fmla="*/ 1 w 1"/>
                  <a:gd name="T9" fmla="*/ 0 h 4"/>
                  <a:gd name="T10" fmla="*/ 1 w 1"/>
                  <a:gd name="T11" fmla="*/ 0 h 4"/>
                  <a:gd name="T12" fmla="*/ 1 w 1"/>
                  <a:gd name="T13" fmla="*/ 0 h 4"/>
                  <a:gd name="T14" fmla="*/ 1 w 1"/>
                  <a:gd name="T15" fmla="*/ 0 h 4"/>
                  <a:gd name="T16" fmla="*/ 1 w 1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4">
                    <a:moveTo>
                      <a:pt x="1" y="2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2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0" name="Freeform 389">
                <a:extLst>
                  <a:ext uri="{FF2B5EF4-FFF2-40B4-BE49-F238E27FC236}">
                    <a16:creationId xmlns:a16="http://schemas.microsoft.com/office/drawing/2014/main" id="{B47C0A6A-2F2B-4F94-9AC2-25F8CBEA58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5" y="1902"/>
                <a:ext cx="17" cy="7"/>
              </a:xfrm>
              <a:custGeom>
                <a:avLst/>
                <a:gdLst>
                  <a:gd name="T0" fmla="*/ 30 w 30"/>
                  <a:gd name="T1" fmla="*/ 4 h 13"/>
                  <a:gd name="T2" fmla="*/ 29 w 30"/>
                  <a:gd name="T3" fmla="*/ 13 h 13"/>
                  <a:gd name="T4" fmla="*/ 29 w 30"/>
                  <a:gd name="T5" fmla="*/ 13 h 13"/>
                  <a:gd name="T6" fmla="*/ 29 w 30"/>
                  <a:gd name="T7" fmla="*/ 10 h 13"/>
                  <a:gd name="T8" fmla="*/ 30 w 30"/>
                  <a:gd name="T9" fmla="*/ 8 h 13"/>
                  <a:gd name="T10" fmla="*/ 30 w 30"/>
                  <a:gd name="T11" fmla="*/ 4 h 13"/>
                  <a:gd name="T12" fmla="*/ 30 w 30"/>
                  <a:gd name="T13" fmla="*/ 4 h 13"/>
                  <a:gd name="T14" fmla="*/ 6 w 30"/>
                  <a:gd name="T15" fmla="*/ 0 h 13"/>
                  <a:gd name="T16" fmla="*/ 1 w 30"/>
                  <a:gd name="T17" fmla="*/ 5 h 13"/>
                  <a:gd name="T18" fmla="*/ 1 w 30"/>
                  <a:gd name="T19" fmla="*/ 5 h 13"/>
                  <a:gd name="T20" fmla="*/ 0 w 30"/>
                  <a:gd name="T21" fmla="*/ 8 h 13"/>
                  <a:gd name="T22" fmla="*/ 16 w 30"/>
                  <a:gd name="T23" fmla="*/ 11 h 13"/>
                  <a:gd name="T24" fmla="*/ 18 w 30"/>
                  <a:gd name="T25" fmla="*/ 2 h 13"/>
                  <a:gd name="T26" fmla="*/ 7 w 30"/>
                  <a:gd name="T27" fmla="*/ 0 h 13"/>
                  <a:gd name="T28" fmla="*/ 6 w 30"/>
                  <a:gd name="T2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" h="13">
                    <a:moveTo>
                      <a:pt x="30" y="4"/>
                    </a:move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4"/>
                    </a:cubicBezTo>
                    <a:moveTo>
                      <a:pt x="6" y="0"/>
                    </a:moveTo>
                    <a:cubicBezTo>
                      <a:pt x="3" y="0"/>
                      <a:pt x="1" y="2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1" name="Freeform 390">
                <a:extLst>
                  <a:ext uri="{FF2B5EF4-FFF2-40B4-BE49-F238E27FC236}">
                    <a16:creationId xmlns:a16="http://schemas.microsoft.com/office/drawing/2014/main" id="{DE41B888-30F9-4A71-8504-76A54546F1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1903"/>
                <a:ext cx="8" cy="6"/>
              </a:xfrm>
              <a:custGeom>
                <a:avLst/>
                <a:gdLst>
                  <a:gd name="T0" fmla="*/ 1 w 8"/>
                  <a:gd name="T1" fmla="*/ 0 h 6"/>
                  <a:gd name="T2" fmla="*/ 1 w 8"/>
                  <a:gd name="T3" fmla="*/ 0 h 6"/>
                  <a:gd name="T4" fmla="*/ 1 w 8"/>
                  <a:gd name="T5" fmla="*/ 0 h 6"/>
                  <a:gd name="T6" fmla="*/ 1 w 8"/>
                  <a:gd name="T7" fmla="*/ 0 h 6"/>
                  <a:gd name="T8" fmla="*/ 1 w 8"/>
                  <a:gd name="T9" fmla="*/ 0 h 6"/>
                  <a:gd name="T10" fmla="*/ 0 w 8"/>
                  <a:gd name="T11" fmla="*/ 5 h 6"/>
                  <a:gd name="T12" fmla="*/ 7 w 8"/>
                  <a:gd name="T13" fmla="*/ 6 h 6"/>
                  <a:gd name="T14" fmla="*/ 8 w 8"/>
                  <a:gd name="T15" fmla="*/ 1 h 6"/>
                  <a:gd name="T16" fmla="*/ 8 w 8"/>
                  <a:gd name="T17" fmla="*/ 1 h 6"/>
                  <a:gd name="T18" fmla="*/ 8 w 8"/>
                  <a:gd name="T19" fmla="*/ 1 h 6"/>
                  <a:gd name="T20" fmla="*/ 1 w 8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6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5"/>
                    </a:lnTo>
                    <a:lnTo>
                      <a:pt x="7" y="6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2" name="Freeform 391">
                <a:extLst>
                  <a:ext uri="{FF2B5EF4-FFF2-40B4-BE49-F238E27FC236}">
                    <a16:creationId xmlns:a16="http://schemas.microsoft.com/office/drawing/2014/main" id="{EA39F0BE-D5E8-4D02-8D6F-78E82ECE61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1903"/>
                <a:ext cx="8" cy="6"/>
              </a:xfrm>
              <a:custGeom>
                <a:avLst/>
                <a:gdLst>
                  <a:gd name="T0" fmla="*/ 1 w 8"/>
                  <a:gd name="T1" fmla="*/ 0 h 6"/>
                  <a:gd name="T2" fmla="*/ 1 w 8"/>
                  <a:gd name="T3" fmla="*/ 0 h 6"/>
                  <a:gd name="T4" fmla="*/ 1 w 8"/>
                  <a:gd name="T5" fmla="*/ 0 h 6"/>
                  <a:gd name="T6" fmla="*/ 1 w 8"/>
                  <a:gd name="T7" fmla="*/ 0 h 6"/>
                  <a:gd name="T8" fmla="*/ 1 w 8"/>
                  <a:gd name="T9" fmla="*/ 0 h 6"/>
                  <a:gd name="T10" fmla="*/ 0 w 8"/>
                  <a:gd name="T11" fmla="*/ 5 h 6"/>
                  <a:gd name="T12" fmla="*/ 7 w 8"/>
                  <a:gd name="T13" fmla="*/ 6 h 6"/>
                  <a:gd name="T14" fmla="*/ 8 w 8"/>
                  <a:gd name="T15" fmla="*/ 1 h 6"/>
                  <a:gd name="T16" fmla="*/ 8 w 8"/>
                  <a:gd name="T17" fmla="*/ 1 h 6"/>
                  <a:gd name="T18" fmla="*/ 8 w 8"/>
                  <a:gd name="T19" fmla="*/ 1 h 6"/>
                  <a:gd name="T20" fmla="*/ 1 w 8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6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5"/>
                    </a:lnTo>
                    <a:lnTo>
                      <a:pt x="7" y="6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" name="Freeform 392">
                <a:extLst>
                  <a:ext uri="{FF2B5EF4-FFF2-40B4-BE49-F238E27FC236}">
                    <a16:creationId xmlns:a16="http://schemas.microsoft.com/office/drawing/2014/main" id="{052A66CC-FBEC-47B5-AFD2-79C6DCACFA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7" cy="17"/>
              </a:xfrm>
              <a:custGeom>
                <a:avLst/>
                <a:gdLst>
                  <a:gd name="T0" fmla="*/ 0 w 107"/>
                  <a:gd name="T1" fmla="*/ 6 h 17"/>
                  <a:gd name="T2" fmla="*/ 1 w 107"/>
                  <a:gd name="T3" fmla="*/ 17 h 17"/>
                  <a:gd name="T4" fmla="*/ 107 w 107"/>
                  <a:gd name="T5" fmla="*/ 10 h 17"/>
                  <a:gd name="T6" fmla="*/ 106 w 107"/>
                  <a:gd name="T7" fmla="*/ 0 h 17"/>
                  <a:gd name="T8" fmla="*/ 0 w 107"/>
                  <a:gd name="T9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7">
                    <a:moveTo>
                      <a:pt x="0" y="6"/>
                    </a:moveTo>
                    <a:lnTo>
                      <a:pt x="1" y="17"/>
                    </a:lnTo>
                    <a:lnTo>
                      <a:pt x="107" y="10"/>
                    </a:lnTo>
                    <a:lnTo>
                      <a:pt x="106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66BF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" name="Freeform 393">
                <a:extLst>
                  <a:ext uri="{FF2B5EF4-FFF2-40B4-BE49-F238E27FC236}">
                    <a16:creationId xmlns:a16="http://schemas.microsoft.com/office/drawing/2014/main" id="{C839BD60-5C9C-400B-9A3D-5D672383F4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7" cy="17"/>
              </a:xfrm>
              <a:custGeom>
                <a:avLst/>
                <a:gdLst>
                  <a:gd name="T0" fmla="*/ 0 w 107"/>
                  <a:gd name="T1" fmla="*/ 6 h 17"/>
                  <a:gd name="T2" fmla="*/ 1 w 107"/>
                  <a:gd name="T3" fmla="*/ 17 h 17"/>
                  <a:gd name="T4" fmla="*/ 107 w 107"/>
                  <a:gd name="T5" fmla="*/ 10 h 17"/>
                  <a:gd name="T6" fmla="*/ 106 w 107"/>
                  <a:gd name="T7" fmla="*/ 0 h 17"/>
                  <a:gd name="T8" fmla="*/ 0 w 107"/>
                  <a:gd name="T9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7">
                    <a:moveTo>
                      <a:pt x="0" y="6"/>
                    </a:moveTo>
                    <a:lnTo>
                      <a:pt x="1" y="17"/>
                    </a:lnTo>
                    <a:lnTo>
                      <a:pt x="107" y="10"/>
                    </a:lnTo>
                    <a:lnTo>
                      <a:pt x="106" y="0"/>
                    </a:lnTo>
                    <a:lnTo>
                      <a:pt x="0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" name="Freeform 394">
                <a:extLst>
                  <a:ext uri="{FF2B5EF4-FFF2-40B4-BE49-F238E27FC236}">
                    <a16:creationId xmlns:a16="http://schemas.microsoft.com/office/drawing/2014/main" id="{04B1AC27-BEA5-4D97-AAA2-9EE67C00E8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51"/>
                <a:ext cx="106" cy="10"/>
              </a:xfrm>
              <a:custGeom>
                <a:avLst/>
                <a:gdLst>
                  <a:gd name="T0" fmla="*/ 0 w 106"/>
                  <a:gd name="T1" fmla="*/ 7 h 10"/>
                  <a:gd name="T2" fmla="*/ 0 w 106"/>
                  <a:gd name="T3" fmla="*/ 10 h 10"/>
                  <a:gd name="T4" fmla="*/ 106 w 106"/>
                  <a:gd name="T5" fmla="*/ 4 h 10"/>
                  <a:gd name="T6" fmla="*/ 106 w 106"/>
                  <a:gd name="T7" fmla="*/ 0 h 10"/>
                  <a:gd name="T8" fmla="*/ 0 w 106"/>
                  <a:gd name="T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7"/>
                    </a:moveTo>
                    <a:lnTo>
                      <a:pt x="0" y="10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8FE5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6" name="Freeform 395">
                <a:extLst>
                  <a:ext uri="{FF2B5EF4-FFF2-40B4-BE49-F238E27FC236}">
                    <a16:creationId xmlns:a16="http://schemas.microsoft.com/office/drawing/2014/main" id="{F44D9D01-632E-46E1-9698-5783EB5B1A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51"/>
                <a:ext cx="106" cy="10"/>
              </a:xfrm>
              <a:custGeom>
                <a:avLst/>
                <a:gdLst>
                  <a:gd name="T0" fmla="*/ 0 w 106"/>
                  <a:gd name="T1" fmla="*/ 7 h 10"/>
                  <a:gd name="T2" fmla="*/ 0 w 106"/>
                  <a:gd name="T3" fmla="*/ 10 h 10"/>
                  <a:gd name="T4" fmla="*/ 106 w 106"/>
                  <a:gd name="T5" fmla="*/ 4 h 10"/>
                  <a:gd name="T6" fmla="*/ 106 w 106"/>
                  <a:gd name="T7" fmla="*/ 0 h 10"/>
                  <a:gd name="T8" fmla="*/ 0 w 106"/>
                  <a:gd name="T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7"/>
                    </a:moveTo>
                    <a:lnTo>
                      <a:pt x="0" y="10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0" y="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396">
                <a:extLst>
                  <a:ext uri="{FF2B5EF4-FFF2-40B4-BE49-F238E27FC236}">
                    <a16:creationId xmlns:a16="http://schemas.microsoft.com/office/drawing/2014/main" id="{5EB20974-249B-4424-BE1E-6892BB0EA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6" cy="10"/>
              </a:xfrm>
              <a:custGeom>
                <a:avLst/>
                <a:gdLst>
                  <a:gd name="T0" fmla="*/ 0 w 106"/>
                  <a:gd name="T1" fmla="*/ 6 h 10"/>
                  <a:gd name="T2" fmla="*/ 0 w 106"/>
                  <a:gd name="T3" fmla="*/ 10 h 10"/>
                  <a:gd name="T4" fmla="*/ 106 w 106"/>
                  <a:gd name="T5" fmla="*/ 3 h 10"/>
                  <a:gd name="T6" fmla="*/ 106 w 106"/>
                  <a:gd name="T7" fmla="*/ 0 h 10"/>
                  <a:gd name="T8" fmla="*/ 0 w 106"/>
                  <a:gd name="T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6"/>
                    </a:moveTo>
                    <a:lnTo>
                      <a:pt x="0" y="10"/>
                    </a:lnTo>
                    <a:lnTo>
                      <a:pt x="106" y="3"/>
                    </a:lnTo>
                    <a:lnTo>
                      <a:pt x="106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78C9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397">
                <a:extLst>
                  <a:ext uri="{FF2B5EF4-FFF2-40B4-BE49-F238E27FC236}">
                    <a16:creationId xmlns:a16="http://schemas.microsoft.com/office/drawing/2014/main" id="{5DDA87C2-7823-429E-BDF5-99D072D6F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6" cy="10"/>
              </a:xfrm>
              <a:custGeom>
                <a:avLst/>
                <a:gdLst>
                  <a:gd name="T0" fmla="*/ 0 w 106"/>
                  <a:gd name="T1" fmla="*/ 6 h 10"/>
                  <a:gd name="T2" fmla="*/ 0 w 106"/>
                  <a:gd name="T3" fmla="*/ 10 h 10"/>
                  <a:gd name="T4" fmla="*/ 106 w 106"/>
                  <a:gd name="T5" fmla="*/ 3 h 10"/>
                  <a:gd name="T6" fmla="*/ 106 w 106"/>
                  <a:gd name="T7" fmla="*/ 0 h 10"/>
                  <a:gd name="T8" fmla="*/ 0 w 106"/>
                  <a:gd name="T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6"/>
                    </a:moveTo>
                    <a:lnTo>
                      <a:pt x="0" y="10"/>
                    </a:lnTo>
                    <a:lnTo>
                      <a:pt x="106" y="3"/>
                    </a:lnTo>
                    <a:lnTo>
                      <a:pt x="106" y="0"/>
                    </a:lnTo>
                    <a:lnTo>
                      <a:pt x="0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398">
                <a:extLst>
                  <a:ext uri="{FF2B5EF4-FFF2-40B4-BE49-F238E27FC236}">
                    <a16:creationId xmlns:a16="http://schemas.microsoft.com/office/drawing/2014/main" id="{28BBA9A9-0A1E-4465-ACBB-3A76F0BBE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5" y="1948"/>
                <a:ext cx="18" cy="10"/>
              </a:xfrm>
              <a:custGeom>
                <a:avLst/>
                <a:gdLst>
                  <a:gd name="T0" fmla="*/ 1 w 33"/>
                  <a:gd name="T1" fmla="*/ 0 h 19"/>
                  <a:gd name="T2" fmla="*/ 0 w 33"/>
                  <a:gd name="T3" fmla="*/ 10 h 19"/>
                  <a:gd name="T4" fmla="*/ 3 w 33"/>
                  <a:gd name="T5" fmla="*/ 19 h 19"/>
                  <a:gd name="T6" fmla="*/ 32 w 33"/>
                  <a:gd name="T7" fmla="*/ 8 h 19"/>
                  <a:gd name="T8" fmla="*/ 33 w 33"/>
                  <a:gd name="T9" fmla="*/ 8 h 19"/>
                  <a:gd name="T10" fmla="*/ 32 w 33"/>
                  <a:gd name="T11" fmla="*/ 7 h 19"/>
                  <a:gd name="T12" fmla="*/ 1 w 33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19">
                    <a:moveTo>
                      <a:pt x="1" y="0"/>
                    </a:moveTo>
                    <a:cubicBezTo>
                      <a:pt x="1" y="0"/>
                      <a:pt x="0" y="4"/>
                      <a:pt x="0" y="10"/>
                    </a:cubicBezTo>
                    <a:cubicBezTo>
                      <a:pt x="1" y="15"/>
                      <a:pt x="3" y="19"/>
                      <a:pt x="3" y="19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0" name="Freeform 399">
                <a:extLst>
                  <a:ext uri="{FF2B5EF4-FFF2-40B4-BE49-F238E27FC236}">
                    <a16:creationId xmlns:a16="http://schemas.microsoft.com/office/drawing/2014/main" id="{1EE99242-5520-4CF5-BAE3-8664A2F4C9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4"/>
                <a:ext cx="18" cy="12"/>
              </a:xfrm>
              <a:custGeom>
                <a:avLst/>
                <a:gdLst>
                  <a:gd name="T0" fmla="*/ 31 w 33"/>
                  <a:gd name="T1" fmla="*/ 0 h 22"/>
                  <a:gd name="T2" fmla="*/ 5 w 33"/>
                  <a:gd name="T3" fmla="*/ 2 h 22"/>
                  <a:gd name="T4" fmla="*/ 0 w 33"/>
                  <a:gd name="T5" fmla="*/ 8 h 22"/>
                  <a:gd name="T6" fmla="*/ 0 w 33"/>
                  <a:gd name="T7" fmla="*/ 16 h 22"/>
                  <a:gd name="T8" fmla="*/ 6 w 33"/>
                  <a:gd name="T9" fmla="*/ 21 h 22"/>
                  <a:gd name="T10" fmla="*/ 33 w 33"/>
                  <a:gd name="T11" fmla="*/ 20 h 22"/>
                  <a:gd name="T12" fmla="*/ 31 w 33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22">
                    <a:moveTo>
                      <a:pt x="31" y="0"/>
                    </a:moveTo>
                    <a:cubicBezTo>
                      <a:pt x="5" y="2"/>
                      <a:pt x="5" y="2"/>
                      <a:pt x="5" y="2"/>
                    </a:cubicBezTo>
                    <a:cubicBezTo>
                      <a:pt x="2" y="2"/>
                      <a:pt x="0" y="5"/>
                      <a:pt x="0" y="8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9"/>
                      <a:pt x="3" y="22"/>
                      <a:pt x="6" y="21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1" name="Freeform 400">
                <a:extLst>
                  <a:ext uri="{FF2B5EF4-FFF2-40B4-BE49-F238E27FC236}">
                    <a16:creationId xmlns:a16="http://schemas.microsoft.com/office/drawing/2014/main" id="{187C4E14-4B08-4E3F-B5BD-B26F5164DC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8" cy="12"/>
              </a:xfrm>
              <a:custGeom>
                <a:avLst/>
                <a:gdLst>
                  <a:gd name="T0" fmla="*/ 7 w 8"/>
                  <a:gd name="T1" fmla="*/ 0 h 12"/>
                  <a:gd name="T2" fmla="*/ 0 w 8"/>
                  <a:gd name="T3" fmla="*/ 1 h 12"/>
                  <a:gd name="T4" fmla="*/ 0 w 8"/>
                  <a:gd name="T5" fmla="*/ 12 h 12"/>
                  <a:gd name="T6" fmla="*/ 8 w 8"/>
                  <a:gd name="T7" fmla="*/ 12 h 12"/>
                  <a:gd name="T8" fmla="*/ 7 w 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7" y="0"/>
                    </a:moveTo>
                    <a:lnTo>
                      <a:pt x="0" y="1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2" name="Freeform 401">
                <a:extLst>
                  <a:ext uri="{FF2B5EF4-FFF2-40B4-BE49-F238E27FC236}">
                    <a16:creationId xmlns:a16="http://schemas.microsoft.com/office/drawing/2014/main" id="{CE005939-F5CB-48D9-BE55-FB84C10CA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8" cy="12"/>
              </a:xfrm>
              <a:custGeom>
                <a:avLst/>
                <a:gdLst>
                  <a:gd name="T0" fmla="*/ 7 w 8"/>
                  <a:gd name="T1" fmla="*/ 0 h 12"/>
                  <a:gd name="T2" fmla="*/ 0 w 8"/>
                  <a:gd name="T3" fmla="*/ 1 h 12"/>
                  <a:gd name="T4" fmla="*/ 0 w 8"/>
                  <a:gd name="T5" fmla="*/ 12 h 12"/>
                  <a:gd name="T6" fmla="*/ 8 w 8"/>
                  <a:gd name="T7" fmla="*/ 12 h 12"/>
                  <a:gd name="T8" fmla="*/ 7 w 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7" y="0"/>
                    </a:moveTo>
                    <a:lnTo>
                      <a:pt x="0" y="1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3" name="Freeform 402">
                <a:extLst>
                  <a:ext uri="{FF2B5EF4-FFF2-40B4-BE49-F238E27FC236}">
                    <a16:creationId xmlns:a16="http://schemas.microsoft.com/office/drawing/2014/main" id="{F20FE99A-1DAD-47C1-A931-3E0C34F63C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1950"/>
                <a:ext cx="7" cy="5"/>
              </a:xfrm>
              <a:custGeom>
                <a:avLst/>
                <a:gdLst>
                  <a:gd name="T0" fmla="*/ 1 w 13"/>
                  <a:gd name="T1" fmla="*/ 0 h 8"/>
                  <a:gd name="T2" fmla="*/ 12 w 13"/>
                  <a:gd name="T3" fmla="*/ 3 h 8"/>
                  <a:gd name="T4" fmla="*/ 12 w 13"/>
                  <a:gd name="T5" fmla="*/ 4 h 8"/>
                  <a:gd name="T6" fmla="*/ 1 w 13"/>
                  <a:gd name="T7" fmla="*/ 8 h 8"/>
                  <a:gd name="T8" fmla="*/ 0 w 13"/>
                  <a:gd name="T9" fmla="*/ 4 h 8"/>
                  <a:gd name="T10" fmla="*/ 1 w 13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8">
                    <a:moveTo>
                      <a:pt x="1" y="0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3" y="3"/>
                      <a:pt x="13" y="4"/>
                      <a:pt x="12" y="4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0" y="7"/>
                      <a:pt x="0" y="4"/>
                    </a:cubicBezTo>
                    <a:cubicBezTo>
                      <a:pt x="0" y="2"/>
                      <a:pt x="1" y="0"/>
                      <a:pt x="1" y="0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4" name="Freeform 403">
                <a:extLst>
                  <a:ext uri="{FF2B5EF4-FFF2-40B4-BE49-F238E27FC236}">
                    <a16:creationId xmlns:a16="http://schemas.microsoft.com/office/drawing/2014/main" id="{BBC9176D-253C-4D86-91D8-D737E2142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5" y="1948"/>
                <a:ext cx="12" cy="5"/>
              </a:xfrm>
              <a:custGeom>
                <a:avLst/>
                <a:gdLst>
                  <a:gd name="T0" fmla="*/ 1 w 21"/>
                  <a:gd name="T1" fmla="*/ 0 h 10"/>
                  <a:gd name="T2" fmla="*/ 1 w 21"/>
                  <a:gd name="T3" fmla="*/ 0 h 10"/>
                  <a:gd name="T4" fmla="*/ 0 w 21"/>
                  <a:gd name="T5" fmla="*/ 6 h 10"/>
                  <a:gd name="T6" fmla="*/ 0 w 21"/>
                  <a:gd name="T7" fmla="*/ 8 h 10"/>
                  <a:gd name="T8" fmla="*/ 0 w 21"/>
                  <a:gd name="T9" fmla="*/ 10 h 10"/>
                  <a:gd name="T10" fmla="*/ 20 w 21"/>
                  <a:gd name="T11" fmla="*/ 8 h 10"/>
                  <a:gd name="T12" fmla="*/ 20 w 21"/>
                  <a:gd name="T13" fmla="*/ 8 h 10"/>
                  <a:gd name="T14" fmla="*/ 21 w 21"/>
                  <a:gd name="T15" fmla="*/ 4 h 10"/>
                  <a:gd name="T16" fmla="*/ 1 w 21"/>
                  <a:gd name="T1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0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3"/>
                      <a:pt x="0" y="6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0" y="9"/>
                      <a:pt x="0" y="9"/>
                      <a:pt x="0" y="1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6"/>
                      <a:pt x="21" y="5"/>
                      <a:pt x="21" y="4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5" name="Freeform 404">
                <a:extLst>
                  <a:ext uri="{FF2B5EF4-FFF2-40B4-BE49-F238E27FC236}">
                    <a16:creationId xmlns:a16="http://schemas.microsoft.com/office/drawing/2014/main" id="{3DF9A79C-DC55-4DCC-BBE6-6FDBDFEB7F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1950"/>
                <a:ext cx="7" cy="2"/>
              </a:xfrm>
              <a:custGeom>
                <a:avLst/>
                <a:gdLst>
                  <a:gd name="T0" fmla="*/ 1 w 13"/>
                  <a:gd name="T1" fmla="*/ 0 h 4"/>
                  <a:gd name="T2" fmla="*/ 1 w 13"/>
                  <a:gd name="T3" fmla="*/ 0 h 4"/>
                  <a:gd name="T4" fmla="*/ 0 w 13"/>
                  <a:gd name="T5" fmla="*/ 4 h 4"/>
                  <a:gd name="T6" fmla="*/ 0 w 13"/>
                  <a:gd name="T7" fmla="*/ 4 h 4"/>
                  <a:gd name="T8" fmla="*/ 13 w 13"/>
                  <a:gd name="T9" fmla="*/ 4 h 4"/>
                  <a:gd name="T10" fmla="*/ 12 w 13"/>
                  <a:gd name="T11" fmla="*/ 3 h 4"/>
                  <a:gd name="T12" fmla="*/ 1 w 1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4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0" y="2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6" name="Rectangle 405">
                <a:extLst>
                  <a:ext uri="{FF2B5EF4-FFF2-40B4-BE49-F238E27FC236}">
                    <a16:creationId xmlns:a16="http://schemas.microsoft.com/office/drawing/2014/main" id="{6962ACA4-07CF-444F-956F-A4DAE82C3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03" y="1958"/>
                <a:ext cx="1" cy="3"/>
              </a:xfrm>
              <a:prstGeom prst="rect">
                <a:avLst/>
              </a:pr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" name="Group 607">
              <a:extLst>
                <a:ext uri="{FF2B5EF4-FFF2-40B4-BE49-F238E27FC236}">
                  <a16:creationId xmlns:a16="http://schemas.microsoft.com/office/drawing/2014/main" id="{764FAE67-B6EA-4418-A66F-411FBDDA76F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243888" y="3100388"/>
              <a:ext cx="2105025" cy="1087438"/>
              <a:chOff x="5193" y="1953"/>
              <a:chExt cx="1326" cy="685"/>
            </a:xfrm>
          </p:grpSpPr>
          <p:sp>
            <p:nvSpPr>
              <p:cNvPr id="167" name="Freeform 407">
                <a:extLst>
                  <a:ext uri="{FF2B5EF4-FFF2-40B4-BE49-F238E27FC236}">
                    <a16:creationId xmlns:a16="http://schemas.microsoft.com/office/drawing/2014/main" id="{2FB82784-21B0-41A2-98B7-841491C92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8"/>
                <a:ext cx="0" cy="3"/>
              </a:xfrm>
              <a:custGeom>
                <a:avLst/>
                <a:gdLst>
                  <a:gd name="T0" fmla="*/ 0 h 3"/>
                  <a:gd name="T1" fmla="*/ 3 h 3"/>
                  <a:gd name="T2" fmla="*/ 3 h 3"/>
                  <a:gd name="T3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408">
                <a:extLst>
                  <a:ext uri="{FF2B5EF4-FFF2-40B4-BE49-F238E27FC236}">
                    <a16:creationId xmlns:a16="http://schemas.microsoft.com/office/drawing/2014/main" id="{4F2C6425-3F72-4B3B-A922-09039E34A9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5"/>
                <a:ext cx="10" cy="6"/>
              </a:xfrm>
              <a:custGeom>
                <a:avLst/>
                <a:gdLst>
                  <a:gd name="T0" fmla="*/ 18 w 18"/>
                  <a:gd name="T1" fmla="*/ 0 h 11"/>
                  <a:gd name="T2" fmla="*/ 5 w 18"/>
                  <a:gd name="T3" fmla="*/ 1 h 11"/>
                  <a:gd name="T4" fmla="*/ 0 w 18"/>
                  <a:gd name="T5" fmla="*/ 6 h 11"/>
                  <a:gd name="T6" fmla="*/ 0 w 18"/>
                  <a:gd name="T7" fmla="*/ 7 h 11"/>
                  <a:gd name="T8" fmla="*/ 0 w 18"/>
                  <a:gd name="T9" fmla="*/ 7 h 11"/>
                  <a:gd name="T10" fmla="*/ 0 w 18"/>
                  <a:gd name="T11" fmla="*/ 11 h 11"/>
                  <a:gd name="T12" fmla="*/ 18 w 18"/>
                  <a:gd name="T13" fmla="*/ 10 h 11"/>
                  <a:gd name="T14" fmla="*/ 18 w 18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1">
                    <a:moveTo>
                      <a:pt x="18" y="0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2" y="1"/>
                      <a:pt x="0" y="3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409">
                <a:extLst>
                  <a:ext uri="{FF2B5EF4-FFF2-40B4-BE49-F238E27FC236}">
                    <a16:creationId xmlns:a16="http://schemas.microsoft.com/office/drawing/2014/main" id="{06414C1D-CF89-49FA-A974-B063A4BD2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7" cy="7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1 h 7"/>
                  <a:gd name="T4" fmla="*/ 0 w 7"/>
                  <a:gd name="T5" fmla="*/ 2 h 7"/>
                  <a:gd name="T6" fmla="*/ 0 w 7"/>
                  <a:gd name="T7" fmla="*/ 7 h 7"/>
                  <a:gd name="T8" fmla="*/ 7 w 7"/>
                  <a:gd name="T9" fmla="*/ 6 h 7"/>
                  <a:gd name="T10" fmla="*/ 7 w 7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7" y="6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410">
                <a:extLst>
                  <a:ext uri="{FF2B5EF4-FFF2-40B4-BE49-F238E27FC236}">
                    <a16:creationId xmlns:a16="http://schemas.microsoft.com/office/drawing/2014/main" id="{87D8F1AD-1B9A-4D51-91FF-7DEC390AC3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7" cy="7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1 h 7"/>
                  <a:gd name="T4" fmla="*/ 0 w 7"/>
                  <a:gd name="T5" fmla="*/ 2 h 7"/>
                  <a:gd name="T6" fmla="*/ 0 w 7"/>
                  <a:gd name="T7" fmla="*/ 7 h 7"/>
                  <a:gd name="T8" fmla="*/ 7 w 7"/>
                  <a:gd name="T9" fmla="*/ 6 h 7"/>
                  <a:gd name="T10" fmla="*/ 7 w 7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7" y="6"/>
                    </a:lnTo>
                    <a:lnTo>
                      <a:pt x="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Rectangle 411">
                <a:extLst>
                  <a:ext uri="{FF2B5EF4-FFF2-40B4-BE49-F238E27FC236}">
                    <a16:creationId xmlns:a16="http://schemas.microsoft.com/office/drawing/2014/main" id="{9F0AEB16-6BD2-492C-85F1-018DB75F40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1" y="2333"/>
                <a:ext cx="16" cy="160"/>
              </a:xfrm>
              <a:prstGeom prst="rect">
                <a:avLst/>
              </a:pr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Rectangle 412">
                <a:extLst>
                  <a:ext uri="{FF2B5EF4-FFF2-40B4-BE49-F238E27FC236}">
                    <a16:creationId xmlns:a16="http://schemas.microsoft.com/office/drawing/2014/main" id="{5D110498-6EEF-45C7-9826-A24360504D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1" y="2333"/>
                <a:ext cx="16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Rectangle 413">
                <a:extLst>
                  <a:ext uri="{FF2B5EF4-FFF2-40B4-BE49-F238E27FC236}">
                    <a16:creationId xmlns:a16="http://schemas.microsoft.com/office/drawing/2014/main" id="{8E2CBA07-3EF2-4BF4-8281-9BA3453C27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6" y="2333"/>
                <a:ext cx="6" cy="160"/>
              </a:xfrm>
              <a:prstGeom prst="rect">
                <a:avLst/>
              </a:prstGeom>
              <a:solidFill>
                <a:srgbClr val="CDDC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Rectangle 414">
                <a:extLst>
                  <a:ext uri="{FF2B5EF4-FFF2-40B4-BE49-F238E27FC236}">
                    <a16:creationId xmlns:a16="http://schemas.microsoft.com/office/drawing/2014/main" id="{80231E61-88F3-4C63-BF4C-EE9AEF9033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6" y="2333"/>
                <a:ext cx="6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Rectangle 415">
                <a:extLst>
                  <a:ext uri="{FF2B5EF4-FFF2-40B4-BE49-F238E27FC236}">
                    <a16:creationId xmlns:a16="http://schemas.microsoft.com/office/drawing/2014/main" id="{0C79B413-7483-48F8-9F17-43F3BE39B8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333"/>
                <a:ext cx="5" cy="160"/>
              </a:xfrm>
              <a:prstGeom prst="rect">
                <a:avLst/>
              </a:prstGeom>
              <a:solidFill>
                <a:srgbClr val="C0CA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Rectangle 416">
                <a:extLst>
                  <a:ext uri="{FF2B5EF4-FFF2-40B4-BE49-F238E27FC236}">
                    <a16:creationId xmlns:a16="http://schemas.microsoft.com/office/drawing/2014/main" id="{85B7D001-9571-4C1D-BBC1-C7B89A6BA6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333"/>
                <a:ext cx="5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417">
                <a:extLst>
                  <a:ext uri="{FF2B5EF4-FFF2-40B4-BE49-F238E27FC236}">
                    <a16:creationId xmlns:a16="http://schemas.microsoft.com/office/drawing/2014/main" id="{EBF15E9C-A22B-4DF9-99B7-E8F2FF3BAA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1" y="2308"/>
                <a:ext cx="16" cy="27"/>
              </a:xfrm>
              <a:custGeom>
                <a:avLst/>
                <a:gdLst>
                  <a:gd name="T0" fmla="*/ 30 w 30"/>
                  <a:gd name="T1" fmla="*/ 47 h 49"/>
                  <a:gd name="T2" fmla="*/ 15 w 30"/>
                  <a:gd name="T3" fmla="*/ 49 h 49"/>
                  <a:gd name="T4" fmla="*/ 0 w 30"/>
                  <a:gd name="T5" fmla="*/ 47 h 49"/>
                  <a:gd name="T6" fmla="*/ 15 w 30"/>
                  <a:gd name="T7" fmla="*/ 1 h 49"/>
                  <a:gd name="T8" fmla="*/ 15 w 30"/>
                  <a:gd name="T9" fmla="*/ 0 h 49"/>
                  <a:gd name="T10" fmla="*/ 16 w 30"/>
                  <a:gd name="T11" fmla="*/ 1 h 49"/>
                  <a:gd name="T12" fmla="*/ 30 w 30"/>
                  <a:gd name="T13" fmla="*/ 4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49">
                    <a:moveTo>
                      <a:pt x="30" y="47"/>
                    </a:moveTo>
                    <a:cubicBezTo>
                      <a:pt x="30" y="47"/>
                      <a:pt x="23" y="49"/>
                      <a:pt x="15" y="49"/>
                    </a:cubicBezTo>
                    <a:cubicBezTo>
                      <a:pt x="8" y="49"/>
                      <a:pt x="0" y="47"/>
                      <a:pt x="0" y="47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30" y="47"/>
                      <a:pt x="30" y="47"/>
                      <a:pt x="30" y="47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418">
                <a:extLst>
                  <a:ext uri="{FF2B5EF4-FFF2-40B4-BE49-F238E27FC236}">
                    <a16:creationId xmlns:a16="http://schemas.microsoft.com/office/drawing/2014/main" id="{F99FDF2B-1704-4AB2-8713-E55DAB23F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1" y="2493"/>
                <a:ext cx="16" cy="27"/>
              </a:xfrm>
              <a:custGeom>
                <a:avLst/>
                <a:gdLst>
                  <a:gd name="T0" fmla="*/ 30 w 30"/>
                  <a:gd name="T1" fmla="*/ 0 h 48"/>
                  <a:gd name="T2" fmla="*/ 30 w 30"/>
                  <a:gd name="T3" fmla="*/ 40 h 48"/>
                  <a:gd name="T4" fmla="*/ 21 w 30"/>
                  <a:gd name="T5" fmla="*/ 48 h 48"/>
                  <a:gd name="T6" fmla="*/ 9 w 30"/>
                  <a:gd name="T7" fmla="*/ 48 h 48"/>
                  <a:gd name="T8" fmla="*/ 0 w 30"/>
                  <a:gd name="T9" fmla="*/ 40 h 48"/>
                  <a:gd name="T10" fmla="*/ 0 w 30"/>
                  <a:gd name="T11" fmla="*/ 0 h 48"/>
                  <a:gd name="T12" fmla="*/ 30 w 30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48">
                    <a:moveTo>
                      <a:pt x="30" y="0"/>
                    </a:moveTo>
                    <a:cubicBezTo>
                      <a:pt x="30" y="40"/>
                      <a:pt x="30" y="40"/>
                      <a:pt x="30" y="40"/>
                    </a:cubicBezTo>
                    <a:cubicBezTo>
                      <a:pt x="30" y="44"/>
                      <a:pt x="26" y="48"/>
                      <a:pt x="21" y="48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4" y="48"/>
                      <a:pt x="0" y="44"/>
                      <a:pt x="0" y="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Rectangle 419">
                <a:extLst>
                  <a:ext uri="{FF2B5EF4-FFF2-40B4-BE49-F238E27FC236}">
                    <a16:creationId xmlns:a16="http://schemas.microsoft.com/office/drawing/2014/main" id="{AB32D940-7AB9-4119-B7AD-CE1E7069C1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3"/>
                <a:ext cx="18" cy="12"/>
              </a:xfrm>
              <a:prstGeom prst="rect">
                <a:avLst/>
              </a:pr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Rectangle 420">
                <a:extLst>
                  <a:ext uri="{FF2B5EF4-FFF2-40B4-BE49-F238E27FC236}">
                    <a16:creationId xmlns:a16="http://schemas.microsoft.com/office/drawing/2014/main" id="{915FFAA4-4731-4460-8283-CA7F6FEED5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3"/>
                <a:ext cx="18" cy="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Rectangle 421">
                <a:extLst>
                  <a:ext uri="{FF2B5EF4-FFF2-40B4-BE49-F238E27FC236}">
                    <a16:creationId xmlns:a16="http://schemas.microsoft.com/office/drawing/2014/main" id="{3CC23432-2C65-4058-B01C-81E1F175C1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8"/>
                <a:ext cx="18" cy="2"/>
              </a:xfrm>
              <a:prstGeom prst="rect">
                <a:avLst/>
              </a:prstGeom>
              <a:solidFill>
                <a:srgbClr val="38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Rectangle 422">
                <a:extLst>
                  <a:ext uri="{FF2B5EF4-FFF2-40B4-BE49-F238E27FC236}">
                    <a16:creationId xmlns:a16="http://schemas.microsoft.com/office/drawing/2014/main" id="{B219592C-59E5-46AB-A2E0-C53E1559F4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8"/>
                <a:ext cx="18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423">
                <a:extLst>
                  <a:ext uri="{FF2B5EF4-FFF2-40B4-BE49-F238E27FC236}">
                    <a16:creationId xmlns:a16="http://schemas.microsoft.com/office/drawing/2014/main" id="{D456BDCA-CED2-47A7-B09F-DF0A9333F2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6" y="2308"/>
                <a:ext cx="6" cy="11"/>
              </a:xfrm>
              <a:custGeom>
                <a:avLst/>
                <a:gdLst>
                  <a:gd name="T0" fmla="*/ 12 w 12"/>
                  <a:gd name="T1" fmla="*/ 18 h 20"/>
                  <a:gd name="T2" fmla="*/ 7 w 12"/>
                  <a:gd name="T3" fmla="*/ 1 h 20"/>
                  <a:gd name="T4" fmla="*/ 6 w 12"/>
                  <a:gd name="T5" fmla="*/ 1 h 20"/>
                  <a:gd name="T6" fmla="*/ 0 w 12"/>
                  <a:gd name="T7" fmla="*/ 18 h 20"/>
                  <a:gd name="T8" fmla="*/ 6 w 12"/>
                  <a:gd name="T9" fmla="*/ 20 h 20"/>
                  <a:gd name="T10" fmla="*/ 12 w 12"/>
                  <a:gd name="T11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20">
                    <a:moveTo>
                      <a:pt x="12" y="18"/>
                    </a:moveTo>
                    <a:cubicBezTo>
                      <a:pt x="7" y="1"/>
                      <a:pt x="7" y="1"/>
                      <a:pt x="7" y="1"/>
                    </a:cubicBezTo>
                    <a:cubicBezTo>
                      <a:pt x="7" y="0"/>
                      <a:pt x="6" y="0"/>
                      <a:pt x="6" y="1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2" y="20"/>
                      <a:pt x="6" y="20"/>
                    </a:cubicBezTo>
                    <a:cubicBezTo>
                      <a:pt x="10" y="20"/>
                      <a:pt x="12" y="18"/>
                      <a:pt x="12" y="18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424">
                <a:extLst>
                  <a:ext uri="{FF2B5EF4-FFF2-40B4-BE49-F238E27FC236}">
                    <a16:creationId xmlns:a16="http://schemas.microsoft.com/office/drawing/2014/main" id="{6B97EE5F-F13A-4ADC-9501-0DE1A1CB8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318"/>
                <a:ext cx="8" cy="17"/>
              </a:xfrm>
              <a:custGeom>
                <a:avLst/>
                <a:gdLst>
                  <a:gd name="T0" fmla="*/ 6 w 15"/>
                  <a:gd name="T1" fmla="*/ 0 h 31"/>
                  <a:gd name="T2" fmla="*/ 0 w 15"/>
                  <a:gd name="T3" fmla="*/ 2 h 31"/>
                  <a:gd name="T4" fmla="*/ 0 w 15"/>
                  <a:gd name="T5" fmla="*/ 2 h 31"/>
                  <a:gd name="T6" fmla="*/ 0 w 15"/>
                  <a:gd name="T7" fmla="*/ 31 h 31"/>
                  <a:gd name="T8" fmla="*/ 15 w 15"/>
                  <a:gd name="T9" fmla="*/ 29 h 31"/>
                  <a:gd name="T10" fmla="*/ 6 w 15"/>
                  <a:gd name="T1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1">
                    <a:moveTo>
                      <a:pt x="6" y="0"/>
                    </a:moveTo>
                    <a:cubicBezTo>
                      <a:pt x="6" y="0"/>
                      <a:pt x="4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8" y="31"/>
                      <a:pt x="15" y="29"/>
                      <a:pt x="15" y="29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425">
                <a:extLst>
                  <a:ext uri="{FF2B5EF4-FFF2-40B4-BE49-F238E27FC236}">
                    <a16:creationId xmlns:a16="http://schemas.microsoft.com/office/drawing/2014/main" id="{38DA11F0-0516-45BB-933F-FB12FCAFC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308"/>
                <a:ext cx="3" cy="11"/>
              </a:xfrm>
              <a:custGeom>
                <a:avLst/>
                <a:gdLst>
                  <a:gd name="T0" fmla="*/ 0 w 6"/>
                  <a:gd name="T1" fmla="*/ 0 h 20"/>
                  <a:gd name="T2" fmla="*/ 0 w 6"/>
                  <a:gd name="T3" fmla="*/ 20 h 20"/>
                  <a:gd name="T4" fmla="*/ 0 w 6"/>
                  <a:gd name="T5" fmla="*/ 20 h 20"/>
                  <a:gd name="T6" fmla="*/ 6 w 6"/>
                  <a:gd name="T7" fmla="*/ 18 h 20"/>
                  <a:gd name="T8" fmla="*/ 6 w 6"/>
                  <a:gd name="T9" fmla="*/ 18 h 20"/>
                  <a:gd name="T10" fmla="*/ 1 w 6"/>
                  <a:gd name="T11" fmla="*/ 1 h 20"/>
                  <a:gd name="T12" fmla="*/ 0 w 6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0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4" y="20"/>
                      <a:pt x="6" y="18"/>
                      <a:pt x="6" y="1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Rectangle 426">
                <a:extLst>
                  <a:ext uri="{FF2B5EF4-FFF2-40B4-BE49-F238E27FC236}">
                    <a16:creationId xmlns:a16="http://schemas.microsoft.com/office/drawing/2014/main" id="{1D2330FD-2ED4-42E1-8C03-B631E0A611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493"/>
                <a:ext cx="5" cy="1"/>
              </a:xfrm>
              <a:prstGeom prst="rect">
                <a:avLst/>
              </a:prstGeom>
              <a:solidFill>
                <a:srgbClr val="98A0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Rectangle 427">
                <a:extLst>
                  <a:ext uri="{FF2B5EF4-FFF2-40B4-BE49-F238E27FC236}">
                    <a16:creationId xmlns:a16="http://schemas.microsoft.com/office/drawing/2014/main" id="{5275919D-B33A-4F67-AC29-D8F3FB293C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493"/>
                <a:ext cx="5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428">
                <a:extLst>
                  <a:ext uri="{FF2B5EF4-FFF2-40B4-BE49-F238E27FC236}">
                    <a16:creationId xmlns:a16="http://schemas.microsoft.com/office/drawing/2014/main" id="{2CC03B84-B821-4FC4-9137-60DD32E4F0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505"/>
                <a:ext cx="8" cy="15"/>
              </a:xfrm>
              <a:custGeom>
                <a:avLst/>
                <a:gdLst>
                  <a:gd name="T0" fmla="*/ 15 w 15"/>
                  <a:gd name="T1" fmla="*/ 0 h 27"/>
                  <a:gd name="T2" fmla="*/ 0 w 15"/>
                  <a:gd name="T3" fmla="*/ 0 h 27"/>
                  <a:gd name="T4" fmla="*/ 0 w 15"/>
                  <a:gd name="T5" fmla="*/ 27 h 27"/>
                  <a:gd name="T6" fmla="*/ 6 w 15"/>
                  <a:gd name="T7" fmla="*/ 27 h 27"/>
                  <a:gd name="T8" fmla="*/ 15 w 15"/>
                  <a:gd name="T9" fmla="*/ 19 h 27"/>
                  <a:gd name="T10" fmla="*/ 15 w 15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27">
                    <a:moveTo>
                      <a:pt x="1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11" y="27"/>
                      <a:pt x="15" y="23"/>
                      <a:pt x="15" y="19"/>
                    </a:cubicBezTo>
                    <a:cubicBezTo>
                      <a:pt x="15" y="0"/>
                      <a:pt x="15" y="0"/>
                      <a:pt x="15" y="0"/>
                    </a:cubicBezTo>
                  </a:path>
                </a:pathLst>
              </a:custGeom>
              <a:solidFill>
                <a:srgbClr val="A8B2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429">
                <a:extLst>
                  <a:ext uri="{FF2B5EF4-FFF2-40B4-BE49-F238E27FC236}">
                    <a16:creationId xmlns:a16="http://schemas.microsoft.com/office/drawing/2014/main" id="{CE769E4A-16E2-4514-A8C7-8CF2C73B66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493"/>
                <a:ext cx="9" cy="12"/>
              </a:xfrm>
              <a:custGeom>
                <a:avLst/>
                <a:gdLst>
                  <a:gd name="T0" fmla="*/ 9 w 9"/>
                  <a:gd name="T1" fmla="*/ 0 h 12"/>
                  <a:gd name="T2" fmla="*/ 8 w 9"/>
                  <a:gd name="T3" fmla="*/ 0 h 12"/>
                  <a:gd name="T4" fmla="*/ 3 w 9"/>
                  <a:gd name="T5" fmla="*/ 0 h 12"/>
                  <a:gd name="T6" fmla="*/ 0 w 9"/>
                  <a:gd name="T7" fmla="*/ 0 h 12"/>
                  <a:gd name="T8" fmla="*/ 0 w 9"/>
                  <a:gd name="T9" fmla="*/ 5 h 12"/>
                  <a:gd name="T10" fmla="*/ 9 w 9"/>
                  <a:gd name="T11" fmla="*/ 5 h 12"/>
                  <a:gd name="T12" fmla="*/ 9 w 9"/>
                  <a:gd name="T13" fmla="*/ 7 h 12"/>
                  <a:gd name="T14" fmla="*/ 0 w 9"/>
                  <a:gd name="T15" fmla="*/ 7 h 12"/>
                  <a:gd name="T16" fmla="*/ 0 w 9"/>
                  <a:gd name="T17" fmla="*/ 12 h 12"/>
                  <a:gd name="T18" fmla="*/ 8 w 9"/>
                  <a:gd name="T19" fmla="*/ 12 h 12"/>
                  <a:gd name="T20" fmla="*/ 9 w 9"/>
                  <a:gd name="T21" fmla="*/ 12 h 12"/>
                  <a:gd name="T22" fmla="*/ 9 w 9"/>
                  <a:gd name="T2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2">
                    <a:moveTo>
                      <a:pt x="9" y="0"/>
                    </a:moveTo>
                    <a:lnTo>
                      <a:pt x="8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9" y="12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430">
                <a:extLst>
                  <a:ext uri="{FF2B5EF4-FFF2-40B4-BE49-F238E27FC236}">
                    <a16:creationId xmlns:a16="http://schemas.microsoft.com/office/drawing/2014/main" id="{776C5EAC-E3E3-42D5-A69A-F7F4CF1C8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493"/>
                <a:ext cx="9" cy="12"/>
              </a:xfrm>
              <a:custGeom>
                <a:avLst/>
                <a:gdLst>
                  <a:gd name="T0" fmla="*/ 9 w 9"/>
                  <a:gd name="T1" fmla="*/ 0 h 12"/>
                  <a:gd name="T2" fmla="*/ 8 w 9"/>
                  <a:gd name="T3" fmla="*/ 0 h 12"/>
                  <a:gd name="T4" fmla="*/ 3 w 9"/>
                  <a:gd name="T5" fmla="*/ 0 h 12"/>
                  <a:gd name="T6" fmla="*/ 0 w 9"/>
                  <a:gd name="T7" fmla="*/ 0 h 12"/>
                  <a:gd name="T8" fmla="*/ 0 w 9"/>
                  <a:gd name="T9" fmla="*/ 5 h 12"/>
                  <a:gd name="T10" fmla="*/ 9 w 9"/>
                  <a:gd name="T11" fmla="*/ 5 h 12"/>
                  <a:gd name="T12" fmla="*/ 9 w 9"/>
                  <a:gd name="T13" fmla="*/ 7 h 12"/>
                  <a:gd name="T14" fmla="*/ 0 w 9"/>
                  <a:gd name="T15" fmla="*/ 7 h 12"/>
                  <a:gd name="T16" fmla="*/ 0 w 9"/>
                  <a:gd name="T17" fmla="*/ 12 h 12"/>
                  <a:gd name="T18" fmla="*/ 8 w 9"/>
                  <a:gd name="T19" fmla="*/ 12 h 12"/>
                  <a:gd name="T20" fmla="*/ 9 w 9"/>
                  <a:gd name="T21" fmla="*/ 12 h 12"/>
                  <a:gd name="T22" fmla="*/ 9 w 9"/>
                  <a:gd name="T2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2">
                    <a:moveTo>
                      <a:pt x="9" y="0"/>
                    </a:moveTo>
                    <a:lnTo>
                      <a:pt x="8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9" y="12"/>
                    </a:lnTo>
                    <a:lnTo>
                      <a:pt x="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Rectangle 431">
                <a:extLst>
                  <a:ext uri="{FF2B5EF4-FFF2-40B4-BE49-F238E27FC236}">
                    <a16:creationId xmlns:a16="http://schemas.microsoft.com/office/drawing/2014/main" id="{EC6916E4-F3F3-4BED-AF79-F8BE3DAE4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9" y="2498"/>
                <a:ext cx="9" cy="2"/>
              </a:xfrm>
              <a:prstGeom prst="rect">
                <a:avLst/>
              </a:prstGeom>
              <a:solidFill>
                <a:srgbClr val="2C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Rectangle 432">
                <a:extLst>
                  <a:ext uri="{FF2B5EF4-FFF2-40B4-BE49-F238E27FC236}">
                    <a16:creationId xmlns:a16="http://schemas.microsoft.com/office/drawing/2014/main" id="{650A1F53-6689-40CE-977F-61ED93A8FA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9" y="2498"/>
                <a:ext cx="9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433">
                <a:extLst>
                  <a:ext uri="{FF2B5EF4-FFF2-40B4-BE49-F238E27FC236}">
                    <a16:creationId xmlns:a16="http://schemas.microsoft.com/office/drawing/2014/main" id="{88D422E1-3C21-464B-A7F6-70D63A512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368"/>
                <a:ext cx="19" cy="165"/>
              </a:xfrm>
              <a:custGeom>
                <a:avLst/>
                <a:gdLst>
                  <a:gd name="T0" fmla="*/ 5 w 36"/>
                  <a:gd name="T1" fmla="*/ 0 h 302"/>
                  <a:gd name="T2" fmla="*/ 31 w 36"/>
                  <a:gd name="T3" fmla="*/ 0 h 302"/>
                  <a:gd name="T4" fmla="*/ 36 w 36"/>
                  <a:gd name="T5" fmla="*/ 138 h 302"/>
                  <a:gd name="T6" fmla="*/ 36 w 36"/>
                  <a:gd name="T7" fmla="*/ 187 h 302"/>
                  <a:gd name="T8" fmla="*/ 36 w 36"/>
                  <a:gd name="T9" fmla="*/ 192 h 302"/>
                  <a:gd name="T10" fmla="*/ 36 w 36"/>
                  <a:gd name="T11" fmla="*/ 195 h 302"/>
                  <a:gd name="T12" fmla="*/ 31 w 36"/>
                  <a:gd name="T13" fmla="*/ 302 h 302"/>
                  <a:gd name="T14" fmla="*/ 31 w 36"/>
                  <a:gd name="T15" fmla="*/ 302 h 302"/>
                  <a:gd name="T16" fmla="*/ 6 w 36"/>
                  <a:gd name="T17" fmla="*/ 302 h 302"/>
                  <a:gd name="T18" fmla="*/ 1 w 36"/>
                  <a:gd name="T19" fmla="*/ 195 h 302"/>
                  <a:gd name="T20" fmla="*/ 1 w 36"/>
                  <a:gd name="T21" fmla="*/ 192 h 302"/>
                  <a:gd name="T22" fmla="*/ 0 w 36"/>
                  <a:gd name="T23" fmla="*/ 187 h 302"/>
                  <a:gd name="T24" fmla="*/ 0 w 36"/>
                  <a:gd name="T25" fmla="*/ 138 h 302"/>
                  <a:gd name="T26" fmla="*/ 5 w 36"/>
                  <a:gd name="T27" fmla="*/ 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302">
                    <a:moveTo>
                      <a:pt x="5" y="0"/>
                    </a:moveTo>
                    <a:cubicBezTo>
                      <a:pt x="31" y="0"/>
                      <a:pt x="31" y="0"/>
                      <a:pt x="31" y="0"/>
                    </a:cubicBezTo>
                    <a:cubicBezTo>
                      <a:pt x="33" y="50"/>
                      <a:pt x="36" y="88"/>
                      <a:pt x="36" y="138"/>
                    </a:cubicBezTo>
                    <a:cubicBezTo>
                      <a:pt x="36" y="149"/>
                      <a:pt x="36" y="174"/>
                      <a:pt x="36" y="187"/>
                    </a:cubicBezTo>
                    <a:cubicBezTo>
                      <a:pt x="36" y="188"/>
                      <a:pt x="36" y="190"/>
                      <a:pt x="36" y="192"/>
                    </a:cubicBezTo>
                    <a:cubicBezTo>
                      <a:pt x="36" y="193"/>
                      <a:pt x="36" y="194"/>
                      <a:pt x="36" y="195"/>
                    </a:cubicBezTo>
                    <a:cubicBezTo>
                      <a:pt x="34" y="239"/>
                      <a:pt x="32" y="265"/>
                      <a:pt x="31" y="302"/>
                    </a:cubicBezTo>
                    <a:cubicBezTo>
                      <a:pt x="31" y="302"/>
                      <a:pt x="31" y="302"/>
                      <a:pt x="31" y="302"/>
                    </a:cubicBezTo>
                    <a:cubicBezTo>
                      <a:pt x="6" y="302"/>
                      <a:pt x="6" y="302"/>
                      <a:pt x="6" y="302"/>
                    </a:cubicBezTo>
                    <a:cubicBezTo>
                      <a:pt x="4" y="265"/>
                      <a:pt x="2" y="239"/>
                      <a:pt x="1" y="195"/>
                    </a:cubicBezTo>
                    <a:cubicBezTo>
                      <a:pt x="1" y="194"/>
                      <a:pt x="1" y="193"/>
                      <a:pt x="1" y="192"/>
                    </a:cubicBezTo>
                    <a:cubicBezTo>
                      <a:pt x="0" y="190"/>
                      <a:pt x="0" y="188"/>
                      <a:pt x="0" y="187"/>
                    </a:cubicBezTo>
                    <a:cubicBezTo>
                      <a:pt x="0" y="174"/>
                      <a:pt x="0" y="149"/>
                      <a:pt x="0" y="138"/>
                    </a:cubicBezTo>
                    <a:cubicBezTo>
                      <a:pt x="0" y="88"/>
                      <a:pt x="3" y="50"/>
                      <a:pt x="5" y="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434">
                <a:extLst>
                  <a:ext uri="{FF2B5EF4-FFF2-40B4-BE49-F238E27FC236}">
                    <a16:creationId xmlns:a16="http://schemas.microsoft.com/office/drawing/2014/main" id="{E6F09E0B-81C2-44FC-8D67-2E5C7FB92E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5" y="2358"/>
                <a:ext cx="15" cy="10"/>
              </a:xfrm>
              <a:custGeom>
                <a:avLst/>
                <a:gdLst>
                  <a:gd name="T0" fmla="*/ 12 w 26"/>
                  <a:gd name="T1" fmla="*/ 0 h 19"/>
                  <a:gd name="T2" fmla="*/ 14 w 26"/>
                  <a:gd name="T3" fmla="*/ 0 h 19"/>
                  <a:gd name="T4" fmla="*/ 26 w 26"/>
                  <a:gd name="T5" fmla="*/ 13 h 19"/>
                  <a:gd name="T6" fmla="*/ 26 w 26"/>
                  <a:gd name="T7" fmla="*/ 19 h 19"/>
                  <a:gd name="T8" fmla="*/ 0 w 26"/>
                  <a:gd name="T9" fmla="*/ 19 h 19"/>
                  <a:gd name="T10" fmla="*/ 0 w 26"/>
                  <a:gd name="T11" fmla="*/ 13 h 19"/>
                  <a:gd name="T12" fmla="*/ 12 w 26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9">
                    <a:moveTo>
                      <a:pt x="12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21" y="0"/>
                      <a:pt x="26" y="6"/>
                      <a:pt x="26" y="13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5" y="0"/>
                      <a:pt x="12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Rectangle 435">
                <a:extLst>
                  <a:ext uri="{FF2B5EF4-FFF2-40B4-BE49-F238E27FC236}">
                    <a16:creationId xmlns:a16="http://schemas.microsoft.com/office/drawing/2014/main" id="{5E7221C1-7A6D-469B-9AC2-11A82827F4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9" y="2365"/>
                <a:ext cx="6" cy="2"/>
              </a:xfrm>
              <a:prstGeom prst="rect">
                <a:avLst/>
              </a:pr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Rectangle 436">
                <a:extLst>
                  <a:ext uri="{FF2B5EF4-FFF2-40B4-BE49-F238E27FC236}">
                    <a16:creationId xmlns:a16="http://schemas.microsoft.com/office/drawing/2014/main" id="{B0E087A0-E53B-4F17-86D1-EDEB80A62A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9" y="2365"/>
                <a:ext cx="6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437">
                <a:extLst>
                  <a:ext uri="{FF2B5EF4-FFF2-40B4-BE49-F238E27FC236}">
                    <a16:creationId xmlns:a16="http://schemas.microsoft.com/office/drawing/2014/main" id="{1828DB6B-1A57-49EC-BD7B-12E84713EB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4" y="2365"/>
                <a:ext cx="13" cy="65"/>
              </a:xfrm>
              <a:custGeom>
                <a:avLst/>
                <a:gdLst>
                  <a:gd name="T0" fmla="*/ 2 w 24"/>
                  <a:gd name="T1" fmla="*/ 0 h 118"/>
                  <a:gd name="T2" fmla="*/ 3 w 24"/>
                  <a:gd name="T3" fmla="*/ 0 h 118"/>
                  <a:gd name="T4" fmla="*/ 5 w 24"/>
                  <a:gd name="T5" fmla="*/ 1 h 118"/>
                  <a:gd name="T6" fmla="*/ 5 w 24"/>
                  <a:gd name="T7" fmla="*/ 112 h 118"/>
                  <a:gd name="T8" fmla="*/ 7 w 24"/>
                  <a:gd name="T9" fmla="*/ 113 h 118"/>
                  <a:gd name="T10" fmla="*/ 7 w 24"/>
                  <a:gd name="T11" fmla="*/ 117 h 118"/>
                  <a:gd name="T12" fmla="*/ 0 w 24"/>
                  <a:gd name="T13" fmla="*/ 117 h 118"/>
                  <a:gd name="T14" fmla="*/ 1 w 24"/>
                  <a:gd name="T15" fmla="*/ 3 h 118"/>
                  <a:gd name="T16" fmla="*/ 0 w 24"/>
                  <a:gd name="T17" fmla="*/ 1 h 118"/>
                  <a:gd name="T18" fmla="*/ 2 w 24"/>
                  <a:gd name="T19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118">
                    <a:moveTo>
                      <a:pt x="2" y="0"/>
                    </a:moveTo>
                    <a:cubicBezTo>
                      <a:pt x="2" y="0"/>
                      <a:pt x="3" y="0"/>
                      <a:pt x="3" y="0"/>
                    </a:cubicBezTo>
                    <a:cubicBezTo>
                      <a:pt x="4" y="1"/>
                      <a:pt x="5" y="1"/>
                      <a:pt x="5" y="1"/>
                    </a:cubicBezTo>
                    <a:cubicBezTo>
                      <a:pt x="24" y="20"/>
                      <a:pt x="8" y="101"/>
                      <a:pt x="5" y="112"/>
                    </a:cubicBezTo>
                    <a:cubicBezTo>
                      <a:pt x="6" y="112"/>
                      <a:pt x="7" y="112"/>
                      <a:pt x="7" y="113"/>
                    </a:cubicBezTo>
                    <a:cubicBezTo>
                      <a:pt x="8" y="113"/>
                      <a:pt x="8" y="116"/>
                      <a:pt x="7" y="117"/>
                    </a:cubicBezTo>
                    <a:cubicBezTo>
                      <a:pt x="6" y="118"/>
                      <a:pt x="0" y="117"/>
                      <a:pt x="0" y="117"/>
                    </a:cubicBezTo>
                    <a:cubicBezTo>
                      <a:pt x="0" y="117"/>
                      <a:pt x="9" y="27"/>
                      <a:pt x="1" y="3"/>
                    </a:cubicBezTo>
                    <a:cubicBezTo>
                      <a:pt x="1" y="3"/>
                      <a:pt x="1" y="2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438">
                <a:extLst>
                  <a:ext uri="{FF2B5EF4-FFF2-40B4-BE49-F238E27FC236}">
                    <a16:creationId xmlns:a16="http://schemas.microsoft.com/office/drawing/2014/main" id="{F890825E-E460-4351-B586-42A7BDEC9C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74"/>
                <a:ext cx="19" cy="59"/>
              </a:xfrm>
              <a:custGeom>
                <a:avLst/>
                <a:gdLst>
                  <a:gd name="T0" fmla="*/ 17 w 35"/>
                  <a:gd name="T1" fmla="*/ 0 h 109"/>
                  <a:gd name="T2" fmla="*/ 17 w 35"/>
                  <a:gd name="T3" fmla="*/ 0 h 109"/>
                  <a:gd name="T4" fmla="*/ 35 w 35"/>
                  <a:gd name="T5" fmla="*/ 2 h 109"/>
                  <a:gd name="T6" fmla="*/ 30 w 35"/>
                  <a:gd name="T7" fmla="*/ 109 h 109"/>
                  <a:gd name="T8" fmla="*/ 30 w 35"/>
                  <a:gd name="T9" fmla="*/ 109 h 109"/>
                  <a:gd name="T10" fmla="*/ 5 w 35"/>
                  <a:gd name="T11" fmla="*/ 109 h 109"/>
                  <a:gd name="T12" fmla="*/ 0 w 35"/>
                  <a:gd name="T13" fmla="*/ 2 h 109"/>
                  <a:gd name="T14" fmla="*/ 17 w 35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09">
                    <a:moveTo>
                      <a:pt x="1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26" y="0"/>
                      <a:pt x="35" y="2"/>
                      <a:pt x="35" y="2"/>
                    </a:cubicBezTo>
                    <a:cubicBezTo>
                      <a:pt x="33" y="46"/>
                      <a:pt x="31" y="72"/>
                      <a:pt x="30" y="109"/>
                    </a:cubicBezTo>
                    <a:cubicBezTo>
                      <a:pt x="30" y="109"/>
                      <a:pt x="30" y="109"/>
                      <a:pt x="30" y="109"/>
                    </a:cubicBezTo>
                    <a:cubicBezTo>
                      <a:pt x="5" y="109"/>
                      <a:pt x="5" y="109"/>
                      <a:pt x="5" y="109"/>
                    </a:cubicBezTo>
                    <a:cubicBezTo>
                      <a:pt x="3" y="72"/>
                      <a:pt x="1" y="46"/>
                      <a:pt x="0" y="2"/>
                    </a:cubicBezTo>
                    <a:cubicBezTo>
                      <a:pt x="0" y="2"/>
                      <a:pt x="10" y="0"/>
                      <a:pt x="17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439">
                <a:extLst>
                  <a:ext uri="{FF2B5EF4-FFF2-40B4-BE49-F238E27FC236}">
                    <a16:creationId xmlns:a16="http://schemas.microsoft.com/office/drawing/2014/main" id="{613367DD-F1E1-49C2-9C9E-E21C58B35D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74"/>
                <a:ext cx="19" cy="59"/>
              </a:xfrm>
              <a:custGeom>
                <a:avLst/>
                <a:gdLst>
                  <a:gd name="T0" fmla="*/ 17 w 35"/>
                  <a:gd name="T1" fmla="*/ 0 h 109"/>
                  <a:gd name="T2" fmla="*/ 17 w 35"/>
                  <a:gd name="T3" fmla="*/ 0 h 109"/>
                  <a:gd name="T4" fmla="*/ 35 w 35"/>
                  <a:gd name="T5" fmla="*/ 2 h 109"/>
                  <a:gd name="T6" fmla="*/ 30 w 35"/>
                  <a:gd name="T7" fmla="*/ 109 h 109"/>
                  <a:gd name="T8" fmla="*/ 30 w 35"/>
                  <a:gd name="T9" fmla="*/ 109 h 109"/>
                  <a:gd name="T10" fmla="*/ 5 w 35"/>
                  <a:gd name="T11" fmla="*/ 109 h 109"/>
                  <a:gd name="T12" fmla="*/ 0 w 35"/>
                  <a:gd name="T13" fmla="*/ 2 h 109"/>
                  <a:gd name="T14" fmla="*/ 17 w 35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09">
                    <a:moveTo>
                      <a:pt x="1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26" y="0"/>
                      <a:pt x="35" y="2"/>
                      <a:pt x="35" y="2"/>
                    </a:cubicBezTo>
                    <a:cubicBezTo>
                      <a:pt x="33" y="46"/>
                      <a:pt x="31" y="72"/>
                      <a:pt x="30" y="109"/>
                    </a:cubicBezTo>
                    <a:cubicBezTo>
                      <a:pt x="30" y="109"/>
                      <a:pt x="30" y="109"/>
                      <a:pt x="30" y="109"/>
                    </a:cubicBezTo>
                    <a:cubicBezTo>
                      <a:pt x="5" y="109"/>
                      <a:pt x="5" y="109"/>
                      <a:pt x="5" y="109"/>
                    </a:cubicBezTo>
                    <a:cubicBezTo>
                      <a:pt x="3" y="72"/>
                      <a:pt x="1" y="46"/>
                      <a:pt x="0" y="2"/>
                    </a:cubicBezTo>
                    <a:cubicBezTo>
                      <a:pt x="0" y="2"/>
                      <a:pt x="10" y="0"/>
                      <a:pt x="17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440">
                <a:extLst>
                  <a:ext uri="{FF2B5EF4-FFF2-40B4-BE49-F238E27FC236}">
                    <a16:creationId xmlns:a16="http://schemas.microsoft.com/office/drawing/2014/main" id="{DAE9DB01-7BDE-4644-9CE1-DA53CC765C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69"/>
                <a:ext cx="19" cy="4"/>
              </a:xfrm>
              <a:custGeom>
                <a:avLst/>
                <a:gdLst>
                  <a:gd name="T0" fmla="*/ 18 w 36"/>
                  <a:gd name="T1" fmla="*/ 0 h 7"/>
                  <a:gd name="T2" fmla="*/ 18 w 36"/>
                  <a:gd name="T3" fmla="*/ 0 h 7"/>
                  <a:gd name="T4" fmla="*/ 36 w 36"/>
                  <a:gd name="T5" fmla="*/ 2 h 7"/>
                  <a:gd name="T6" fmla="*/ 36 w 36"/>
                  <a:gd name="T7" fmla="*/ 7 h 7"/>
                  <a:gd name="T8" fmla="*/ 18 w 36"/>
                  <a:gd name="T9" fmla="*/ 5 h 7"/>
                  <a:gd name="T10" fmla="*/ 18 w 36"/>
                  <a:gd name="T11" fmla="*/ 5 h 7"/>
                  <a:gd name="T12" fmla="*/ 1 w 36"/>
                  <a:gd name="T13" fmla="*/ 7 h 7"/>
                  <a:gd name="T14" fmla="*/ 0 w 36"/>
                  <a:gd name="T15" fmla="*/ 2 h 7"/>
                  <a:gd name="T16" fmla="*/ 18 w 36"/>
                  <a:gd name="T1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" h="7">
                    <a:moveTo>
                      <a:pt x="18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26" y="0"/>
                      <a:pt x="34" y="1"/>
                      <a:pt x="36" y="2"/>
                    </a:cubicBezTo>
                    <a:cubicBezTo>
                      <a:pt x="36" y="3"/>
                      <a:pt x="36" y="5"/>
                      <a:pt x="36" y="7"/>
                    </a:cubicBezTo>
                    <a:cubicBezTo>
                      <a:pt x="34" y="6"/>
                      <a:pt x="26" y="5"/>
                      <a:pt x="18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2" y="5"/>
                      <a:pt x="2" y="6"/>
                      <a:pt x="1" y="7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2" y="1"/>
                      <a:pt x="11" y="0"/>
                      <a:pt x="18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441">
                <a:extLst>
                  <a:ext uri="{FF2B5EF4-FFF2-40B4-BE49-F238E27FC236}">
                    <a16:creationId xmlns:a16="http://schemas.microsoft.com/office/drawing/2014/main" id="{B7F23BCD-7291-42A1-A21F-BCA9489D4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2" y="2545"/>
                <a:ext cx="2" cy="6"/>
              </a:xfrm>
              <a:custGeom>
                <a:avLst/>
                <a:gdLst>
                  <a:gd name="T0" fmla="*/ 0 w 3"/>
                  <a:gd name="T1" fmla="*/ 0 h 11"/>
                  <a:gd name="T2" fmla="*/ 3 w 3"/>
                  <a:gd name="T3" fmla="*/ 0 h 11"/>
                  <a:gd name="T4" fmla="*/ 3 w 3"/>
                  <a:gd name="T5" fmla="*/ 9 h 11"/>
                  <a:gd name="T6" fmla="*/ 1 w 3"/>
                  <a:gd name="T7" fmla="*/ 11 h 11"/>
                  <a:gd name="T8" fmla="*/ 1 w 3"/>
                  <a:gd name="T9" fmla="*/ 11 h 11"/>
                  <a:gd name="T10" fmla="*/ 0 w 3"/>
                  <a:gd name="T11" fmla="*/ 11 h 11"/>
                  <a:gd name="T12" fmla="*/ 0 w 3"/>
                  <a:gd name="T13" fmla="*/ 9 h 11"/>
                  <a:gd name="T14" fmla="*/ 0 w 3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11">
                    <a:moveTo>
                      <a:pt x="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1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0" y="11"/>
                      <a:pt x="0" y="11"/>
                    </a:cubicBezTo>
                    <a:cubicBezTo>
                      <a:pt x="0" y="10"/>
                      <a:pt x="0" y="10"/>
                      <a:pt x="0" y="9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442">
                <a:extLst>
                  <a:ext uri="{FF2B5EF4-FFF2-40B4-BE49-F238E27FC236}">
                    <a16:creationId xmlns:a16="http://schemas.microsoft.com/office/drawing/2014/main" id="{9215A3D7-4A65-411A-8417-E89E3EB198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6" y="2532"/>
                <a:ext cx="14" cy="14"/>
              </a:xfrm>
              <a:custGeom>
                <a:avLst/>
                <a:gdLst>
                  <a:gd name="T0" fmla="*/ 12 w 25"/>
                  <a:gd name="T1" fmla="*/ 0 h 27"/>
                  <a:gd name="T2" fmla="*/ 25 w 25"/>
                  <a:gd name="T3" fmla="*/ 3 h 27"/>
                  <a:gd name="T4" fmla="*/ 25 w 25"/>
                  <a:gd name="T5" fmla="*/ 3 h 27"/>
                  <a:gd name="T6" fmla="*/ 15 w 25"/>
                  <a:gd name="T7" fmla="*/ 27 h 27"/>
                  <a:gd name="T8" fmla="*/ 14 w 25"/>
                  <a:gd name="T9" fmla="*/ 27 h 27"/>
                  <a:gd name="T10" fmla="*/ 12 w 25"/>
                  <a:gd name="T11" fmla="*/ 27 h 27"/>
                  <a:gd name="T12" fmla="*/ 12 w 25"/>
                  <a:gd name="T13" fmla="*/ 27 h 27"/>
                  <a:gd name="T14" fmla="*/ 11 w 25"/>
                  <a:gd name="T15" fmla="*/ 27 h 27"/>
                  <a:gd name="T16" fmla="*/ 10 w 25"/>
                  <a:gd name="T17" fmla="*/ 27 h 27"/>
                  <a:gd name="T18" fmla="*/ 0 w 25"/>
                  <a:gd name="T19" fmla="*/ 3 h 27"/>
                  <a:gd name="T20" fmla="*/ 12 w 25"/>
                  <a:gd name="T2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27">
                    <a:moveTo>
                      <a:pt x="12" y="0"/>
                    </a:moveTo>
                    <a:cubicBezTo>
                      <a:pt x="18" y="0"/>
                      <a:pt x="24" y="1"/>
                      <a:pt x="25" y="3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4" y="10"/>
                      <a:pt x="18" y="21"/>
                      <a:pt x="15" y="27"/>
                    </a:cubicBezTo>
                    <a:cubicBezTo>
                      <a:pt x="15" y="27"/>
                      <a:pt x="14" y="27"/>
                      <a:pt x="14" y="27"/>
                    </a:cubicBezTo>
                    <a:cubicBezTo>
                      <a:pt x="13" y="27"/>
                      <a:pt x="13" y="27"/>
                      <a:pt x="12" y="27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2" y="27"/>
                      <a:pt x="11" y="27"/>
                      <a:pt x="11" y="27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6" y="21"/>
                      <a:pt x="0" y="9"/>
                      <a:pt x="0" y="3"/>
                    </a:cubicBezTo>
                    <a:cubicBezTo>
                      <a:pt x="0" y="1"/>
                      <a:pt x="6" y="0"/>
                      <a:pt x="12" y="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443">
                <a:extLst>
                  <a:ext uri="{FF2B5EF4-FFF2-40B4-BE49-F238E27FC236}">
                    <a16:creationId xmlns:a16="http://schemas.microsoft.com/office/drawing/2014/main" id="{478B5557-FFF7-49A5-A64C-C85625664E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3" y="2368"/>
                <a:ext cx="9" cy="107"/>
              </a:xfrm>
              <a:custGeom>
                <a:avLst/>
                <a:gdLst>
                  <a:gd name="T0" fmla="*/ 0 w 18"/>
                  <a:gd name="T1" fmla="*/ 190 h 195"/>
                  <a:gd name="T2" fmla="*/ 0 w 18"/>
                  <a:gd name="T3" fmla="*/ 190 h 195"/>
                  <a:gd name="T4" fmla="*/ 0 w 18"/>
                  <a:gd name="T5" fmla="*/ 193 h 195"/>
                  <a:gd name="T6" fmla="*/ 0 w 18"/>
                  <a:gd name="T7" fmla="*/ 193 h 195"/>
                  <a:gd name="T8" fmla="*/ 18 w 18"/>
                  <a:gd name="T9" fmla="*/ 195 h 195"/>
                  <a:gd name="T10" fmla="*/ 18 w 18"/>
                  <a:gd name="T11" fmla="*/ 195 h 195"/>
                  <a:gd name="T12" fmla="*/ 18 w 18"/>
                  <a:gd name="T13" fmla="*/ 192 h 195"/>
                  <a:gd name="T14" fmla="*/ 0 w 18"/>
                  <a:gd name="T15" fmla="*/ 190 h 195"/>
                  <a:gd name="T16" fmla="*/ 13 w 18"/>
                  <a:gd name="T17" fmla="*/ 0 h 195"/>
                  <a:gd name="T18" fmla="*/ 0 w 18"/>
                  <a:gd name="T19" fmla="*/ 0 h 195"/>
                  <a:gd name="T20" fmla="*/ 0 w 18"/>
                  <a:gd name="T21" fmla="*/ 185 h 195"/>
                  <a:gd name="T22" fmla="*/ 0 w 18"/>
                  <a:gd name="T23" fmla="*/ 185 h 195"/>
                  <a:gd name="T24" fmla="*/ 18 w 18"/>
                  <a:gd name="T25" fmla="*/ 187 h 195"/>
                  <a:gd name="T26" fmla="*/ 18 w 18"/>
                  <a:gd name="T27" fmla="*/ 187 h 195"/>
                  <a:gd name="T28" fmla="*/ 18 w 18"/>
                  <a:gd name="T29" fmla="*/ 138 h 195"/>
                  <a:gd name="T30" fmla="*/ 13 w 18"/>
                  <a:gd name="T31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195">
                    <a:moveTo>
                      <a:pt x="0" y="190"/>
                    </a:move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9" y="193"/>
                      <a:pt x="18" y="195"/>
                      <a:pt x="18" y="195"/>
                    </a:cubicBezTo>
                    <a:cubicBezTo>
                      <a:pt x="18" y="195"/>
                      <a:pt x="18" y="195"/>
                      <a:pt x="18" y="195"/>
                    </a:cubicBezTo>
                    <a:cubicBezTo>
                      <a:pt x="18" y="194"/>
                      <a:pt x="18" y="193"/>
                      <a:pt x="18" y="192"/>
                    </a:cubicBezTo>
                    <a:cubicBezTo>
                      <a:pt x="16" y="191"/>
                      <a:pt x="8" y="190"/>
                      <a:pt x="0" y="190"/>
                    </a:cubicBezTo>
                    <a:moveTo>
                      <a:pt x="1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85"/>
                      <a:pt x="0" y="185"/>
                      <a:pt x="0" y="185"/>
                    </a:cubicBezTo>
                    <a:cubicBezTo>
                      <a:pt x="0" y="185"/>
                      <a:pt x="0" y="185"/>
                      <a:pt x="0" y="185"/>
                    </a:cubicBezTo>
                    <a:cubicBezTo>
                      <a:pt x="8" y="185"/>
                      <a:pt x="16" y="186"/>
                      <a:pt x="18" y="187"/>
                    </a:cubicBezTo>
                    <a:cubicBezTo>
                      <a:pt x="18" y="187"/>
                      <a:pt x="18" y="187"/>
                      <a:pt x="18" y="187"/>
                    </a:cubicBezTo>
                    <a:cubicBezTo>
                      <a:pt x="18" y="174"/>
                      <a:pt x="18" y="149"/>
                      <a:pt x="18" y="138"/>
                    </a:cubicBezTo>
                    <a:cubicBezTo>
                      <a:pt x="18" y="88"/>
                      <a:pt x="15" y="50"/>
                      <a:pt x="13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444">
                <a:extLst>
                  <a:ext uri="{FF2B5EF4-FFF2-40B4-BE49-F238E27FC236}">
                    <a16:creationId xmlns:a16="http://schemas.microsoft.com/office/drawing/2014/main" id="{17498DD3-4E74-4D0E-98A9-8B51249788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358"/>
                <a:ext cx="7" cy="10"/>
              </a:xfrm>
              <a:custGeom>
                <a:avLst/>
                <a:gdLst>
                  <a:gd name="T0" fmla="*/ 1 w 13"/>
                  <a:gd name="T1" fmla="*/ 0 h 19"/>
                  <a:gd name="T2" fmla="*/ 0 w 13"/>
                  <a:gd name="T3" fmla="*/ 0 h 19"/>
                  <a:gd name="T4" fmla="*/ 0 w 13"/>
                  <a:gd name="T5" fmla="*/ 19 h 19"/>
                  <a:gd name="T6" fmla="*/ 13 w 13"/>
                  <a:gd name="T7" fmla="*/ 19 h 19"/>
                  <a:gd name="T8" fmla="*/ 13 w 13"/>
                  <a:gd name="T9" fmla="*/ 16 h 19"/>
                  <a:gd name="T10" fmla="*/ 12 w 13"/>
                  <a:gd name="T11" fmla="*/ 16 h 19"/>
                  <a:gd name="T12" fmla="*/ 12 w 13"/>
                  <a:gd name="T13" fmla="*/ 13 h 19"/>
                  <a:gd name="T14" fmla="*/ 13 w 13"/>
                  <a:gd name="T15" fmla="*/ 13 h 19"/>
                  <a:gd name="T16" fmla="*/ 13 w 13"/>
                  <a:gd name="T17" fmla="*/ 13 h 19"/>
                  <a:gd name="T18" fmla="*/ 1 w 13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9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6"/>
                      <a:pt x="8" y="0"/>
                      <a:pt x="1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445">
                <a:extLst>
                  <a:ext uri="{FF2B5EF4-FFF2-40B4-BE49-F238E27FC236}">
                    <a16:creationId xmlns:a16="http://schemas.microsoft.com/office/drawing/2014/main" id="{64E4E2F8-6597-4EF0-BD7D-108BA247C7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9" y="2365"/>
                <a:ext cx="6" cy="2"/>
              </a:xfrm>
              <a:custGeom>
                <a:avLst/>
                <a:gdLst>
                  <a:gd name="T0" fmla="*/ 10 w 11"/>
                  <a:gd name="T1" fmla="*/ 0 h 3"/>
                  <a:gd name="T2" fmla="*/ 1 w 11"/>
                  <a:gd name="T3" fmla="*/ 0 h 3"/>
                  <a:gd name="T4" fmla="*/ 0 w 11"/>
                  <a:gd name="T5" fmla="*/ 0 h 3"/>
                  <a:gd name="T6" fmla="*/ 0 w 11"/>
                  <a:gd name="T7" fmla="*/ 3 h 3"/>
                  <a:gd name="T8" fmla="*/ 1 w 11"/>
                  <a:gd name="T9" fmla="*/ 3 h 3"/>
                  <a:gd name="T10" fmla="*/ 9 w 11"/>
                  <a:gd name="T11" fmla="*/ 3 h 3"/>
                  <a:gd name="T12" fmla="*/ 8 w 11"/>
                  <a:gd name="T13" fmla="*/ 1 h 3"/>
                  <a:gd name="T14" fmla="*/ 10 w 11"/>
                  <a:gd name="T15" fmla="*/ 0 h 3"/>
                  <a:gd name="T16" fmla="*/ 11 w 11"/>
                  <a:gd name="T17" fmla="*/ 0 h 3"/>
                  <a:gd name="T18" fmla="*/ 10 w 11"/>
                  <a:gd name="T19" fmla="*/ 0 h 3"/>
                  <a:gd name="T20" fmla="*/ 11 w 11"/>
                  <a:gd name="T21" fmla="*/ 0 h 3"/>
                  <a:gd name="T22" fmla="*/ 11 w 11"/>
                  <a:gd name="T2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3">
                    <a:moveTo>
                      <a:pt x="1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2"/>
                      <a:pt x="8" y="1"/>
                    </a:cubicBezTo>
                    <a:cubicBezTo>
                      <a:pt x="8" y="1"/>
                      <a:pt x="9" y="0"/>
                      <a:pt x="10" y="0"/>
                    </a:cubicBezTo>
                    <a:moveTo>
                      <a:pt x="1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446">
                <a:extLst>
                  <a:ext uri="{FF2B5EF4-FFF2-40B4-BE49-F238E27FC236}">
                    <a16:creationId xmlns:a16="http://schemas.microsoft.com/office/drawing/2014/main" id="{178BFD43-1F73-4C78-8572-DFDCE910C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4" y="2365"/>
                <a:ext cx="7" cy="64"/>
              </a:xfrm>
              <a:custGeom>
                <a:avLst/>
                <a:gdLst>
                  <a:gd name="T0" fmla="*/ 2 w 14"/>
                  <a:gd name="T1" fmla="*/ 0 h 117"/>
                  <a:gd name="T2" fmla="*/ 2 w 14"/>
                  <a:gd name="T3" fmla="*/ 0 h 117"/>
                  <a:gd name="T4" fmla="*/ 0 w 14"/>
                  <a:gd name="T5" fmla="*/ 1 h 117"/>
                  <a:gd name="T6" fmla="*/ 1 w 14"/>
                  <a:gd name="T7" fmla="*/ 3 h 117"/>
                  <a:gd name="T8" fmla="*/ 1 w 14"/>
                  <a:gd name="T9" fmla="*/ 3 h 117"/>
                  <a:gd name="T10" fmla="*/ 4 w 14"/>
                  <a:gd name="T11" fmla="*/ 40 h 117"/>
                  <a:gd name="T12" fmla="*/ 4 w 14"/>
                  <a:gd name="T13" fmla="*/ 61 h 117"/>
                  <a:gd name="T14" fmla="*/ 4 w 14"/>
                  <a:gd name="T15" fmla="*/ 63 h 117"/>
                  <a:gd name="T16" fmla="*/ 3 w 14"/>
                  <a:gd name="T17" fmla="*/ 86 h 117"/>
                  <a:gd name="T18" fmla="*/ 3 w 14"/>
                  <a:gd name="T19" fmla="*/ 87 h 117"/>
                  <a:gd name="T20" fmla="*/ 1 w 14"/>
                  <a:gd name="T21" fmla="*/ 110 h 117"/>
                  <a:gd name="T22" fmla="*/ 1 w 14"/>
                  <a:gd name="T23" fmla="*/ 112 h 117"/>
                  <a:gd name="T24" fmla="*/ 0 w 14"/>
                  <a:gd name="T25" fmla="*/ 117 h 117"/>
                  <a:gd name="T26" fmla="*/ 5 w 14"/>
                  <a:gd name="T27" fmla="*/ 117 h 117"/>
                  <a:gd name="T28" fmla="*/ 7 w 14"/>
                  <a:gd name="T29" fmla="*/ 117 h 117"/>
                  <a:gd name="T30" fmla="*/ 8 w 14"/>
                  <a:gd name="T31" fmla="*/ 115 h 117"/>
                  <a:gd name="T32" fmla="*/ 7 w 14"/>
                  <a:gd name="T33" fmla="*/ 113 h 117"/>
                  <a:gd name="T34" fmla="*/ 5 w 14"/>
                  <a:gd name="T35" fmla="*/ 112 h 117"/>
                  <a:gd name="T36" fmla="*/ 5 w 14"/>
                  <a:gd name="T37" fmla="*/ 112 h 117"/>
                  <a:gd name="T38" fmla="*/ 5 w 14"/>
                  <a:gd name="T39" fmla="*/ 112 h 117"/>
                  <a:gd name="T40" fmla="*/ 14 w 14"/>
                  <a:gd name="T41" fmla="*/ 39 h 117"/>
                  <a:gd name="T42" fmla="*/ 5 w 14"/>
                  <a:gd name="T43" fmla="*/ 1 h 117"/>
                  <a:gd name="T44" fmla="*/ 3 w 14"/>
                  <a:gd name="T45" fmla="*/ 0 h 117"/>
                  <a:gd name="T46" fmla="*/ 3 w 14"/>
                  <a:gd name="T47" fmla="*/ 0 h 117"/>
                  <a:gd name="T48" fmla="*/ 2 w 14"/>
                  <a:gd name="T49" fmla="*/ 0 h 117"/>
                  <a:gd name="T50" fmla="*/ 2 w 14"/>
                  <a:gd name="T51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" h="117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11"/>
                      <a:pt x="4" y="24"/>
                      <a:pt x="4" y="40"/>
                    </a:cubicBezTo>
                    <a:cubicBezTo>
                      <a:pt x="4" y="47"/>
                      <a:pt x="4" y="54"/>
                      <a:pt x="4" y="61"/>
                    </a:cubicBezTo>
                    <a:cubicBezTo>
                      <a:pt x="4" y="62"/>
                      <a:pt x="4" y="63"/>
                      <a:pt x="4" y="63"/>
                    </a:cubicBezTo>
                    <a:cubicBezTo>
                      <a:pt x="4" y="71"/>
                      <a:pt x="3" y="79"/>
                      <a:pt x="3" y="86"/>
                    </a:cubicBezTo>
                    <a:cubicBezTo>
                      <a:pt x="3" y="86"/>
                      <a:pt x="3" y="87"/>
                      <a:pt x="3" y="87"/>
                    </a:cubicBezTo>
                    <a:cubicBezTo>
                      <a:pt x="2" y="97"/>
                      <a:pt x="1" y="105"/>
                      <a:pt x="1" y="110"/>
                    </a:cubicBezTo>
                    <a:cubicBezTo>
                      <a:pt x="1" y="111"/>
                      <a:pt x="1" y="111"/>
                      <a:pt x="1" y="112"/>
                    </a:cubicBezTo>
                    <a:cubicBezTo>
                      <a:pt x="0" y="115"/>
                      <a:pt x="0" y="117"/>
                      <a:pt x="0" y="117"/>
                    </a:cubicBezTo>
                    <a:cubicBezTo>
                      <a:pt x="0" y="117"/>
                      <a:pt x="3" y="117"/>
                      <a:pt x="5" y="117"/>
                    </a:cubicBezTo>
                    <a:cubicBezTo>
                      <a:pt x="6" y="117"/>
                      <a:pt x="7" y="117"/>
                      <a:pt x="7" y="117"/>
                    </a:cubicBezTo>
                    <a:cubicBezTo>
                      <a:pt x="8" y="116"/>
                      <a:pt x="8" y="116"/>
                      <a:pt x="8" y="115"/>
                    </a:cubicBezTo>
                    <a:cubicBezTo>
                      <a:pt x="8" y="114"/>
                      <a:pt x="8" y="113"/>
                      <a:pt x="7" y="113"/>
                    </a:cubicBezTo>
                    <a:cubicBezTo>
                      <a:pt x="7" y="112"/>
                      <a:pt x="6" y="112"/>
                      <a:pt x="5" y="112"/>
                    </a:cubicBezTo>
                    <a:cubicBezTo>
                      <a:pt x="5" y="112"/>
                      <a:pt x="5" y="112"/>
                      <a:pt x="5" y="112"/>
                    </a:cubicBezTo>
                    <a:cubicBezTo>
                      <a:pt x="5" y="112"/>
                      <a:pt x="5" y="112"/>
                      <a:pt x="5" y="112"/>
                    </a:cubicBezTo>
                    <a:cubicBezTo>
                      <a:pt x="7" y="105"/>
                      <a:pt x="14" y="69"/>
                      <a:pt x="14" y="39"/>
                    </a:cubicBezTo>
                    <a:cubicBezTo>
                      <a:pt x="14" y="22"/>
                      <a:pt x="12" y="8"/>
                      <a:pt x="5" y="1"/>
                    </a:cubicBezTo>
                    <a:cubicBezTo>
                      <a:pt x="5" y="1"/>
                      <a:pt x="4" y="1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447">
                <a:extLst>
                  <a:ext uri="{FF2B5EF4-FFF2-40B4-BE49-F238E27FC236}">
                    <a16:creationId xmlns:a16="http://schemas.microsoft.com/office/drawing/2014/main" id="{DB9D77ED-B32C-4C0D-A146-982D2163D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474"/>
                <a:ext cx="9" cy="59"/>
              </a:xfrm>
              <a:custGeom>
                <a:avLst/>
                <a:gdLst>
                  <a:gd name="T0" fmla="*/ 0 w 18"/>
                  <a:gd name="T1" fmla="*/ 0 h 109"/>
                  <a:gd name="T2" fmla="*/ 0 w 18"/>
                  <a:gd name="T3" fmla="*/ 0 h 109"/>
                  <a:gd name="T4" fmla="*/ 0 w 18"/>
                  <a:gd name="T5" fmla="*/ 106 h 109"/>
                  <a:gd name="T6" fmla="*/ 13 w 18"/>
                  <a:gd name="T7" fmla="*/ 109 h 109"/>
                  <a:gd name="T8" fmla="*/ 13 w 18"/>
                  <a:gd name="T9" fmla="*/ 109 h 109"/>
                  <a:gd name="T10" fmla="*/ 13 w 18"/>
                  <a:gd name="T11" fmla="*/ 109 h 109"/>
                  <a:gd name="T12" fmla="*/ 18 w 18"/>
                  <a:gd name="T13" fmla="*/ 2 h 109"/>
                  <a:gd name="T14" fmla="*/ 0 w 18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09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6" y="106"/>
                      <a:pt x="12" y="107"/>
                      <a:pt x="13" y="109"/>
                    </a:cubicBezTo>
                    <a:cubicBezTo>
                      <a:pt x="13" y="109"/>
                      <a:pt x="13" y="109"/>
                      <a:pt x="13" y="109"/>
                    </a:cubicBezTo>
                    <a:cubicBezTo>
                      <a:pt x="13" y="109"/>
                      <a:pt x="13" y="109"/>
                      <a:pt x="13" y="109"/>
                    </a:cubicBezTo>
                    <a:cubicBezTo>
                      <a:pt x="14" y="72"/>
                      <a:pt x="16" y="46"/>
                      <a:pt x="18" y="2"/>
                    </a:cubicBezTo>
                    <a:cubicBezTo>
                      <a:pt x="18" y="2"/>
                      <a:pt x="9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448">
                <a:extLst>
                  <a:ext uri="{FF2B5EF4-FFF2-40B4-BE49-F238E27FC236}">
                    <a16:creationId xmlns:a16="http://schemas.microsoft.com/office/drawing/2014/main" id="{DFB48736-B053-4E47-8E66-2B69573E2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469"/>
                <a:ext cx="9" cy="4"/>
              </a:xfrm>
              <a:custGeom>
                <a:avLst/>
                <a:gdLst>
                  <a:gd name="T0" fmla="*/ 0 w 18"/>
                  <a:gd name="T1" fmla="*/ 0 h 7"/>
                  <a:gd name="T2" fmla="*/ 0 w 18"/>
                  <a:gd name="T3" fmla="*/ 0 h 7"/>
                  <a:gd name="T4" fmla="*/ 0 w 18"/>
                  <a:gd name="T5" fmla="*/ 5 h 7"/>
                  <a:gd name="T6" fmla="*/ 0 w 18"/>
                  <a:gd name="T7" fmla="*/ 5 h 7"/>
                  <a:gd name="T8" fmla="*/ 18 w 18"/>
                  <a:gd name="T9" fmla="*/ 7 h 7"/>
                  <a:gd name="T10" fmla="*/ 18 w 18"/>
                  <a:gd name="T11" fmla="*/ 7 h 7"/>
                  <a:gd name="T12" fmla="*/ 18 w 18"/>
                  <a:gd name="T13" fmla="*/ 2 h 7"/>
                  <a:gd name="T14" fmla="*/ 0 w 18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7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8" y="5"/>
                      <a:pt x="16" y="6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5"/>
                      <a:pt x="18" y="3"/>
                      <a:pt x="18" y="2"/>
                    </a:cubicBezTo>
                    <a:cubicBezTo>
                      <a:pt x="16" y="1"/>
                      <a:pt x="8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449">
                <a:extLst>
                  <a:ext uri="{FF2B5EF4-FFF2-40B4-BE49-F238E27FC236}">
                    <a16:creationId xmlns:a16="http://schemas.microsoft.com/office/drawing/2014/main" id="{EE67C20A-7262-451F-A13A-4FFB9B317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546"/>
                <a:ext cx="1" cy="5"/>
              </a:xfrm>
              <a:custGeom>
                <a:avLst/>
                <a:gdLst>
                  <a:gd name="T0" fmla="*/ 0 w 2"/>
                  <a:gd name="T1" fmla="*/ 0 h 8"/>
                  <a:gd name="T2" fmla="*/ 0 w 2"/>
                  <a:gd name="T3" fmla="*/ 0 h 8"/>
                  <a:gd name="T4" fmla="*/ 0 w 2"/>
                  <a:gd name="T5" fmla="*/ 8 h 8"/>
                  <a:gd name="T6" fmla="*/ 0 w 2"/>
                  <a:gd name="T7" fmla="*/ 8 h 8"/>
                  <a:gd name="T8" fmla="*/ 2 w 2"/>
                  <a:gd name="T9" fmla="*/ 6 h 8"/>
                  <a:gd name="T10" fmla="*/ 2 w 2"/>
                  <a:gd name="T11" fmla="*/ 0 h 8"/>
                  <a:gd name="T12" fmla="*/ 0 w 2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8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8"/>
                      <a:pt x="2" y="7"/>
                      <a:pt x="2" y="6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450">
                <a:extLst>
                  <a:ext uri="{FF2B5EF4-FFF2-40B4-BE49-F238E27FC236}">
                    <a16:creationId xmlns:a16="http://schemas.microsoft.com/office/drawing/2014/main" id="{19AA9A6F-C13A-4874-B973-48D06D31DD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532"/>
                <a:ext cx="7" cy="14"/>
              </a:xfrm>
              <a:custGeom>
                <a:avLst/>
                <a:gdLst>
                  <a:gd name="T0" fmla="*/ 0 w 13"/>
                  <a:gd name="T1" fmla="*/ 0 h 27"/>
                  <a:gd name="T2" fmla="*/ 0 w 13"/>
                  <a:gd name="T3" fmla="*/ 27 h 27"/>
                  <a:gd name="T4" fmla="*/ 0 w 13"/>
                  <a:gd name="T5" fmla="*/ 27 h 27"/>
                  <a:gd name="T6" fmla="*/ 2 w 13"/>
                  <a:gd name="T7" fmla="*/ 27 h 27"/>
                  <a:gd name="T8" fmla="*/ 2 w 13"/>
                  <a:gd name="T9" fmla="*/ 27 h 27"/>
                  <a:gd name="T10" fmla="*/ 2 w 13"/>
                  <a:gd name="T11" fmla="*/ 27 h 27"/>
                  <a:gd name="T12" fmla="*/ 3 w 13"/>
                  <a:gd name="T13" fmla="*/ 27 h 27"/>
                  <a:gd name="T14" fmla="*/ 13 w 13"/>
                  <a:gd name="T15" fmla="*/ 3 h 27"/>
                  <a:gd name="T16" fmla="*/ 13 w 13"/>
                  <a:gd name="T17" fmla="*/ 3 h 27"/>
                  <a:gd name="T18" fmla="*/ 0 w 13"/>
                  <a:gd name="T1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27">
                    <a:moveTo>
                      <a:pt x="0" y="0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27"/>
                      <a:pt x="1" y="27"/>
                      <a:pt x="2" y="2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7"/>
                      <a:pt x="3" y="27"/>
                      <a:pt x="3" y="27"/>
                    </a:cubicBezTo>
                    <a:cubicBezTo>
                      <a:pt x="6" y="21"/>
                      <a:pt x="12" y="10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2" y="1"/>
                      <a:pt x="6" y="0"/>
                      <a:pt x="0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451">
                <a:extLst>
                  <a:ext uri="{FF2B5EF4-FFF2-40B4-BE49-F238E27FC236}">
                    <a16:creationId xmlns:a16="http://schemas.microsoft.com/office/drawing/2014/main" id="{9E3CC415-918E-4FBB-8B4C-83A60F454C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4" y="2208"/>
                <a:ext cx="385" cy="430"/>
              </a:xfrm>
              <a:custGeom>
                <a:avLst/>
                <a:gdLst>
                  <a:gd name="T0" fmla="*/ 217 w 385"/>
                  <a:gd name="T1" fmla="*/ 0 h 430"/>
                  <a:gd name="T2" fmla="*/ 385 w 385"/>
                  <a:gd name="T3" fmla="*/ 33 h 430"/>
                  <a:gd name="T4" fmla="*/ 364 w 385"/>
                  <a:gd name="T5" fmla="*/ 172 h 430"/>
                  <a:gd name="T6" fmla="*/ 22 w 385"/>
                  <a:gd name="T7" fmla="*/ 430 h 430"/>
                  <a:gd name="T8" fmla="*/ 0 w 385"/>
                  <a:gd name="T9" fmla="*/ 387 h 430"/>
                  <a:gd name="T10" fmla="*/ 217 w 385"/>
                  <a:gd name="T11" fmla="*/ 0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5" h="430">
                    <a:moveTo>
                      <a:pt x="217" y="0"/>
                    </a:moveTo>
                    <a:lnTo>
                      <a:pt x="385" y="33"/>
                    </a:lnTo>
                    <a:lnTo>
                      <a:pt x="364" y="172"/>
                    </a:lnTo>
                    <a:lnTo>
                      <a:pt x="22" y="430"/>
                    </a:lnTo>
                    <a:lnTo>
                      <a:pt x="0" y="387"/>
                    </a:lnTo>
                    <a:lnTo>
                      <a:pt x="217" y="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452">
                <a:extLst>
                  <a:ext uri="{FF2B5EF4-FFF2-40B4-BE49-F238E27FC236}">
                    <a16:creationId xmlns:a16="http://schemas.microsoft.com/office/drawing/2014/main" id="{F0613E80-FB5E-4D05-A633-8025570994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8" y="2110"/>
                <a:ext cx="28" cy="27"/>
              </a:xfrm>
              <a:custGeom>
                <a:avLst/>
                <a:gdLst>
                  <a:gd name="T0" fmla="*/ 14 w 28"/>
                  <a:gd name="T1" fmla="*/ 0 h 27"/>
                  <a:gd name="T2" fmla="*/ 28 w 28"/>
                  <a:gd name="T3" fmla="*/ 13 h 27"/>
                  <a:gd name="T4" fmla="*/ 14 w 28"/>
                  <a:gd name="T5" fmla="*/ 27 h 27"/>
                  <a:gd name="T6" fmla="*/ 0 w 28"/>
                  <a:gd name="T7" fmla="*/ 14 h 27"/>
                  <a:gd name="T8" fmla="*/ 14 w 28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7">
                    <a:moveTo>
                      <a:pt x="14" y="0"/>
                    </a:moveTo>
                    <a:lnTo>
                      <a:pt x="28" y="13"/>
                    </a:lnTo>
                    <a:lnTo>
                      <a:pt x="14" y="27"/>
                    </a:lnTo>
                    <a:lnTo>
                      <a:pt x="0" y="14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6868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453">
                <a:extLst>
                  <a:ext uri="{FF2B5EF4-FFF2-40B4-BE49-F238E27FC236}">
                    <a16:creationId xmlns:a16="http://schemas.microsoft.com/office/drawing/2014/main" id="{8B4F3E16-AFD0-4119-90C0-591B01E65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8" y="2110"/>
                <a:ext cx="28" cy="27"/>
              </a:xfrm>
              <a:custGeom>
                <a:avLst/>
                <a:gdLst>
                  <a:gd name="T0" fmla="*/ 14 w 28"/>
                  <a:gd name="T1" fmla="*/ 0 h 27"/>
                  <a:gd name="T2" fmla="*/ 28 w 28"/>
                  <a:gd name="T3" fmla="*/ 13 h 27"/>
                  <a:gd name="T4" fmla="*/ 14 w 28"/>
                  <a:gd name="T5" fmla="*/ 27 h 27"/>
                  <a:gd name="T6" fmla="*/ 0 w 28"/>
                  <a:gd name="T7" fmla="*/ 14 h 27"/>
                  <a:gd name="T8" fmla="*/ 14 w 28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7">
                    <a:moveTo>
                      <a:pt x="14" y="0"/>
                    </a:moveTo>
                    <a:lnTo>
                      <a:pt x="28" y="13"/>
                    </a:lnTo>
                    <a:lnTo>
                      <a:pt x="14" y="27"/>
                    </a:lnTo>
                    <a:lnTo>
                      <a:pt x="0" y="14"/>
                    </a:lnTo>
                    <a:lnTo>
                      <a:pt x="1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454">
                <a:extLst>
                  <a:ext uri="{FF2B5EF4-FFF2-40B4-BE49-F238E27FC236}">
                    <a16:creationId xmlns:a16="http://schemas.microsoft.com/office/drawing/2014/main" id="{D3E7D7A5-8042-401A-BD13-13236A1BBB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04"/>
                <a:ext cx="24" cy="24"/>
              </a:xfrm>
              <a:custGeom>
                <a:avLst/>
                <a:gdLst>
                  <a:gd name="T0" fmla="*/ 6 w 24"/>
                  <a:gd name="T1" fmla="*/ 0 h 24"/>
                  <a:gd name="T2" fmla="*/ 24 w 24"/>
                  <a:gd name="T3" fmla="*/ 18 h 24"/>
                  <a:gd name="T4" fmla="*/ 18 w 24"/>
                  <a:gd name="T5" fmla="*/ 24 h 24"/>
                  <a:gd name="T6" fmla="*/ 0 w 24"/>
                  <a:gd name="T7" fmla="*/ 5 h 24"/>
                  <a:gd name="T8" fmla="*/ 6 w 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4">
                    <a:moveTo>
                      <a:pt x="6" y="0"/>
                    </a:moveTo>
                    <a:lnTo>
                      <a:pt x="24" y="18"/>
                    </a:lnTo>
                    <a:lnTo>
                      <a:pt x="18" y="24"/>
                    </a:lnTo>
                    <a:lnTo>
                      <a:pt x="0" y="5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455">
                <a:extLst>
                  <a:ext uri="{FF2B5EF4-FFF2-40B4-BE49-F238E27FC236}">
                    <a16:creationId xmlns:a16="http://schemas.microsoft.com/office/drawing/2014/main" id="{9C0C497F-D75E-4359-98A4-465AEE7A6B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04"/>
                <a:ext cx="24" cy="24"/>
              </a:xfrm>
              <a:custGeom>
                <a:avLst/>
                <a:gdLst>
                  <a:gd name="T0" fmla="*/ 6 w 24"/>
                  <a:gd name="T1" fmla="*/ 0 h 24"/>
                  <a:gd name="T2" fmla="*/ 24 w 24"/>
                  <a:gd name="T3" fmla="*/ 18 h 24"/>
                  <a:gd name="T4" fmla="*/ 18 w 24"/>
                  <a:gd name="T5" fmla="*/ 24 h 24"/>
                  <a:gd name="T6" fmla="*/ 0 w 24"/>
                  <a:gd name="T7" fmla="*/ 5 h 24"/>
                  <a:gd name="T8" fmla="*/ 6 w 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4">
                    <a:moveTo>
                      <a:pt x="6" y="0"/>
                    </a:moveTo>
                    <a:lnTo>
                      <a:pt x="24" y="18"/>
                    </a:lnTo>
                    <a:lnTo>
                      <a:pt x="18" y="24"/>
                    </a:lnTo>
                    <a:lnTo>
                      <a:pt x="0" y="5"/>
                    </a:lnTo>
                    <a:lnTo>
                      <a:pt x="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456">
                <a:extLst>
                  <a:ext uri="{FF2B5EF4-FFF2-40B4-BE49-F238E27FC236}">
                    <a16:creationId xmlns:a16="http://schemas.microsoft.com/office/drawing/2014/main" id="{FFA8D5FD-07C3-466A-97FA-4DE89C9BA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0" y="2052"/>
                <a:ext cx="74" cy="73"/>
              </a:xfrm>
              <a:custGeom>
                <a:avLst/>
                <a:gdLst>
                  <a:gd name="T0" fmla="*/ 96 w 135"/>
                  <a:gd name="T1" fmla="*/ 0 h 134"/>
                  <a:gd name="T2" fmla="*/ 135 w 135"/>
                  <a:gd name="T3" fmla="*/ 38 h 134"/>
                  <a:gd name="T4" fmla="*/ 39 w 135"/>
                  <a:gd name="T5" fmla="*/ 134 h 134"/>
                  <a:gd name="T6" fmla="*/ 0 w 135"/>
                  <a:gd name="T7" fmla="*/ 96 h 134"/>
                  <a:gd name="T8" fmla="*/ 96 w 135"/>
                  <a:gd name="T9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5" h="134">
                    <a:moveTo>
                      <a:pt x="96" y="0"/>
                    </a:moveTo>
                    <a:cubicBezTo>
                      <a:pt x="135" y="38"/>
                      <a:pt x="135" y="38"/>
                      <a:pt x="135" y="38"/>
                    </a:cubicBezTo>
                    <a:cubicBezTo>
                      <a:pt x="106" y="79"/>
                      <a:pt x="80" y="106"/>
                      <a:pt x="39" y="134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29" y="55"/>
                      <a:pt x="55" y="28"/>
                      <a:pt x="96" y="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457">
                <a:extLst>
                  <a:ext uri="{FF2B5EF4-FFF2-40B4-BE49-F238E27FC236}">
                    <a16:creationId xmlns:a16="http://schemas.microsoft.com/office/drawing/2014/main" id="{2DEDA6B9-13B8-4068-BB83-A64FD9172F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2067"/>
                <a:ext cx="44" cy="44"/>
              </a:xfrm>
              <a:custGeom>
                <a:avLst/>
                <a:gdLst>
                  <a:gd name="T0" fmla="*/ 78 w 81"/>
                  <a:gd name="T1" fmla="*/ 26 h 80"/>
                  <a:gd name="T2" fmla="*/ 27 w 81"/>
                  <a:gd name="T3" fmla="*/ 77 h 80"/>
                  <a:gd name="T4" fmla="*/ 16 w 81"/>
                  <a:gd name="T5" fmla="*/ 77 h 80"/>
                  <a:gd name="T6" fmla="*/ 3 w 81"/>
                  <a:gd name="T7" fmla="*/ 64 h 80"/>
                  <a:gd name="T8" fmla="*/ 3 w 81"/>
                  <a:gd name="T9" fmla="*/ 54 h 80"/>
                  <a:gd name="T10" fmla="*/ 54 w 81"/>
                  <a:gd name="T11" fmla="*/ 3 h 80"/>
                  <a:gd name="T12" fmla="*/ 65 w 81"/>
                  <a:gd name="T13" fmla="*/ 3 h 80"/>
                  <a:gd name="T14" fmla="*/ 78 w 81"/>
                  <a:gd name="T15" fmla="*/ 16 h 80"/>
                  <a:gd name="T16" fmla="*/ 78 w 81"/>
                  <a:gd name="T17" fmla="*/ 2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80">
                    <a:moveTo>
                      <a:pt x="78" y="26"/>
                    </a:moveTo>
                    <a:cubicBezTo>
                      <a:pt x="27" y="77"/>
                      <a:pt x="27" y="77"/>
                      <a:pt x="27" y="77"/>
                    </a:cubicBezTo>
                    <a:cubicBezTo>
                      <a:pt x="24" y="80"/>
                      <a:pt x="19" y="80"/>
                      <a:pt x="16" y="77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0" y="61"/>
                      <a:pt x="0" y="57"/>
                      <a:pt x="3" y="54"/>
                    </a:cubicBezTo>
                    <a:cubicBezTo>
                      <a:pt x="54" y="3"/>
                      <a:pt x="54" y="3"/>
                      <a:pt x="54" y="3"/>
                    </a:cubicBezTo>
                    <a:cubicBezTo>
                      <a:pt x="57" y="0"/>
                      <a:pt x="62" y="0"/>
                      <a:pt x="65" y="3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81" y="19"/>
                      <a:pt x="81" y="23"/>
                      <a:pt x="78" y="26"/>
                    </a:cubicBezTo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458">
                <a:extLst>
                  <a:ext uri="{FF2B5EF4-FFF2-40B4-BE49-F238E27FC236}">
                    <a16:creationId xmlns:a16="http://schemas.microsoft.com/office/drawing/2014/main" id="{975B9AE6-B436-4511-8B46-0245280CA9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17"/>
                <a:ext cx="5" cy="4"/>
              </a:xfrm>
              <a:custGeom>
                <a:avLst/>
                <a:gdLst>
                  <a:gd name="T0" fmla="*/ 5 w 5"/>
                  <a:gd name="T1" fmla="*/ 2 h 4"/>
                  <a:gd name="T2" fmla="*/ 2 w 5"/>
                  <a:gd name="T3" fmla="*/ 4 h 4"/>
                  <a:gd name="T4" fmla="*/ 0 w 5"/>
                  <a:gd name="T5" fmla="*/ 2 h 4"/>
                  <a:gd name="T6" fmla="*/ 2 w 5"/>
                  <a:gd name="T7" fmla="*/ 0 h 4"/>
                  <a:gd name="T8" fmla="*/ 5 w 5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4">
                    <a:moveTo>
                      <a:pt x="5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2A2A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459">
                <a:extLst>
                  <a:ext uri="{FF2B5EF4-FFF2-40B4-BE49-F238E27FC236}">
                    <a16:creationId xmlns:a16="http://schemas.microsoft.com/office/drawing/2014/main" id="{D2F387AD-0957-4D3C-8725-0DB78847E6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4 w 4"/>
                  <a:gd name="T1" fmla="*/ 2 h 4"/>
                  <a:gd name="T2" fmla="*/ 2 w 4"/>
                  <a:gd name="T3" fmla="*/ 4 h 4"/>
                  <a:gd name="T4" fmla="*/ 0 w 4"/>
                  <a:gd name="T5" fmla="*/ 2 h 4"/>
                  <a:gd name="T6" fmla="*/ 2 w 4"/>
                  <a:gd name="T7" fmla="*/ 0 h 4"/>
                  <a:gd name="T8" fmla="*/ 4 w 4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2A2A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460">
                <a:extLst>
                  <a:ext uri="{FF2B5EF4-FFF2-40B4-BE49-F238E27FC236}">
                    <a16:creationId xmlns:a16="http://schemas.microsoft.com/office/drawing/2014/main" id="{B6FD6709-28AB-4555-A625-0B49E6FF86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4 w 4"/>
                  <a:gd name="T1" fmla="*/ 2 h 4"/>
                  <a:gd name="T2" fmla="*/ 2 w 4"/>
                  <a:gd name="T3" fmla="*/ 4 h 4"/>
                  <a:gd name="T4" fmla="*/ 0 w 4"/>
                  <a:gd name="T5" fmla="*/ 2 h 4"/>
                  <a:gd name="T6" fmla="*/ 2 w 4"/>
                  <a:gd name="T7" fmla="*/ 0 h 4"/>
                  <a:gd name="T8" fmla="*/ 4 w 4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461">
                <a:extLst>
                  <a:ext uri="{FF2B5EF4-FFF2-40B4-BE49-F238E27FC236}">
                    <a16:creationId xmlns:a16="http://schemas.microsoft.com/office/drawing/2014/main" id="{D1BC37D3-EA04-4F1B-9613-BE00CAF458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2" y="2048"/>
                <a:ext cx="26" cy="25"/>
              </a:xfrm>
              <a:custGeom>
                <a:avLst/>
                <a:gdLst>
                  <a:gd name="T0" fmla="*/ 33 w 46"/>
                  <a:gd name="T1" fmla="*/ 13 h 46"/>
                  <a:gd name="T2" fmla="*/ 45 w 46"/>
                  <a:gd name="T3" fmla="*/ 32 h 46"/>
                  <a:gd name="T4" fmla="*/ 39 w 46"/>
                  <a:gd name="T5" fmla="*/ 46 h 46"/>
                  <a:gd name="T6" fmla="*/ 0 w 46"/>
                  <a:gd name="T7" fmla="*/ 8 h 46"/>
                  <a:gd name="T8" fmla="*/ 14 w 46"/>
                  <a:gd name="T9" fmla="*/ 1 h 46"/>
                  <a:gd name="T10" fmla="*/ 33 w 46"/>
                  <a:gd name="T11" fmla="*/ 1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46">
                    <a:moveTo>
                      <a:pt x="33" y="13"/>
                    </a:moveTo>
                    <a:cubicBezTo>
                      <a:pt x="39" y="20"/>
                      <a:pt x="44" y="27"/>
                      <a:pt x="45" y="32"/>
                    </a:cubicBezTo>
                    <a:cubicBezTo>
                      <a:pt x="46" y="36"/>
                      <a:pt x="39" y="46"/>
                      <a:pt x="39" y="46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10" y="0"/>
                      <a:pt x="14" y="1"/>
                    </a:cubicBezTo>
                    <a:cubicBezTo>
                      <a:pt x="19" y="2"/>
                      <a:pt x="27" y="7"/>
                      <a:pt x="33" y="13"/>
                    </a:cubicBezTo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462">
                <a:extLst>
                  <a:ext uri="{FF2B5EF4-FFF2-40B4-BE49-F238E27FC236}">
                    <a16:creationId xmlns:a16="http://schemas.microsoft.com/office/drawing/2014/main" id="{BCDDFEAA-A612-4F86-950C-01F1921BA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6" y="2087"/>
                <a:ext cx="7" cy="6"/>
              </a:xfrm>
              <a:custGeom>
                <a:avLst/>
                <a:gdLst>
                  <a:gd name="T0" fmla="*/ 5 w 7"/>
                  <a:gd name="T1" fmla="*/ 3 h 6"/>
                  <a:gd name="T2" fmla="*/ 2 w 7"/>
                  <a:gd name="T3" fmla="*/ 0 h 6"/>
                  <a:gd name="T4" fmla="*/ 0 w 7"/>
                  <a:gd name="T5" fmla="*/ 1 h 6"/>
                  <a:gd name="T6" fmla="*/ 1 w 7"/>
                  <a:gd name="T7" fmla="*/ 2 h 6"/>
                  <a:gd name="T8" fmla="*/ 2 w 7"/>
                  <a:gd name="T9" fmla="*/ 1 h 6"/>
                  <a:gd name="T10" fmla="*/ 4 w 7"/>
                  <a:gd name="T11" fmla="*/ 5 h 6"/>
                  <a:gd name="T12" fmla="*/ 4 w 7"/>
                  <a:gd name="T13" fmla="*/ 5 h 6"/>
                  <a:gd name="T14" fmla="*/ 4 w 7"/>
                  <a:gd name="T15" fmla="*/ 6 h 6"/>
                  <a:gd name="T16" fmla="*/ 7 w 7"/>
                  <a:gd name="T17" fmla="*/ 3 h 6"/>
                  <a:gd name="T18" fmla="*/ 6 w 7"/>
                  <a:gd name="T19" fmla="*/ 3 h 6"/>
                  <a:gd name="T20" fmla="*/ 5 w 7"/>
                  <a:gd name="T21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6">
                    <a:moveTo>
                      <a:pt x="5" y="3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5" y="3"/>
                    </a:lnTo>
                    <a:close/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463">
                <a:extLst>
                  <a:ext uri="{FF2B5EF4-FFF2-40B4-BE49-F238E27FC236}">
                    <a16:creationId xmlns:a16="http://schemas.microsoft.com/office/drawing/2014/main" id="{94D09D39-114B-4175-B2C8-D49670E6E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6" y="2087"/>
                <a:ext cx="7" cy="6"/>
              </a:xfrm>
              <a:custGeom>
                <a:avLst/>
                <a:gdLst>
                  <a:gd name="T0" fmla="*/ 5 w 7"/>
                  <a:gd name="T1" fmla="*/ 3 h 6"/>
                  <a:gd name="T2" fmla="*/ 2 w 7"/>
                  <a:gd name="T3" fmla="*/ 0 h 6"/>
                  <a:gd name="T4" fmla="*/ 0 w 7"/>
                  <a:gd name="T5" fmla="*/ 1 h 6"/>
                  <a:gd name="T6" fmla="*/ 1 w 7"/>
                  <a:gd name="T7" fmla="*/ 2 h 6"/>
                  <a:gd name="T8" fmla="*/ 2 w 7"/>
                  <a:gd name="T9" fmla="*/ 1 h 6"/>
                  <a:gd name="T10" fmla="*/ 4 w 7"/>
                  <a:gd name="T11" fmla="*/ 5 h 6"/>
                  <a:gd name="T12" fmla="*/ 4 w 7"/>
                  <a:gd name="T13" fmla="*/ 5 h 6"/>
                  <a:gd name="T14" fmla="*/ 4 w 7"/>
                  <a:gd name="T15" fmla="*/ 6 h 6"/>
                  <a:gd name="T16" fmla="*/ 7 w 7"/>
                  <a:gd name="T17" fmla="*/ 3 h 6"/>
                  <a:gd name="T18" fmla="*/ 6 w 7"/>
                  <a:gd name="T19" fmla="*/ 3 h 6"/>
                  <a:gd name="T20" fmla="*/ 5 w 7"/>
                  <a:gd name="T21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6">
                    <a:moveTo>
                      <a:pt x="5" y="3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5" y="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464">
                <a:extLst>
                  <a:ext uri="{FF2B5EF4-FFF2-40B4-BE49-F238E27FC236}">
                    <a16:creationId xmlns:a16="http://schemas.microsoft.com/office/drawing/2014/main" id="{E2250410-A058-4ACF-BA9F-0AB0093835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0" y="2083"/>
                <a:ext cx="6" cy="7"/>
              </a:xfrm>
              <a:custGeom>
                <a:avLst/>
                <a:gdLst>
                  <a:gd name="T0" fmla="*/ 4 w 11"/>
                  <a:gd name="T1" fmla="*/ 5 h 13"/>
                  <a:gd name="T2" fmla="*/ 3 w 11"/>
                  <a:gd name="T3" fmla="*/ 2 h 13"/>
                  <a:gd name="T4" fmla="*/ 3 w 11"/>
                  <a:gd name="T5" fmla="*/ 0 h 13"/>
                  <a:gd name="T6" fmla="*/ 0 w 11"/>
                  <a:gd name="T7" fmla="*/ 2 h 13"/>
                  <a:gd name="T8" fmla="*/ 1 w 11"/>
                  <a:gd name="T9" fmla="*/ 4 h 13"/>
                  <a:gd name="T10" fmla="*/ 2 w 11"/>
                  <a:gd name="T11" fmla="*/ 8 h 13"/>
                  <a:gd name="T12" fmla="*/ 4 w 11"/>
                  <a:gd name="T13" fmla="*/ 11 h 13"/>
                  <a:gd name="T14" fmla="*/ 9 w 11"/>
                  <a:gd name="T15" fmla="*/ 11 h 13"/>
                  <a:gd name="T16" fmla="*/ 9 w 11"/>
                  <a:gd name="T17" fmla="*/ 5 h 13"/>
                  <a:gd name="T18" fmla="*/ 4 w 11"/>
                  <a:gd name="T19" fmla="*/ 5 h 13"/>
                  <a:gd name="T20" fmla="*/ 8 w 11"/>
                  <a:gd name="T21" fmla="*/ 9 h 13"/>
                  <a:gd name="T22" fmla="*/ 6 w 11"/>
                  <a:gd name="T23" fmla="*/ 9 h 13"/>
                  <a:gd name="T24" fmla="*/ 5 w 11"/>
                  <a:gd name="T25" fmla="*/ 7 h 13"/>
                  <a:gd name="T26" fmla="*/ 7 w 11"/>
                  <a:gd name="T27" fmla="*/ 7 h 13"/>
                  <a:gd name="T28" fmla="*/ 8 w 11"/>
                  <a:gd name="T29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3">
                    <a:moveTo>
                      <a:pt x="4" y="5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3" y="9"/>
                      <a:pt x="3" y="10"/>
                      <a:pt x="4" y="11"/>
                    </a:cubicBezTo>
                    <a:cubicBezTo>
                      <a:pt x="5" y="13"/>
                      <a:pt x="8" y="13"/>
                      <a:pt x="9" y="11"/>
                    </a:cubicBezTo>
                    <a:cubicBezTo>
                      <a:pt x="11" y="9"/>
                      <a:pt x="11" y="7"/>
                      <a:pt x="9" y="5"/>
                    </a:cubicBezTo>
                    <a:cubicBezTo>
                      <a:pt x="8" y="3"/>
                      <a:pt x="6" y="3"/>
                      <a:pt x="4" y="5"/>
                    </a:cubicBezTo>
                    <a:moveTo>
                      <a:pt x="8" y="9"/>
                    </a:moveTo>
                    <a:cubicBezTo>
                      <a:pt x="7" y="9"/>
                      <a:pt x="6" y="9"/>
                      <a:pt x="6" y="9"/>
                    </a:cubicBezTo>
                    <a:cubicBezTo>
                      <a:pt x="5" y="8"/>
                      <a:pt x="5" y="7"/>
                      <a:pt x="5" y="7"/>
                    </a:cubicBezTo>
                    <a:cubicBezTo>
                      <a:pt x="6" y="6"/>
                      <a:pt x="7" y="6"/>
                      <a:pt x="7" y="7"/>
                    </a:cubicBezTo>
                    <a:cubicBezTo>
                      <a:pt x="8" y="8"/>
                      <a:pt x="8" y="8"/>
                      <a:pt x="8" y="9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465">
                <a:extLst>
                  <a:ext uri="{FF2B5EF4-FFF2-40B4-BE49-F238E27FC236}">
                    <a16:creationId xmlns:a16="http://schemas.microsoft.com/office/drawing/2014/main" id="{2071BBA6-C37F-4673-B4D4-E3F4B06EA9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3" y="2079"/>
                <a:ext cx="8" cy="7"/>
              </a:xfrm>
              <a:custGeom>
                <a:avLst/>
                <a:gdLst>
                  <a:gd name="T0" fmla="*/ 9 w 14"/>
                  <a:gd name="T1" fmla="*/ 2 h 13"/>
                  <a:gd name="T2" fmla="*/ 6 w 14"/>
                  <a:gd name="T3" fmla="*/ 5 h 13"/>
                  <a:gd name="T4" fmla="*/ 8 w 14"/>
                  <a:gd name="T5" fmla="*/ 7 h 13"/>
                  <a:gd name="T6" fmla="*/ 9 w 14"/>
                  <a:gd name="T7" fmla="*/ 6 h 13"/>
                  <a:gd name="T8" fmla="*/ 9 w 14"/>
                  <a:gd name="T9" fmla="*/ 8 h 13"/>
                  <a:gd name="T10" fmla="*/ 5 w 14"/>
                  <a:gd name="T11" fmla="*/ 7 h 13"/>
                  <a:gd name="T12" fmla="*/ 4 w 14"/>
                  <a:gd name="T13" fmla="*/ 3 h 13"/>
                  <a:gd name="T14" fmla="*/ 6 w 14"/>
                  <a:gd name="T15" fmla="*/ 3 h 13"/>
                  <a:gd name="T16" fmla="*/ 8 w 14"/>
                  <a:gd name="T17" fmla="*/ 1 h 13"/>
                  <a:gd name="T18" fmla="*/ 6 w 14"/>
                  <a:gd name="T19" fmla="*/ 0 h 13"/>
                  <a:gd name="T20" fmla="*/ 2 w 14"/>
                  <a:gd name="T21" fmla="*/ 1 h 13"/>
                  <a:gd name="T22" fmla="*/ 1 w 14"/>
                  <a:gd name="T23" fmla="*/ 6 h 13"/>
                  <a:gd name="T24" fmla="*/ 3 w 14"/>
                  <a:gd name="T25" fmla="*/ 10 h 13"/>
                  <a:gd name="T26" fmla="*/ 11 w 14"/>
                  <a:gd name="T27" fmla="*/ 10 h 13"/>
                  <a:gd name="T28" fmla="*/ 9 w 14"/>
                  <a:gd name="T29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3">
                    <a:moveTo>
                      <a:pt x="9" y="2"/>
                    </a:moveTo>
                    <a:cubicBezTo>
                      <a:pt x="6" y="5"/>
                      <a:pt x="6" y="5"/>
                      <a:pt x="6" y="5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10" y="7"/>
                      <a:pt x="10" y="8"/>
                      <a:pt x="9" y="8"/>
                    </a:cubicBezTo>
                    <a:cubicBezTo>
                      <a:pt x="8" y="9"/>
                      <a:pt x="6" y="9"/>
                      <a:pt x="5" y="7"/>
                    </a:cubicBezTo>
                    <a:cubicBezTo>
                      <a:pt x="3" y="6"/>
                      <a:pt x="3" y="4"/>
                      <a:pt x="4" y="3"/>
                    </a:cubicBezTo>
                    <a:cubicBezTo>
                      <a:pt x="5" y="3"/>
                      <a:pt x="5" y="3"/>
                      <a:pt x="6" y="3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1" y="6"/>
                    </a:cubicBezTo>
                    <a:cubicBezTo>
                      <a:pt x="1" y="7"/>
                      <a:pt x="1" y="8"/>
                      <a:pt x="3" y="10"/>
                    </a:cubicBezTo>
                    <a:cubicBezTo>
                      <a:pt x="5" y="12"/>
                      <a:pt x="9" y="13"/>
                      <a:pt x="11" y="10"/>
                    </a:cubicBezTo>
                    <a:cubicBezTo>
                      <a:pt x="14" y="8"/>
                      <a:pt x="12" y="4"/>
                      <a:pt x="9" y="2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466">
                <a:extLst>
                  <a:ext uri="{FF2B5EF4-FFF2-40B4-BE49-F238E27FC236}">
                    <a16:creationId xmlns:a16="http://schemas.microsoft.com/office/drawing/2014/main" id="{F12699FD-486B-457A-9A26-5FC12EBE18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7" y="2075"/>
                <a:ext cx="8" cy="7"/>
              </a:xfrm>
              <a:custGeom>
                <a:avLst/>
                <a:gdLst>
                  <a:gd name="T0" fmla="*/ 9 w 14"/>
                  <a:gd name="T1" fmla="*/ 4 h 14"/>
                  <a:gd name="T2" fmla="*/ 8 w 14"/>
                  <a:gd name="T3" fmla="*/ 2 h 14"/>
                  <a:gd name="T4" fmla="*/ 7 w 14"/>
                  <a:gd name="T5" fmla="*/ 1 h 14"/>
                  <a:gd name="T6" fmla="*/ 3 w 14"/>
                  <a:gd name="T7" fmla="*/ 2 h 14"/>
                  <a:gd name="T8" fmla="*/ 0 w 14"/>
                  <a:gd name="T9" fmla="*/ 5 h 14"/>
                  <a:gd name="T10" fmla="*/ 8 w 14"/>
                  <a:gd name="T11" fmla="*/ 14 h 14"/>
                  <a:gd name="T12" fmla="*/ 12 w 14"/>
                  <a:gd name="T13" fmla="*/ 10 h 14"/>
                  <a:gd name="T14" fmla="*/ 12 w 14"/>
                  <a:gd name="T15" fmla="*/ 5 h 14"/>
                  <a:gd name="T16" fmla="*/ 9 w 14"/>
                  <a:gd name="T17" fmla="*/ 4 h 14"/>
                  <a:gd name="T18" fmla="*/ 6 w 14"/>
                  <a:gd name="T19" fmla="*/ 4 h 14"/>
                  <a:gd name="T20" fmla="*/ 6 w 14"/>
                  <a:gd name="T21" fmla="*/ 5 h 14"/>
                  <a:gd name="T22" fmla="*/ 5 w 14"/>
                  <a:gd name="T23" fmla="*/ 6 h 14"/>
                  <a:gd name="T24" fmla="*/ 4 w 14"/>
                  <a:gd name="T25" fmla="*/ 5 h 14"/>
                  <a:gd name="T26" fmla="*/ 5 w 14"/>
                  <a:gd name="T27" fmla="*/ 4 h 14"/>
                  <a:gd name="T28" fmla="*/ 6 w 14"/>
                  <a:gd name="T29" fmla="*/ 4 h 14"/>
                  <a:gd name="T30" fmla="*/ 10 w 14"/>
                  <a:gd name="T31" fmla="*/ 8 h 14"/>
                  <a:gd name="T32" fmla="*/ 9 w 14"/>
                  <a:gd name="T33" fmla="*/ 9 h 14"/>
                  <a:gd name="T34" fmla="*/ 7 w 14"/>
                  <a:gd name="T35" fmla="*/ 8 h 14"/>
                  <a:gd name="T36" fmla="*/ 8 w 14"/>
                  <a:gd name="T37" fmla="*/ 7 h 14"/>
                  <a:gd name="T38" fmla="*/ 10 w 14"/>
                  <a:gd name="T39" fmla="*/ 7 h 14"/>
                  <a:gd name="T40" fmla="*/ 10 w 14"/>
                  <a:gd name="T41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" h="14">
                    <a:moveTo>
                      <a:pt x="9" y="4"/>
                    </a:moveTo>
                    <a:cubicBezTo>
                      <a:pt x="9" y="3"/>
                      <a:pt x="9" y="2"/>
                      <a:pt x="8" y="2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5" y="0"/>
                      <a:pt x="4" y="1"/>
                      <a:pt x="3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4" y="9"/>
                      <a:pt x="14" y="6"/>
                      <a:pt x="12" y="5"/>
                    </a:cubicBezTo>
                    <a:cubicBezTo>
                      <a:pt x="11" y="4"/>
                      <a:pt x="10" y="4"/>
                      <a:pt x="9" y="4"/>
                    </a:cubicBezTo>
                    <a:moveTo>
                      <a:pt x="6" y="4"/>
                    </a:moveTo>
                    <a:cubicBezTo>
                      <a:pt x="7" y="4"/>
                      <a:pt x="7" y="5"/>
                      <a:pt x="6" y="5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6" y="3"/>
                      <a:pt x="6" y="4"/>
                    </a:cubicBezTo>
                    <a:moveTo>
                      <a:pt x="10" y="8"/>
                    </a:moveTo>
                    <a:cubicBezTo>
                      <a:pt x="9" y="9"/>
                      <a:pt x="9" y="9"/>
                      <a:pt x="9" y="9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9" y="6"/>
                      <a:pt x="9" y="6"/>
                      <a:pt x="10" y="7"/>
                    </a:cubicBezTo>
                    <a:cubicBezTo>
                      <a:pt x="10" y="7"/>
                      <a:pt x="10" y="8"/>
                      <a:pt x="10" y="8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467">
                <a:extLst>
                  <a:ext uri="{FF2B5EF4-FFF2-40B4-BE49-F238E27FC236}">
                    <a16:creationId xmlns:a16="http://schemas.microsoft.com/office/drawing/2014/main" id="{F2614764-1365-4F27-AEF1-CE127655A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12" y="2124"/>
                <a:ext cx="18" cy="13"/>
              </a:xfrm>
              <a:custGeom>
                <a:avLst/>
                <a:gdLst>
                  <a:gd name="T0" fmla="*/ 12 w 18"/>
                  <a:gd name="T1" fmla="*/ 1 h 13"/>
                  <a:gd name="T2" fmla="*/ 0 w 18"/>
                  <a:gd name="T3" fmla="*/ 13 h 13"/>
                  <a:gd name="T4" fmla="*/ 12 w 18"/>
                  <a:gd name="T5" fmla="*/ 1 h 13"/>
                  <a:gd name="T6" fmla="*/ 14 w 18"/>
                  <a:gd name="T7" fmla="*/ 4 h 13"/>
                  <a:gd name="T8" fmla="*/ 12 w 18"/>
                  <a:gd name="T9" fmla="*/ 1 h 13"/>
                  <a:gd name="T10" fmla="*/ 18 w 18"/>
                  <a:gd name="T11" fmla="*/ 0 h 13"/>
                  <a:gd name="T12" fmla="*/ 14 w 18"/>
                  <a:gd name="T13" fmla="*/ 4 h 13"/>
                  <a:gd name="T14" fmla="*/ 18 w 18"/>
                  <a:gd name="T15" fmla="*/ 0 h 13"/>
                  <a:gd name="T16" fmla="*/ 18 w 1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3">
                    <a:moveTo>
                      <a:pt x="12" y="1"/>
                    </a:moveTo>
                    <a:lnTo>
                      <a:pt x="0" y="13"/>
                    </a:lnTo>
                    <a:lnTo>
                      <a:pt x="12" y="1"/>
                    </a:lnTo>
                    <a:lnTo>
                      <a:pt x="14" y="4"/>
                    </a:lnTo>
                    <a:lnTo>
                      <a:pt x="12" y="1"/>
                    </a:lnTo>
                    <a:close/>
                    <a:moveTo>
                      <a:pt x="18" y="0"/>
                    </a:move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468">
                <a:extLst>
                  <a:ext uri="{FF2B5EF4-FFF2-40B4-BE49-F238E27FC236}">
                    <a16:creationId xmlns:a16="http://schemas.microsoft.com/office/drawing/2014/main" id="{CABADD48-CF9D-4961-8A29-1CD5870E9C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12" y="2124"/>
                <a:ext cx="18" cy="13"/>
              </a:xfrm>
              <a:custGeom>
                <a:avLst/>
                <a:gdLst>
                  <a:gd name="T0" fmla="*/ 12 w 18"/>
                  <a:gd name="T1" fmla="*/ 1 h 13"/>
                  <a:gd name="T2" fmla="*/ 0 w 18"/>
                  <a:gd name="T3" fmla="*/ 13 h 13"/>
                  <a:gd name="T4" fmla="*/ 12 w 18"/>
                  <a:gd name="T5" fmla="*/ 1 h 13"/>
                  <a:gd name="T6" fmla="*/ 14 w 18"/>
                  <a:gd name="T7" fmla="*/ 4 h 13"/>
                  <a:gd name="T8" fmla="*/ 12 w 18"/>
                  <a:gd name="T9" fmla="*/ 1 h 13"/>
                  <a:gd name="T10" fmla="*/ 18 w 18"/>
                  <a:gd name="T11" fmla="*/ 0 h 13"/>
                  <a:gd name="T12" fmla="*/ 14 w 18"/>
                  <a:gd name="T13" fmla="*/ 4 h 13"/>
                  <a:gd name="T14" fmla="*/ 18 w 18"/>
                  <a:gd name="T15" fmla="*/ 0 h 13"/>
                  <a:gd name="T16" fmla="*/ 18 w 1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3">
                    <a:moveTo>
                      <a:pt x="12" y="1"/>
                    </a:moveTo>
                    <a:lnTo>
                      <a:pt x="0" y="13"/>
                    </a:lnTo>
                    <a:lnTo>
                      <a:pt x="12" y="1"/>
                    </a:lnTo>
                    <a:lnTo>
                      <a:pt x="14" y="4"/>
                    </a:lnTo>
                    <a:lnTo>
                      <a:pt x="12" y="1"/>
                    </a:lnTo>
                    <a:moveTo>
                      <a:pt x="18" y="0"/>
                    </a:move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469">
                <a:extLst>
                  <a:ext uri="{FF2B5EF4-FFF2-40B4-BE49-F238E27FC236}">
                    <a16:creationId xmlns:a16="http://schemas.microsoft.com/office/drawing/2014/main" id="{2066793D-4130-455F-9BD9-FD983A6D39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5" y="2118"/>
                <a:ext cx="19" cy="19"/>
              </a:xfrm>
              <a:custGeom>
                <a:avLst/>
                <a:gdLst>
                  <a:gd name="T0" fmla="*/ 12 w 19"/>
                  <a:gd name="T1" fmla="*/ 9 h 19"/>
                  <a:gd name="T2" fmla="*/ 10 w 19"/>
                  <a:gd name="T3" fmla="*/ 7 h 19"/>
                  <a:gd name="T4" fmla="*/ 12 w 19"/>
                  <a:gd name="T5" fmla="*/ 5 h 19"/>
                  <a:gd name="T6" fmla="*/ 14 w 19"/>
                  <a:gd name="T7" fmla="*/ 7 h 19"/>
                  <a:gd name="T8" fmla="*/ 12 w 19"/>
                  <a:gd name="T9" fmla="*/ 9 h 19"/>
                  <a:gd name="T10" fmla="*/ 12 w 19"/>
                  <a:gd name="T11" fmla="*/ 0 h 19"/>
                  <a:gd name="T12" fmla="*/ 0 w 19"/>
                  <a:gd name="T13" fmla="*/ 12 h 19"/>
                  <a:gd name="T14" fmla="*/ 7 w 19"/>
                  <a:gd name="T15" fmla="*/ 19 h 19"/>
                  <a:gd name="T16" fmla="*/ 19 w 19"/>
                  <a:gd name="T17" fmla="*/ 7 h 19"/>
                  <a:gd name="T18" fmla="*/ 12 w 19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9">
                    <a:moveTo>
                      <a:pt x="12" y="9"/>
                    </a:moveTo>
                    <a:lnTo>
                      <a:pt x="10" y="7"/>
                    </a:lnTo>
                    <a:lnTo>
                      <a:pt x="12" y="5"/>
                    </a:lnTo>
                    <a:lnTo>
                      <a:pt x="14" y="7"/>
                    </a:lnTo>
                    <a:lnTo>
                      <a:pt x="12" y="9"/>
                    </a:lnTo>
                    <a:close/>
                    <a:moveTo>
                      <a:pt x="12" y="0"/>
                    </a:moveTo>
                    <a:lnTo>
                      <a:pt x="0" y="12"/>
                    </a:lnTo>
                    <a:lnTo>
                      <a:pt x="7" y="19"/>
                    </a:lnTo>
                    <a:lnTo>
                      <a:pt x="19" y="7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5252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470">
                <a:extLst>
                  <a:ext uri="{FF2B5EF4-FFF2-40B4-BE49-F238E27FC236}">
                    <a16:creationId xmlns:a16="http://schemas.microsoft.com/office/drawing/2014/main" id="{665F8116-5153-46D7-A4A4-BA2725640A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5" y="2118"/>
                <a:ext cx="19" cy="19"/>
              </a:xfrm>
              <a:custGeom>
                <a:avLst/>
                <a:gdLst>
                  <a:gd name="T0" fmla="*/ 12 w 19"/>
                  <a:gd name="T1" fmla="*/ 9 h 19"/>
                  <a:gd name="T2" fmla="*/ 10 w 19"/>
                  <a:gd name="T3" fmla="*/ 7 h 19"/>
                  <a:gd name="T4" fmla="*/ 12 w 19"/>
                  <a:gd name="T5" fmla="*/ 5 h 19"/>
                  <a:gd name="T6" fmla="*/ 14 w 19"/>
                  <a:gd name="T7" fmla="*/ 7 h 19"/>
                  <a:gd name="T8" fmla="*/ 12 w 19"/>
                  <a:gd name="T9" fmla="*/ 9 h 19"/>
                  <a:gd name="T10" fmla="*/ 12 w 19"/>
                  <a:gd name="T11" fmla="*/ 0 h 19"/>
                  <a:gd name="T12" fmla="*/ 0 w 19"/>
                  <a:gd name="T13" fmla="*/ 12 h 19"/>
                  <a:gd name="T14" fmla="*/ 7 w 19"/>
                  <a:gd name="T15" fmla="*/ 19 h 19"/>
                  <a:gd name="T16" fmla="*/ 19 w 19"/>
                  <a:gd name="T17" fmla="*/ 7 h 19"/>
                  <a:gd name="T18" fmla="*/ 12 w 19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9">
                    <a:moveTo>
                      <a:pt x="12" y="9"/>
                    </a:moveTo>
                    <a:lnTo>
                      <a:pt x="10" y="7"/>
                    </a:lnTo>
                    <a:lnTo>
                      <a:pt x="12" y="5"/>
                    </a:lnTo>
                    <a:lnTo>
                      <a:pt x="14" y="7"/>
                    </a:lnTo>
                    <a:lnTo>
                      <a:pt x="12" y="9"/>
                    </a:lnTo>
                    <a:moveTo>
                      <a:pt x="12" y="0"/>
                    </a:moveTo>
                    <a:lnTo>
                      <a:pt x="0" y="12"/>
                    </a:lnTo>
                    <a:lnTo>
                      <a:pt x="7" y="19"/>
                    </a:lnTo>
                    <a:lnTo>
                      <a:pt x="19" y="7"/>
                    </a:lnTo>
                    <a:lnTo>
                      <a:pt x="1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471">
                <a:extLst>
                  <a:ext uri="{FF2B5EF4-FFF2-40B4-BE49-F238E27FC236}">
                    <a16:creationId xmlns:a16="http://schemas.microsoft.com/office/drawing/2014/main" id="{AA418549-5FAE-4EEA-AFCE-A6DF0F898E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7" y="2115"/>
                <a:ext cx="13" cy="13"/>
              </a:xfrm>
              <a:custGeom>
                <a:avLst/>
                <a:gdLst>
                  <a:gd name="T0" fmla="*/ 3 w 13"/>
                  <a:gd name="T1" fmla="*/ 0 h 13"/>
                  <a:gd name="T2" fmla="*/ 0 w 13"/>
                  <a:gd name="T3" fmla="*/ 3 h 13"/>
                  <a:gd name="T4" fmla="*/ 7 w 13"/>
                  <a:gd name="T5" fmla="*/ 10 h 13"/>
                  <a:gd name="T6" fmla="*/ 9 w 13"/>
                  <a:gd name="T7" fmla="*/ 13 h 13"/>
                  <a:gd name="T8" fmla="*/ 13 w 13"/>
                  <a:gd name="T9" fmla="*/ 9 h 13"/>
                  <a:gd name="T10" fmla="*/ 3 w 13"/>
                  <a:gd name="T1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3">
                    <a:moveTo>
                      <a:pt x="3" y="0"/>
                    </a:moveTo>
                    <a:lnTo>
                      <a:pt x="0" y="3"/>
                    </a:lnTo>
                    <a:lnTo>
                      <a:pt x="7" y="10"/>
                    </a:lnTo>
                    <a:lnTo>
                      <a:pt x="9" y="13"/>
                    </a:lnTo>
                    <a:lnTo>
                      <a:pt x="13" y="9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472">
                <a:extLst>
                  <a:ext uri="{FF2B5EF4-FFF2-40B4-BE49-F238E27FC236}">
                    <a16:creationId xmlns:a16="http://schemas.microsoft.com/office/drawing/2014/main" id="{1ED8E840-1F31-4A81-9F17-032BE78894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7" y="2115"/>
                <a:ext cx="13" cy="13"/>
              </a:xfrm>
              <a:custGeom>
                <a:avLst/>
                <a:gdLst>
                  <a:gd name="T0" fmla="*/ 3 w 13"/>
                  <a:gd name="T1" fmla="*/ 0 h 13"/>
                  <a:gd name="T2" fmla="*/ 0 w 13"/>
                  <a:gd name="T3" fmla="*/ 3 h 13"/>
                  <a:gd name="T4" fmla="*/ 7 w 13"/>
                  <a:gd name="T5" fmla="*/ 10 h 13"/>
                  <a:gd name="T6" fmla="*/ 9 w 13"/>
                  <a:gd name="T7" fmla="*/ 13 h 13"/>
                  <a:gd name="T8" fmla="*/ 13 w 13"/>
                  <a:gd name="T9" fmla="*/ 9 h 13"/>
                  <a:gd name="T10" fmla="*/ 3 w 13"/>
                  <a:gd name="T1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3">
                    <a:moveTo>
                      <a:pt x="3" y="0"/>
                    </a:moveTo>
                    <a:lnTo>
                      <a:pt x="0" y="3"/>
                    </a:lnTo>
                    <a:lnTo>
                      <a:pt x="7" y="10"/>
                    </a:lnTo>
                    <a:lnTo>
                      <a:pt x="9" y="13"/>
                    </a:lnTo>
                    <a:lnTo>
                      <a:pt x="13" y="9"/>
                    </a:lnTo>
                    <a:lnTo>
                      <a:pt x="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473">
                <a:extLst>
                  <a:ext uri="{FF2B5EF4-FFF2-40B4-BE49-F238E27FC236}">
                    <a16:creationId xmlns:a16="http://schemas.microsoft.com/office/drawing/2014/main" id="{A2C3C835-DF53-4908-B2DF-AC76CC1CF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2063"/>
                <a:ext cx="64" cy="62"/>
              </a:xfrm>
              <a:custGeom>
                <a:avLst/>
                <a:gdLst>
                  <a:gd name="T0" fmla="*/ 96 w 116"/>
                  <a:gd name="T1" fmla="*/ 0 h 115"/>
                  <a:gd name="T2" fmla="*/ 79 w 116"/>
                  <a:gd name="T3" fmla="*/ 17 h 115"/>
                  <a:gd name="T4" fmla="*/ 86 w 116"/>
                  <a:gd name="T5" fmla="*/ 24 h 115"/>
                  <a:gd name="T6" fmla="*/ 86 w 116"/>
                  <a:gd name="T7" fmla="*/ 34 h 115"/>
                  <a:gd name="T8" fmla="*/ 35 w 116"/>
                  <a:gd name="T9" fmla="*/ 85 h 115"/>
                  <a:gd name="T10" fmla="*/ 29 w 116"/>
                  <a:gd name="T11" fmla="*/ 88 h 115"/>
                  <a:gd name="T12" fmla="*/ 24 w 116"/>
                  <a:gd name="T13" fmla="*/ 85 h 115"/>
                  <a:gd name="T14" fmla="*/ 17 w 116"/>
                  <a:gd name="T15" fmla="*/ 79 h 115"/>
                  <a:gd name="T16" fmla="*/ 0 w 116"/>
                  <a:gd name="T17" fmla="*/ 96 h 115"/>
                  <a:gd name="T18" fmla="*/ 17 w 116"/>
                  <a:gd name="T19" fmla="*/ 113 h 115"/>
                  <a:gd name="T20" fmla="*/ 17 w 116"/>
                  <a:gd name="T21" fmla="*/ 113 h 115"/>
                  <a:gd name="T22" fmla="*/ 20 w 116"/>
                  <a:gd name="T23" fmla="*/ 115 h 115"/>
                  <a:gd name="T24" fmla="*/ 116 w 116"/>
                  <a:gd name="T25" fmla="*/ 19 h 115"/>
                  <a:gd name="T26" fmla="*/ 96 w 116"/>
                  <a:gd name="T27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6" h="115">
                    <a:moveTo>
                      <a:pt x="96" y="0"/>
                    </a:moveTo>
                    <a:cubicBezTo>
                      <a:pt x="79" y="17"/>
                      <a:pt x="79" y="17"/>
                      <a:pt x="79" y="17"/>
                    </a:cubicBezTo>
                    <a:cubicBezTo>
                      <a:pt x="86" y="24"/>
                      <a:pt x="86" y="24"/>
                      <a:pt x="86" y="24"/>
                    </a:cubicBezTo>
                    <a:cubicBezTo>
                      <a:pt x="89" y="27"/>
                      <a:pt x="89" y="31"/>
                      <a:pt x="86" y="34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3" y="87"/>
                      <a:pt x="31" y="88"/>
                      <a:pt x="29" y="88"/>
                    </a:cubicBezTo>
                    <a:cubicBezTo>
                      <a:pt x="27" y="88"/>
                      <a:pt x="25" y="87"/>
                      <a:pt x="24" y="85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17" y="113"/>
                      <a:pt x="17" y="113"/>
                      <a:pt x="17" y="113"/>
                    </a:cubicBezTo>
                    <a:cubicBezTo>
                      <a:pt x="17" y="113"/>
                      <a:pt x="17" y="113"/>
                      <a:pt x="17" y="113"/>
                    </a:cubicBezTo>
                    <a:cubicBezTo>
                      <a:pt x="20" y="115"/>
                      <a:pt x="20" y="115"/>
                      <a:pt x="20" y="115"/>
                    </a:cubicBezTo>
                    <a:cubicBezTo>
                      <a:pt x="61" y="87"/>
                      <a:pt x="87" y="60"/>
                      <a:pt x="116" y="19"/>
                    </a:cubicBezTo>
                    <a:cubicBezTo>
                      <a:pt x="96" y="0"/>
                      <a:pt x="96" y="0"/>
                      <a:pt x="96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474">
                <a:extLst>
                  <a:ext uri="{FF2B5EF4-FFF2-40B4-BE49-F238E27FC236}">
                    <a16:creationId xmlns:a16="http://schemas.microsoft.com/office/drawing/2014/main" id="{D08D8E9F-25FC-4523-94E0-91A5FE877E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30" y="2072"/>
                <a:ext cx="39" cy="39"/>
              </a:xfrm>
              <a:custGeom>
                <a:avLst/>
                <a:gdLst>
                  <a:gd name="T0" fmla="*/ 43 w 72"/>
                  <a:gd name="T1" fmla="*/ 26 h 71"/>
                  <a:gd name="T2" fmla="*/ 42 w 72"/>
                  <a:gd name="T3" fmla="*/ 27 h 71"/>
                  <a:gd name="T4" fmla="*/ 43 w 72"/>
                  <a:gd name="T5" fmla="*/ 29 h 71"/>
                  <a:gd name="T6" fmla="*/ 44 w 72"/>
                  <a:gd name="T7" fmla="*/ 29 h 71"/>
                  <a:gd name="T8" fmla="*/ 45 w 72"/>
                  <a:gd name="T9" fmla="*/ 29 h 71"/>
                  <a:gd name="T10" fmla="*/ 44 w 72"/>
                  <a:gd name="T11" fmla="*/ 27 h 71"/>
                  <a:gd name="T12" fmla="*/ 43 w 72"/>
                  <a:gd name="T13" fmla="*/ 26 h 71"/>
                  <a:gd name="T14" fmla="*/ 62 w 72"/>
                  <a:gd name="T15" fmla="*/ 0 h 71"/>
                  <a:gd name="T16" fmla="*/ 57 w 72"/>
                  <a:gd name="T17" fmla="*/ 6 h 71"/>
                  <a:gd name="T18" fmla="*/ 57 w 72"/>
                  <a:gd name="T19" fmla="*/ 6 h 71"/>
                  <a:gd name="T20" fmla="*/ 58 w 72"/>
                  <a:gd name="T21" fmla="*/ 7 h 71"/>
                  <a:gd name="T22" fmla="*/ 59 w 72"/>
                  <a:gd name="T23" fmla="*/ 9 h 71"/>
                  <a:gd name="T24" fmla="*/ 60 w 72"/>
                  <a:gd name="T25" fmla="*/ 9 h 71"/>
                  <a:gd name="T26" fmla="*/ 62 w 72"/>
                  <a:gd name="T27" fmla="*/ 10 h 71"/>
                  <a:gd name="T28" fmla="*/ 62 w 72"/>
                  <a:gd name="T29" fmla="*/ 15 h 71"/>
                  <a:gd name="T30" fmla="*/ 58 w 72"/>
                  <a:gd name="T31" fmla="*/ 19 h 71"/>
                  <a:gd name="T32" fmla="*/ 51 w 72"/>
                  <a:gd name="T33" fmla="*/ 11 h 71"/>
                  <a:gd name="T34" fmla="*/ 49 w 72"/>
                  <a:gd name="T35" fmla="*/ 13 h 71"/>
                  <a:gd name="T36" fmla="*/ 49 w 72"/>
                  <a:gd name="T37" fmla="*/ 13 h 71"/>
                  <a:gd name="T38" fmla="*/ 51 w 72"/>
                  <a:gd name="T39" fmla="*/ 14 h 71"/>
                  <a:gd name="T40" fmla="*/ 49 w 72"/>
                  <a:gd name="T41" fmla="*/ 16 h 71"/>
                  <a:gd name="T42" fmla="*/ 48 w 72"/>
                  <a:gd name="T43" fmla="*/ 16 h 71"/>
                  <a:gd name="T44" fmla="*/ 47 w 72"/>
                  <a:gd name="T45" fmla="*/ 16 h 71"/>
                  <a:gd name="T46" fmla="*/ 48 w 72"/>
                  <a:gd name="T47" fmla="*/ 20 h 71"/>
                  <a:gd name="T48" fmla="*/ 50 w 72"/>
                  <a:gd name="T49" fmla="*/ 22 h 71"/>
                  <a:gd name="T50" fmla="*/ 52 w 72"/>
                  <a:gd name="T51" fmla="*/ 21 h 71"/>
                  <a:gd name="T52" fmla="*/ 52 w 72"/>
                  <a:gd name="T53" fmla="*/ 19 h 71"/>
                  <a:gd name="T54" fmla="*/ 51 w 72"/>
                  <a:gd name="T55" fmla="*/ 20 h 71"/>
                  <a:gd name="T56" fmla="*/ 49 w 72"/>
                  <a:gd name="T57" fmla="*/ 18 h 71"/>
                  <a:gd name="T58" fmla="*/ 52 w 72"/>
                  <a:gd name="T59" fmla="*/ 15 h 71"/>
                  <a:gd name="T60" fmla="*/ 54 w 72"/>
                  <a:gd name="T61" fmla="*/ 23 h 71"/>
                  <a:gd name="T62" fmla="*/ 50 w 72"/>
                  <a:gd name="T63" fmla="*/ 25 h 71"/>
                  <a:gd name="T64" fmla="*/ 46 w 72"/>
                  <a:gd name="T65" fmla="*/ 23 h 71"/>
                  <a:gd name="T66" fmla="*/ 44 w 72"/>
                  <a:gd name="T67" fmla="*/ 19 h 71"/>
                  <a:gd name="T68" fmla="*/ 44 w 72"/>
                  <a:gd name="T69" fmla="*/ 19 h 71"/>
                  <a:gd name="T70" fmla="*/ 40 w 72"/>
                  <a:gd name="T71" fmla="*/ 22 h 71"/>
                  <a:gd name="T72" fmla="*/ 40 w 72"/>
                  <a:gd name="T73" fmla="*/ 22 h 71"/>
                  <a:gd name="T74" fmla="*/ 41 w 72"/>
                  <a:gd name="T75" fmla="*/ 25 h 71"/>
                  <a:gd name="T76" fmla="*/ 43 w 72"/>
                  <a:gd name="T77" fmla="*/ 23 h 71"/>
                  <a:gd name="T78" fmla="*/ 46 w 72"/>
                  <a:gd name="T79" fmla="*/ 25 h 71"/>
                  <a:gd name="T80" fmla="*/ 46 w 72"/>
                  <a:gd name="T81" fmla="*/ 31 h 71"/>
                  <a:gd name="T82" fmla="*/ 44 w 72"/>
                  <a:gd name="T83" fmla="*/ 32 h 71"/>
                  <a:gd name="T84" fmla="*/ 41 w 72"/>
                  <a:gd name="T85" fmla="*/ 31 h 71"/>
                  <a:gd name="T86" fmla="*/ 39 w 72"/>
                  <a:gd name="T87" fmla="*/ 28 h 71"/>
                  <a:gd name="T88" fmla="*/ 38 w 72"/>
                  <a:gd name="T89" fmla="*/ 24 h 71"/>
                  <a:gd name="T90" fmla="*/ 38 w 72"/>
                  <a:gd name="T91" fmla="*/ 24 h 71"/>
                  <a:gd name="T92" fmla="*/ 34 w 72"/>
                  <a:gd name="T93" fmla="*/ 28 h 71"/>
                  <a:gd name="T94" fmla="*/ 40 w 72"/>
                  <a:gd name="T95" fmla="*/ 34 h 71"/>
                  <a:gd name="T96" fmla="*/ 41 w 72"/>
                  <a:gd name="T97" fmla="*/ 33 h 71"/>
                  <a:gd name="T98" fmla="*/ 43 w 72"/>
                  <a:gd name="T99" fmla="*/ 34 h 71"/>
                  <a:gd name="T100" fmla="*/ 38 w 72"/>
                  <a:gd name="T101" fmla="*/ 39 h 71"/>
                  <a:gd name="T102" fmla="*/ 37 w 72"/>
                  <a:gd name="T103" fmla="*/ 37 h 71"/>
                  <a:gd name="T104" fmla="*/ 38 w 72"/>
                  <a:gd name="T105" fmla="*/ 36 h 71"/>
                  <a:gd name="T106" fmla="*/ 33 w 72"/>
                  <a:gd name="T107" fmla="*/ 30 h 71"/>
                  <a:gd name="T108" fmla="*/ 32 w 72"/>
                  <a:gd name="T109" fmla="*/ 31 h 71"/>
                  <a:gd name="T110" fmla="*/ 31 w 72"/>
                  <a:gd name="T111" fmla="*/ 31 h 71"/>
                  <a:gd name="T112" fmla="*/ 0 w 72"/>
                  <a:gd name="T113" fmla="*/ 62 h 71"/>
                  <a:gd name="T114" fmla="*/ 7 w 72"/>
                  <a:gd name="T115" fmla="*/ 68 h 71"/>
                  <a:gd name="T116" fmla="*/ 12 w 72"/>
                  <a:gd name="T117" fmla="*/ 71 h 71"/>
                  <a:gd name="T118" fmla="*/ 18 w 72"/>
                  <a:gd name="T119" fmla="*/ 68 h 71"/>
                  <a:gd name="T120" fmla="*/ 69 w 72"/>
                  <a:gd name="T121" fmla="*/ 17 h 71"/>
                  <a:gd name="T122" fmla="*/ 69 w 72"/>
                  <a:gd name="T123" fmla="*/ 7 h 71"/>
                  <a:gd name="T124" fmla="*/ 62 w 72"/>
                  <a:gd name="T12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2" h="71">
                    <a:moveTo>
                      <a:pt x="43" y="26"/>
                    </a:moveTo>
                    <a:cubicBezTo>
                      <a:pt x="43" y="26"/>
                      <a:pt x="43" y="26"/>
                      <a:pt x="42" y="27"/>
                    </a:cubicBezTo>
                    <a:cubicBezTo>
                      <a:pt x="42" y="27"/>
                      <a:pt x="42" y="28"/>
                      <a:pt x="43" y="29"/>
                    </a:cubicBezTo>
                    <a:cubicBezTo>
                      <a:pt x="43" y="29"/>
                      <a:pt x="44" y="29"/>
                      <a:pt x="44" y="29"/>
                    </a:cubicBezTo>
                    <a:cubicBezTo>
                      <a:pt x="44" y="29"/>
                      <a:pt x="44" y="29"/>
                      <a:pt x="45" y="29"/>
                    </a:cubicBezTo>
                    <a:cubicBezTo>
                      <a:pt x="45" y="28"/>
                      <a:pt x="45" y="28"/>
                      <a:pt x="44" y="27"/>
                    </a:cubicBezTo>
                    <a:cubicBezTo>
                      <a:pt x="44" y="27"/>
                      <a:pt x="43" y="26"/>
                      <a:pt x="43" y="26"/>
                    </a:cubicBezTo>
                    <a:moveTo>
                      <a:pt x="62" y="0"/>
                    </a:move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58" y="6"/>
                      <a:pt x="58" y="7"/>
                    </a:cubicBezTo>
                    <a:cubicBezTo>
                      <a:pt x="59" y="7"/>
                      <a:pt x="59" y="8"/>
                      <a:pt x="59" y="9"/>
                    </a:cubicBezTo>
                    <a:cubicBezTo>
                      <a:pt x="59" y="9"/>
                      <a:pt x="59" y="9"/>
                      <a:pt x="60" y="9"/>
                    </a:cubicBezTo>
                    <a:cubicBezTo>
                      <a:pt x="60" y="9"/>
                      <a:pt x="61" y="9"/>
                      <a:pt x="62" y="10"/>
                    </a:cubicBezTo>
                    <a:cubicBezTo>
                      <a:pt x="64" y="11"/>
                      <a:pt x="64" y="14"/>
                      <a:pt x="62" y="15"/>
                    </a:cubicBezTo>
                    <a:cubicBezTo>
                      <a:pt x="58" y="19"/>
                      <a:pt x="58" y="19"/>
                      <a:pt x="58" y="19"/>
                    </a:cubicBezTo>
                    <a:cubicBezTo>
                      <a:pt x="51" y="11"/>
                      <a:pt x="51" y="11"/>
                      <a:pt x="51" y="11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50" y="13"/>
                      <a:pt x="51" y="13"/>
                      <a:pt x="51" y="14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9" y="16"/>
                      <a:pt x="49" y="16"/>
                      <a:pt x="48" y="16"/>
                    </a:cubicBezTo>
                    <a:cubicBezTo>
                      <a:pt x="48" y="16"/>
                      <a:pt x="47" y="16"/>
                      <a:pt x="47" y="16"/>
                    </a:cubicBezTo>
                    <a:cubicBezTo>
                      <a:pt x="46" y="17"/>
                      <a:pt x="46" y="19"/>
                      <a:pt x="48" y="20"/>
                    </a:cubicBezTo>
                    <a:cubicBezTo>
                      <a:pt x="49" y="21"/>
                      <a:pt x="50" y="22"/>
                      <a:pt x="50" y="22"/>
                    </a:cubicBezTo>
                    <a:cubicBezTo>
                      <a:pt x="51" y="22"/>
                      <a:pt x="52" y="22"/>
                      <a:pt x="52" y="21"/>
                    </a:cubicBezTo>
                    <a:cubicBezTo>
                      <a:pt x="53" y="21"/>
                      <a:pt x="53" y="20"/>
                      <a:pt x="52" y="19"/>
                    </a:cubicBezTo>
                    <a:cubicBezTo>
                      <a:pt x="51" y="20"/>
                      <a:pt x="51" y="20"/>
                      <a:pt x="51" y="20"/>
                    </a:cubicBezTo>
                    <a:cubicBezTo>
                      <a:pt x="49" y="18"/>
                      <a:pt x="49" y="18"/>
                      <a:pt x="49" y="18"/>
                    </a:cubicBezTo>
                    <a:cubicBezTo>
                      <a:pt x="52" y="15"/>
                      <a:pt x="52" y="15"/>
                      <a:pt x="52" y="15"/>
                    </a:cubicBezTo>
                    <a:cubicBezTo>
                      <a:pt x="55" y="17"/>
                      <a:pt x="57" y="21"/>
                      <a:pt x="54" y="23"/>
                    </a:cubicBezTo>
                    <a:cubicBezTo>
                      <a:pt x="53" y="24"/>
                      <a:pt x="52" y="25"/>
                      <a:pt x="50" y="25"/>
                    </a:cubicBezTo>
                    <a:cubicBezTo>
                      <a:pt x="49" y="25"/>
                      <a:pt x="47" y="24"/>
                      <a:pt x="46" y="23"/>
                    </a:cubicBezTo>
                    <a:cubicBezTo>
                      <a:pt x="44" y="21"/>
                      <a:pt x="44" y="20"/>
                      <a:pt x="44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2" y="24"/>
                      <a:pt x="43" y="23"/>
                      <a:pt x="43" y="23"/>
                    </a:cubicBezTo>
                    <a:cubicBezTo>
                      <a:pt x="44" y="23"/>
                      <a:pt x="45" y="24"/>
                      <a:pt x="46" y="25"/>
                    </a:cubicBezTo>
                    <a:cubicBezTo>
                      <a:pt x="48" y="27"/>
                      <a:pt x="48" y="29"/>
                      <a:pt x="46" y="31"/>
                    </a:cubicBezTo>
                    <a:cubicBezTo>
                      <a:pt x="46" y="32"/>
                      <a:pt x="45" y="32"/>
                      <a:pt x="44" y="32"/>
                    </a:cubicBezTo>
                    <a:cubicBezTo>
                      <a:pt x="43" y="32"/>
                      <a:pt x="42" y="32"/>
                      <a:pt x="41" y="31"/>
                    </a:cubicBezTo>
                    <a:cubicBezTo>
                      <a:pt x="40" y="30"/>
                      <a:pt x="40" y="29"/>
                      <a:pt x="39" y="28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4" y="28"/>
                      <a:pt x="34" y="28"/>
                      <a:pt x="34" y="28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43" y="34"/>
                      <a:pt x="43" y="34"/>
                      <a:pt x="43" y="34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7" y="37"/>
                      <a:pt x="37" y="37"/>
                      <a:pt x="37" y="37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1" y="31"/>
                      <a:pt x="31" y="31"/>
                      <a:pt x="31" y="31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7" y="68"/>
                      <a:pt x="7" y="68"/>
                      <a:pt x="7" y="68"/>
                    </a:cubicBezTo>
                    <a:cubicBezTo>
                      <a:pt x="8" y="70"/>
                      <a:pt x="10" y="71"/>
                      <a:pt x="12" y="71"/>
                    </a:cubicBezTo>
                    <a:cubicBezTo>
                      <a:pt x="14" y="71"/>
                      <a:pt x="16" y="70"/>
                      <a:pt x="18" y="68"/>
                    </a:cubicBezTo>
                    <a:cubicBezTo>
                      <a:pt x="69" y="17"/>
                      <a:pt x="69" y="17"/>
                      <a:pt x="69" y="17"/>
                    </a:cubicBezTo>
                    <a:cubicBezTo>
                      <a:pt x="72" y="14"/>
                      <a:pt x="72" y="10"/>
                      <a:pt x="69" y="7"/>
                    </a:cubicBezTo>
                    <a:cubicBezTo>
                      <a:pt x="62" y="0"/>
                      <a:pt x="62" y="0"/>
                      <a:pt x="62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475">
                <a:extLst>
                  <a:ext uri="{FF2B5EF4-FFF2-40B4-BE49-F238E27FC236}">
                    <a16:creationId xmlns:a16="http://schemas.microsoft.com/office/drawing/2014/main" id="{31173EE4-93C5-4D06-835D-24D95BAF6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2 h 4"/>
                  <a:gd name="T4" fmla="*/ 2 w 4"/>
                  <a:gd name="T5" fmla="*/ 4 h 4"/>
                  <a:gd name="T6" fmla="*/ 4 w 4"/>
                  <a:gd name="T7" fmla="*/ 2 h 4"/>
                  <a:gd name="T8" fmla="*/ 2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2121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Freeform 476">
                <a:extLst>
                  <a:ext uri="{FF2B5EF4-FFF2-40B4-BE49-F238E27FC236}">
                    <a16:creationId xmlns:a16="http://schemas.microsoft.com/office/drawing/2014/main" id="{47CB574F-8205-4692-8F4A-4816A3761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2 h 4"/>
                  <a:gd name="T4" fmla="*/ 2 w 4"/>
                  <a:gd name="T5" fmla="*/ 4 h 4"/>
                  <a:gd name="T6" fmla="*/ 4 w 4"/>
                  <a:gd name="T7" fmla="*/ 2 h 4"/>
                  <a:gd name="T8" fmla="*/ 2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477">
                <a:extLst>
                  <a:ext uri="{FF2B5EF4-FFF2-40B4-BE49-F238E27FC236}">
                    <a16:creationId xmlns:a16="http://schemas.microsoft.com/office/drawing/2014/main" id="{AB30515E-C711-4F72-9542-AB954CF37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3" y="2055"/>
                <a:ext cx="14" cy="18"/>
              </a:xfrm>
              <a:custGeom>
                <a:avLst/>
                <a:gdLst>
                  <a:gd name="T0" fmla="*/ 14 w 26"/>
                  <a:gd name="T1" fmla="*/ 0 h 33"/>
                  <a:gd name="T2" fmla="*/ 0 w 26"/>
                  <a:gd name="T3" fmla="*/ 14 h 33"/>
                  <a:gd name="T4" fmla="*/ 20 w 26"/>
                  <a:gd name="T5" fmla="*/ 33 h 33"/>
                  <a:gd name="T6" fmla="*/ 20 w 26"/>
                  <a:gd name="T7" fmla="*/ 33 h 33"/>
                  <a:gd name="T8" fmla="*/ 26 w 26"/>
                  <a:gd name="T9" fmla="*/ 20 h 33"/>
                  <a:gd name="T10" fmla="*/ 26 w 26"/>
                  <a:gd name="T11" fmla="*/ 19 h 33"/>
                  <a:gd name="T12" fmla="*/ 14 w 26"/>
                  <a:gd name="T13" fmla="*/ 0 h 33"/>
                  <a:gd name="T14" fmla="*/ 14 w 26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3">
                    <a:moveTo>
                      <a:pt x="14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20" y="33"/>
                      <a:pt x="26" y="24"/>
                      <a:pt x="26" y="20"/>
                    </a:cubicBezTo>
                    <a:cubicBezTo>
                      <a:pt x="26" y="20"/>
                      <a:pt x="26" y="20"/>
                      <a:pt x="26" y="19"/>
                    </a:cubicBezTo>
                    <a:cubicBezTo>
                      <a:pt x="25" y="14"/>
                      <a:pt x="20" y="7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478">
                <a:extLst>
                  <a:ext uri="{FF2B5EF4-FFF2-40B4-BE49-F238E27FC236}">
                    <a16:creationId xmlns:a16="http://schemas.microsoft.com/office/drawing/2014/main" id="{FF114925-86BC-48BE-89A6-A26EAC5E91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7" y="2087"/>
                <a:ext cx="6" cy="6"/>
              </a:xfrm>
              <a:custGeom>
                <a:avLst/>
                <a:gdLst>
                  <a:gd name="T0" fmla="*/ 1 w 6"/>
                  <a:gd name="T1" fmla="*/ 0 h 6"/>
                  <a:gd name="T2" fmla="*/ 0 w 6"/>
                  <a:gd name="T3" fmla="*/ 2 h 6"/>
                  <a:gd name="T4" fmla="*/ 0 w 6"/>
                  <a:gd name="T5" fmla="*/ 2 h 6"/>
                  <a:gd name="T6" fmla="*/ 1 w 6"/>
                  <a:gd name="T7" fmla="*/ 1 h 6"/>
                  <a:gd name="T8" fmla="*/ 3 w 6"/>
                  <a:gd name="T9" fmla="*/ 5 h 6"/>
                  <a:gd name="T10" fmla="*/ 3 w 6"/>
                  <a:gd name="T11" fmla="*/ 5 h 6"/>
                  <a:gd name="T12" fmla="*/ 3 w 6"/>
                  <a:gd name="T13" fmla="*/ 6 h 6"/>
                  <a:gd name="T14" fmla="*/ 6 w 6"/>
                  <a:gd name="T15" fmla="*/ 3 h 6"/>
                  <a:gd name="T16" fmla="*/ 5 w 6"/>
                  <a:gd name="T17" fmla="*/ 3 h 6"/>
                  <a:gd name="T18" fmla="*/ 4 w 6"/>
                  <a:gd name="T19" fmla="*/ 3 h 6"/>
                  <a:gd name="T20" fmla="*/ 1 w 6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479">
                <a:extLst>
                  <a:ext uri="{FF2B5EF4-FFF2-40B4-BE49-F238E27FC236}">
                    <a16:creationId xmlns:a16="http://schemas.microsoft.com/office/drawing/2014/main" id="{3EC4FAC2-A67E-4FE4-AAFF-47960A718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7" y="2087"/>
                <a:ext cx="6" cy="6"/>
              </a:xfrm>
              <a:custGeom>
                <a:avLst/>
                <a:gdLst>
                  <a:gd name="T0" fmla="*/ 1 w 6"/>
                  <a:gd name="T1" fmla="*/ 0 h 6"/>
                  <a:gd name="T2" fmla="*/ 0 w 6"/>
                  <a:gd name="T3" fmla="*/ 2 h 6"/>
                  <a:gd name="T4" fmla="*/ 0 w 6"/>
                  <a:gd name="T5" fmla="*/ 2 h 6"/>
                  <a:gd name="T6" fmla="*/ 1 w 6"/>
                  <a:gd name="T7" fmla="*/ 1 h 6"/>
                  <a:gd name="T8" fmla="*/ 3 w 6"/>
                  <a:gd name="T9" fmla="*/ 5 h 6"/>
                  <a:gd name="T10" fmla="*/ 3 w 6"/>
                  <a:gd name="T11" fmla="*/ 5 h 6"/>
                  <a:gd name="T12" fmla="*/ 3 w 6"/>
                  <a:gd name="T13" fmla="*/ 6 h 6"/>
                  <a:gd name="T14" fmla="*/ 6 w 6"/>
                  <a:gd name="T15" fmla="*/ 3 h 6"/>
                  <a:gd name="T16" fmla="*/ 5 w 6"/>
                  <a:gd name="T17" fmla="*/ 3 h 6"/>
                  <a:gd name="T18" fmla="*/ 4 w 6"/>
                  <a:gd name="T19" fmla="*/ 3 h 6"/>
                  <a:gd name="T20" fmla="*/ 1 w 6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480">
                <a:extLst>
                  <a:ext uri="{FF2B5EF4-FFF2-40B4-BE49-F238E27FC236}">
                    <a16:creationId xmlns:a16="http://schemas.microsoft.com/office/drawing/2014/main" id="{383433D8-8C96-4051-9300-1318DD64E6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0" y="2084"/>
                <a:ext cx="6" cy="5"/>
              </a:xfrm>
              <a:custGeom>
                <a:avLst/>
                <a:gdLst>
                  <a:gd name="T0" fmla="*/ 6 w 10"/>
                  <a:gd name="T1" fmla="*/ 7 h 10"/>
                  <a:gd name="T2" fmla="*/ 5 w 10"/>
                  <a:gd name="T3" fmla="*/ 7 h 10"/>
                  <a:gd name="T4" fmla="*/ 4 w 10"/>
                  <a:gd name="T5" fmla="*/ 5 h 10"/>
                  <a:gd name="T6" fmla="*/ 5 w 10"/>
                  <a:gd name="T7" fmla="*/ 4 h 10"/>
                  <a:gd name="T8" fmla="*/ 6 w 10"/>
                  <a:gd name="T9" fmla="*/ 5 h 10"/>
                  <a:gd name="T10" fmla="*/ 7 w 10"/>
                  <a:gd name="T11" fmla="*/ 7 h 10"/>
                  <a:gd name="T12" fmla="*/ 6 w 10"/>
                  <a:gd name="T13" fmla="*/ 7 h 10"/>
                  <a:gd name="T14" fmla="*/ 2 w 10"/>
                  <a:gd name="T15" fmla="*/ 0 h 10"/>
                  <a:gd name="T16" fmla="*/ 0 w 10"/>
                  <a:gd name="T17" fmla="*/ 2 h 10"/>
                  <a:gd name="T18" fmla="*/ 0 w 10"/>
                  <a:gd name="T19" fmla="*/ 2 h 10"/>
                  <a:gd name="T20" fmla="*/ 1 w 10"/>
                  <a:gd name="T21" fmla="*/ 6 h 10"/>
                  <a:gd name="T22" fmla="*/ 3 w 10"/>
                  <a:gd name="T23" fmla="*/ 9 h 10"/>
                  <a:gd name="T24" fmla="*/ 6 w 10"/>
                  <a:gd name="T25" fmla="*/ 10 h 10"/>
                  <a:gd name="T26" fmla="*/ 8 w 10"/>
                  <a:gd name="T27" fmla="*/ 9 h 10"/>
                  <a:gd name="T28" fmla="*/ 8 w 10"/>
                  <a:gd name="T29" fmla="*/ 3 h 10"/>
                  <a:gd name="T30" fmla="*/ 5 w 10"/>
                  <a:gd name="T31" fmla="*/ 1 h 10"/>
                  <a:gd name="T32" fmla="*/ 3 w 10"/>
                  <a:gd name="T33" fmla="*/ 3 h 10"/>
                  <a:gd name="T34" fmla="*/ 2 w 10"/>
                  <a:gd name="T35" fmla="*/ 0 h 10"/>
                  <a:gd name="T36" fmla="*/ 2 w 10"/>
                  <a:gd name="T3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" h="10">
                    <a:moveTo>
                      <a:pt x="6" y="7"/>
                    </a:moveTo>
                    <a:cubicBezTo>
                      <a:pt x="6" y="7"/>
                      <a:pt x="5" y="7"/>
                      <a:pt x="5" y="7"/>
                    </a:cubicBezTo>
                    <a:cubicBezTo>
                      <a:pt x="4" y="6"/>
                      <a:pt x="4" y="5"/>
                      <a:pt x="4" y="5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6" y="5"/>
                      <a:pt x="6" y="5"/>
                    </a:cubicBezTo>
                    <a:cubicBezTo>
                      <a:pt x="7" y="6"/>
                      <a:pt x="7" y="6"/>
                      <a:pt x="7" y="7"/>
                    </a:cubicBezTo>
                    <a:cubicBezTo>
                      <a:pt x="6" y="7"/>
                      <a:pt x="6" y="7"/>
                      <a:pt x="6" y="7"/>
                    </a:cubicBezTo>
                    <a:moveTo>
                      <a:pt x="2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2" y="7"/>
                      <a:pt x="2" y="8"/>
                      <a:pt x="3" y="9"/>
                    </a:cubicBezTo>
                    <a:cubicBezTo>
                      <a:pt x="4" y="10"/>
                      <a:pt x="5" y="10"/>
                      <a:pt x="6" y="10"/>
                    </a:cubicBezTo>
                    <a:cubicBezTo>
                      <a:pt x="7" y="10"/>
                      <a:pt x="8" y="10"/>
                      <a:pt x="8" y="9"/>
                    </a:cubicBezTo>
                    <a:cubicBezTo>
                      <a:pt x="10" y="7"/>
                      <a:pt x="10" y="5"/>
                      <a:pt x="8" y="3"/>
                    </a:cubicBezTo>
                    <a:cubicBezTo>
                      <a:pt x="7" y="2"/>
                      <a:pt x="6" y="1"/>
                      <a:pt x="5" y="1"/>
                    </a:cubicBezTo>
                    <a:cubicBezTo>
                      <a:pt x="5" y="1"/>
                      <a:pt x="4" y="2"/>
                      <a:pt x="3" y="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481">
                <a:extLst>
                  <a:ext uri="{FF2B5EF4-FFF2-40B4-BE49-F238E27FC236}">
                    <a16:creationId xmlns:a16="http://schemas.microsoft.com/office/drawing/2014/main" id="{8C2A99D8-D6A7-4F92-956C-6FA00F7A3F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" y="2079"/>
                <a:ext cx="7" cy="7"/>
              </a:xfrm>
              <a:custGeom>
                <a:avLst/>
                <a:gdLst>
                  <a:gd name="T0" fmla="*/ 5 w 13"/>
                  <a:gd name="T1" fmla="*/ 0 h 12"/>
                  <a:gd name="T2" fmla="*/ 0 w 13"/>
                  <a:gd name="T3" fmla="*/ 6 h 12"/>
                  <a:gd name="T4" fmla="*/ 0 w 13"/>
                  <a:gd name="T5" fmla="*/ 6 h 12"/>
                  <a:gd name="T6" fmla="*/ 2 w 13"/>
                  <a:gd name="T7" fmla="*/ 10 h 12"/>
                  <a:gd name="T8" fmla="*/ 6 w 13"/>
                  <a:gd name="T9" fmla="*/ 12 h 12"/>
                  <a:gd name="T10" fmla="*/ 10 w 13"/>
                  <a:gd name="T11" fmla="*/ 10 h 12"/>
                  <a:gd name="T12" fmla="*/ 8 w 13"/>
                  <a:gd name="T13" fmla="*/ 2 h 12"/>
                  <a:gd name="T14" fmla="*/ 5 w 13"/>
                  <a:gd name="T15" fmla="*/ 5 h 12"/>
                  <a:gd name="T16" fmla="*/ 7 w 13"/>
                  <a:gd name="T17" fmla="*/ 7 h 12"/>
                  <a:gd name="T18" fmla="*/ 8 w 13"/>
                  <a:gd name="T19" fmla="*/ 6 h 12"/>
                  <a:gd name="T20" fmla="*/ 8 w 13"/>
                  <a:gd name="T21" fmla="*/ 8 h 12"/>
                  <a:gd name="T22" fmla="*/ 6 w 13"/>
                  <a:gd name="T23" fmla="*/ 9 h 12"/>
                  <a:gd name="T24" fmla="*/ 4 w 13"/>
                  <a:gd name="T25" fmla="*/ 7 h 12"/>
                  <a:gd name="T26" fmla="*/ 3 w 13"/>
                  <a:gd name="T27" fmla="*/ 3 h 12"/>
                  <a:gd name="T28" fmla="*/ 4 w 13"/>
                  <a:gd name="T29" fmla="*/ 3 h 12"/>
                  <a:gd name="T30" fmla="*/ 5 w 13"/>
                  <a:gd name="T31" fmla="*/ 3 h 12"/>
                  <a:gd name="T32" fmla="*/ 7 w 13"/>
                  <a:gd name="T33" fmla="*/ 1 h 12"/>
                  <a:gd name="T34" fmla="*/ 5 w 13"/>
                  <a:gd name="T35" fmla="*/ 0 h 12"/>
                  <a:gd name="T36" fmla="*/ 5 w 13"/>
                  <a:gd name="T3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12">
                    <a:moveTo>
                      <a:pt x="5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8"/>
                      <a:pt x="2" y="10"/>
                    </a:cubicBezTo>
                    <a:cubicBezTo>
                      <a:pt x="3" y="11"/>
                      <a:pt x="5" y="12"/>
                      <a:pt x="6" y="12"/>
                    </a:cubicBezTo>
                    <a:cubicBezTo>
                      <a:pt x="8" y="12"/>
                      <a:pt x="9" y="11"/>
                      <a:pt x="10" y="10"/>
                    </a:cubicBezTo>
                    <a:cubicBezTo>
                      <a:pt x="13" y="8"/>
                      <a:pt x="11" y="4"/>
                      <a:pt x="8" y="2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7"/>
                      <a:pt x="9" y="8"/>
                      <a:pt x="8" y="8"/>
                    </a:cubicBezTo>
                    <a:cubicBezTo>
                      <a:pt x="8" y="9"/>
                      <a:pt x="7" y="9"/>
                      <a:pt x="6" y="9"/>
                    </a:cubicBezTo>
                    <a:cubicBezTo>
                      <a:pt x="6" y="9"/>
                      <a:pt x="5" y="8"/>
                      <a:pt x="4" y="7"/>
                    </a:cubicBezTo>
                    <a:cubicBezTo>
                      <a:pt x="2" y="6"/>
                      <a:pt x="2" y="4"/>
                      <a:pt x="3" y="3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0"/>
                      <a:pt x="6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482">
                <a:extLst>
                  <a:ext uri="{FF2B5EF4-FFF2-40B4-BE49-F238E27FC236}">
                    <a16:creationId xmlns:a16="http://schemas.microsoft.com/office/drawing/2014/main" id="{50342975-A6CF-48F1-961C-B73C9BF50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9" y="2076"/>
                <a:ext cx="3" cy="4"/>
              </a:xfrm>
              <a:custGeom>
                <a:avLst/>
                <a:gdLst>
                  <a:gd name="T0" fmla="*/ 5 w 6"/>
                  <a:gd name="T1" fmla="*/ 4 h 6"/>
                  <a:gd name="T2" fmla="*/ 4 w 6"/>
                  <a:gd name="T3" fmla="*/ 4 h 6"/>
                  <a:gd name="T4" fmla="*/ 3 w 6"/>
                  <a:gd name="T5" fmla="*/ 5 h 6"/>
                  <a:gd name="T6" fmla="*/ 5 w 6"/>
                  <a:gd name="T7" fmla="*/ 6 h 6"/>
                  <a:gd name="T8" fmla="*/ 6 w 6"/>
                  <a:gd name="T9" fmla="*/ 5 h 6"/>
                  <a:gd name="T10" fmla="*/ 6 w 6"/>
                  <a:gd name="T11" fmla="*/ 4 h 6"/>
                  <a:gd name="T12" fmla="*/ 5 w 6"/>
                  <a:gd name="T13" fmla="*/ 4 h 6"/>
                  <a:gd name="T14" fmla="*/ 1 w 6"/>
                  <a:gd name="T15" fmla="*/ 0 h 6"/>
                  <a:gd name="T16" fmla="*/ 1 w 6"/>
                  <a:gd name="T17" fmla="*/ 1 h 6"/>
                  <a:gd name="T18" fmla="*/ 0 w 6"/>
                  <a:gd name="T19" fmla="*/ 2 h 6"/>
                  <a:gd name="T20" fmla="*/ 1 w 6"/>
                  <a:gd name="T21" fmla="*/ 3 h 6"/>
                  <a:gd name="T22" fmla="*/ 2 w 6"/>
                  <a:gd name="T23" fmla="*/ 2 h 6"/>
                  <a:gd name="T24" fmla="*/ 2 w 6"/>
                  <a:gd name="T25" fmla="*/ 1 h 6"/>
                  <a:gd name="T26" fmla="*/ 1 w 6"/>
                  <a:gd name="T2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6">
                    <a:moveTo>
                      <a:pt x="5" y="4"/>
                    </a:moveTo>
                    <a:cubicBezTo>
                      <a:pt x="5" y="4"/>
                      <a:pt x="4" y="4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4"/>
                      <a:pt x="6" y="4"/>
                    </a:cubicBezTo>
                    <a:cubicBezTo>
                      <a:pt x="5" y="4"/>
                      <a:pt x="5" y="4"/>
                      <a:pt x="5" y="4"/>
                    </a:cubicBezTo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483">
                <a:extLst>
                  <a:ext uri="{FF2B5EF4-FFF2-40B4-BE49-F238E27FC236}">
                    <a16:creationId xmlns:a16="http://schemas.microsoft.com/office/drawing/2014/main" id="{0AD79C15-9410-49EA-A0B7-001956844B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7" y="2075"/>
                <a:ext cx="8" cy="7"/>
              </a:xfrm>
              <a:custGeom>
                <a:avLst/>
                <a:gdLst>
                  <a:gd name="T0" fmla="*/ 8 w 13"/>
                  <a:gd name="T1" fmla="*/ 8 h 13"/>
                  <a:gd name="T2" fmla="*/ 6 w 13"/>
                  <a:gd name="T3" fmla="*/ 7 h 13"/>
                  <a:gd name="T4" fmla="*/ 7 w 13"/>
                  <a:gd name="T5" fmla="*/ 6 h 13"/>
                  <a:gd name="T6" fmla="*/ 8 w 13"/>
                  <a:gd name="T7" fmla="*/ 6 h 13"/>
                  <a:gd name="T8" fmla="*/ 9 w 13"/>
                  <a:gd name="T9" fmla="*/ 6 h 13"/>
                  <a:gd name="T10" fmla="*/ 9 w 13"/>
                  <a:gd name="T11" fmla="*/ 7 h 13"/>
                  <a:gd name="T12" fmla="*/ 8 w 13"/>
                  <a:gd name="T13" fmla="*/ 8 h 13"/>
                  <a:gd name="T14" fmla="*/ 4 w 13"/>
                  <a:gd name="T15" fmla="*/ 5 h 13"/>
                  <a:gd name="T16" fmla="*/ 3 w 13"/>
                  <a:gd name="T17" fmla="*/ 4 h 13"/>
                  <a:gd name="T18" fmla="*/ 4 w 13"/>
                  <a:gd name="T19" fmla="*/ 3 h 13"/>
                  <a:gd name="T20" fmla="*/ 4 w 13"/>
                  <a:gd name="T21" fmla="*/ 2 h 13"/>
                  <a:gd name="T22" fmla="*/ 5 w 13"/>
                  <a:gd name="T23" fmla="*/ 3 h 13"/>
                  <a:gd name="T24" fmla="*/ 5 w 13"/>
                  <a:gd name="T25" fmla="*/ 4 h 13"/>
                  <a:gd name="T26" fmla="*/ 4 w 13"/>
                  <a:gd name="T27" fmla="*/ 5 h 13"/>
                  <a:gd name="T28" fmla="*/ 6 w 13"/>
                  <a:gd name="T29" fmla="*/ 0 h 13"/>
                  <a:gd name="T30" fmla="*/ 0 w 13"/>
                  <a:gd name="T31" fmla="*/ 5 h 13"/>
                  <a:gd name="T32" fmla="*/ 7 w 13"/>
                  <a:gd name="T33" fmla="*/ 13 h 13"/>
                  <a:gd name="T34" fmla="*/ 11 w 13"/>
                  <a:gd name="T35" fmla="*/ 9 h 13"/>
                  <a:gd name="T36" fmla="*/ 11 w 13"/>
                  <a:gd name="T37" fmla="*/ 4 h 13"/>
                  <a:gd name="T38" fmla="*/ 9 w 13"/>
                  <a:gd name="T39" fmla="*/ 3 h 13"/>
                  <a:gd name="T40" fmla="*/ 8 w 13"/>
                  <a:gd name="T41" fmla="*/ 3 h 13"/>
                  <a:gd name="T42" fmla="*/ 7 w 13"/>
                  <a:gd name="T43" fmla="*/ 1 h 13"/>
                  <a:gd name="T44" fmla="*/ 6 w 13"/>
                  <a:gd name="T45" fmla="*/ 0 h 13"/>
                  <a:gd name="T46" fmla="*/ 6 w 13"/>
                  <a:gd name="T4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" h="13">
                    <a:moveTo>
                      <a:pt x="8" y="8"/>
                    </a:moveTo>
                    <a:cubicBezTo>
                      <a:pt x="6" y="7"/>
                      <a:pt x="6" y="7"/>
                      <a:pt x="6" y="7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9" y="6"/>
                    </a:cubicBezTo>
                    <a:cubicBezTo>
                      <a:pt x="9" y="6"/>
                      <a:pt x="9" y="7"/>
                      <a:pt x="9" y="7"/>
                    </a:cubicBezTo>
                    <a:cubicBezTo>
                      <a:pt x="8" y="8"/>
                      <a:pt x="8" y="8"/>
                      <a:pt x="8" y="8"/>
                    </a:cubicBezTo>
                    <a:moveTo>
                      <a:pt x="4" y="5"/>
                    </a:moveTo>
                    <a:cubicBezTo>
                      <a:pt x="3" y="4"/>
                      <a:pt x="3" y="4"/>
                      <a:pt x="3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2"/>
                      <a:pt x="4" y="2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6" y="3"/>
                      <a:pt x="6" y="4"/>
                      <a:pt x="5" y="4"/>
                    </a:cubicBezTo>
                    <a:cubicBezTo>
                      <a:pt x="4" y="5"/>
                      <a:pt x="4" y="5"/>
                      <a:pt x="4" y="5"/>
                    </a:cubicBezTo>
                    <a:moveTo>
                      <a:pt x="6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3" y="8"/>
                      <a:pt x="13" y="5"/>
                      <a:pt x="11" y="4"/>
                    </a:cubicBezTo>
                    <a:cubicBezTo>
                      <a:pt x="10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7" y="1"/>
                    </a:cubicBezTo>
                    <a:cubicBezTo>
                      <a:pt x="7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484">
                <a:extLst>
                  <a:ext uri="{FF2B5EF4-FFF2-40B4-BE49-F238E27FC236}">
                    <a16:creationId xmlns:a16="http://schemas.microsoft.com/office/drawing/2014/main" id="{436BE7DE-BF7D-482B-9611-959F43F05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4" y="2209"/>
                <a:ext cx="452" cy="412"/>
              </a:xfrm>
              <a:custGeom>
                <a:avLst/>
                <a:gdLst>
                  <a:gd name="T0" fmla="*/ 452 w 452"/>
                  <a:gd name="T1" fmla="*/ 159 h 412"/>
                  <a:gd name="T2" fmla="*/ 122 w 452"/>
                  <a:gd name="T3" fmla="*/ 412 h 412"/>
                  <a:gd name="T4" fmla="*/ 0 w 452"/>
                  <a:gd name="T5" fmla="*/ 253 h 412"/>
                  <a:gd name="T6" fmla="*/ 331 w 452"/>
                  <a:gd name="T7" fmla="*/ 0 h 412"/>
                  <a:gd name="T8" fmla="*/ 452 w 452"/>
                  <a:gd name="T9" fmla="*/ 159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2" h="412">
                    <a:moveTo>
                      <a:pt x="452" y="159"/>
                    </a:moveTo>
                    <a:lnTo>
                      <a:pt x="122" y="412"/>
                    </a:lnTo>
                    <a:lnTo>
                      <a:pt x="0" y="253"/>
                    </a:lnTo>
                    <a:lnTo>
                      <a:pt x="331" y="0"/>
                    </a:lnTo>
                    <a:lnTo>
                      <a:pt x="452" y="159"/>
                    </a:ln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485">
                <a:extLst>
                  <a:ext uri="{FF2B5EF4-FFF2-40B4-BE49-F238E27FC236}">
                    <a16:creationId xmlns:a16="http://schemas.microsoft.com/office/drawing/2014/main" id="{1EADEE1F-E248-4F77-8BBF-B1FD33108A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1" y="2216"/>
                <a:ext cx="401" cy="348"/>
              </a:xfrm>
              <a:custGeom>
                <a:avLst/>
                <a:gdLst>
                  <a:gd name="T0" fmla="*/ 401 w 401"/>
                  <a:gd name="T1" fmla="*/ 103 h 348"/>
                  <a:gd name="T2" fmla="*/ 79 w 401"/>
                  <a:gd name="T3" fmla="*/ 348 h 348"/>
                  <a:gd name="T4" fmla="*/ 0 w 401"/>
                  <a:gd name="T5" fmla="*/ 245 h 348"/>
                  <a:gd name="T6" fmla="*/ 322 w 401"/>
                  <a:gd name="T7" fmla="*/ 0 h 348"/>
                  <a:gd name="T8" fmla="*/ 401 w 401"/>
                  <a:gd name="T9" fmla="*/ 103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1" h="348">
                    <a:moveTo>
                      <a:pt x="401" y="103"/>
                    </a:moveTo>
                    <a:lnTo>
                      <a:pt x="79" y="348"/>
                    </a:lnTo>
                    <a:lnTo>
                      <a:pt x="0" y="245"/>
                    </a:lnTo>
                    <a:lnTo>
                      <a:pt x="322" y="0"/>
                    </a:lnTo>
                    <a:lnTo>
                      <a:pt x="401" y="103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486">
                <a:extLst>
                  <a:ext uri="{FF2B5EF4-FFF2-40B4-BE49-F238E27FC236}">
                    <a16:creationId xmlns:a16="http://schemas.microsoft.com/office/drawing/2014/main" id="{8FF5C2D7-99C0-4F20-B148-73A501517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7" y="2416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487">
                <a:extLst>
                  <a:ext uri="{FF2B5EF4-FFF2-40B4-BE49-F238E27FC236}">
                    <a16:creationId xmlns:a16="http://schemas.microsoft.com/office/drawing/2014/main" id="{2B0822BE-066C-4318-AE89-D9E7FB9BC6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6" y="2401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488">
                <a:extLst>
                  <a:ext uri="{FF2B5EF4-FFF2-40B4-BE49-F238E27FC236}">
                    <a16:creationId xmlns:a16="http://schemas.microsoft.com/office/drawing/2014/main" id="{EDE935F6-67DA-4E07-9DBF-3E9781969D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5" y="2386"/>
                <a:ext cx="20" cy="17"/>
              </a:xfrm>
              <a:custGeom>
                <a:avLst/>
                <a:gdLst>
                  <a:gd name="T0" fmla="*/ 33 w 35"/>
                  <a:gd name="T1" fmla="*/ 14 h 31"/>
                  <a:gd name="T2" fmla="*/ 12 w 35"/>
                  <a:gd name="T3" fmla="*/ 31 h 31"/>
                  <a:gd name="T4" fmla="*/ 9 w 35"/>
                  <a:gd name="T5" fmla="*/ 30 h 31"/>
                  <a:gd name="T6" fmla="*/ 1 w 35"/>
                  <a:gd name="T7" fmla="*/ 21 h 31"/>
                  <a:gd name="T8" fmla="*/ 2 w 35"/>
                  <a:gd name="T9" fmla="*/ 18 h 31"/>
                  <a:gd name="T10" fmla="*/ 24 w 35"/>
                  <a:gd name="T11" fmla="*/ 1 h 31"/>
                  <a:gd name="T12" fmla="*/ 27 w 35"/>
                  <a:gd name="T13" fmla="*/ 1 h 31"/>
                  <a:gd name="T14" fmla="*/ 34 w 35"/>
                  <a:gd name="T15" fmla="*/ 11 h 31"/>
                  <a:gd name="T16" fmla="*/ 33 w 35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1">
                    <a:moveTo>
                      <a:pt x="33" y="14"/>
                    </a:moveTo>
                    <a:cubicBezTo>
                      <a:pt x="12" y="31"/>
                      <a:pt x="12" y="31"/>
                      <a:pt x="12" y="31"/>
                    </a:cubicBezTo>
                    <a:cubicBezTo>
                      <a:pt x="11" y="31"/>
                      <a:pt x="9" y="31"/>
                      <a:pt x="9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0"/>
                      <a:pt x="27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489">
                <a:extLst>
                  <a:ext uri="{FF2B5EF4-FFF2-40B4-BE49-F238E27FC236}">
                    <a16:creationId xmlns:a16="http://schemas.microsoft.com/office/drawing/2014/main" id="{155EEAF4-F3B2-42D9-B9AA-4891C2A1A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5" y="2372"/>
                <a:ext cx="19" cy="17"/>
              </a:xfrm>
              <a:custGeom>
                <a:avLst/>
                <a:gdLst>
                  <a:gd name="T0" fmla="*/ 33 w 34"/>
                  <a:gd name="T1" fmla="*/ 14 h 32"/>
                  <a:gd name="T2" fmla="*/ 11 w 34"/>
                  <a:gd name="T3" fmla="*/ 31 h 32"/>
                  <a:gd name="T4" fmla="*/ 8 w 34"/>
                  <a:gd name="T5" fmla="*/ 30 h 32"/>
                  <a:gd name="T6" fmla="*/ 1 w 34"/>
                  <a:gd name="T7" fmla="*/ 21 h 32"/>
                  <a:gd name="T8" fmla="*/ 1 w 34"/>
                  <a:gd name="T9" fmla="*/ 18 h 32"/>
                  <a:gd name="T10" fmla="*/ 23 w 34"/>
                  <a:gd name="T11" fmla="*/ 1 h 32"/>
                  <a:gd name="T12" fmla="*/ 26 w 34"/>
                  <a:gd name="T13" fmla="*/ 2 h 32"/>
                  <a:gd name="T14" fmla="*/ 33 w 34"/>
                  <a:gd name="T15" fmla="*/ 11 h 32"/>
                  <a:gd name="T16" fmla="*/ 33 w 34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2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2"/>
                      <a:pt x="9" y="31"/>
                      <a:pt x="8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490">
                <a:extLst>
                  <a:ext uri="{FF2B5EF4-FFF2-40B4-BE49-F238E27FC236}">
                    <a16:creationId xmlns:a16="http://schemas.microsoft.com/office/drawing/2014/main" id="{0E5549F8-F970-4F47-AAF6-632987E02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4" y="2357"/>
                <a:ext cx="19" cy="17"/>
              </a:xfrm>
              <a:custGeom>
                <a:avLst/>
                <a:gdLst>
                  <a:gd name="T0" fmla="*/ 33 w 34"/>
                  <a:gd name="T1" fmla="*/ 13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4 w 34"/>
                  <a:gd name="T15" fmla="*/ 10 h 31"/>
                  <a:gd name="T16" fmla="*/ 33 w 34"/>
                  <a:gd name="T17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3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34" y="11"/>
                      <a:pt x="34" y="13"/>
                      <a:pt x="33" y="13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491">
                <a:extLst>
                  <a:ext uri="{FF2B5EF4-FFF2-40B4-BE49-F238E27FC236}">
                    <a16:creationId xmlns:a16="http://schemas.microsoft.com/office/drawing/2014/main" id="{0E1A9E02-6759-4F2D-A8D1-057EFE21D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4" y="2343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492">
                <a:extLst>
                  <a:ext uri="{FF2B5EF4-FFF2-40B4-BE49-F238E27FC236}">
                    <a16:creationId xmlns:a16="http://schemas.microsoft.com/office/drawing/2014/main" id="{BDA19D22-8617-4E29-89EC-0AC1F185FD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232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4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493">
                <a:extLst>
                  <a:ext uri="{FF2B5EF4-FFF2-40B4-BE49-F238E27FC236}">
                    <a16:creationId xmlns:a16="http://schemas.microsoft.com/office/drawing/2014/main" id="{9BC25345-D233-4999-A289-D8C5D2C41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2313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494">
                <a:extLst>
                  <a:ext uri="{FF2B5EF4-FFF2-40B4-BE49-F238E27FC236}">
                    <a16:creationId xmlns:a16="http://schemas.microsoft.com/office/drawing/2014/main" id="{61175883-ECDA-48C9-B066-2C8AE3CCF2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2" y="229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1 h 31"/>
                  <a:gd name="T8" fmla="*/ 1 w 34"/>
                  <a:gd name="T9" fmla="*/ 18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495">
                <a:extLst>
                  <a:ext uri="{FF2B5EF4-FFF2-40B4-BE49-F238E27FC236}">
                    <a16:creationId xmlns:a16="http://schemas.microsoft.com/office/drawing/2014/main" id="{C6AB355F-B11F-4464-B555-B26BF17B61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1" y="2284"/>
                <a:ext cx="19" cy="17"/>
              </a:xfrm>
              <a:custGeom>
                <a:avLst/>
                <a:gdLst>
                  <a:gd name="T0" fmla="*/ 33 w 35"/>
                  <a:gd name="T1" fmla="*/ 14 h 32"/>
                  <a:gd name="T2" fmla="*/ 12 w 35"/>
                  <a:gd name="T3" fmla="*/ 31 h 32"/>
                  <a:gd name="T4" fmla="*/ 9 w 35"/>
                  <a:gd name="T5" fmla="*/ 31 h 32"/>
                  <a:gd name="T6" fmla="*/ 1 w 35"/>
                  <a:gd name="T7" fmla="*/ 21 h 32"/>
                  <a:gd name="T8" fmla="*/ 2 w 35"/>
                  <a:gd name="T9" fmla="*/ 18 h 32"/>
                  <a:gd name="T10" fmla="*/ 23 w 35"/>
                  <a:gd name="T11" fmla="*/ 1 h 32"/>
                  <a:gd name="T12" fmla="*/ 26 w 35"/>
                  <a:gd name="T13" fmla="*/ 2 h 32"/>
                  <a:gd name="T14" fmla="*/ 34 w 35"/>
                  <a:gd name="T15" fmla="*/ 11 h 32"/>
                  <a:gd name="T16" fmla="*/ 33 w 35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2">
                    <a:moveTo>
                      <a:pt x="33" y="14"/>
                    </a:moveTo>
                    <a:cubicBezTo>
                      <a:pt x="12" y="31"/>
                      <a:pt x="12" y="31"/>
                      <a:pt x="12" y="31"/>
                    </a:cubicBezTo>
                    <a:cubicBezTo>
                      <a:pt x="11" y="32"/>
                      <a:pt x="9" y="31"/>
                      <a:pt x="9" y="31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9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496">
                <a:extLst>
                  <a:ext uri="{FF2B5EF4-FFF2-40B4-BE49-F238E27FC236}">
                    <a16:creationId xmlns:a16="http://schemas.microsoft.com/office/drawing/2014/main" id="{9FD5B91F-8A30-4D75-BDCF-4DACA62B3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1" y="2270"/>
                <a:ext cx="18" cy="16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497">
                <a:extLst>
                  <a:ext uri="{FF2B5EF4-FFF2-40B4-BE49-F238E27FC236}">
                    <a16:creationId xmlns:a16="http://schemas.microsoft.com/office/drawing/2014/main" id="{5A292DBB-296B-4ECF-A134-A8E328B6B3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7" y="2407"/>
                <a:ext cx="130" cy="102"/>
              </a:xfrm>
              <a:custGeom>
                <a:avLst/>
                <a:gdLst>
                  <a:gd name="T0" fmla="*/ 237 w 239"/>
                  <a:gd name="T1" fmla="*/ 18 h 187"/>
                  <a:gd name="T2" fmla="*/ 14 w 239"/>
                  <a:gd name="T3" fmla="*/ 187 h 187"/>
                  <a:gd name="T4" fmla="*/ 11 w 239"/>
                  <a:gd name="T5" fmla="*/ 186 h 187"/>
                  <a:gd name="T6" fmla="*/ 1 w 239"/>
                  <a:gd name="T7" fmla="*/ 172 h 187"/>
                  <a:gd name="T8" fmla="*/ 1 w 239"/>
                  <a:gd name="T9" fmla="*/ 169 h 187"/>
                  <a:gd name="T10" fmla="*/ 224 w 239"/>
                  <a:gd name="T11" fmla="*/ 1 h 187"/>
                  <a:gd name="T12" fmla="*/ 227 w 239"/>
                  <a:gd name="T13" fmla="*/ 1 h 187"/>
                  <a:gd name="T14" fmla="*/ 238 w 239"/>
                  <a:gd name="T15" fmla="*/ 15 h 187"/>
                  <a:gd name="T16" fmla="*/ 237 w 239"/>
                  <a:gd name="T17" fmla="*/ 18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9" h="187">
                    <a:moveTo>
                      <a:pt x="237" y="18"/>
                    </a:moveTo>
                    <a:cubicBezTo>
                      <a:pt x="14" y="187"/>
                      <a:pt x="14" y="187"/>
                      <a:pt x="14" y="187"/>
                    </a:cubicBezTo>
                    <a:cubicBezTo>
                      <a:pt x="13" y="187"/>
                      <a:pt x="12" y="187"/>
                      <a:pt x="11" y="186"/>
                    </a:cubicBezTo>
                    <a:cubicBezTo>
                      <a:pt x="1" y="172"/>
                      <a:pt x="1" y="172"/>
                      <a:pt x="1" y="172"/>
                    </a:cubicBezTo>
                    <a:cubicBezTo>
                      <a:pt x="0" y="172"/>
                      <a:pt x="0" y="170"/>
                      <a:pt x="1" y="169"/>
                    </a:cubicBezTo>
                    <a:cubicBezTo>
                      <a:pt x="224" y="1"/>
                      <a:pt x="224" y="1"/>
                      <a:pt x="224" y="1"/>
                    </a:cubicBezTo>
                    <a:cubicBezTo>
                      <a:pt x="225" y="0"/>
                      <a:pt x="227" y="0"/>
                      <a:pt x="227" y="1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9" y="16"/>
                      <a:pt x="238" y="17"/>
                      <a:pt x="237" y="18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498">
                <a:extLst>
                  <a:ext uri="{FF2B5EF4-FFF2-40B4-BE49-F238E27FC236}">
                    <a16:creationId xmlns:a16="http://schemas.microsoft.com/office/drawing/2014/main" id="{1E3D1821-8A29-4535-BD29-514176A27E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9" y="245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499">
                <a:extLst>
                  <a:ext uri="{FF2B5EF4-FFF2-40B4-BE49-F238E27FC236}">
                    <a16:creationId xmlns:a16="http://schemas.microsoft.com/office/drawing/2014/main" id="{CB282EC0-17B8-470E-91A5-09209140FA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8" y="244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500">
                <a:extLst>
                  <a:ext uri="{FF2B5EF4-FFF2-40B4-BE49-F238E27FC236}">
                    <a16:creationId xmlns:a16="http://schemas.microsoft.com/office/drawing/2014/main" id="{5BB13A33-D987-4164-A63B-29BA31DE9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8" y="242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501">
                <a:extLst>
                  <a:ext uri="{FF2B5EF4-FFF2-40B4-BE49-F238E27FC236}">
                    <a16:creationId xmlns:a16="http://schemas.microsoft.com/office/drawing/2014/main" id="{981703FC-41DE-4399-BBCA-3670431F6F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7" y="241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502">
                <a:extLst>
                  <a:ext uri="{FF2B5EF4-FFF2-40B4-BE49-F238E27FC236}">
                    <a16:creationId xmlns:a16="http://schemas.microsoft.com/office/drawing/2014/main" id="{A2FF5D8C-B542-4609-9A7E-70728CC82D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7" y="2396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503">
                <a:extLst>
                  <a:ext uri="{FF2B5EF4-FFF2-40B4-BE49-F238E27FC236}">
                    <a16:creationId xmlns:a16="http://schemas.microsoft.com/office/drawing/2014/main" id="{58600792-0054-4E5C-A9A6-2722C224C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6" y="2381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504">
                <a:extLst>
                  <a:ext uri="{FF2B5EF4-FFF2-40B4-BE49-F238E27FC236}">
                    <a16:creationId xmlns:a16="http://schemas.microsoft.com/office/drawing/2014/main" id="{D30A34DC-1E2A-4AF8-91A4-4AFA246AD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5" y="2366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505">
                <a:extLst>
                  <a:ext uri="{FF2B5EF4-FFF2-40B4-BE49-F238E27FC236}">
                    <a16:creationId xmlns:a16="http://schemas.microsoft.com/office/drawing/2014/main" id="{B0CA9F79-537B-4ACB-A3DA-4D02B28C1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235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506">
                <a:extLst>
                  <a:ext uri="{FF2B5EF4-FFF2-40B4-BE49-F238E27FC236}">
                    <a16:creationId xmlns:a16="http://schemas.microsoft.com/office/drawing/2014/main" id="{63270E50-EC83-4105-9B6F-C16C66324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4" y="233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507">
                <a:extLst>
                  <a:ext uri="{FF2B5EF4-FFF2-40B4-BE49-F238E27FC236}">
                    <a16:creationId xmlns:a16="http://schemas.microsoft.com/office/drawing/2014/main" id="{F819293F-35DA-4F52-9C37-E83D03F6F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4" y="2323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508">
                <a:extLst>
                  <a:ext uri="{FF2B5EF4-FFF2-40B4-BE49-F238E27FC236}">
                    <a16:creationId xmlns:a16="http://schemas.microsoft.com/office/drawing/2014/main" id="{6C6267B3-D53A-4054-BBBE-C992E830E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0" y="2279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509">
                <a:extLst>
                  <a:ext uri="{FF2B5EF4-FFF2-40B4-BE49-F238E27FC236}">
                    <a16:creationId xmlns:a16="http://schemas.microsoft.com/office/drawing/2014/main" id="{B035BFA6-3278-40F6-A55C-3F51C147F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0" y="2265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510">
                <a:extLst>
                  <a:ext uri="{FF2B5EF4-FFF2-40B4-BE49-F238E27FC236}">
                    <a16:creationId xmlns:a16="http://schemas.microsoft.com/office/drawing/2014/main" id="{010D9C33-F8FF-4801-BAC9-9CF602BAC1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9" y="225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511">
                <a:extLst>
                  <a:ext uri="{FF2B5EF4-FFF2-40B4-BE49-F238E27FC236}">
                    <a16:creationId xmlns:a16="http://schemas.microsoft.com/office/drawing/2014/main" id="{59B7C4A9-D2A8-4EF6-ABB3-C622EF890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230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512">
                <a:extLst>
                  <a:ext uri="{FF2B5EF4-FFF2-40B4-BE49-F238E27FC236}">
                    <a16:creationId xmlns:a16="http://schemas.microsoft.com/office/drawing/2014/main" id="{75A5B207-F356-4E05-8955-D6977037DF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5" y="228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513">
                <a:extLst>
                  <a:ext uri="{FF2B5EF4-FFF2-40B4-BE49-F238E27FC236}">
                    <a16:creationId xmlns:a16="http://schemas.microsoft.com/office/drawing/2014/main" id="{74CD231D-CA52-415A-ADBA-C283072ED2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4" y="2270"/>
                <a:ext cx="25" cy="24"/>
              </a:xfrm>
              <a:custGeom>
                <a:avLst/>
                <a:gdLst>
                  <a:gd name="T0" fmla="*/ 43 w 45"/>
                  <a:gd name="T1" fmla="*/ 27 h 44"/>
                  <a:gd name="T2" fmla="*/ 22 w 45"/>
                  <a:gd name="T3" fmla="*/ 44 h 44"/>
                  <a:gd name="T4" fmla="*/ 19 w 45"/>
                  <a:gd name="T5" fmla="*/ 43 h 44"/>
                  <a:gd name="T6" fmla="*/ 1 w 45"/>
                  <a:gd name="T7" fmla="*/ 20 h 44"/>
                  <a:gd name="T8" fmla="*/ 2 w 45"/>
                  <a:gd name="T9" fmla="*/ 17 h 44"/>
                  <a:gd name="T10" fmla="*/ 24 w 45"/>
                  <a:gd name="T11" fmla="*/ 1 h 44"/>
                  <a:gd name="T12" fmla="*/ 27 w 45"/>
                  <a:gd name="T13" fmla="*/ 1 h 44"/>
                  <a:gd name="T14" fmla="*/ 44 w 45"/>
                  <a:gd name="T15" fmla="*/ 24 h 44"/>
                  <a:gd name="T16" fmla="*/ 43 w 45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4">
                    <a:moveTo>
                      <a:pt x="43" y="27"/>
                    </a:moveTo>
                    <a:cubicBezTo>
                      <a:pt x="22" y="44"/>
                      <a:pt x="22" y="44"/>
                      <a:pt x="22" y="44"/>
                    </a:cubicBezTo>
                    <a:cubicBezTo>
                      <a:pt x="21" y="44"/>
                      <a:pt x="19" y="44"/>
                      <a:pt x="19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1" y="18"/>
                      <a:pt x="2" y="17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514">
                <a:extLst>
                  <a:ext uri="{FF2B5EF4-FFF2-40B4-BE49-F238E27FC236}">
                    <a16:creationId xmlns:a16="http://schemas.microsoft.com/office/drawing/2014/main" id="{B4D0927E-FF76-4381-8F9A-36C8D34D8C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1" y="2320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515">
                <a:extLst>
                  <a:ext uri="{FF2B5EF4-FFF2-40B4-BE49-F238E27FC236}">
                    <a16:creationId xmlns:a16="http://schemas.microsoft.com/office/drawing/2014/main" id="{6307E5C2-3AFC-4492-95F8-0986C64DC9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0" y="230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516">
                <a:extLst>
                  <a:ext uri="{FF2B5EF4-FFF2-40B4-BE49-F238E27FC236}">
                    <a16:creationId xmlns:a16="http://schemas.microsoft.com/office/drawing/2014/main" id="{C781957B-4280-4F56-8AE2-1610F2F77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9" y="229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517">
                <a:extLst>
                  <a:ext uri="{FF2B5EF4-FFF2-40B4-BE49-F238E27FC236}">
                    <a16:creationId xmlns:a16="http://schemas.microsoft.com/office/drawing/2014/main" id="{2CDBB2D5-4952-426D-88C6-EA603E618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0" y="2494"/>
                <a:ext cx="24" cy="25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518">
                <a:extLst>
                  <a:ext uri="{FF2B5EF4-FFF2-40B4-BE49-F238E27FC236}">
                    <a16:creationId xmlns:a16="http://schemas.microsoft.com/office/drawing/2014/main" id="{7869C014-92FB-40C9-B701-B426E3E85E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9" y="248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519">
                <a:extLst>
                  <a:ext uri="{FF2B5EF4-FFF2-40B4-BE49-F238E27FC236}">
                    <a16:creationId xmlns:a16="http://schemas.microsoft.com/office/drawing/2014/main" id="{0953934B-FD9D-454F-A027-FF4C80338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8" y="2465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1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520">
                <a:extLst>
                  <a:ext uri="{FF2B5EF4-FFF2-40B4-BE49-F238E27FC236}">
                    <a16:creationId xmlns:a16="http://schemas.microsoft.com/office/drawing/2014/main" id="{11289C28-335F-4C3D-8467-CF68F0B433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8" y="2450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521">
                <a:extLst>
                  <a:ext uri="{FF2B5EF4-FFF2-40B4-BE49-F238E27FC236}">
                    <a16:creationId xmlns:a16="http://schemas.microsoft.com/office/drawing/2014/main" id="{591DB9BA-5B21-48BF-A319-CF24A2081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7" y="243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522">
                <a:extLst>
                  <a:ext uri="{FF2B5EF4-FFF2-40B4-BE49-F238E27FC236}">
                    <a16:creationId xmlns:a16="http://schemas.microsoft.com/office/drawing/2014/main" id="{01C91A6B-858F-43D6-8080-3FC0FEA4F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6" y="2421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523">
                <a:extLst>
                  <a:ext uri="{FF2B5EF4-FFF2-40B4-BE49-F238E27FC236}">
                    <a16:creationId xmlns:a16="http://schemas.microsoft.com/office/drawing/2014/main" id="{E90A2A1C-B981-4614-8CD2-DCF1803EAD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6" y="240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524">
                <a:extLst>
                  <a:ext uri="{FF2B5EF4-FFF2-40B4-BE49-F238E27FC236}">
                    <a16:creationId xmlns:a16="http://schemas.microsoft.com/office/drawing/2014/main" id="{47C80186-DFA5-458B-86D5-2C2D86AB2F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5" y="2392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525">
                <a:extLst>
                  <a:ext uri="{FF2B5EF4-FFF2-40B4-BE49-F238E27FC236}">
                    <a16:creationId xmlns:a16="http://schemas.microsoft.com/office/drawing/2014/main" id="{48D9EBA5-2329-4945-9540-E68A52CFCC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4" y="2377"/>
                <a:ext cx="25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526">
                <a:extLst>
                  <a:ext uri="{FF2B5EF4-FFF2-40B4-BE49-F238E27FC236}">
                    <a16:creationId xmlns:a16="http://schemas.microsoft.com/office/drawing/2014/main" id="{6D0CFF16-A71B-41BF-9B8B-55947D38A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" y="2362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527">
                <a:extLst>
                  <a:ext uri="{FF2B5EF4-FFF2-40B4-BE49-F238E27FC236}">
                    <a16:creationId xmlns:a16="http://schemas.microsoft.com/office/drawing/2014/main" id="{CC335629-A293-4B3D-A78C-87D54024C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4" y="248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528">
                <a:extLst>
                  <a:ext uri="{FF2B5EF4-FFF2-40B4-BE49-F238E27FC236}">
                    <a16:creationId xmlns:a16="http://schemas.microsoft.com/office/drawing/2014/main" id="{EC46FF70-8DB6-4F4A-A660-68F11B2EC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4" y="246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1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529">
                <a:extLst>
                  <a:ext uri="{FF2B5EF4-FFF2-40B4-BE49-F238E27FC236}">
                    <a16:creationId xmlns:a16="http://schemas.microsoft.com/office/drawing/2014/main" id="{9E8BF80A-0B56-436C-9337-18E1BEB383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3" y="245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530">
                <a:extLst>
                  <a:ext uri="{FF2B5EF4-FFF2-40B4-BE49-F238E27FC236}">
                    <a16:creationId xmlns:a16="http://schemas.microsoft.com/office/drawing/2014/main" id="{72F17F5B-7B3C-45B3-BDD2-0D1F337E4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2" y="243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531">
                <a:extLst>
                  <a:ext uri="{FF2B5EF4-FFF2-40B4-BE49-F238E27FC236}">
                    <a16:creationId xmlns:a16="http://schemas.microsoft.com/office/drawing/2014/main" id="{FBCAE7E7-4C34-4349-A244-C5D4FF730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2" y="2423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532">
                <a:extLst>
                  <a:ext uri="{FF2B5EF4-FFF2-40B4-BE49-F238E27FC236}">
                    <a16:creationId xmlns:a16="http://schemas.microsoft.com/office/drawing/2014/main" id="{2FB73896-2048-40F7-905B-FC9CF1117F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" y="2408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533">
                <a:extLst>
                  <a:ext uri="{FF2B5EF4-FFF2-40B4-BE49-F238E27FC236}">
                    <a16:creationId xmlns:a16="http://schemas.microsoft.com/office/drawing/2014/main" id="{5B6108C1-7C25-497D-9879-8FD11A232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1" y="2394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534">
                <a:extLst>
                  <a:ext uri="{FF2B5EF4-FFF2-40B4-BE49-F238E27FC236}">
                    <a16:creationId xmlns:a16="http://schemas.microsoft.com/office/drawing/2014/main" id="{AE3B850E-9E63-4287-AE9C-1756B5FA7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0" y="237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535">
                <a:extLst>
                  <a:ext uri="{FF2B5EF4-FFF2-40B4-BE49-F238E27FC236}">
                    <a16:creationId xmlns:a16="http://schemas.microsoft.com/office/drawing/2014/main" id="{459645BC-DA68-44F9-932F-4A9FDA15F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9" y="23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536">
                <a:extLst>
                  <a:ext uri="{FF2B5EF4-FFF2-40B4-BE49-F238E27FC236}">
                    <a16:creationId xmlns:a16="http://schemas.microsoft.com/office/drawing/2014/main" id="{B772567E-FBC8-420E-BAE1-8E6BE4D47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9" y="23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537">
                <a:extLst>
                  <a:ext uri="{FF2B5EF4-FFF2-40B4-BE49-F238E27FC236}">
                    <a16:creationId xmlns:a16="http://schemas.microsoft.com/office/drawing/2014/main" id="{64FF99C4-D0D1-4B7B-B2AC-026A45504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8" y="2335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538">
                <a:extLst>
                  <a:ext uri="{FF2B5EF4-FFF2-40B4-BE49-F238E27FC236}">
                    <a16:creationId xmlns:a16="http://schemas.microsoft.com/office/drawing/2014/main" id="{2BBEE087-504A-4EFE-B80D-9FCFDB9501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0" y="2468"/>
                <a:ext cx="34" cy="32"/>
              </a:xfrm>
              <a:custGeom>
                <a:avLst/>
                <a:gdLst>
                  <a:gd name="T0" fmla="*/ 61 w 63"/>
                  <a:gd name="T1" fmla="*/ 27 h 59"/>
                  <a:gd name="T2" fmla="*/ 21 w 63"/>
                  <a:gd name="T3" fmla="*/ 58 h 59"/>
                  <a:gd name="T4" fmla="*/ 18 w 63"/>
                  <a:gd name="T5" fmla="*/ 58 h 59"/>
                  <a:gd name="T6" fmla="*/ 1 w 63"/>
                  <a:gd name="T7" fmla="*/ 35 h 59"/>
                  <a:gd name="T8" fmla="*/ 1 w 63"/>
                  <a:gd name="T9" fmla="*/ 32 h 59"/>
                  <a:gd name="T10" fmla="*/ 42 w 63"/>
                  <a:gd name="T11" fmla="*/ 1 h 59"/>
                  <a:gd name="T12" fmla="*/ 45 w 63"/>
                  <a:gd name="T13" fmla="*/ 2 h 59"/>
                  <a:gd name="T14" fmla="*/ 62 w 63"/>
                  <a:gd name="T15" fmla="*/ 24 h 59"/>
                  <a:gd name="T16" fmla="*/ 61 w 63"/>
                  <a:gd name="T17" fmla="*/ 27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9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9"/>
                      <a:pt x="19" y="59"/>
                      <a:pt x="18" y="58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0" y="34"/>
                      <a:pt x="0" y="32"/>
                      <a:pt x="1" y="32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2" y="0"/>
                      <a:pt x="44" y="1"/>
                      <a:pt x="45" y="2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7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539">
                <a:extLst>
                  <a:ext uri="{FF2B5EF4-FFF2-40B4-BE49-F238E27FC236}">
                    <a16:creationId xmlns:a16="http://schemas.microsoft.com/office/drawing/2014/main" id="{18AF95A4-D1F9-46ED-A4D9-247F9DAE2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3" y="2300"/>
                <a:ext cx="34" cy="32"/>
              </a:xfrm>
              <a:custGeom>
                <a:avLst/>
                <a:gdLst>
                  <a:gd name="T0" fmla="*/ 62 w 63"/>
                  <a:gd name="T1" fmla="*/ 27 h 58"/>
                  <a:gd name="T2" fmla="*/ 21 w 63"/>
                  <a:gd name="T3" fmla="*/ 58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1 h 58"/>
                  <a:gd name="T12" fmla="*/ 45 w 63"/>
                  <a:gd name="T13" fmla="*/ 1 h 58"/>
                  <a:gd name="T14" fmla="*/ 62 w 63"/>
                  <a:gd name="T15" fmla="*/ 24 h 58"/>
                  <a:gd name="T16" fmla="*/ 62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2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3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540">
                <a:extLst>
                  <a:ext uri="{FF2B5EF4-FFF2-40B4-BE49-F238E27FC236}">
                    <a16:creationId xmlns:a16="http://schemas.microsoft.com/office/drawing/2014/main" id="{561CC3DF-7059-4DBB-ADFA-EE8F50B33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5" y="2496"/>
                <a:ext cx="25" cy="25"/>
              </a:xfrm>
              <a:custGeom>
                <a:avLst/>
                <a:gdLst>
                  <a:gd name="T0" fmla="*/ 44 w 45"/>
                  <a:gd name="T1" fmla="*/ 27 h 45"/>
                  <a:gd name="T2" fmla="*/ 21 w 45"/>
                  <a:gd name="T3" fmla="*/ 44 h 45"/>
                  <a:gd name="T4" fmla="*/ 18 w 45"/>
                  <a:gd name="T5" fmla="*/ 43 h 45"/>
                  <a:gd name="T6" fmla="*/ 1 w 45"/>
                  <a:gd name="T7" fmla="*/ 21 h 45"/>
                  <a:gd name="T8" fmla="*/ 1 w 45"/>
                  <a:gd name="T9" fmla="*/ 18 h 45"/>
                  <a:gd name="T10" fmla="*/ 24 w 45"/>
                  <a:gd name="T11" fmla="*/ 0 h 45"/>
                  <a:gd name="T12" fmla="*/ 27 w 45"/>
                  <a:gd name="T13" fmla="*/ 1 h 45"/>
                  <a:gd name="T14" fmla="*/ 44 w 45"/>
                  <a:gd name="T15" fmla="*/ 24 h 45"/>
                  <a:gd name="T16" fmla="*/ 44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4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5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5" y="26"/>
                      <a:pt x="44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541">
                <a:extLst>
                  <a:ext uri="{FF2B5EF4-FFF2-40B4-BE49-F238E27FC236}">
                    <a16:creationId xmlns:a16="http://schemas.microsoft.com/office/drawing/2014/main" id="{300CAD8E-3CA3-4973-B7E0-A49E421477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8" y="2320"/>
                <a:ext cx="24" cy="25"/>
              </a:xfrm>
              <a:custGeom>
                <a:avLst/>
                <a:gdLst>
                  <a:gd name="T0" fmla="*/ 43 w 45"/>
                  <a:gd name="T1" fmla="*/ 27 h 45"/>
                  <a:gd name="T2" fmla="*/ 21 w 45"/>
                  <a:gd name="T3" fmla="*/ 44 h 45"/>
                  <a:gd name="T4" fmla="*/ 18 w 45"/>
                  <a:gd name="T5" fmla="*/ 44 h 45"/>
                  <a:gd name="T6" fmla="*/ 0 w 45"/>
                  <a:gd name="T7" fmla="*/ 21 h 45"/>
                  <a:gd name="T8" fmla="*/ 1 w 45"/>
                  <a:gd name="T9" fmla="*/ 18 h 45"/>
                  <a:gd name="T10" fmla="*/ 23 w 45"/>
                  <a:gd name="T11" fmla="*/ 1 h 45"/>
                  <a:gd name="T12" fmla="*/ 26 w 45"/>
                  <a:gd name="T13" fmla="*/ 1 h 45"/>
                  <a:gd name="T14" fmla="*/ 44 w 45"/>
                  <a:gd name="T15" fmla="*/ 24 h 45"/>
                  <a:gd name="T16" fmla="*/ 43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542">
                <a:extLst>
                  <a:ext uri="{FF2B5EF4-FFF2-40B4-BE49-F238E27FC236}">
                    <a16:creationId xmlns:a16="http://schemas.microsoft.com/office/drawing/2014/main" id="{F7D20588-F415-41DF-904E-397147B324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" y="2509"/>
                <a:ext cx="33" cy="31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8 h 58"/>
                  <a:gd name="T4" fmla="*/ 18 w 62"/>
                  <a:gd name="T5" fmla="*/ 57 h 58"/>
                  <a:gd name="T6" fmla="*/ 0 w 62"/>
                  <a:gd name="T7" fmla="*/ 34 h 58"/>
                  <a:gd name="T8" fmla="*/ 1 w 62"/>
                  <a:gd name="T9" fmla="*/ 31 h 58"/>
                  <a:gd name="T10" fmla="*/ 41 w 62"/>
                  <a:gd name="T11" fmla="*/ 1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8" y="58"/>
                      <a:pt x="18" y="57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543">
                <a:extLst>
                  <a:ext uri="{FF2B5EF4-FFF2-40B4-BE49-F238E27FC236}">
                    <a16:creationId xmlns:a16="http://schemas.microsoft.com/office/drawing/2014/main" id="{2D73A50B-5CF6-4A79-AB8E-FE340E18A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3" y="2341"/>
                <a:ext cx="34" cy="31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7 h 58"/>
                  <a:gd name="T4" fmla="*/ 18 w 62"/>
                  <a:gd name="T5" fmla="*/ 57 h 58"/>
                  <a:gd name="T6" fmla="*/ 1 w 62"/>
                  <a:gd name="T7" fmla="*/ 34 h 58"/>
                  <a:gd name="T8" fmla="*/ 1 w 62"/>
                  <a:gd name="T9" fmla="*/ 31 h 58"/>
                  <a:gd name="T10" fmla="*/ 41 w 62"/>
                  <a:gd name="T11" fmla="*/ 0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544">
                <a:extLst>
                  <a:ext uri="{FF2B5EF4-FFF2-40B4-BE49-F238E27FC236}">
                    <a16:creationId xmlns:a16="http://schemas.microsoft.com/office/drawing/2014/main" id="{31749532-E181-4F8F-9BBC-905634E31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5" y="2415"/>
                <a:ext cx="19" cy="18"/>
              </a:xfrm>
              <a:custGeom>
                <a:avLst/>
                <a:gdLst>
                  <a:gd name="T0" fmla="*/ 33 w 34"/>
                  <a:gd name="T1" fmla="*/ 14 h 32"/>
                  <a:gd name="T2" fmla="*/ 11 w 34"/>
                  <a:gd name="T3" fmla="*/ 31 h 32"/>
                  <a:gd name="T4" fmla="*/ 8 w 34"/>
                  <a:gd name="T5" fmla="*/ 31 h 32"/>
                  <a:gd name="T6" fmla="*/ 0 w 34"/>
                  <a:gd name="T7" fmla="*/ 21 h 32"/>
                  <a:gd name="T8" fmla="*/ 1 w 34"/>
                  <a:gd name="T9" fmla="*/ 18 h 32"/>
                  <a:gd name="T10" fmla="*/ 23 w 34"/>
                  <a:gd name="T11" fmla="*/ 1 h 32"/>
                  <a:gd name="T12" fmla="*/ 26 w 34"/>
                  <a:gd name="T13" fmla="*/ 2 h 32"/>
                  <a:gd name="T14" fmla="*/ 33 w 34"/>
                  <a:gd name="T15" fmla="*/ 11 h 32"/>
                  <a:gd name="T16" fmla="*/ 33 w 34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2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2"/>
                      <a:pt x="8" y="31"/>
                      <a:pt x="8" y="3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545">
                <a:extLst>
                  <a:ext uri="{FF2B5EF4-FFF2-40B4-BE49-F238E27FC236}">
                    <a16:creationId xmlns:a16="http://schemas.microsoft.com/office/drawing/2014/main" id="{D192B3A2-3BA2-4280-8C11-45485EDB6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" y="2401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546">
                <a:extLst>
                  <a:ext uri="{FF2B5EF4-FFF2-40B4-BE49-F238E27FC236}">
                    <a16:creationId xmlns:a16="http://schemas.microsoft.com/office/drawing/2014/main" id="{D1FE8AB4-3DEE-4950-BE7A-AD2CC12B09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4" y="2386"/>
                <a:ext cx="19" cy="17"/>
              </a:xfrm>
              <a:custGeom>
                <a:avLst/>
                <a:gdLst>
                  <a:gd name="T0" fmla="*/ 32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2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2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3" y="13"/>
                      <a:pt x="32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547">
                <a:extLst>
                  <a:ext uri="{FF2B5EF4-FFF2-40B4-BE49-F238E27FC236}">
                    <a16:creationId xmlns:a16="http://schemas.microsoft.com/office/drawing/2014/main" id="{FB47BC66-84DB-4A03-92DB-7A0851320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3" y="2372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548">
                <a:extLst>
                  <a:ext uri="{FF2B5EF4-FFF2-40B4-BE49-F238E27FC236}">
                    <a16:creationId xmlns:a16="http://schemas.microsoft.com/office/drawing/2014/main" id="{06878301-4F65-4E0F-ADD0-17B8D6C4B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3" y="2357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4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549">
                <a:extLst>
                  <a:ext uri="{FF2B5EF4-FFF2-40B4-BE49-F238E27FC236}">
                    <a16:creationId xmlns:a16="http://schemas.microsoft.com/office/drawing/2014/main" id="{CE0BCD4A-36B0-4954-926B-6B5CDA6CA2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" y="2342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0 w 34"/>
                  <a:gd name="T7" fmla="*/ 21 h 31"/>
                  <a:gd name="T8" fmla="*/ 1 w 34"/>
                  <a:gd name="T9" fmla="*/ 18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550">
                <a:extLst>
                  <a:ext uri="{FF2B5EF4-FFF2-40B4-BE49-F238E27FC236}">
                    <a16:creationId xmlns:a16="http://schemas.microsoft.com/office/drawing/2014/main" id="{7E2F856C-7573-42F0-AD91-55F4D3E2C1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1" y="2328"/>
                <a:ext cx="19" cy="17"/>
              </a:xfrm>
              <a:custGeom>
                <a:avLst/>
                <a:gdLst>
                  <a:gd name="T0" fmla="*/ 33 w 34"/>
                  <a:gd name="T1" fmla="*/ 13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4 w 34"/>
                  <a:gd name="T15" fmla="*/ 10 h 31"/>
                  <a:gd name="T16" fmla="*/ 33 w 34"/>
                  <a:gd name="T17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3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0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34" y="11"/>
                      <a:pt x="34" y="13"/>
                      <a:pt x="33" y="13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551">
                <a:extLst>
                  <a:ext uri="{FF2B5EF4-FFF2-40B4-BE49-F238E27FC236}">
                    <a16:creationId xmlns:a16="http://schemas.microsoft.com/office/drawing/2014/main" id="{BDEEF76D-6F0F-4D9E-BCD0-550C2C327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1" y="2313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552">
                <a:extLst>
                  <a:ext uri="{FF2B5EF4-FFF2-40B4-BE49-F238E27FC236}">
                    <a16:creationId xmlns:a16="http://schemas.microsoft.com/office/drawing/2014/main" id="{C76D42C8-B9E7-4623-BB60-F99C670A2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0" y="229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553">
                <a:extLst>
                  <a:ext uri="{FF2B5EF4-FFF2-40B4-BE49-F238E27FC236}">
                    <a16:creationId xmlns:a16="http://schemas.microsoft.com/office/drawing/2014/main" id="{57863703-4CCF-4B4F-9757-B79E44645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" y="2284"/>
                <a:ext cx="19" cy="17"/>
              </a:xfrm>
              <a:custGeom>
                <a:avLst/>
                <a:gdLst>
                  <a:gd name="T0" fmla="*/ 33 w 35"/>
                  <a:gd name="T1" fmla="*/ 14 h 31"/>
                  <a:gd name="T2" fmla="*/ 12 w 35"/>
                  <a:gd name="T3" fmla="*/ 30 h 31"/>
                  <a:gd name="T4" fmla="*/ 9 w 35"/>
                  <a:gd name="T5" fmla="*/ 30 h 31"/>
                  <a:gd name="T6" fmla="*/ 1 w 35"/>
                  <a:gd name="T7" fmla="*/ 20 h 31"/>
                  <a:gd name="T8" fmla="*/ 2 w 35"/>
                  <a:gd name="T9" fmla="*/ 17 h 31"/>
                  <a:gd name="T10" fmla="*/ 23 w 35"/>
                  <a:gd name="T11" fmla="*/ 1 h 31"/>
                  <a:gd name="T12" fmla="*/ 26 w 35"/>
                  <a:gd name="T13" fmla="*/ 1 h 31"/>
                  <a:gd name="T14" fmla="*/ 34 w 35"/>
                  <a:gd name="T15" fmla="*/ 11 h 31"/>
                  <a:gd name="T16" fmla="*/ 33 w 35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1">
                    <a:moveTo>
                      <a:pt x="33" y="14"/>
                    </a:moveTo>
                    <a:cubicBezTo>
                      <a:pt x="12" y="30"/>
                      <a:pt x="12" y="30"/>
                      <a:pt x="12" y="30"/>
                    </a:cubicBezTo>
                    <a:cubicBezTo>
                      <a:pt x="11" y="31"/>
                      <a:pt x="9" y="31"/>
                      <a:pt x="9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554">
                <a:extLst>
                  <a:ext uri="{FF2B5EF4-FFF2-40B4-BE49-F238E27FC236}">
                    <a16:creationId xmlns:a16="http://schemas.microsoft.com/office/drawing/2014/main" id="{1BAC271B-4331-4195-933B-0807D2A77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9" y="2269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555">
                <a:extLst>
                  <a:ext uri="{FF2B5EF4-FFF2-40B4-BE49-F238E27FC236}">
                    <a16:creationId xmlns:a16="http://schemas.microsoft.com/office/drawing/2014/main" id="{9E3BE345-E8A4-4DF4-83EF-29A57E2CB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" y="2407"/>
                <a:ext cx="131" cy="102"/>
              </a:xfrm>
              <a:custGeom>
                <a:avLst/>
                <a:gdLst>
                  <a:gd name="T0" fmla="*/ 237 w 239"/>
                  <a:gd name="T1" fmla="*/ 18 h 188"/>
                  <a:gd name="T2" fmla="*/ 14 w 239"/>
                  <a:gd name="T3" fmla="*/ 187 h 188"/>
                  <a:gd name="T4" fmla="*/ 11 w 239"/>
                  <a:gd name="T5" fmla="*/ 187 h 188"/>
                  <a:gd name="T6" fmla="*/ 1 w 239"/>
                  <a:gd name="T7" fmla="*/ 173 h 188"/>
                  <a:gd name="T8" fmla="*/ 1 w 239"/>
                  <a:gd name="T9" fmla="*/ 170 h 188"/>
                  <a:gd name="T10" fmla="*/ 224 w 239"/>
                  <a:gd name="T11" fmla="*/ 1 h 188"/>
                  <a:gd name="T12" fmla="*/ 227 w 239"/>
                  <a:gd name="T13" fmla="*/ 2 h 188"/>
                  <a:gd name="T14" fmla="*/ 238 w 239"/>
                  <a:gd name="T15" fmla="*/ 15 h 188"/>
                  <a:gd name="T16" fmla="*/ 237 w 239"/>
                  <a:gd name="T17" fmla="*/ 1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9" h="188">
                    <a:moveTo>
                      <a:pt x="237" y="18"/>
                    </a:moveTo>
                    <a:cubicBezTo>
                      <a:pt x="14" y="187"/>
                      <a:pt x="14" y="187"/>
                      <a:pt x="14" y="187"/>
                    </a:cubicBezTo>
                    <a:cubicBezTo>
                      <a:pt x="13" y="188"/>
                      <a:pt x="12" y="188"/>
                      <a:pt x="11" y="187"/>
                    </a:cubicBezTo>
                    <a:cubicBezTo>
                      <a:pt x="1" y="173"/>
                      <a:pt x="1" y="173"/>
                      <a:pt x="1" y="173"/>
                    </a:cubicBezTo>
                    <a:cubicBezTo>
                      <a:pt x="0" y="172"/>
                      <a:pt x="0" y="171"/>
                      <a:pt x="1" y="170"/>
                    </a:cubicBezTo>
                    <a:cubicBezTo>
                      <a:pt x="224" y="1"/>
                      <a:pt x="224" y="1"/>
                      <a:pt x="224" y="1"/>
                    </a:cubicBezTo>
                    <a:cubicBezTo>
                      <a:pt x="225" y="0"/>
                      <a:pt x="227" y="1"/>
                      <a:pt x="227" y="2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9" y="16"/>
                      <a:pt x="238" y="17"/>
                      <a:pt x="237" y="18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556">
                <a:extLst>
                  <a:ext uri="{FF2B5EF4-FFF2-40B4-BE49-F238E27FC236}">
                    <a16:creationId xmlns:a16="http://schemas.microsoft.com/office/drawing/2014/main" id="{316E814B-1C85-4AD3-B2D9-64350F6481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7" y="2454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557">
                <a:extLst>
                  <a:ext uri="{FF2B5EF4-FFF2-40B4-BE49-F238E27FC236}">
                    <a16:creationId xmlns:a16="http://schemas.microsoft.com/office/drawing/2014/main" id="{302CDC22-9F83-4578-BE8C-9F129BD40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43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558">
                <a:extLst>
                  <a:ext uri="{FF2B5EF4-FFF2-40B4-BE49-F238E27FC236}">
                    <a16:creationId xmlns:a16="http://schemas.microsoft.com/office/drawing/2014/main" id="{020789DA-9842-4918-BE57-E0C3B1FC6F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6" y="2425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Freeform 559">
                <a:extLst>
                  <a:ext uri="{FF2B5EF4-FFF2-40B4-BE49-F238E27FC236}">
                    <a16:creationId xmlns:a16="http://schemas.microsoft.com/office/drawing/2014/main" id="{5B081819-FA59-4AC6-9E40-A369E196D8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" y="241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Freeform 560">
                <a:extLst>
                  <a:ext uri="{FF2B5EF4-FFF2-40B4-BE49-F238E27FC236}">
                    <a16:creationId xmlns:a16="http://schemas.microsoft.com/office/drawing/2014/main" id="{433DBDB2-5094-417D-8E50-EE0C5D0BC0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" y="2396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561">
                <a:extLst>
                  <a:ext uri="{FF2B5EF4-FFF2-40B4-BE49-F238E27FC236}">
                    <a16:creationId xmlns:a16="http://schemas.microsoft.com/office/drawing/2014/main" id="{FAF954B3-FBB0-40FA-98BC-93320C228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4" y="238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562">
                <a:extLst>
                  <a:ext uri="{FF2B5EF4-FFF2-40B4-BE49-F238E27FC236}">
                    <a16:creationId xmlns:a16="http://schemas.microsoft.com/office/drawing/2014/main" id="{58C24E26-F294-49DF-B976-6A8EEFB49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236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563">
                <a:extLst>
                  <a:ext uri="{FF2B5EF4-FFF2-40B4-BE49-F238E27FC236}">
                    <a16:creationId xmlns:a16="http://schemas.microsoft.com/office/drawing/2014/main" id="{61D88D73-D038-4214-B4E0-0DF8ADF635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" y="235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564">
                <a:extLst>
                  <a:ext uri="{FF2B5EF4-FFF2-40B4-BE49-F238E27FC236}">
                    <a16:creationId xmlns:a16="http://schemas.microsoft.com/office/drawing/2014/main" id="{89DF9584-EA07-4E49-B2A9-84E23DF22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2" y="2337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565">
                <a:extLst>
                  <a:ext uri="{FF2B5EF4-FFF2-40B4-BE49-F238E27FC236}">
                    <a16:creationId xmlns:a16="http://schemas.microsoft.com/office/drawing/2014/main" id="{BCDCACA9-5549-4BB1-A051-7274986A9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2" y="2322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566">
                <a:extLst>
                  <a:ext uri="{FF2B5EF4-FFF2-40B4-BE49-F238E27FC236}">
                    <a16:creationId xmlns:a16="http://schemas.microsoft.com/office/drawing/2014/main" id="{DBE333B4-A466-4C0E-924C-7B18823F6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9" y="227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567">
                <a:extLst>
                  <a:ext uri="{FF2B5EF4-FFF2-40B4-BE49-F238E27FC236}">
                    <a16:creationId xmlns:a16="http://schemas.microsoft.com/office/drawing/2014/main" id="{A7D397F7-5467-4A7C-B10B-036B8F5848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8" y="22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568">
                <a:extLst>
                  <a:ext uri="{FF2B5EF4-FFF2-40B4-BE49-F238E27FC236}">
                    <a16:creationId xmlns:a16="http://schemas.microsoft.com/office/drawing/2014/main" id="{0C480BAD-71EC-41D8-9834-853D640544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8" y="22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569">
                <a:extLst>
                  <a:ext uri="{FF2B5EF4-FFF2-40B4-BE49-F238E27FC236}">
                    <a16:creationId xmlns:a16="http://schemas.microsoft.com/office/drawing/2014/main" id="{6706C141-F2AF-4C28-9B89-AE609FB7C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4" y="2299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570">
                <a:extLst>
                  <a:ext uri="{FF2B5EF4-FFF2-40B4-BE49-F238E27FC236}">
                    <a16:creationId xmlns:a16="http://schemas.microsoft.com/office/drawing/2014/main" id="{C37F81D3-D340-44E9-96E7-806463E8D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3" y="228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4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571">
                <a:extLst>
                  <a:ext uri="{FF2B5EF4-FFF2-40B4-BE49-F238E27FC236}">
                    <a16:creationId xmlns:a16="http://schemas.microsoft.com/office/drawing/2014/main" id="{3CCCA222-B227-432D-9D5C-19ADF7EF3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2270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572">
                <a:extLst>
                  <a:ext uri="{FF2B5EF4-FFF2-40B4-BE49-F238E27FC236}">
                    <a16:creationId xmlns:a16="http://schemas.microsoft.com/office/drawing/2014/main" id="{BD77A952-0C1E-4C65-9251-0E026364D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9" y="2319"/>
                <a:ext cx="25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573">
                <a:extLst>
                  <a:ext uri="{FF2B5EF4-FFF2-40B4-BE49-F238E27FC236}">
                    <a16:creationId xmlns:a16="http://schemas.microsoft.com/office/drawing/2014/main" id="{41DA7B2B-C81A-4ACF-BD23-45C1012EE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9" y="230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574">
                <a:extLst>
                  <a:ext uri="{FF2B5EF4-FFF2-40B4-BE49-F238E27FC236}">
                    <a16:creationId xmlns:a16="http://schemas.microsoft.com/office/drawing/2014/main" id="{914993AE-F037-432F-B036-CD2831814F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" y="229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575">
                <a:extLst>
                  <a:ext uri="{FF2B5EF4-FFF2-40B4-BE49-F238E27FC236}">
                    <a16:creationId xmlns:a16="http://schemas.microsoft.com/office/drawing/2014/main" id="{256C5CC4-3A51-45C9-BBAE-D457BEA09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8" y="249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576">
                <a:extLst>
                  <a:ext uri="{FF2B5EF4-FFF2-40B4-BE49-F238E27FC236}">
                    <a16:creationId xmlns:a16="http://schemas.microsoft.com/office/drawing/2014/main" id="{61A35434-F835-467D-B28F-08A928293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7" y="248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577">
                <a:extLst>
                  <a:ext uri="{FF2B5EF4-FFF2-40B4-BE49-F238E27FC236}">
                    <a16:creationId xmlns:a16="http://schemas.microsoft.com/office/drawing/2014/main" id="{1E4F6551-CDB6-471B-B32D-032D7F936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6" y="24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1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578">
                <a:extLst>
                  <a:ext uri="{FF2B5EF4-FFF2-40B4-BE49-F238E27FC236}">
                    <a16:creationId xmlns:a16="http://schemas.microsoft.com/office/drawing/2014/main" id="{27BC30B5-9C98-497F-AC0A-B902E35A7C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6" y="24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579">
                <a:extLst>
                  <a:ext uri="{FF2B5EF4-FFF2-40B4-BE49-F238E27FC236}">
                    <a16:creationId xmlns:a16="http://schemas.microsoft.com/office/drawing/2014/main" id="{E1E7D166-3B6D-451B-BAB9-258710ADD0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5" y="243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580">
                <a:extLst>
                  <a:ext uri="{FF2B5EF4-FFF2-40B4-BE49-F238E27FC236}">
                    <a16:creationId xmlns:a16="http://schemas.microsoft.com/office/drawing/2014/main" id="{9916FB65-B040-4773-B3C7-079B0426D2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421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581">
                <a:extLst>
                  <a:ext uri="{FF2B5EF4-FFF2-40B4-BE49-F238E27FC236}">
                    <a16:creationId xmlns:a16="http://schemas.microsoft.com/office/drawing/2014/main" id="{BDCC5EE5-46FF-4906-8E69-BD7955F969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2407"/>
                <a:ext cx="24" cy="24"/>
              </a:xfrm>
              <a:custGeom>
                <a:avLst/>
                <a:gdLst>
                  <a:gd name="T0" fmla="*/ 43 w 44"/>
                  <a:gd name="T1" fmla="*/ 26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3 h 44"/>
                  <a:gd name="T16" fmla="*/ 43 w 44"/>
                  <a:gd name="T17" fmla="*/ 2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6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3"/>
                      <a:pt x="43" y="23"/>
                      <a:pt x="43" y="23"/>
                    </a:cubicBezTo>
                    <a:cubicBezTo>
                      <a:pt x="44" y="24"/>
                      <a:pt x="44" y="26"/>
                      <a:pt x="43" y="26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582">
                <a:extLst>
                  <a:ext uri="{FF2B5EF4-FFF2-40B4-BE49-F238E27FC236}">
                    <a16:creationId xmlns:a16="http://schemas.microsoft.com/office/drawing/2014/main" id="{C06D843A-1491-4BF6-84E4-4EE8CA846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" y="2392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583">
                <a:extLst>
                  <a:ext uri="{FF2B5EF4-FFF2-40B4-BE49-F238E27FC236}">
                    <a16:creationId xmlns:a16="http://schemas.microsoft.com/office/drawing/2014/main" id="{8C16E6A0-1BA9-40F1-AB2E-019BBDD6A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3" y="237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584">
                <a:extLst>
                  <a:ext uri="{FF2B5EF4-FFF2-40B4-BE49-F238E27FC236}">
                    <a16:creationId xmlns:a16="http://schemas.microsoft.com/office/drawing/2014/main" id="{B366D578-3570-4ACC-B9EF-0F9ED2D84D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2" y="236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585">
                <a:extLst>
                  <a:ext uri="{FF2B5EF4-FFF2-40B4-BE49-F238E27FC236}">
                    <a16:creationId xmlns:a16="http://schemas.microsoft.com/office/drawing/2014/main" id="{9001624C-1FEE-4C90-8111-D18F5FA0A0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3" y="248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586">
                <a:extLst>
                  <a:ext uri="{FF2B5EF4-FFF2-40B4-BE49-F238E27FC236}">
                    <a16:creationId xmlns:a16="http://schemas.microsoft.com/office/drawing/2014/main" id="{D05E39D6-35F8-4A70-80C2-88413387C4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2" y="2467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1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587">
                <a:extLst>
                  <a:ext uri="{FF2B5EF4-FFF2-40B4-BE49-F238E27FC236}">
                    <a16:creationId xmlns:a16="http://schemas.microsoft.com/office/drawing/2014/main" id="{91E2C48B-F149-4548-8CED-A7BB7B7CB2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2" y="2452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588">
                <a:extLst>
                  <a:ext uri="{FF2B5EF4-FFF2-40B4-BE49-F238E27FC236}">
                    <a16:creationId xmlns:a16="http://schemas.microsoft.com/office/drawing/2014/main" id="{E67CA0A7-E3C2-466D-AC43-B29B7050E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1" y="243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589">
                <a:extLst>
                  <a:ext uri="{FF2B5EF4-FFF2-40B4-BE49-F238E27FC236}">
                    <a16:creationId xmlns:a16="http://schemas.microsoft.com/office/drawing/2014/main" id="{F4F064AE-FCDF-4691-A1F0-37695AA132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0" y="2423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590">
                <a:extLst>
                  <a:ext uri="{FF2B5EF4-FFF2-40B4-BE49-F238E27FC236}">
                    <a16:creationId xmlns:a16="http://schemas.microsoft.com/office/drawing/2014/main" id="{2EF8E9D8-3F28-46FD-8517-0F8B086752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0" y="240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591">
                <a:extLst>
                  <a:ext uri="{FF2B5EF4-FFF2-40B4-BE49-F238E27FC236}">
                    <a16:creationId xmlns:a16="http://schemas.microsoft.com/office/drawing/2014/main" id="{39070184-863B-46E8-8CCA-DDBC900E90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9" y="2393"/>
                <a:ext cx="24" cy="25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592">
                <a:extLst>
                  <a:ext uri="{FF2B5EF4-FFF2-40B4-BE49-F238E27FC236}">
                    <a16:creationId xmlns:a16="http://schemas.microsoft.com/office/drawing/2014/main" id="{BB7FA9C7-0A08-44FB-BF60-554E7D2F9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8" y="2379"/>
                <a:ext cx="25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593">
                <a:extLst>
                  <a:ext uri="{FF2B5EF4-FFF2-40B4-BE49-F238E27FC236}">
                    <a16:creationId xmlns:a16="http://schemas.microsoft.com/office/drawing/2014/main" id="{545FE0E4-EE72-4D3D-9519-CE3F4323E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8" y="2365"/>
                <a:ext cx="24" cy="24"/>
              </a:xfrm>
              <a:custGeom>
                <a:avLst/>
                <a:gdLst>
                  <a:gd name="T0" fmla="*/ 43 w 44"/>
                  <a:gd name="T1" fmla="*/ 26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3 h 44"/>
                  <a:gd name="T16" fmla="*/ 43 w 44"/>
                  <a:gd name="T17" fmla="*/ 2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6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24"/>
                      <a:pt x="44" y="26"/>
                      <a:pt x="43" y="26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594">
                <a:extLst>
                  <a:ext uri="{FF2B5EF4-FFF2-40B4-BE49-F238E27FC236}">
                    <a16:creationId xmlns:a16="http://schemas.microsoft.com/office/drawing/2014/main" id="{D9660B5A-974B-4448-BE3B-0022A5ACE2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7" y="23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595">
                <a:extLst>
                  <a:ext uri="{FF2B5EF4-FFF2-40B4-BE49-F238E27FC236}">
                    <a16:creationId xmlns:a16="http://schemas.microsoft.com/office/drawing/2014/main" id="{56AB09C3-3BC1-41EE-9302-85B3BDD0D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" y="2335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596">
                <a:extLst>
                  <a:ext uri="{FF2B5EF4-FFF2-40B4-BE49-F238E27FC236}">
                    <a16:creationId xmlns:a16="http://schemas.microsoft.com/office/drawing/2014/main" id="{94319A51-A7D3-4754-A719-0517C95BF9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8" y="2468"/>
                <a:ext cx="35" cy="32"/>
              </a:xfrm>
              <a:custGeom>
                <a:avLst/>
                <a:gdLst>
                  <a:gd name="T0" fmla="*/ 61 w 63"/>
                  <a:gd name="T1" fmla="*/ 27 h 58"/>
                  <a:gd name="T2" fmla="*/ 21 w 63"/>
                  <a:gd name="T3" fmla="*/ 58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1 h 58"/>
                  <a:gd name="T12" fmla="*/ 45 w 63"/>
                  <a:gd name="T13" fmla="*/ 1 h 58"/>
                  <a:gd name="T14" fmla="*/ 62 w 63"/>
                  <a:gd name="T15" fmla="*/ 24 h 58"/>
                  <a:gd name="T16" fmla="*/ 61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2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597">
                <a:extLst>
                  <a:ext uri="{FF2B5EF4-FFF2-40B4-BE49-F238E27FC236}">
                    <a16:creationId xmlns:a16="http://schemas.microsoft.com/office/drawing/2014/main" id="{C9F8D29E-0972-4A11-A80D-D8807E3E5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1" y="2300"/>
                <a:ext cx="35" cy="32"/>
              </a:xfrm>
              <a:custGeom>
                <a:avLst/>
                <a:gdLst>
                  <a:gd name="T0" fmla="*/ 62 w 63"/>
                  <a:gd name="T1" fmla="*/ 27 h 58"/>
                  <a:gd name="T2" fmla="*/ 21 w 63"/>
                  <a:gd name="T3" fmla="*/ 57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0 h 58"/>
                  <a:gd name="T12" fmla="*/ 45 w 63"/>
                  <a:gd name="T13" fmla="*/ 1 h 58"/>
                  <a:gd name="T14" fmla="*/ 62 w 63"/>
                  <a:gd name="T15" fmla="*/ 24 h 58"/>
                  <a:gd name="T16" fmla="*/ 62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2" y="27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3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598">
                <a:extLst>
                  <a:ext uri="{FF2B5EF4-FFF2-40B4-BE49-F238E27FC236}">
                    <a16:creationId xmlns:a16="http://schemas.microsoft.com/office/drawing/2014/main" id="{DE89F5A4-270C-41B1-8EB3-4600906761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4" y="2496"/>
                <a:ext cx="24" cy="24"/>
              </a:xfrm>
              <a:custGeom>
                <a:avLst/>
                <a:gdLst>
                  <a:gd name="T0" fmla="*/ 44 w 45"/>
                  <a:gd name="T1" fmla="*/ 27 h 45"/>
                  <a:gd name="T2" fmla="*/ 21 w 45"/>
                  <a:gd name="T3" fmla="*/ 44 h 45"/>
                  <a:gd name="T4" fmla="*/ 18 w 45"/>
                  <a:gd name="T5" fmla="*/ 44 h 45"/>
                  <a:gd name="T6" fmla="*/ 1 w 45"/>
                  <a:gd name="T7" fmla="*/ 21 h 45"/>
                  <a:gd name="T8" fmla="*/ 1 w 45"/>
                  <a:gd name="T9" fmla="*/ 18 h 45"/>
                  <a:gd name="T10" fmla="*/ 24 w 45"/>
                  <a:gd name="T11" fmla="*/ 1 h 45"/>
                  <a:gd name="T12" fmla="*/ 27 w 45"/>
                  <a:gd name="T13" fmla="*/ 1 h 45"/>
                  <a:gd name="T14" fmla="*/ 44 w 45"/>
                  <a:gd name="T15" fmla="*/ 24 h 45"/>
                  <a:gd name="T16" fmla="*/ 44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4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5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5" y="26"/>
                      <a:pt x="44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599">
                <a:extLst>
                  <a:ext uri="{FF2B5EF4-FFF2-40B4-BE49-F238E27FC236}">
                    <a16:creationId xmlns:a16="http://schemas.microsoft.com/office/drawing/2014/main" id="{E1CEA497-EB10-4F76-8649-FF380148E9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6" y="2320"/>
                <a:ext cx="25" cy="24"/>
              </a:xfrm>
              <a:custGeom>
                <a:avLst/>
                <a:gdLst>
                  <a:gd name="T0" fmla="*/ 43 w 45"/>
                  <a:gd name="T1" fmla="*/ 27 h 45"/>
                  <a:gd name="T2" fmla="*/ 21 w 45"/>
                  <a:gd name="T3" fmla="*/ 45 h 45"/>
                  <a:gd name="T4" fmla="*/ 18 w 45"/>
                  <a:gd name="T5" fmla="*/ 44 h 45"/>
                  <a:gd name="T6" fmla="*/ 0 w 45"/>
                  <a:gd name="T7" fmla="*/ 21 h 45"/>
                  <a:gd name="T8" fmla="*/ 1 w 45"/>
                  <a:gd name="T9" fmla="*/ 18 h 45"/>
                  <a:gd name="T10" fmla="*/ 24 w 45"/>
                  <a:gd name="T11" fmla="*/ 1 h 45"/>
                  <a:gd name="T12" fmla="*/ 26 w 45"/>
                  <a:gd name="T13" fmla="*/ 2 h 45"/>
                  <a:gd name="T14" fmla="*/ 44 w 45"/>
                  <a:gd name="T15" fmla="*/ 24 h 45"/>
                  <a:gd name="T16" fmla="*/ 43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3" y="27"/>
                    </a:moveTo>
                    <a:cubicBezTo>
                      <a:pt x="21" y="45"/>
                      <a:pt x="21" y="45"/>
                      <a:pt x="21" y="45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600">
                <a:extLst>
                  <a:ext uri="{FF2B5EF4-FFF2-40B4-BE49-F238E27FC236}">
                    <a16:creationId xmlns:a16="http://schemas.microsoft.com/office/drawing/2014/main" id="{43A61379-8AAC-4CBC-BE77-F9FF02D3F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9" y="2508"/>
                <a:ext cx="34" cy="32"/>
              </a:xfrm>
              <a:custGeom>
                <a:avLst/>
                <a:gdLst>
                  <a:gd name="T0" fmla="*/ 61 w 62"/>
                  <a:gd name="T1" fmla="*/ 27 h 59"/>
                  <a:gd name="T2" fmla="*/ 21 w 62"/>
                  <a:gd name="T3" fmla="*/ 58 h 59"/>
                  <a:gd name="T4" fmla="*/ 18 w 62"/>
                  <a:gd name="T5" fmla="*/ 58 h 59"/>
                  <a:gd name="T6" fmla="*/ 0 w 62"/>
                  <a:gd name="T7" fmla="*/ 35 h 59"/>
                  <a:gd name="T8" fmla="*/ 1 w 62"/>
                  <a:gd name="T9" fmla="*/ 32 h 59"/>
                  <a:gd name="T10" fmla="*/ 41 w 62"/>
                  <a:gd name="T11" fmla="*/ 1 h 59"/>
                  <a:gd name="T12" fmla="*/ 44 w 62"/>
                  <a:gd name="T13" fmla="*/ 2 h 59"/>
                  <a:gd name="T14" fmla="*/ 62 w 62"/>
                  <a:gd name="T15" fmla="*/ 24 h 59"/>
                  <a:gd name="T16" fmla="*/ 61 w 62"/>
                  <a:gd name="T17" fmla="*/ 27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9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9"/>
                      <a:pt x="18" y="59"/>
                      <a:pt x="18" y="58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4"/>
                      <a:pt x="0" y="33"/>
                      <a:pt x="1" y="32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1"/>
                      <a:pt x="44" y="2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7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601">
                <a:extLst>
                  <a:ext uri="{FF2B5EF4-FFF2-40B4-BE49-F238E27FC236}">
                    <a16:creationId xmlns:a16="http://schemas.microsoft.com/office/drawing/2014/main" id="{95717062-E9AB-468A-BBF7-253587CDCB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2" y="2340"/>
                <a:ext cx="34" cy="32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8 h 58"/>
                  <a:gd name="T4" fmla="*/ 18 w 62"/>
                  <a:gd name="T5" fmla="*/ 57 h 58"/>
                  <a:gd name="T6" fmla="*/ 1 w 62"/>
                  <a:gd name="T7" fmla="*/ 34 h 58"/>
                  <a:gd name="T8" fmla="*/ 1 w 62"/>
                  <a:gd name="T9" fmla="*/ 31 h 58"/>
                  <a:gd name="T10" fmla="*/ 41 w 62"/>
                  <a:gd name="T11" fmla="*/ 1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4"/>
                      <a:pt x="0" y="32"/>
                      <a:pt x="1" y="31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602">
                <a:extLst>
                  <a:ext uri="{FF2B5EF4-FFF2-40B4-BE49-F238E27FC236}">
                    <a16:creationId xmlns:a16="http://schemas.microsoft.com/office/drawing/2014/main" id="{73BF71A9-D903-47A6-BBE3-01A398E892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3" y="2100"/>
                <a:ext cx="432" cy="362"/>
              </a:xfrm>
              <a:custGeom>
                <a:avLst/>
                <a:gdLst>
                  <a:gd name="T0" fmla="*/ 101 w 432"/>
                  <a:gd name="T1" fmla="*/ 362 h 362"/>
                  <a:gd name="T2" fmla="*/ 0 w 432"/>
                  <a:gd name="T3" fmla="*/ 316 h 362"/>
                  <a:gd name="T4" fmla="*/ 413 w 432"/>
                  <a:gd name="T5" fmla="*/ 0 h 362"/>
                  <a:gd name="T6" fmla="*/ 432 w 432"/>
                  <a:gd name="T7" fmla="*/ 109 h 362"/>
                  <a:gd name="T8" fmla="*/ 101 w 432"/>
                  <a:gd name="T9" fmla="*/ 3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2" h="362">
                    <a:moveTo>
                      <a:pt x="101" y="362"/>
                    </a:moveTo>
                    <a:lnTo>
                      <a:pt x="0" y="316"/>
                    </a:lnTo>
                    <a:lnTo>
                      <a:pt x="413" y="0"/>
                    </a:lnTo>
                    <a:lnTo>
                      <a:pt x="432" y="109"/>
                    </a:lnTo>
                    <a:lnTo>
                      <a:pt x="101" y="362"/>
                    </a:ln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603">
                <a:extLst>
                  <a:ext uri="{FF2B5EF4-FFF2-40B4-BE49-F238E27FC236}">
                    <a16:creationId xmlns:a16="http://schemas.microsoft.com/office/drawing/2014/main" id="{DBEBAA07-5EB5-4B80-B0A3-EEF813845D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2" y="2108"/>
                <a:ext cx="419" cy="350"/>
              </a:xfrm>
              <a:custGeom>
                <a:avLst/>
                <a:gdLst>
                  <a:gd name="T0" fmla="*/ 92 w 419"/>
                  <a:gd name="T1" fmla="*/ 350 h 350"/>
                  <a:gd name="T2" fmla="*/ 0 w 419"/>
                  <a:gd name="T3" fmla="*/ 307 h 350"/>
                  <a:gd name="T4" fmla="*/ 401 w 419"/>
                  <a:gd name="T5" fmla="*/ 0 h 350"/>
                  <a:gd name="T6" fmla="*/ 419 w 419"/>
                  <a:gd name="T7" fmla="*/ 100 h 350"/>
                  <a:gd name="T8" fmla="*/ 92 w 419"/>
                  <a:gd name="T9" fmla="*/ 35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9" h="350">
                    <a:moveTo>
                      <a:pt x="92" y="350"/>
                    </a:moveTo>
                    <a:lnTo>
                      <a:pt x="0" y="307"/>
                    </a:lnTo>
                    <a:lnTo>
                      <a:pt x="401" y="0"/>
                    </a:lnTo>
                    <a:lnTo>
                      <a:pt x="419" y="100"/>
                    </a:lnTo>
                    <a:lnTo>
                      <a:pt x="92" y="350"/>
                    </a:lnTo>
                    <a:close/>
                  </a:path>
                </a:pathLst>
              </a:custGeom>
              <a:solidFill>
                <a:srgbClr val="4849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604">
                <a:extLst>
                  <a:ext uri="{FF2B5EF4-FFF2-40B4-BE49-F238E27FC236}">
                    <a16:creationId xmlns:a16="http://schemas.microsoft.com/office/drawing/2014/main" id="{29E30B18-E14C-46AF-9209-C1071BEE47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7" y="2113"/>
                <a:ext cx="395" cy="305"/>
              </a:xfrm>
              <a:custGeom>
                <a:avLst/>
                <a:gdLst>
                  <a:gd name="T0" fmla="*/ 11 w 395"/>
                  <a:gd name="T1" fmla="*/ 305 h 305"/>
                  <a:gd name="T2" fmla="*/ 0 w 395"/>
                  <a:gd name="T3" fmla="*/ 300 h 305"/>
                  <a:gd name="T4" fmla="*/ 393 w 395"/>
                  <a:gd name="T5" fmla="*/ 0 h 305"/>
                  <a:gd name="T6" fmla="*/ 395 w 395"/>
                  <a:gd name="T7" fmla="*/ 12 h 305"/>
                  <a:gd name="T8" fmla="*/ 11 w 395"/>
                  <a:gd name="T9" fmla="*/ 305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05">
                    <a:moveTo>
                      <a:pt x="11" y="305"/>
                    </a:moveTo>
                    <a:lnTo>
                      <a:pt x="0" y="300"/>
                    </a:lnTo>
                    <a:lnTo>
                      <a:pt x="393" y="0"/>
                    </a:lnTo>
                    <a:lnTo>
                      <a:pt x="395" y="12"/>
                    </a:lnTo>
                    <a:lnTo>
                      <a:pt x="11" y="305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605">
                <a:extLst>
                  <a:ext uri="{FF2B5EF4-FFF2-40B4-BE49-F238E27FC236}">
                    <a16:creationId xmlns:a16="http://schemas.microsoft.com/office/drawing/2014/main" id="{771DFA5F-2B43-4889-8997-6DDC5912F1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1" y="2404"/>
                <a:ext cx="91" cy="51"/>
              </a:xfrm>
              <a:custGeom>
                <a:avLst/>
                <a:gdLst>
                  <a:gd name="T0" fmla="*/ 91 w 91"/>
                  <a:gd name="T1" fmla="*/ 37 h 51"/>
                  <a:gd name="T2" fmla="*/ 74 w 91"/>
                  <a:gd name="T3" fmla="*/ 51 h 51"/>
                  <a:gd name="T4" fmla="*/ 0 w 91"/>
                  <a:gd name="T5" fmla="*/ 16 h 51"/>
                  <a:gd name="T6" fmla="*/ 21 w 91"/>
                  <a:gd name="T7" fmla="*/ 0 h 51"/>
                  <a:gd name="T8" fmla="*/ 91 w 91"/>
                  <a:gd name="T9" fmla="*/ 3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51">
                    <a:moveTo>
                      <a:pt x="91" y="37"/>
                    </a:moveTo>
                    <a:lnTo>
                      <a:pt x="74" y="51"/>
                    </a:lnTo>
                    <a:lnTo>
                      <a:pt x="0" y="16"/>
                    </a:lnTo>
                    <a:lnTo>
                      <a:pt x="21" y="0"/>
                    </a:lnTo>
                    <a:lnTo>
                      <a:pt x="91" y="37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606">
                <a:extLst>
                  <a:ext uri="{FF2B5EF4-FFF2-40B4-BE49-F238E27FC236}">
                    <a16:creationId xmlns:a16="http://schemas.microsoft.com/office/drawing/2014/main" id="{D51B12FC-72A0-4A27-93A7-8699ED5F1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2" y="2129"/>
                <a:ext cx="35" cy="92"/>
              </a:xfrm>
              <a:custGeom>
                <a:avLst/>
                <a:gdLst>
                  <a:gd name="T0" fmla="*/ 35 w 35"/>
                  <a:gd name="T1" fmla="*/ 79 h 92"/>
                  <a:gd name="T2" fmla="*/ 18 w 35"/>
                  <a:gd name="T3" fmla="*/ 92 h 92"/>
                  <a:gd name="T4" fmla="*/ 0 w 35"/>
                  <a:gd name="T5" fmla="*/ 16 h 92"/>
                  <a:gd name="T6" fmla="*/ 21 w 35"/>
                  <a:gd name="T7" fmla="*/ 0 h 92"/>
                  <a:gd name="T8" fmla="*/ 35 w 35"/>
                  <a:gd name="T9" fmla="*/ 7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92">
                    <a:moveTo>
                      <a:pt x="35" y="79"/>
                    </a:moveTo>
                    <a:lnTo>
                      <a:pt x="18" y="92"/>
                    </a:lnTo>
                    <a:lnTo>
                      <a:pt x="0" y="16"/>
                    </a:lnTo>
                    <a:lnTo>
                      <a:pt x="21" y="0"/>
                    </a:lnTo>
                    <a:lnTo>
                      <a:pt x="35" y="79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" name="Freeform 608">
              <a:extLst>
                <a:ext uri="{FF2B5EF4-FFF2-40B4-BE49-F238E27FC236}">
                  <a16:creationId xmlns:a16="http://schemas.microsoft.com/office/drawing/2014/main" id="{1C033AF9-1F6B-4543-A719-DD0B422BA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7550" y="3503613"/>
              <a:ext cx="333375" cy="284163"/>
            </a:xfrm>
            <a:custGeom>
              <a:avLst/>
              <a:gdLst>
                <a:gd name="T0" fmla="*/ 210 w 210"/>
                <a:gd name="T1" fmla="*/ 53 h 179"/>
                <a:gd name="T2" fmla="*/ 46 w 210"/>
                <a:gd name="T3" fmla="*/ 179 h 179"/>
                <a:gd name="T4" fmla="*/ 0 w 210"/>
                <a:gd name="T5" fmla="*/ 143 h 179"/>
                <a:gd name="T6" fmla="*/ 187 w 210"/>
                <a:gd name="T7" fmla="*/ 0 h 179"/>
                <a:gd name="T8" fmla="*/ 210 w 210"/>
                <a:gd name="T9" fmla="*/ 5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179">
                  <a:moveTo>
                    <a:pt x="210" y="53"/>
                  </a:moveTo>
                  <a:lnTo>
                    <a:pt x="46" y="179"/>
                  </a:lnTo>
                  <a:lnTo>
                    <a:pt x="0" y="143"/>
                  </a:lnTo>
                  <a:lnTo>
                    <a:pt x="187" y="0"/>
                  </a:lnTo>
                  <a:lnTo>
                    <a:pt x="210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09">
              <a:extLst>
                <a:ext uri="{FF2B5EF4-FFF2-40B4-BE49-F238E27FC236}">
                  <a16:creationId xmlns:a16="http://schemas.microsoft.com/office/drawing/2014/main" id="{BA64B51C-C1B5-477D-A7B6-8262EAFEA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1238" y="3489326"/>
              <a:ext cx="138113" cy="134938"/>
            </a:xfrm>
            <a:custGeom>
              <a:avLst/>
              <a:gdLst>
                <a:gd name="T0" fmla="*/ 87 w 87"/>
                <a:gd name="T1" fmla="*/ 28 h 85"/>
                <a:gd name="T2" fmla="*/ 12 w 87"/>
                <a:gd name="T3" fmla="*/ 85 h 85"/>
                <a:gd name="T4" fmla="*/ 0 w 87"/>
                <a:gd name="T5" fmla="*/ 61 h 85"/>
                <a:gd name="T6" fmla="*/ 80 w 87"/>
                <a:gd name="T7" fmla="*/ 0 h 85"/>
                <a:gd name="T8" fmla="*/ 87 w 87"/>
                <a:gd name="T9" fmla="*/ 2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5">
                  <a:moveTo>
                    <a:pt x="87" y="28"/>
                  </a:moveTo>
                  <a:lnTo>
                    <a:pt x="12" y="85"/>
                  </a:lnTo>
                  <a:lnTo>
                    <a:pt x="0" y="61"/>
                  </a:lnTo>
                  <a:lnTo>
                    <a:pt x="80" y="0"/>
                  </a:lnTo>
                  <a:lnTo>
                    <a:pt x="87" y="28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10">
              <a:extLst>
                <a:ext uri="{FF2B5EF4-FFF2-40B4-BE49-F238E27FC236}">
                  <a16:creationId xmlns:a16="http://schemas.microsoft.com/office/drawing/2014/main" id="{0527022F-535B-4DD9-89B6-4D65BF587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650" y="3484563"/>
              <a:ext cx="128588" cy="101600"/>
            </a:xfrm>
            <a:custGeom>
              <a:avLst/>
              <a:gdLst>
                <a:gd name="T0" fmla="*/ 81 w 81"/>
                <a:gd name="T1" fmla="*/ 0 h 64"/>
                <a:gd name="T2" fmla="*/ 0 w 81"/>
                <a:gd name="T3" fmla="*/ 62 h 64"/>
                <a:gd name="T4" fmla="*/ 1 w 81"/>
                <a:gd name="T5" fmla="*/ 64 h 64"/>
                <a:gd name="T6" fmla="*/ 81 w 81"/>
                <a:gd name="T7" fmla="*/ 3 h 64"/>
                <a:gd name="T8" fmla="*/ 81 w 81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64">
                  <a:moveTo>
                    <a:pt x="81" y="0"/>
                  </a:moveTo>
                  <a:lnTo>
                    <a:pt x="0" y="62"/>
                  </a:lnTo>
                  <a:lnTo>
                    <a:pt x="1" y="64"/>
                  </a:lnTo>
                  <a:lnTo>
                    <a:pt x="81" y="3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565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611">
              <a:extLst>
                <a:ext uri="{FF2B5EF4-FFF2-40B4-BE49-F238E27FC236}">
                  <a16:creationId xmlns:a16="http://schemas.microsoft.com/office/drawing/2014/main" id="{676A0FFC-AFD5-4A9A-B9A5-3686F89988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0763" y="3568701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2 w 16"/>
                <a:gd name="T3" fmla="*/ 14 h 14"/>
                <a:gd name="T4" fmla="*/ 0 w 16"/>
                <a:gd name="T5" fmla="*/ 11 h 14"/>
                <a:gd name="T6" fmla="*/ 14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2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F5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12">
              <a:extLst>
                <a:ext uri="{FF2B5EF4-FFF2-40B4-BE49-F238E27FC236}">
                  <a16:creationId xmlns:a16="http://schemas.microsoft.com/office/drawing/2014/main" id="{6C93903C-03B2-4706-A562-55EE8543C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0925" y="3546476"/>
              <a:ext cx="25400" cy="23813"/>
            </a:xfrm>
            <a:custGeom>
              <a:avLst/>
              <a:gdLst>
                <a:gd name="T0" fmla="*/ 16 w 16"/>
                <a:gd name="T1" fmla="*/ 3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3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3"/>
                  </a:lnTo>
                  <a:close/>
                </a:path>
              </a:pathLst>
            </a:custGeom>
            <a:solidFill>
              <a:srgbClr val="FFE0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613">
              <a:extLst>
                <a:ext uri="{FF2B5EF4-FFF2-40B4-BE49-F238E27FC236}">
                  <a16:creationId xmlns:a16="http://schemas.microsoft.com/office/drawing/2014/main" id="{DC35686E-620F-42C6-8BA3-46D1B3686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9663" y="3500438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14">
              <a:extLst>
                <a:ext uri="{FF2B5EF4-FFF2-40B4-BE49-F238E27FC236}">
                  <a16:creationId xmlns:a16="http://schemas.microsoft.com/office/drawing/2014/main" id="{827AC62D-B1B5-41F2-9B17-D26774D43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9500" y="3522663"/>
              <a:ext cx="25400" cy="25400"/>
            </a:xfrm>
            <a:custGeom>
              <a:avLst/>
              <a:gdLst>
                <a:gd name="T0" fmla="*/ 16 w 16"/>
                <a:gd name="T1" fmla="*/ 5 h 16"/>
                <a:gd name="T2" fmla="*/ 2 w 16"/>
                <a:gd name="T3" fmla="*/ 16 h 16"/>
                <a:gd name="T4" fmla="*/ 0 w 16"/>
                <a:gd name="T5" fmla="*/ 11 h 16"/>
                <a:gd name="T6" fmla="*/ 15 w 16"/>
                <a:gd name="T7" fmla="*/ 0 h 16"/>
                <a:gd name="T8" fmla="*/ 16 w 16"/>
                <a:gd name="T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6" y="5"/>
                  </a:moveTo>
                  <a:lnTo>
                    <a:pt x="2" y="16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5"/>
                  </a:lnTo>
                  <a:close/>
                </a:path>
              </a:pathLst>
            </a:custGeom>
            <a:solidFill>
              <a:srgbClr val="E3C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15">
              <a:extLst>
                <a:ext uri="{FF2B5EF4-FFF2-40B4-BE49-F238E27FC236}">
                  <a16:creationId xmlns:a16="http://schemas.microsoft.com/office/drawing/2014/main" id="{6160D349-D2DE-44CE-AF40-D681FBECF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3938" y="3576638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2 w 16"/>
                <a:gd name="T3" fmla="*/ 15 h 15"/>
                <a:gd name="T4" fmla="*/ 0 w 16"/>
                <a:gd name="T5" fmla="*/ 11 h 15"/>
                <a:gd name="T6" fmla="*/ 15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F1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16">
              <a:extLst>
                <a:ext uri="{FF2B5EF4-FFF2-40B4-BE49-F238E27FC236}">
                  <a16:creationId xmlns:a16="http://schemas.microsoft.com/office/drawing/2014/main" id="{06D22AD4-72E1-4832-82B5-7E09B6538F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4100" y="3554413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FFD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17">
              <a:extLst>
                <a:ext uri="{FF2B5EF4-FFF2-40B4-BE49-F238E27FC236}">
                  <a16:creationId xmlns:a16="http://schemas.microsoft.com/office/drawing/2014/main" id="{216D32CE-0916-4096-8AD1-78C07D997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2838" y="3509963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A6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618">
              <a:extLst>
                <a:ext uri="{FF2B5EF4-FFF2-40B4-BE49-F238E27FC236}">
                  <a16:creationId xmlns:a16="http://schemas.microsoft.com/office/drawing/2014/main" id="{5CA55864-B949-4EA3-9161-FEF99405E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2675" y="3532188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2 w 16"/>
                <a:gd name="T3" fmla="*/ 15 h 15"/>
                <a:gd name="T4" fmla="*/ 0 w 16"/>
                <a:gd name="T5" fmla="*/ 11 h 15"/>
                <a:gd name="T6" fmla="*/ 15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E3B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19">
              <a:extLst>
                <a:ext uri="{FF2B5EF4-FFF2-40B4-BE49-F238E27FC236}">
                  <a16:creationId xmlns:a16="http://schemas.microsoft.com/office/drawing/2014/main" id="{0D60DE89-A7E8-4100-9D37-0288D2279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8700" y="3584576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EE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620">
              <a:extLst>
                <a:ext uri="{FF2B5EF4-FFF2-40B4-BE49-F238E27FC236}">
                  <a16:creationId xmlns:a16="http://schemas.microsoft.com/office/drawing/2014/main" id="{659895D8-C548-497F-A1FA-24BF93DA3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7275" y="3562351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CA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21">
              <a:extLst>
                <a:ext uri="{FF2B5EF4-FFF2-40B4-BE49-F238E27FC236}">
                  <a16:creationId xmlns:a16="http://schemas.microsoft.com/office/drawing/2014/main" id="{963DC246-A006-4DCF-A071-253A0474D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4425" y="3519488"/>
              <a:ext cx="25400" cy="22225"/>
            </a:xfrm>
            <a:custGeom>
              <a:avLst/>
              <a:gdLst>
                <a:gd name="T0" fmla="*/ 16 w 16"/>
                <a:gd name="T1" fmla="*/ 3 h 14"/>
                <a:gd name="T2" fmla="*/ 1 w 16"/>
                <a:gd name="T3" fmla="*/ 14 h 14"/>
                <a:gd name="T4" fmla="*/ 0 w 16"/>
                <a:gd name="T5" fmla="*/ 11 h 14"/>
                <a:gd name="T6" fmla="*/ 15 w 16"/>
                <a:gd name="T7" fmla="*/ 0 h 14"/>
                <a:gd name="T8" fmla="*/ 16 w 16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3"/>
                  </a:moveTo>
                  <a:lnTo>
                    <a:pt x="1" y="14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3"/>
                  </a:lnTo>
                  <a:close/>
                </a:path>
              </a:pathLst>
            </a:custGeom>
            <a:solidFill>
              <a:srgbClr val="E68B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22">
              <a:extLst>
                <a:ext uri="{FF2B5EF4-FFF2-40B4-BE49-F238E27FC236}">
                  <a16:creationId xmlns:a16="http://schemas.microsoft.com/office/drawing/2014/main" id="{676B4274-BD0F-4CBC-B5B2-227CA324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5850" y="3541713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1 w 16"/>
                <a:gd name="T3" fmla="*/ 14 h 14"/>
                <a:gd name="T4" fmla="*/ 0 w 16"/>
                <a:gd name="T5" fmla="*/ 10 h 14"/>
                <a:gd name="T6" fmla="*/ 15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E39E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23">
              <a:extLst>
                <a:ext uri="{FF2B5EF4-FFF2-40B4-BE49-F238E27FC236}">
                  <a16:creationId xmlns:a16="http://schemas.microsoft.com/office/drawing/2014/main" id="{7C75FA3E-26B3-4C74-B513-6C618AD3C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1875" y="3592513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2 w 16"/>
                <a:gd name="T3" fmla="*/ 14 h 14"/>
                <a:gd name="T4" fmla="*/ 0 w 16"/>
                <a:gd name="T5" fmla="*/ 11 h 14"/>
                <a:gd name="T6" fmla="*/ 14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2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E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24">
              <a:extLst>
                <a:ext uri="{FF2B5EF4-FFF2-40B4-BE49-F238E27FC236}">
                  <a16:creationId xmlns:a16="http://schemas.microsoft.com/office/drawing/2014/main" id="{0DAAA780-59AE-458A-BD71-2955C208C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0450" y="3570288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2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CCC7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25">
              <a:extLst>
                <a:ext uri="{FF2B5EF4-FFF2-40B4-BE49-F238E27FC236}">
                  <a16:creationId xmlns:a16="http://schemas.microsoft.com/office/drawing/2014/main" id="{635FAE51-2045-47DB-ABB6-B8832FBFC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7600" y="3527426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26">
              <a:extLst>
                <a:ext uri="{FF2B5EF4-FFF2-40B4-BE49-F238E27FC236}">
                  <a16:creationId xmlns:a16="http://schemas.microsoft.com/office/drawing/2014/main" id="{5AE8E328-48AB-45AB-A7AE-7EE5B04367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9025" y="3549651"/>
              <a:ext cx="23813" cy="22225"/>
            </a:xfrm>
            <a:custGeom>
              <a:avLst/>
              <a:gdLst>
                <a:gd name="T0" fmla="*/ 15 w 15"/>
                <a:gd name="T1" fmla="*/ 4 h 14"/>
                <a:gd name="T2" fmla="*/ 1 w 15"/>
                <a:gd name="T3" fmla="*/ 14 h 14"/>
                <a:gd name="T4" fmla="*/ 0 w 15"/>
                <a:gd name="T5" fmla="*/ 11 h 14"/>
                <a:gd name="T6" fmla="*/ 14 w 15"/>
                <a:gd name="T7" fmla="*/ 0 h 14"/>
                <a:gd name="T8" fmla="*/ 15 w 15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15" y="4"/>
                  </a:moveTo>
                  <a:lnTo>
                    <a:pt x="1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39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27">
              <a:extLst>
                <a:ext uri="{FF2B5EF4-FFF2-40B4-BE49-F238E27FC236}">
                  <a16:creationId xmlns:a16="http://schemas.microsoft.com/office/drawing/2014/main" id="{D319F6EA-9460-43FD-AD85-AAAD443A9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3489326"/>
              <a:ext cx="7938" cy="7938"/>
            </a:xfrm>
            <a:custGeom>
              <a:avLst/>
              <a:gdLst>
                <a:gd name="T0" fmla="*/ 5 w 5"/>
                <a:gd name="T1" fmla="*/ 2 h 5"/>
                <a:gd name="T2" fmla="*/ 0 w 5"/>
                <a:gd name="T3" fmla="*/ 5 h 5"/>
                <a:gd name="T4" fmla="*/ 0 w 5"/>
                <a:gd name="T5" fmla="*/ 3 h 5"/>
                <a:gd name="T6" fmla="*/ 5 w 5"/>
                <a:gd name="T7" fmla="*/ 0 h 5"/>
                <a:gd name="T8" fmla="*/ 5 w 5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5" y="2"/>
                  </a:moveTo>
                  <a:lnTo>
                    <a:pt x="0" y="5"/>
                  </a:lnTo>
                  <a:lnTo>
                    <a:pt x="0" y="3"/>
                  </a:lnTo>
                  <a:lnTo>
                    <a:pt x="5" y="0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28">
              <a:extLst>
                <a:ext uri="{FF2B5EF4-FFF2-40B4-BE49-F238E27FC236}">
                  <a16:creationId xmlns:a16="http://schemas.microsoft.com/office/drawing/2014/main" id="{AF6BDD5D-060D-45F9-9F95-2F67E3521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3490913"/>
              <a:ext cx="4763" cy="4763"/>
            </a:xfrm>
            <a:custGeom>
              <a:avLst/>
              <a:gdLst>
                <a:gd name="T0" fmla="*/ 1 w 3"/>
                <a:gd name="T1" fmla="*/ 3 h 3"/>
                <a:gd name="T2" fmla="*/ 0 w 3"/>
                <a:gd name="T3" fmla="*/ 3 h 3"/>
                <a:gd name="T4" fmla="*/ 0 w 3"/>
                <a:gd name="T5" fmla="*/ 3 h 3"/>
                <a:gd name="T6" fmla="*/ 3 w 3"/>
                <a:gd name="T7" fmla="*/ 0 h 3"/>
                <a:gd name="T8" fmla="*/ 3 w 3"/>
                <a:gd name="T9" fmla="*/ 0 h 3"/>
                <a:gd name="T10" fmla="*/ 3 w 3"/>
                <a:gd name="T11" fmla="*/ 0 h 3"/>
                <a:gd name="T12" fmla="*/ 1 w 3"/>
                <a:gd name="T13" fmla="*/ 3 h 3"/>
                <a:gd name="T14" fmla="*/ 1 w 3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3"/>
                  </a:lnTo>
                  <a:lnTo>
                    <a:pt x="1" y="3"/>
                  </a:lnTo>
                  <a:close/>
                </a:path>
              </a:pathLst>
            </a:custGeom>
            <a:solidFill>
              <a:srgbClr val="4849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629">
              <a:extLst>
                <a:ext uri="{FF2B5EF4-FFF2-40B4-BE49-F238E27FC236}">
                  <a16:creationId xmlns:a16="http://schemas.microsoft.com/office/drawing/2014/main" id="{451361B5-F0C6-447C-9DB5-1D230D128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3492501"/>
              <a:ext cx="4763" cy="1588"/>
            </a:xfrm>
            <a:custGeom>
              <a:avLst/>
              <a:gdLst>
                <a:gd name="T0" fmla="*/ 3 w 3"/>
                <a:gd name="T1" fmla="*/ 0 h 1"/>
                <a:gd name="T2" fmla="*/ 3 w 3"/>
                <a:gd name="T3" fmla="*/ 1 h 1"/>
                <a:gd name="T4" fmla="*/ 0 w 3"/>
                <a:gd name="T5" fmla="*/ 1 h 1"/>
                <a:gd name="T6" fmla="*/ 0 w 3"/>
                <a:gd name="T7" fmla="*/ 1 h 1"/>
                <a:gd name="T8" fmla="*/ 1 w 3"/>
                <a:gd name="T9" fmla="*/ 1 h 1"/>
                <a:gd name="T10" fmla="*/ 3 w 3"/>
                <a:gd name="T11" fmla="*/ 0 h 1"/>
                <a:gd name="T12" fmla="*/ 3 w 3"/>
                <a:gd name="T13" fmla="*/ 0 h 1"/>
                <a:gd name="T14" fmla="*/ 3 w 3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lnTo>
                    <a:pt x="3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4849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630">
              <a:extLst>
                <a:ext uri="{FF2B5EF4-FFF2-40B4-BE49-F238E27FC236}">
                  <a16:creationId xmlns:a16="http://schemas.microsoft.com/office/drawing/2014/main" id="{398C4447-9083-4DB6-BC77-B9CA5FE9D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175" y="3330576"/>
              <a:ext cx="657225" cy="504825"/>
            </a:xfrm>
            <a:custGeom>
              <a:avLst/>
              <a:gdLst>
                <a:gd name="T0" fmla="*/ 718 w 756"/>
                <a:gd name="T1" fmla="*/ 21 h 583"/>
                <a:gd name="T2" fmla="*/ 27 w 756"/>
                <a:gd name="T3" fmla="*/ 550 h 583"/>
                <a:gd name="T4" fmla="*/ 1 w 756"/>
                <a:gd name="T5" fmla="*/ 583 h 583"/>
                <a:gd name="T6" fmla="*/ 756 w 756"/>
                <a:gd name="T7" fmla="*/ 5 h 583"/>
                <a:gd name="T8" fmla="*/ 718 w 756"/>
                <a:gd name="T9" fmla="*/ 21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6" h="583">
                  <a:moveTo>
                    <a:pt x="718" y="21"/>
                  </a:moveTo>
                  <a:cubicBezTo>
                    <a:pt x="27" y="550"/>
                    <a:pt x="27" y="550"/>
                    <a:pt x="27" y="550"/>
                  </a:cubicBezTo>
                  <a:cubicBezTo>
                    <a:pt x="14" y="560"/>
                    <a:pt x="0" y="567"/>
                    <a:pt x="1" y="583"/>
                  </a:cubicBezTo>
                  <a:cubicBezTo>
                    <a:pt x="756" y="5"/>
                    <a:pt x="756" y="5"/>
                    <a:pt x="756" y="5"/>
                  </a:cubicBezTo>
                  <a:cubicBezTo>
                    <a:pt x="741" y="0"/>
                    <a:pt x="731" y="11"/>
                    <a:pt x="718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31">
              <a:extLst>
                <a:ext uri="{FF2B5EF4-FFF2-40B4-BE49-F238E27FC236}">
                  <a16:creationId xmlns:a16="http://schemas.microsoft.com/office/drawing/2014/main" id="{03531EE7-D46C-4161-9530-DC499F742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8063" y="3836988"/>
              <a:ext cx="176213" cy="161925"/>
            </a:xfrm>
            <a:custGeom>
              <a:avLst/>
              <a:gdLst>
                <a:gd name="T0" fmla="*/ 111 w 111"/>
                <a:gd name="T1" fmla="*/ 40 h 102"/>
                <a:gd name="T2" fmla="*/ 31 w 111"/>
                <a:gd name="T3" fmla="*/ 102 h 102"/>
                <a:gd name="T4" fmla="*/ 0 w 111"/>
                <a:gd name="T5" fmla="*/ 61 h 102"/>
                <a:gd name="T6" fmla="*/ 80 w 111"/>
                <a:gd name="T7" fmla="*/ 0 h 102"/>
                <a:gd name="T8" fmla="*/ 111 w 111"/>
                <a:gd name="T9" fmla="*/ 4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02">
                  <a:moveTo>
                    <a:pt x="111" y="40"/>
                  </a:moveTo>
                  <a:lnTo>
                    <a:pt x="31" y="102"/>
                  </a:lnTo>
                  <a:lnTo>
                    <a:pt x="0" y="61"/>
                  </a:lnTo>
                  <a:lnTo>
                    <a:pt x="80" y="0"/>
                  </a:lnTo>
                  <a:lnTo>
                    <a:pt x="111" y="4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632">
              <a:extLst>
                <a:ext uri="{FF2B5EF4-FFF2-40B4-BE49-F238E27FC236}">
                  <a16:creationId xmlns:a16="http://schemas.microsoft.com/office/drawing/2014/main" id="{DFF6CF30-4281-46B8-89A4-D9E9633B7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0738" y="4129088"/>
              <a:ext cx="403225" cy="577850"/>
            </a:xfrm>
            <a:custGeom>
              <a:avLst/>
              <a:gdLst>
                <a:gd name="T0" fmla="*/ 293 w 464"/>
                <a:gd name="T1" fmla="*/ 478 h 665"/>
                <a:gd name="T2" fmla="*/ 70 w 464"/>
                <a:gd name="T3" fmla="*/ 26 h 665"/>
                <a:gd name="T4" fmla="*/ 62 w 464"/>
                <a:gd name="T5" fmla="*/ 0 h 665"/>
                <a:gd name="T6" fmla="*/ 0 w 464"/>
                <a:gd name="T7" fmla="*/ 20 h 665"/>
                <a:gd name="T8" fmla="*/ 143 w 464"/>
                <a:gd name="T9" fmla="*/ 573 h 665"/>
                <a:gd name="T10" fmla="*/ 411 w 464"/>
                <a:gd name="T11" fmla="*/ 641 h 665"/>
                <a:gd name="T12" fmla="*/ 293 w 464"/>
                <a:gd name="T13" fmla="*/ 478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4" h="665">
                  <a:moveTo>
                    <a:pt x="293" y="478"/>
                  </a:moveTo>
                  <a:cubicBezTo>
                    <a:pt x="293" y="478"/>
                    <a:pt x="126" y="140"/>
                    <a:pt x="70" y="26"/>
                  </a:cubicBezTo>
                  <a:cubicBezTo>
                    <a:pt x="66" y="18"/>
                    <a:pt x="63" y="9"/>
                    <a:pt x="62" y="0"/>
                  </a:cubicBezTo>
                  <a:cubicBezTo>
                    <a:pt x="41" y="6"/>
                    <a:pt x="20" y="11"/>
                    <a:pt x="0" y="20"/>
                  </a:cubicBezTo>
                  <a:cubicBezTo>
                    <a:pt x="44" y="209"/>
                    <a:pt x="125" y="551"/>
                    <a:pt x="143" y="573"/>
                  </a:cubicBezTo>
                  <a:cubicBezTo>
                    <a:pt x="203" y="644"/>
                    <a:pt x="276" y="665"/>
                    <a:pt x="411" y="641"/>
                  </a:cubicBezTo>
                  <a:cubicBezTo>
                    <a:pt x="462" y="631"/>
                    <a:pt x="464" y="511"/>
                    <a:pt x="293" y="478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633">
              <a:extLst>
                <a:ext uri="{FF2B5EF4-FFF2-40B4-BE49-F238E27FC236}">
                  <a16:creationId xmlns:a16="http://schemas.microsoft.com/office/drawing/2014/main" id="{EB889C93-F9D8-4A34-B5AE-D20C1FD40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2488" y="3984626"/>
              <a:ext cx="60325" cy="120650"/>
            </a:xfrm>
            <a:custGeom>
              <a:avLst/>
              <a:gdLst>
                <a:gd name="T0" fmla="*/ 0 w 69"/>
                <a:gd name="T1" fmla="*/ 64 h 139"/>
                <a:gd name="T2" fmla="*/ 56 w 69"/>
                <a:gd name="T3" fmla="*/ 3 h 139"/>
                <a:gd name="T4" fmla="*/ 65 w 69"/>
                <a:gd name="T5" fmla="*/ 15 h 139"/>
                <a:gd name="T6" fmla="*/ 25 w 69"/>
                <a:gd name="T7" fmla="*/ 139 h 139"/>
                <a:gd name="T8" fmla="*/ 0 w 69"/>
                <a:gd name="T9" fmla="*/ 64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39">
                  <a:moveTo>
                    <a:pt x="0" y="64"/>
                  </a:moveTo>
                  <a:cubicBezTo>
                    <a:pt x="56" y="3"/>
                    <a:pt x="56" y="3"/>
                    <a:pt x="56" y="3"/>
                  </a:cubicBezTo>
                  <a:cubicBezTo>
                    <a:pt x="63" y="0"/>
                    <a:pt x="69" y="8"/>
                    <a:pt x="65" y="15"/>
                  </a:cubicBezTo>
                  <a:cubicBezTo>
                    <a:pt x="25" y="139"/>
                    <a:pt x="25" y="139"/>
                    <a:pt x="25" y="139"/>
                  </a:cubicBezTo>
                  <a:lnTo>
                    <a:pt x="0" y="6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34">
              <a:extLst>
                <a:ext uri="{FF2B5EF4-FFF2-40B4-BE49-F238E27FC236}">
                  <a16:creationId xmlns:a16="http://schemas.microsoft.com/office/drawing/2014/main" id="{DC216905-5A27-4939-A250-36C96EF56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825" y="3862388"/>
              <a:ext cx="128588" cy="325438"/>
            </a:xfrm>
            <a:custGeom>
              <a:avLst/>
              <a:gdLst>
                <a:gd name="T0" fmla="*/ 76 w 147"/>
                <a:gd name="T1" fmla="*/ 364 h 375"/>
                <a:gd name="T2" fmla="*/ 4 w 147"/>
                <a:gd name="T3" fmla="*/ 188 h 375"/>
                <a:gd name="T4" fmla="*/ 21 w 147"/>
                <a:gd name="T5" fmla="*/ 71 h 375"/>
                <a:gd name="T6" fmla="*/ 100 w 147"/>
                <a:gd name="T7" fmla="*/ 12 h 375"/>
                <a:gd name="T8" fmla="*/ 118 w 147"/>
                <a:gd name="T9" fmla="*/ 196 h 375"/>
                <a:gd name="T10" fmla="*/ 139 w 147"/>
                <a:gd name="T11" fmla="*/ 264 h 375"/>
                <a:gd name="T12" fmla="*/ 132 w 147"/>
                <a:gd name="T13" fmla="*/ 310 h 375"/>
                <a:gd name="T14" fmla="*/ 141 w 147"/>
                <a:gd name="T15" fmla="*/ 375 h 375"/>
                <a:gd name="T16" fmla="*/ 76 w 147"/>
                <a:gd name="T17" fmla="*/ 36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375">
                  <a:moveTo>
                    <a:pt x="76" y="364"/>
                  </a:moveTo>
                  <a:cubicBezTo>
                    <a:pt x="76" y="364"/>
                    <a:pt x="9" y="235"/>
                    <a:pt x="4" y="188"/>
                  </a:cubicBezTo>
                  <a:cubicBezTo>
                    <a:pt x="0" y="152"/>
                    <a:pt x="21" y="71"/>
                    <a:pt x="21" y="71"/>
                  </a:cubicBezTo>
                  <a:cubicBezTo>
                    <a:pt x="24" y="65"/>
                    <a:pt x="85" y="0"/>
                    <a:pt x="100" y="12"/>
                  </a:cubicBezTo>
                  <a:cubicBezTo>
                    <a:pt x="139" y="42"/>
                    <a:pt x="118" y="196"/>
                    <a:pt x="118" y="196"/>
                  </a:cubicBezTo>
                  <a:cubicBezTo>
                    <a:pt x="118" y="196"/>
                    <a:pt x="147" y="237"/>
                    <a:pt x="139" y="264"/>
                  </a:cubicBezTo>
                  <a:cubicBezTo>
                    <a:pt x="132" y="310"/>
                    <a:pt x="132" y="310"/>
                    <a:pt x="132" y="310"/>
                  </a:cubicBezTo>
                  <a:cubicBezTo>
                    <a:pt x="141" y="375"/>
                    <a:pt x="141" y="375"/>
                    <a:pt x="141" y="375"/>
                  </a:cubicBezTo>
                  <a:lnTo>
                    <a:pt x="76" y="36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35">
              <a:extLst>
                <a:ext uri="{FF2B5EF4-FFF2-40B4-BE49-F238E27FC236}">
                  <a16:creationId xmlns:a16="http://schemas.microsoft.com/office/drawing/2014/main" id="{C3923817-D74E-4B33-8C58-146872B63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2125" y="1884363"/>
              <a:ext cx="125413" cy="74613"/>
            </a:xfrm>
            <a:custGeom>
              <a:avLst/>
              <a:gdLst>
                <a:gd name="T0" fmla="*/ 102 w 143"/>
                <a:gd name="T1" fmla="*/ 80 h 85"/>
                <a:gd name="T2" fmla="*/ 8 w 143"/>
                <a:gd name="T3" fmla="*/ 85 h 85"/>
                <a:gd name="T4" fmla="*/ 10 w 143"/>
                <a:gd name="T5" fmla="*/ 67 h 85"/>
                <a:gd name="T6" fmla="*/ 143 w 143"/>
                <a:gd name="T7" fmla="*/ 0 h 85"/>
                <a:gd name="T8" fmla="*/ 102 w 143"/>
                <a:gd name="T9" fmla="*/ 8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85">
                  <a:moveTo>
                    <a:pt x="102" y="80"/>
                  </a:moveTo>
                  <a:cubicBezTo>
                    <a:pt x="8" y="85"/>
                    <a:pt x="8" y="85"/>
                    <a:pt x="8" y="85"/>
                  </a:cubicBezTo>
                  <a:cubicBezTo>
                    <a:pt x="0" y="81"/>
                    <a:pt x="2" y="69"/>
                    <a:pt x="10" y="67"/>
                  </a:cubicBezTo>
                  <a:cubicBezTo>
                    <a:pt x="143" y="0"/>
                    <a:pt x="143" y="0"/>
                    <a:pt x="143" y="0"/>
                  </a:cubicBezTo>
                  <a:lnTo>
                    <a:pt x="102" y="8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36">
              <a:extLst>
                <a:ext uri="{FF2B5EF4-FFF2-40B4-BE49-F238E27FC236}">
                  <a16:creationId xmlns:a16="http://schemas.microsoft.com/office/drawing/2014/main" id="{7426A101-A58E-46C2-B49A-4FE6C36D8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0" y="1812926"/>
              <a:ext cx="269875" cy="300038"/>
            </a:xfrm>
            <a:custGeom>
              <a:avLst/>
              <a:gdLst>
                <a:gd name="T0" fmla="*/ 310 w 310"/>
                <a:gd name="T1" fmla="*/ 62 h 347"/>
                <a:gd name="T2" fmla="*/ 227 w 310"/>
                <a:gd name="T3" fmla="*/ 262 h 347"/>
                <a:gd name="T4" fmla="*/ 119 w 310"/>
                <a:gd name="T5" fmla="*/ 341 h 347"/>
                <a:gd name="T6" fmla="*/ 7 w 310"/>
                <a:gd name="T7" fmla="*/ 325 h 347"/>
                <a:gd name="T8" fmla="*/ 141 w 310"/>
                <a:gd name="T9" fmla="*/ 163 h 347"/>
                <a:gd name="T10" fmla="*/ 179 w 310"/>
                <a:gd name="T11" fmla="*/ 91 h 347"/>
                <a:gd name="T12" fmla="*/ 222 w 310"/>
                <a:gd name="T13" fmla="*/ 60 h 347"/>
                <a:gd name="T14" fmla="*/ 266 w 310"/>
                <a:gd name="T15" fmla="*/ 0 h 347"/>
                <a:gd name="T16" fmla="*/ 310 w 310"/>
                <a:gd name="T17" fmla="*/ 6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0" h="347">
                  <a:moveTo>
                    <a:pt x="310" y="62"/>
                  </a:moveTo>
                  <a:cubicBezTo>
                    <a:pt x="310" y="62"/>
                    <a:pt x="261" y="219"/>
                    <a:pt x="227" y="262"/>
                  </a:cubicBezTo>
                  <a:cubicBezTo>
                    <a:pt x="201" y="293"/>
                    <a:pt x="119" y="341"/>
                    <a:pt x="119" y="341"/>
                  </a:cubicBezTo>
                  <a:cubicBezTo>
                    <a:pt x="112" y="343"/>
                    <a:pt x="10" y="347"/>
                    <a:pt x="7" y="325"/>
                  </a:cubicBezTo>
                  <a:cubicBezTo>
                    <a:pt x="0" y="270"/>
                    <a:pt x="141" y="163"/>
                    <a:pt x="141" y="163"/>
                  </a:cubicBezTo>
                  <a:cubicBezTo>
                    <a:pt x="141" y="163"/>
                    <a:pt x="151" y="107"/>
                    <a:pt x="179" y="91"/>
                  </a:cubicBezTo>
                  <a:cubicBezTo>
                    <a:pt x="222" y="60"/>
                    <a:pt x="222" y="60"/>
                    <a:pt x="222" y="60"/>
                  </a:cubicBezTo>
                  <a:cubicBezTo>
                    <a:pt x="266" y="0"/>
                    <a:pt x="266" y="0"/>
                    <a:pt x="266" y="0"/>
                  </a:cubicBezTo>
                  <a:lnTo>
                    <a:pt x="310" y="62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37">
              <a:extLst>
                <a:ext uri="{FF2B5EF4-FFF2-40B4-BE49-F238E27FC236}">
                  <a16:creationId xmlns:a16="http://schemas.microsoft.com/office/drawing/2014/main" id="{B39A04E4-C18F-40C2-A08C-09B14B453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0" y="2178051"/>
              <a:ext cx="53975" cy="130175"/>
            </a:xfrm>
            <a:custGeom>
              <a:avLst/>
              <a:gdLst>
                <a:gd name="T0" fmla="*/ 62 w 62"/>
                <a:gd name="T1" fmla="*/ 57 h 150"/>
                <a:gd name="T2" fmla="*/ 43 w 62"/>
                <a:gd name="T3" fmla="*/ 144 h 150"/>
                <a:gd name="T4" fmla="*/ 28 w 62"/>
                <a:gd name="T5" fmla="*/ 137 h 150"/>
                <a:gd name="T6" fmla="*/ 0 w 62"/>
                <a:gd name="T7" fmla="*/ 0 h 150"/>
                <a:gd name="T8" fmla="*/ 62 w 62"/>
                <a:gd name="T9" fmla="*/ 5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50">
                  <a:moveTo>
                    <a:pt x="62" y="57"/>
                  </a:moveTo>
                  <a:cubicBezTo>
                    <a:pt x="43" y="144"/>
                    <a:pt x="43" y="144"/>
                    <a:pt x="43" y="144"/>
                  </a:cubicBezTo>
                  <a:cubicBezTo>
                    <a:pt x="37" y="150"/>
                    <a:pt x="27" y="146"/>
                    <a:pt x="28" y="13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2" y="57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38">
              <a:extLst>
                <a:ext uri="{FF2B5EF4-FFF2-40B4-BE49-F238E27FC236}">
                  <a16:creationId xmlns:a16="http://schemas.microsoft.com/office/drawing/2014/main" id="{01117919-1C8D-4BA7-896A-2781C973E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3863" y="2085976"/>
              <a:ext cx="236538" cy="296863"/>
            </a:xfrm>
            <a:custGeom>
              <a:avLst/>
              <a:gdLst>
                <a:gd name="T0" fmla="*/ 66 w 272"/>
                <a:gd name="T1" fmla="*/ 0 h 344"/>
                <a:gd name="T2" fmla="*/ 227 w 272"/>
                <a:gd name="T3" fmla="*/ 126 h 344"/>
                <a:gd name="T4" fmla="*/ 272 w 272"/>
                <a:gd name="T5" fmla="*/ 243 h 344"/>
                <a:gd name="T6" fmla="*/ 230 w 272"/>
                <a:gd name="T7" fmla="*/ 341 h 344"/>
                <a:gd name="T8" fmla="*/ 116 w 272"/>
                <a:gd name="T9" fmla="*/ 178 h 344"/>
                <a:gd name="T10" fmla="*/ 60 w 272"/>
                <a:gd name="T11" fmla="*/ 126 h 344"/>
                <a:gd name="T12" fmla="*/ 43 w 272"/>
                <a:gd name="T13" fmla="*/ 80 h 344"/>
                <a:gd name="T14" fmla="*/ 0 w 272"/>
                <a:gd name="T15" fmla="*/ 24 h 344"/>
                <a:gd name="T16" fmla="*/ 66 w 272"/>
                <a:gd name="T17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44">
                  <a:moveTo>
                    <a:pt x="66" y="0"/>
                  </a:moveTo>
                  <a:cubicBezTo>
                    <a:pt x="66" y="0"/>
                    <a:pt x="197" y="84"/>
                    <a:pt x="227" y="126"/>
                  </a:cubicBezTo>
                  <a:cubicBezTo>
                    <a:pt x="249" y="156"/>
                    <a:pt x="272" y="243"/>
                    <a:pt x="272" y="243"/>
                  </a:cubicBezTo>
                  <a:cubicBezTo>
                    <a:pt x="272" y="250"/>
                    <a:pt x="250" y="344"/>
                    <a:pt x="230" y="341"/>
                  </a:cubicBezTo>
                  <a:cubicBezTo>
                    <a:pt x="178" y="333"/>
                    <a:pt x="116" y="178"/>
                    <a:pt x="116" y="178"/>
                  </a:cubicBezTo>
                  <a:cubicBezTo>
                    <a:pt x="116" y="178"/>
                    <a:pt x="67" y="156"/>
                    <a:pt x="60" y="126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0" y="24"/>
                    <a:pt x="0" y="24"/>
                    <a:pt x="0" y="24"/>
                  </a:cubicBezTo>
                  <a:lnTo>
                    <a:pt x="66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639">
              <a:extLst>
                <a:ext uri="{FF2B5EF4-FFF2-40B4-BE49-F238E27FC236}">
                  <a16:creationId xmlns:a16="http://schemas.microsoft.com/office/drawing/2014/main" id="{629DDDCB-389A-4C3F-B8C2-B1975DE17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300" y="3663951"/>
              <a:ext cx="136525" cy="68263"/>
            </a:xfrm>
            <a:custGeom>
              <a:avLst/>
              <a:gdLst>
                <a:gd name="T0" fmla="*/ 84 w 157"/>
                <a:gd name="T1" fmla="*/ 0 h 79"/>
                <a:gd name="T2" fmla="*/ 155 w 157"/>
                <a:gd name="T3" fmla="*/ 63 h 79"/>
                <a:gd name="T4" fmla="*/ 141 w 157"/>
                <a:gd name="T5" fmla="*/ 74 h 79"/>
                <a:gd name="T6" fmla="*/ 0 w 157"/>
                <a:gd name="T7" fmla="*/ 28 h 79"/>
                <a:gd name="T8" fmla="*/ 84 w 157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79">
                  <a:moveTo>
                    <a:pt x="84" y="0"/>
                  </a:moveTo>
                  <a:cubicBezTo>
                    <a:pt x="155" y="63"/>
                    <a:pt x="155" y="63"/>
                    <a:pt x="155" y="63"/>
                  </a:cubicBezTo>
                  <a:cubicBezTo>
                    <a:pt x="157" y="72"/>
                    <a:pt x="148" y="79"/>
                    <a:pt x="141" y="74"/>
                  </a:cubicBezTo>
                  <a:cubicBezTo>
                    <a:pt x="0" y="28"/>
                    <a:pt x="0" y="28"/>
                    <a:pt x="0" y="28"/>
                  </a:cubicBezTo>
                  <a:lnTo>
                    <a:pt x="84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640">
              <a:extLst>
                <a:ext uri="{FF2B5EF4-FFF2-40B4-BE49-F238E27FC236}">
                  <a16:creationId xmlns:a16="http://schemas.microsoft.com/office/drawing/2014/main" id="{7D37F57B-F65F-47C1-B204-0BE47F5BA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8638" y="3557588"/>
              <a:ext cx="369888" cy="144463"/>
            </a:xfrm>
            <a:custGeom>
              <a:avLst/>
              <a:gdLst>
                <a:gd name="T0" fmla="*/ 12 w 427"/>
                <a:gd name="T1" fmla="*/ 86 h 167"/>
                <a:gd name="T2" fmla="*/ 213 w 427"/>
                <a:gd name="T3" fmla="*/ 4 h 167"/>
                <a:gd name="T4" fmla="*/ 346 w 427"/>
                <a:gd name="T5" fmla="*/ 24 h 167"/>
                <a:gd name="T6" fmla="*/ 413 w 427"/>
                <a:gd name="T7" fmla="*/ 114 h 167"/>
                <a:gd name="T8" fmla="*/ 203 w 427"/>
                <a:gd name="T9" fmla="*/ 135 h 167"/>
                <a:gd name="T10" fmla="*/ 125 w 427"/>
                <a:gd name="T11" fmla="*/ 159 h 167"/>
                <a:gd name="T12" fmla="*/ 74 w 427"/>
                <a:gd name="T13" fmla="*/ 150 h 167"/>
                <a:gd name="T14" fmla="*/ 0 w 427"/>
                <a:gd name="T15" fmla="*/ 161 h 167"/>
                <a:gd name="T16" fmla="*/ 12 w 427"/>
                <a:gd name="T17" fmla="*/ 86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7" h="167">
                  <a:moveTo>
                    <a:pt x="12" y="86"/>
                  </a:moveTo>
                  <a:cubicBezTo>
                    <a:pt x="12" y="86"/>
                    <a:pt x="159" y="10"/>
                    <a:pt x="213" y="4"/>
                  </a:cubicBezTo>
                  <a:cubicBezTo>
                    <a:pt x="253" y="0"/>
                    <a:pt x="346" y="24"/>
                    <a:pt x="346" y="24"/>
                  </a:cubicBezTo>
                  <a:cubicBezTo>
                    <a:pt x="352" y="28"/>
                    <a:pt x="427" y="97"/>
                    <a:pt x="413" y="114"/>
                  </a:cubicBezTo>
                  <a:cubicBezTo>
                    <a:pt x="379" y="159"/>
                    <a:pt x="203" y="135"/>
                    <a:pt x="203" y="135"/>
                  </a:cubicBezTo>
                  <a:cubicBezTo>
                    <a:pt x="203" y="135"/>
                    <a:pt x="157" y="167"/>
                    <a:pt x="125" y="159"/>
                  </a:cubicBezTo>
                  <a:cubicBezTo>
                    <a:pt x="74" y="150"/>
                    <a:pt x="74" y="150"/>
                    <a:pt x="74" y="150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12" y="86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641">
              <a:extLst>
                <a:ext uri="{FF2B5EF4-FFF2-40B4-BE49-F238E27FC236}">
                  <a16:creationId xmlns:a16="http://schemas.microsoft.com/office/drawing/2014/main" id="{5EAD9F2B-E034-48BD-A535-033A20B88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8675" y="3889376"/>
              <a:ext cx="79375" cy="123825"/>
            </a:xfrm>
            <a:custGeom>
              <a:avLst/>
              <a:gdLst>
                <a:gd name="T0" fmla="*/ 91 w 91"/>
                <a:gd name="T1" fmla="*/ 55 h 143"/>
                <a:gd name="T2" fmla="*/ 14 w 91"/>
                <a:gd name="T3" fmla="*/ 0 h 143"/>
                <a:gd name="T4" fmla="*/ 6 w 91"/>
                <a:gd name="T5" fmla="*/ 16 h 143"/>
                <a:gd name="T6" fmla="*/ 83 w 91"/>
                <a:gd name="T7" fmla="*/ 143 h 143"/>
                <a:gd name="T8" fmla="*/ 91 w 91"/>
                <a:gd name="T9" fmla="*/ 5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43">
                  <a:moveTo>
                    <a:pt x="91" y="55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5" y="0"/>
                    <a:pt x="0" y="10"/>
                    <a:pt x="6" y="16"/>
                  </a:cubicBezTo>
                  <a:cubicBezTo>
                    <a:pt x="83" y="143"/>
                    <a:pt x="83" y="143"/>
                    <a:pt x="83" y="143"/>
                  </a:cubicBezTo>
                  <a:lnTo>
                    <a:pt x="91" y="5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642">
              <a:extLst>
                <a:ext uri="{FF2B5EF4-FFF2-40B4-BE49-F238E27FC236}">
                  <a16:creationId xmlns:a16="http://schemas.microsoft.com/office/drawing/2014/main" id="{C156ADCF-6464-4258-AFE9-156634CFA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9788" y="3733801"/>
              <a:ext cx="169863" cy="373063"/>
            </a:xfrm>
            <a:custGeom>
              <a:avLst/>
              <a:gdLst>
                <a:gd name="T0" fmla="*/ 154 w 195"/>
                <a:gd name="T1" fmla="*/ 401 h 430"/>
                <a:gd name="T2" fmla="*/ 188 w 195"/>
                <a:gd name="T3" fmla="*/ 187 h 430"/>
                <a:gd name="T4" fmla="*/ 139 w 195"/>
                <a:gd name="T5" fmla="*/ 62 h 430"/>
                <a:gd name="T6" fmla="*/ 36 w 195"/>
                <a:gd name="T7" fmla="*/ 17 h 430"/>
                <a:gd name="T8" fmla="*/ 64 w 195"/>
                <a:gd name="T9" fmla="*/ 226 h 430"/>
                <a:gd name="T10" fmla="*/ 58 w 195"/>
                <a:gd name="T11" fmla="*/ 307 h 430"/>
                <a:gd name="T12" fmla="*/ 78 w 195"/>
                <a:gd name="T13" fmla="*/ 356 h 430"/>
                <a:gd name="T14" fmla="*/ 84 w 195"/>
                <a:gd name="T15" fmla="*/ 430 h 430"/>
                <a:gd name="T16" fmla="*/ 154 w 195"/>
                <a:gd name="T17" fmla="*/ 401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5" h="430">
                  <a:moveTo>
                    <a:pt x="154" y="401"/>
                  </a:moveTo>
                  <a:cubicBezTo>
                    <a:pt x="154" y="401"/>
                    <a:pt x="195" y="241"/>
                    <a:pt x="188" y="187"/>
                  </a:cubicBezTo>
                  <a:cubicBezTo>
                    <a:pt x="183" y="147"/>
                    <a:pt x="139" y="62"/>
                    <a:pt x="139" y="62"/>
                  </a:cubicBezTo>
                  <a:cubicBezTo>
                    <a:pt x="134" y="57"/>
                    <a:pt x="49" y="0"/>
                    <a:pt x="36" y="17"/>
                  </a:cubicBezTo>
                  <a:cubicBezTo>
                    <a:pt x="0" y="60"/>
                    <a:pt x="64" y="226"/>
                    <a:pt x="64" y="226"/>
                  </a:cubicBezTo>
                  <a:cubicBezTo>
                    <a:pt x="64" y="226"/>
                    <a:pt x="42" y="278"/>
                    <a:pt x="58" y="307"/>
                  </a:cubicBezTo>
                  <a:cubicBezTo>
                    <a:pt x="78" y="356"/>
                    <a:pt x="78" y="356"/>
                    <a:pt x="78" y="356"/>
                  </a:cubicBezTo>
                  <a:cubicBezTo>
                    <a:pt x="84" y="430"/>
                    <a:pt x="84" y="430"/>
                    <a:pt x="84" y="430"/>
                  </a:cubicBezTo>
                  <a:lnTo>
                    <a:pt x="154" y="401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43">
              <a:extLst>
                <a:ext uri="{FF2B5EF4-FFF2-40B4-BE49-F238E27FC236}">
                  <a16:creationId xmlns:a16="http://schemas.microsoft.com/office/drawing/2014/main" id="{D6E74FD4-7AEA-4F20-8A93-3423D736D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2563" y="1601788"/>
              <a:ext cx="141288" cy="46038"/>
            </a:xfrm>
            <a:custGeom>
              <a:avLst/>
              <a:gdLst>
                <a:gd name="T0" fmla="*/ 72 w 163"/>
                <a:gd name="T1" fmla="*/ 54 h 54"/>
                <a:gd name="T2" fmla="*/ 158 w 163"/>
                <a:gd name="T3" fmla="*/ 17 h 54"/>
                <a:gd name="T4" fmla="*/ 149 w 163"/>
                <a:gd name="T5" fmla="*/ 2 h 54"/>
                <a:gd name="T6" fmla="*/ 0 w 163"/>
                <a:gd name="T7" fmla="*/ 1 h 54"/>
                <a:gd name="T8" fmla="*/ 72 w 163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" h="54">
                  <a:moveTo>
                    <a:pt x="72" y="54"/>
                  </a:moveTo>
                  <a:cubicBezTo>
                    <a:pt x="158" y="17"/>
                    <a:pt x="158" y="17"/>
                    <a:pt x="158" y="17"/>
                  </a:cubicBezTo>
                  <a:cubicBezTo>
                    <a:pt x="163" y="10"/>
                    <a:pt x="157" y="0"/>
                    <a:pt x="149" y="2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72" y="5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44">
              <a:extLst>
                <a:ext uri="{FF2B5EF4-FFF2-40B4-BE49-F238E27FC236}">
                  <a16:creationId xmlns:a16="http://schemas.microsoft.com/office/drawing/2014/main" id="{2C72BB08-AA58-4219-96BB-3C81A4177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725" y="1563688"/>
              <a:ext cx="346075" cy="207963"/>
            </a:xfrm>
            <a:custGeom>
              <a:avLst/>
              <a:gdLst>
                <a:gd name="T0" fmla="*/ 0 w 397"/>
                <a:gd name="T1" fmla="*/ 75 h 240"/>
                <a:gd name="T2" fmla="*/ 164 w 397"/>
                <a:gd name="T3" fmla="*/ 216 h 240"/>
                <a:gd name="T4" fmla="*/ 296 w 397"/>
                <a:gd name="T5" fmla="*/ 240 h 240"/>
                <a:gd name="T6" fmla="*/ 389 w 397"/>
                <a:gd name="T7" fmla="*/ 176 h 240"/>
                <a:gd name="T8" fmla="*/ 197 w 397"/>
                <a:gd name="T9" fmla="*/ 90 h 240"/>
                <a:gd name="T10" fmla="*/ 130 w 397"/>
                <a:gd name="T11" fmla="*/ 42 h 240"/>
                <a:gd name="T12" fmla="*/ 79 w 397"/>
                <a:gd name="T13" fmla="*/ 34 h 240"/>
                <a:gd name="T14" fmla="*/ 12 w 397"/>
                <a:gd name="T15" fmla="*/ 0 h 240"/>
                <a:gd name="T16" fmla="*/ 0 w 397"/>
                <a:gd name="T17" fmla="*/ 75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7" h="240">
                  <a:moveTo>
                    <a:pt x="0" y="75"/>
                  </a:moveTo>
                  <a:cubicBezTo>
                    <a:pt x="0" y="75"/>
                    <a:pt x="115" y="194"/>
                    <a:pt x="164" y="216"/>
                  </a:cubicBezTo>
                  <a:cubicBezTo>
                    <a:pt x="201" y="233"/>
                    <a:pt x="296" y="240"/>
                    <a:pt x="296" y="240"/>
                  </a:cubicBezTo>
                  <a:cubicBezTo>
                    <a:pt x="304" y="238"/>
                    <a:pt x="397" y="196"/>
                    <a:pt x="389" y="176"/>
                  </a:cubicBezTo>
                  <a:cubicBezTo>
                    <a:pt x="371" y="123"/>
                    <a:pt x="197" y="90"/>
                    <a:pt x="197" y="90"/>
                  </a:cubicBezTo>
                  <a:cubicBezTo>
                    <a:pt x="197" y="90"/>
                    <a:pt x="163" y="44"/>
                    <a:pt x="130" y="42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0" y="7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45">
              <a:extLst>
                <a:ext uri="{FF2B5EF4-FFF2-40B4-BE49-F238E27FC236}">
                  <a16:creationId xmlns:a16="http://schemas.microsoft.com/office/drawing/2014/main" id="{892207D4-6937-4F24-8EC5-7F4C7EF1C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3350" y="3654426"/>
              <a:ext cx="560388" cy="444500"/>
            </a:xfrm>
            <a:custGeom>
              <a:avLst/>
              <a:gdLst>
                <a:gd name="T0" fmla="*/ 457 w 645"/>
                <a:gd name="T1" fmla="*/ 331 h 513"/>
                <a:gd name="T2" fmla="*/ 25 w 645"/>
                <a:gd name="T3" fmla="*/ 70 h 513"/>
                <a:gd name="T4" fmla="*/ 0 w 645"/>
                <a:gd name="T5" fmla="*/ 60 h 513"/>
                <a:gd name="T6" fmla="*/ 25 w 645"/>
                <a:gd name="T7" fmla="*/ 0 h 513"/>
                <a:gd name="T8" fmla="*/ 564 w 645"/>
                <a:gd name="T9" fmla="*/ 189 h 513"/>
                <a:gd name="T10" fmla="*/ 609 w 645"/>
                <a:gd name="T11" fmla="*/ 463 h 513"/>
                <a:gd name="T12" fmla="*/ 457 w 645"/>
                <a:gd name="T13" fmla="*/ 331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5" h="513">
                  <a:moveTo>
                    <a:pt x="457" y="331"/>
                  </a:moveTo>
                  <a:cubicBezTo>
                    <a:pt x="457" y="331"/>
                    <a:pt x="135" y="136"/>
                    <a:pt x="25" y="70"/>
                  </a:cubicBezTo>
                  <a:cubicBezTo>
                    <a:pt x="18" y="65"/>
                    <a:pt x="9" y="62"/>
                    <a:pt x="0" y="60"/>
                  </a:cubicBezTo>
                  <a:cubicBezTo>
                    <a:pt x="8" y="40"/>
                    <a:pt x="15" y="19"/>
                    <a:pt x="25" y="0"/>
                  </a:cubicBezTo>
                  <a:cubicBezTo>
                    <a:pt x="210" y="59"/>
                    <a:pt x="544" y="170"/>
                    <a:pt x="564" y="189"/>
                  </a:cubicBezTo>
                  <a:cubicBezTo>
                    <a:pt x="630" y="255"/>
                    <a:pt x="645" y="331"/>
                    <a:pt x="609" y="463"/>
                  </a:cubicBezTo>
                  <a:cubicBezTo>
                    <a:pt x="595" y="513"/>
                    <a:pt x="475" y="504"/>
                    <a:pt x="457" y="331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46">
              <a:extLst>
                <a:ext uri="{FF2B5EF4-FFF2-40B4-BE49-F238E27FC236}">
                  <a16:creationId xmlns:a16="http://schemas.microsoft.com/office/drawing/2014/main" id="{AC7C4A95-0C82-49AA-B03E-AF87CC52F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5713" y="3678238"/>
              <a:ext cx="122238" cy="53975"/>
            </a:xfrm>
            <a:custGeom>
              <a:avLst/>
              <a:gdLst>
                <a:gd name="T0" fmla="*/ 69 w 141"/>
                <a:gd name="T1" fmla="*/ 0 h 63"/>
                <a:gd name="T2" fmla="*/ 3 w 141"/>
                <a:gd name="T3" fmla="*/ 49 h 63"/>
                <a:gd name="T4" fmla="*/ 14 w 141"/>
                <a:gd name="T5" fmla="*/ 60 h 63"/>
                <a:gd name="T6" fmla="*/ 141 w 141"/>
                <a:gd name="T7" fmla="*/ 30 h 63"/>
                <a:gd name="T8" fmla="*/ 69 w 141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63">
                  <a:moveTo>
                    <a:pt x="69" y="0"/>
                  </a:moveTo>
                  <a:cubicBezTo>
                    <a:pt x="3" y="49"/>
                    <a:pt x="3" y="49"/>
                    <a:pt x="3" y="49"/>
                  </a:cubicBezTo>
                  <a:cubicBezTo>
                    <a:pt x="0" y="56"/>
                    <a:pt x="7" y="63"/>
                    <a:pt x="14" y="60"/>
                  </a:cubicBezTo>
                  <a:cubicBezTo>
                    <a:pt x="141" y="30"/>
                    <a:pt x="141" y="30"/>
                    <a:pt x="141" y="30"/>
                  </a:cubicBezTo>
                  <a:lnTo>
                    <a:pt x="69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47">
              <a:extLst>
                <a:ext uri="{FF2B5EF4-FFF2-40B4-BE49-F238E27FC236}">
                  <a16:creationId xmlns:a16="http://schemas.microsoft.com/office/drawing/2014/main" id="{5805AC09-5D4C-4B51-A1D5-01A485911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8238" y="3581401"/>
              <a:ext cx="320675" cy="138113"/>
            </a:xfrm>
            <a:custGeom>
              <a:avLst/>
              <a:gdLst>
                <a:gd name="T0" fmla="*/ 364 w 369"/>
                <a:gd name="T1" fmla="*/ 94 h 160"/>
                <a:gd name="T2" fmla="*/ 194 w 369"/>
                <a:gd name="T3" fmla="*/ 7 h 160"/>
                <a:gd name="T4" fmla="*/ 77 w 369"/>
                <a:gd name="T5" fmla="*/ 14 h 160"/>
                <a:gd name="T6" fmla="*/ 11 w 369"/>
                <a:gd name="T7" fmla="*/ 88 h 160"/>
                <a:gd name="T8" fmla="*/ 193 w 369"/>
                <a:gd name="T9" fmla="*/ 121 h 160"/>
                <a:gd name="T10" fmla="*/ 259 w 369"/>
                <a:gd name="T11" fmla="*/ 148 h 160"/>
                <a:gd name="T12" fmla="*/ 305 w 369"/>
                <a:gd name="T13" fmla="*/ 145 h 160"/>
                <a:gd name="T14" fmla="*/ 369 w 369"/>
                <a:gd name="T15" fmla="*/ 160 h 160"/>
                <a:gd name="T16" fmla="*/ 364 w 369"/>
                <a:gd name="T17" fmla="*/ 9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9" h="160">
                  <a:moveTo>
                    <a:pt x="364" y="94"/>
                  </a:moveTo>
                  <a:cubicBezTo>
                    <a:pt x="364" y="94"/>
                    <a:pt x="241" y="16"/>
                    <a:pt x="194" y="7"/>
                  </a:cubicBezTo>
                  <a:cubicBezTo>
                    <a:pt x="160" y="0"/>
                    <a:pt x="77" y="14"/>
                    <a:pt x="77" y="14"/>
                  </a:cubicBezTo>
                  <a:cubicBezTo>
                    <a:pt x="71" y="17"/>
                    <a:pt x="0" y="72"/>
                    <a:pt x="11" y="88"/>
                  </a:cubicBezTo>
                  <a:cubicBezTo>
                    <a:pt x="37" y="129"/>
                    <a:pt x="193" y="121"/>
                    <a:pt x="193" y="121"/>
                  </a:cubicBezTo>
                  <a:cubicBezTo>
                    <a:pt x="193" y="121"/>
                    <a:pt x="231" y="154"/>
                    <a:pt x="259" y="148"/>
                  </a:cubicBezTo>
                  <a:cubicBezTo>
                    <a:pt x="305" y="145"/>
                    <a:pt x="305" y="145"/>
                    <a:pt x="305" y="145"/>
                  </a:cubicBezTo>
                  <a:cubicBezTo>
                    <a:pt x="369" y="160"/>
                    <a:pt x="369" y="160"/>
                    <a:pt x="369" y="160"/>
                  </a:cubicBezTo>
                  <a:lnTo>
                    <a:pt x="364" y="9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48">
              <a:extLst>
                <a:ext uri="{FF2B5EF4-FFF2-40B4-BE49-F238E27FC236}">
                  <a16:creationId xmlns:a16="http://schemas.microsoft.com/office/drawing/2014/main" id="{6E8DDD96-A420-4C14-9DDB-137E1B5A7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7413" y="4410076"/>
              <a:ext cx="741363" cy="619125"/>
            </a:xfrm>
            <a:custGeom>
              <a:avLst/>
              <a:gdLst>
                <a:gd name="T0" fmla="*/ 782 w 853"/>
                <a:gd name="T1" fmla="*/ 595 h 715"/>
                <a:gd name="T2" fmla="*/ 50 w 853"/>
                <a:gd name="T3" fmla="*/ 266 h 715"/>
                <a:gd name="T4" fmla="*/ 0 w 853"/>
                <a:gd name="T5" fmla="*/ 45 h 715"/>
                <a:gd name="T6" fmla="*/ 145 w 853"/>
                <a:gd name="T7" fmla="*/ 0 h 715"/>
                <a:gd name="T8" fmla="*/ 217 w 853"/>
                <a:gd name="T9" fmla="*/ 138 h 715"/>
                <a:gd name="T10" fmla="*/ 658 w 853"/>
                <a:gd name="T11" fmla="*/ 337 h 715"/>
                <a:gd name="T12" fmla="*/ 782 w 853"/>
                <a:gd name="T13" fmla="*/ 59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3" h="715">
                  <a:moveTo>
                    <a:pt x="782" y="595"/>
                  </a:moveTo>
                  <a:cubicBezTo>
                    <a:pt x="611" y="715"/>
                    <a:pt x="352" y="499"/>
                    <a:pt x="50" y="26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658" y="337"/>
                    <a:pt x="658" y="337"/>
                    <a:pt x="658" y="337"/>
                  </a:cubicBezTo>
                  <a:cubicBezTo>
                    <a:pt x="658" y="337"/>
                    <a:pt x="853" y="545"/>
                    <a:pt x="782" y="595"/>
                  </a:cubicBezTo>
                  <a:close/>
                </a:path>
              </a:pathLst>
            </a:custGeom>
            <a:solidFill>
              <a:srgbClr val="F0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49">
              <a:extLst>
                <a:ext uri="{FF2B5EF4-FFF2-40B4-BE49-F238E27FC236}">
                  <a16:creationId xmlns:a16="http://schemas.microsoft.com/office/drawing/2014/main" id="{AD094C47-0B90-4A5F-ACB0-A77873E8A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8463" y="3744913"/>
              <a:ext cx="541338" cy="803275"/>
            </a:xfrm>
            <a:custGeom>
              <a:avLst/>
              <a:gdLst>
                <a:gd name="T0" fmla="*/ 475 w 623"/>
                <a:gd name="T1" fmla="*/ 866 h 927"/>
                <a:gd name="T2" fmla="*/ 277 w 623"/>
                <a:gd name="T3" fmla="*/ 87 h 927"/>
                <a:gd name="T4" fmla="*/ 69 w 623"/>
                <a:gd name="T5" fmla="*/ 0 h 927"/>
                <a:gd name="T6" fmla="*/ 0 w 623"/>
                <a:gd name="T7" fmla="*/ 135 h 927"/>
                <a:gd name="T8" fmla="*/ 123 w 623"/>
                <a:gd name="T9" fmla="*/ 230 h 927"/>
                <a:gd name="T10" fmla="*/ 242 w 623"/>
                <a:gd name="T11" fmla="*/ 698 h 927"/>
                <a:gd name="T12" fmla="*/ 475 w 623"/>
                <a:gd name="T13" fmla="*/ 866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3" h="927">
                  <a:moveTo>
                    <a:pt x="475" y="866"/>
                  </a:moveTo>
                  <a:cubicBezTo>
                    <a:pt x="623" y="718"/>
                    <a:pt x="455" y="426"/>
                    <a:pt x="277" y="87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23" y="230"/>
                    <a:pt x="123" y="230"/>
                    <a:pt x="123" y="230"/>
                  </a:cubicBezTo>
                  <a:cubicBezTo>
                    <a:pt x="242" y="698"/>
                    <a:pt x="242" y="698"/>
                    <a:pt x="242" y="698"/>
                  </a:cubicBezTo>
                  <a:cubicBezTo>
                    <a:pt x="242" y="698"/>
                    <a:pt x="413" y="927"/>
                    <a:pt x="475" y="866"/>
                  </a:cubicBezTo>
                  <a:close/>
                </a:path>
              </a:pathLst>
            </a:custGeom>
            <a:solidFill>
              <a:srgbClr val="F0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50">
              <a:extLst>
                <a:ext uri="{FF2B5EF4-FFF2-40B4-BE49-F238E27FC236}">
                  <a16:creationId xmlns:a16="http://schemas.microsoft.com/office/drawing/2014/main" id="{C0B1BB2C-C3ED-4B61-9DA1-C7072BB18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8125" y="4386263"/>
              <a:ext cx="647700" cy="642938"/>
            </a:xfrm>
            <a:custGeom>
              <a:avLst/>
              <a:gdLst>
                <a:gd name="T0" fmla="*/ 126 w 744"/>
                <a:gd name="T1" fmla="*/ 592 h 742"/>
                <a:gd name="T2" fmla="*/ 144 w 744"/>
                <a:gd name="T3" fmla="*/ 114 h 742"/>
                <a:gd name="T4" fmla="*/ 618 w 744"/>
                <a:gd name="T5" fmla="*/ 179 h 742"/>
                <a:gd name="T6" fmla="*/ 536 w 744"/>
                <a:gd name="T7" fmla="*/ 581 h 742"/>
                <a:gd name="T8" fmla="*/ 126 w 744"/>
                <a:gd name="T9" fmla="*/ 59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4" h="742">
                  <a:moveTo>
                    <a:pt x="126" y="592"/>
                  </a:moveTo>
                  <a:cubicBezTo>
                    <a:pt x="0" y="442"/>
                    <a:pt x="8" y="228"/>
                    <a:pt x="144" y="114"/>
                  </a:cubicBezTo>
                  <a:cubicBezTo>
                    <a:pt x="280" y="0"/>
                    <a:pt x="492" y="30"/>
                    <a:pt x="618" y="179"/>
                  </a:cubicBezTo>
                  <a:cubicBezTo>
                    <a:pt x="744" y="329"/>
                    <a:pt x="672" y="467"/>
                    <a:pt x="536" y="581"/>
                  </a:cubicBezTo>
                  <a:cubicBezTo>
                    <a:pt x="400" y="695"/>
                    <a:pt x="252" y="742"/>
                    <a:pt x="126" y="592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651">
              <a:extLst>
                <a:ext uri="{FF2B5EF4-FFF2-40B4-BE49-F238E27FC236}">
                  <a16:creationId xmlns:a16="http://schemas.microsoft.com/office/drawing/2014/main" id="{62EA7D3A-2C6D-4703-B938-1A72813270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4446588"/>
              <a:ext cx="128588" cy="127000"/>
            </a:xfrm>
            <a:custGeom>
              <a:avLst/>
              <a:gdLst>
                <a:gd name="T0" fmla="*/ 65 w 147"/>
                <a:gd name="T1" fmla="*/ 12 h 147"/>
                <a:gd name="T2" fmla="*/ 147 w 147"/>
                <a:gd name="T3" fmla="*/ 41 h 147"/>
                <a:gd name="T4" fmla="*/ 21 w 147"/>
                <a:gd name="T5" fmla="*/ 147 h 147"/>
                <a:gd name="T6" fmla="*/ 6 w 147"/>
                <a:gd name="T7" fmla="*/ 61 h 147"/>
                <a:gd name="T8" fmla="*/ 65 w 147"/>
                <a:gd name="T9" fmla="*/ 1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47">
                  <a:moveTo>
                    <a:pt x="65" y="12"/>
                  </a:moveTo>
                  <a:cubicBezTo>
                    <a:pt x="147" y="41"/>
                    <a:pt x="147" y="41"/>
                    <a:pt x="147" y="41"/>
                  </a:cubicBezTo>
                  <a:cubicBezTo>
                    <a:pt x="21" y="147"/>
                    <a:pt x="21" y="147"/>
                    <a:pt x="21" y="147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0" y="28"/>
                    <a:pt x="33" y="0"/>
                    <a:pt x="65" y="12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652">
              <a:extLst>
                <a:ext uri="{FF2B5EF4-FFF2-40B4-BE49-F238E27FC236}">
                  <a16:creationId xmlns:a16="http://schemas.microsoft.com/office/drawing/2014/main" id="{F0B7242C-F351-458A-8869-A197E91EE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8938" y="4338638"/>
              <a:ext cx="515938" cy="568325"/>
            </a:xfrm>
            <a:custGeom>
              <a:avLst/>
              <a:gdLst>
                <a:gd name="T0" fmla="*/ 160 w 595"/>
                <a:gd name="T1" fmla="*/ 442 h 656"/>
                <a:gd name="T2" fmla="*/ 386 w 595"/>
                <a:gd name="T3" fmla="*/ 656 h 656"/>
                <a:gd name="T4" fmla="*/ 480 w 595"/>
                <a:gd name="T5" fmla="*/ 214 h 656"/>
                <a:gd name="T6" fmla="*/ 7 w 595"/>
                <a:gd name="T7" fmla="*/ 2 h 656"/>
                <a:gd name="T8" fmla="*/ 75 w 595"/>
                <a:gd name="T9" fmla="*/ 125 h 656"/>
                <a:gd name="T10" fmla="*/ 0 w 595"/>
                <a:gd name="T11" fmla="*/ 259 h 656"/>
                <a:gd name="T12" fmla="*/ 160 w 595"/>
                <a:gd name="T13" fmla="*/ 442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5" h="656">
                  <a:moveTo>
                    <a:pt x="160" y="442"/>
                  </a:moveTo>
                  <a:cubicBezTo>
                    <a:pt x="201" y="515"/>
                    <a:pt x="315" y="605"/>
                    <a:pt x="386" y="656"/>
                  </a:cubicBezTo>
                  <a:cubicBezTo>
                    <a:pt x="510" y="548"/>
                    <a:pt x="595" y="352"/>
                    <a:pt x="480" y="214"/>
                  </a:cubicBezTo>
                  <a:cubicBezTo>
                    <a:pt x="300" y="0"/>
                    <a:pt x="7" y="1"/>
                    <a:pt x="7" y="2"/>
                  </a:cubicBezTo>
                  <a:cubicBezTo>
                    <a:pt x="50" y="45"/>
                    <a:pt x="77" y="72"/>
                    <a:pt x="75" y="125"/>
                  </a:cubicBezTo>
                  <a:cubicBezTo>
                    <a:pt x="72" y="191"/>
                    <a:pt x="6" y="209"/>
                    <a:pt x="0" y="259"/>
                  </a:cubicBezTo>
                  <a:cubicBezTo>
                    <a:pt x="72" y="330"/>
                    <a:pt x="137" y="401"/>
                    <a:pt x="160" y="442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53">
              <a:extLst>
                <a:ext uri="{FF2B5EF4-FFF2-40B4-BE49-F238E27FC236}">
                  <a16:creationId xmlns:a16="http://schemas.microsoft.com/office/drawing/2014/main" id="{568C3011-C16C-47F4-AAEF-A0553EBB5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7163" y="4548188"/>
              <a:ext cx="561975" cy="501650"/>
            </a:xfrm>
            <a:custGeom>
              <a:avLst/>
              <a:gdLst>
                <a:gd name="T0" fmla="*/ 645 w 646"/>
                <a:gd name="T1" fmla="*/ 419 h 580"/>
                <a:gd name="T2" fmla="*/ 646 w 646"/>
                <a:gd name="T3" fmla="*/ 418 h 580"/>
                <a:gd name="T4" fmla="*/ 420 w 646"/>
                <a:gd name="T5" fmla="*/ 203 h 580"/>
                <a:gd name="T6" fmla="*/ 262 w 646"/>
                <a:gd name="T7" fmla="*/ 22 h 580"/>
                <a:gd name="T8" fmla="*/ 221 w 646"/>
                <a:gd name="T9" fmla="*/ 71 h 580"/>
                <a:gd name="T10" fmla="*/ 115 w 646"/>
                <a:gd name="T11" fmla="*/ 1 h 580"/>
                <a:gd name="T12" fmla="*/ 207 w 646"/>
                <a:gd name="T13" fmla="*/ 451 h 580"/>
                <a:gd name="T14" fmla="*/ 645 w 646"/>
                <a:gd name="T15" fmla="*/ 419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6" h="580">
                  <a:moveTo>
                    <a:pt x="645" y="419"/>
                  </a:moveTo>
                  <a:cubicBezTo>
                    <a:pt x="646" y="418"/>
                    <a:pt x="646" y="418"/>
                    <a:pt x="646" y="418"/>
                  </a:cubicBezTo>
                  <a:cubicBezTo>
                    <a:pt x="575" y="366"/>
                    <a:pt x="461" y="276"/>
                    <a:pt x="420" y="203"/>
                  </a:cubicBezTo>
                  <a:cubicBezTo>
                    <a:pt x="397" y="162"/>
                    <a:pt x="333" y="93"/>
                    <a:pt x="262" y="22"/>
                  </a:cubicBezTo>
                  <a:cubicBezTo>
                    <a:pt x="248" y="44"/>
                    <a:pt x="234" y="59"/>
                    <a:pt x="221" y="71"/>
                  </a:cubicBezTo>
                  <a:cubicBezTo>
                    <a:pt x="174" y="114"/>
                    <a:pt x="135" y="30"/>
                    <a:pt x="115" y="1"/>
                  </a:cubicBezTo>
                  <a:cubicBezTo>
                    <a:pt x="114" y="0"/>
                    <a:pt x="0" y="211"/>
                    <a:pt x="207" y="451"/>
                  </a:cubicBezTo>
                  <a:cubicBezTo>
                    <a:pt x="317" y="580"/>
                    <a:pt x="525" y="520"/>
                    <a:pt x="645" y="419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654">
              <a:extLst>
                <a:ext uri="{FF2B5EF4-FFF2-40B4-BE49-F238E27FC236}">
                  <a16:creationId xmlns:a16="http://schemas.microsoft.com/office/drawing/2014/main" id="{5DF74336-67F6-43D6-9FAF-C2B88F801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188" y="4548188"/>
              <a:ext cx="488950" cy="501650"/>
            </a:xfrm>
            <a:custGeom>
              <a:avLst/>
              <a:gdLst>
                <a:gd name="T0" fmla="*/ 124 w 563"/>
                <a:gd name="T1" fmla="*/ 451 h 580"/>
                <a:gd name="T2" fmla="*/ 37 w 563"/>
                <a:gd name="T3" fmla="*/ 317 h 580"/>
                <a:gd name="T4" fmla="*/ 28 w 563"/>
                <a:gd name="T5" fmla="*/ 297 h 580"/>
                <a:gd name="T6" fmla="*/ 10 w 563"/>
                <a:gd name="T7" fmla="*/ 238 h 580"/>
                <a:gd name="T8" fmla="*/ 6 w 563"/>
                <a:gd name="T9" fmla="*/ 220 h 580"/>
                <a:gd name="T10" fmla="*/ 2 w 563"/>
                <a:gd name="T11" fmla="*/ 193 h 580"/>
                <a:gd name="T12" fmla="*/ 1 w 563"/>
                <a:gd name="T13" fmla="*/ 176 h 580"/>
                <a:gd name="T14" fmla="*/ 0 w 563"/>
                <a:gd name="T15" fmla="*/ 167 h 580"/>
                <a:gd name="T16" fmla="*/ 0 w 563"/>
                <a:gd name="T17" fmla="*/ 151 h 580"/>
                <a:gd name="T18" fmla="*/ 0 w 563"/>
                <a:gd name="T19" fmla="*/ 128 h 580"/>
                <a:gd name="T20" fmla="*/ 1 w 563"/>
                <a:gd name="T21" fmla="*/ 114 h 580"/>
                <a:gd name="T22" fmla="*/ 32 w 563"/>
                <a:gd name="T23" fmla="*/ 1 h 580"/>
                <a:gd name="T24" fmla="*/ 89 w 563"/>
                <a:gd name="T25" fmla="*/ 43 h 580"/>
                <a:gd name="T26" fmla="*/ 179 w 563"/>
                <a:gd name="T27" fmla="*/ 22 h 580"/>
                <a:gd name="T28" fmla="*/ 337 w 563"/>
                <a:gd name="T29" fmla="*/ 203 h 580"/>
                <a:gd name="T30" fmla="*/ 552 w 563"/>
                <a:gd name="T31" fmla="*/ 410 h 580"/>
                <a:gd name="T32" fmla="*/ 563 w 563"/>
                <a:gd name="T33" fmla="*/ 418 h 580"/>
                <a:gd name="T34" fmla="*/ 562 w 563"/>
                <a:gd name="T35" fmla="*/ 419 h 580"/>
                <a:gd name="T36" fmla="*/ 124 w 563"/>
                <a:gd name="T37" fmla="*/ 451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3" h="580">
                  <a:moveTo>
                    <a:pt x="124" y="451"/>
                  </a:moveTo>
                  <a:cubicBezTo>
                    <a:pt x="84" y="405"/>
                    <a:pt x="56" y="360"/>
                    <a:pt x="37" y="317"/>
                  </a:cubicBezTo>
                  <a:cubicBezTo>
                    <a:pt x="34" y="310"/>
                    <a:pt x="31" y="303"/>
                    <a:pt x="28" y="297"/>
                  </a:cubicBezTo>
                  <a:cubicBezTo>
                    <a:pt x="21" y="276"/>
                    <a:pt x="15" y="257"/>
                    <a:pt x="10" y="238"/>
                  </a:cubicBezTo>
                  <a:cubicBezTo>
                    <a:pt x="9" y="232"/>
                    <a:pt x="8" y="226"/>
                    <a:pt x="6" y="220"/>
                  </a:cubicBezTo>
                  <a:cubicBezTo>
                    <a:pt x="5" y="211"/>
                    <a:pt x="3" y="202"/>
                    <a:pt x="2" y="193"/>
                  </a:cubicBezTo>
                  <a:cubicBezTo>
                    <a:pt x="2" y="187"/>
                    <a:pt x="1" y="181"/>
                    <a:pt x="1" y="176"/>
                  </a:cubicBezTo>
                  <a:cubicBezTo>
                    <a:pt x="1" y="173"/>
                    <a:pt x="0" y="170"/>
                    <a:pt x="0" y="167"/>
                  </a:cubicBezTo>
                  <a:cubicBezTo>
                    <a:pt x="0" y="162"/>
                    <a:pt x="0" y="156"/>
                    <a:pt x="0" y="151"/>
                  </a:cubicBezTo>
                  <a:cubicBezTo>
                    <a:pt x="0" y="143"/>
                    <a:pt x="0" y="136"/>
                    <a:pt x="0" y="128"/>
                  </a:cubicBezTo>
                  <a:cubicBezTo>
                    <a:pt x="0" y="123"/>
                    <a:pt x="1" y="118"/>
                    <a:pt x="1" y="114"/>
                  </a:cubicBezTo>
                  <a:cubicBezTo>
                    <a:pt x="8" y="44"/>
                    <a:pt x="31" y="0"/>
                    <a:pt x="32" y="1"/>
                  </a:cubicBezTo>
                  <a:cubicBezTo>
                    <a:pt x="51" y="27"/>
                    <a:pt x="70" y="39"/>
                    <a:pt x="89" y="43"/>
                  </a:cubicBezTo>
                  <a:cubicBezTo>
                    <a:pt x="126" y="52"/>
                    <a:pt x="160" y="31"/>
                    <a:pt x="179" y="22"/>
                  </a:cubicBezTo>
                  <a:cubicBezTo>
                    <a:pt x="250" y="93"/>
                    <a:pt x="314" y="162"/>
                    <a:pt x="337" y="203"/>
                  </a:cubicBezTo>
                  <a:cubicBezTo>
                    <a:pt x="376" y="273"/>
                    <a:pt x="480" y="357"/>
                    <a:pt x="552" y="410"/>
                  </a:cubicBezTo>
                  <a:cubicBezTo>
                    <a:pt x="556" y="413"/>
                    <a:pt x="559" y="415"/>
                    <a:pt x="563" y="418"/>
                  </a:cubicBezTo>
                  <a:cubicBezTo>
                    <a:pt x="562" y="419"/>
                    <a:pt x="562" y="419"/>
                    <a:pt x="562" y="419"/>
                  </a:cubicBezTo>
                  <a:cubicBezTo>
                    <a:pt x="442" y="520"/>
                    <a:pt x="234" y="580"/>
                    <a:pt x="124" y="451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655">
              <a:extLst>
                <a:ext uri="{FF2B5EF4-FFF2-40B4-BE49-F238E27FC236}">
                  <a16:creationId xmlns:a16="http://schemas.microsoft.com/office/drawing/2014/main" id="{6A6653D2-E8D9-4538-8A45-F09A8A86C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188" y="4548188"/>
              <a:ext cx="522288" cy="501650"/>
            </a:xfrm>
            <a:custGeom>
              <a:avLst/>
              <a:gdLst>
                <a:gd name="T0" fmla="*/ 124 w 602"/>
                <a:gd name="T1" fmla="*/ 451 h 580"/>
                <a:gd name="T2" fmla="*/ 37 w 602"/>
                <a:gd name="T3" fmla="*/ 317 h 580"/>
                <a:gd name="T4" fmla="*/ 28 w 602"/>
                <a:gd name="T5" fmla="*/ 297 h 580"/>
                <a:gd name="T6" fmla="*/ 10 w 602"/>
                <a:gd name="T7" fmla="*/ 238 h 580"/>
                <a:gd name="T8" fmla="*/ 6 w 602"/>
                <a:gd name="T9" fmla="*/ 220 h 580"/>
                <a:gd name="T10" fmla="*/ 2 w 602"/>
                <a:gd name="T11" fmla="*/ 193 h 580"/>
                <a:gd name="T12" fmla="*/ 1 w 602"/>
                <a:gd name="T13" fmla="*/ 176 h 580"/>
                <a:gd name="T14" fmla="*/ 0 w 602"/>
                <a:gd name="T15" fmla="*/ 167 h 580"/>
                <a:gd name="T16" fmla="*/ 0 w 602"/>
                <a:gd name="T17" fmla="*/ 151 h 580"/>
                <a:gd name="T18" fmla="*/ 0 w 602"/>
                <a:gd name="T19" fmla="*/ 128 h 580"/>
                <a:gd name="T20" fmla="*/ 1 w 602"/>
                <a:gd name="T21" fmla="*/ 114 h 580"/>
                <a:gd name="T22" fmla="*/ 32 w 602"/>
                <a:gd name="T23" fmla="*/ 1 h 580"/>
                <a:gd name="T24" fmla="*/ 89 w 602"/>
                <a:gd name="T25" fmla="*/ 43 h 580"/>
                <a:gd name="T26" fmla="*/ 207 w 602"/>
                <a:gd name="T27" fmla="*/ 381 h 580"/>
                <a:gd name="T28" fmla="*/ 552 w 602"/>
                <a:gd name="T29" fmla="*/ 410 h 580"/>
                <a:gd name="T30" fmla="*/ 602 w 602"/>
                <a:gd name="T31" fmla="*/ 381 h 580"/>
                <a:gd name="T32" fmla="*/ 567 w 602"/>
                <a:gd name="T33" fmla="*/ 414 h 580"/>
                <a:gd name="T34" fmla="*/ 563 w 602"/>
                <a:gd name="T35" fmla="*/ 418 h 580"/>
                <a:gd name="T36" fmla="*/ 562 w 602"/>
                <a:gd name="T37" fmla="*/ 419 h 580"/>
                <a:gd name="T38" fmla="*/ 124 w 602"/>
                <a:gd name="T39" fmla="*/ 451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02" h="580">
                  <a:moveTo>
                    <a:pt x="124" y="451"/>
                  </a:moveTo>
                  <a:cubicBezTo>
                    <a:pt x="84" y="405"/>
                    <a:pt x="56" y="360"/>
                    <a:pt x="37" y="317"/>
                  </a:cubicBezTo>
                  <a:cubicBezTo>
                    <a:pt x="34" y="310"/>
                    <a:pt x="31" y="303"/>
                    <a:pt x="28" y="297"/>
                  </a:cubicBezTo>
                  <a:cubicBezTo>
                    <a:pt x="21" y="276"/>
                    <a:pt x="15" y="257"/>
                    <a:pt x="10" y="238"/>
                  </a:cubicBezTo>
                  <a:cubicBezTo>
                    <a:pt x="9" y="232"/>
                    <a:pt x="8" y="226"/>
                    <a:pt x="6" y="220"/>
                  </a:cubicBezTo>
                  <a:cubicBezTo>
                    <a:pt x="5" y="211"/>
                    <a:pt x="3" y="202"/>
                    <a:pt x="2" y="193"/>
                  </a:cubicBezTo>
                  <a:cubicBezTo>
                    <a:pt x="2" y="187"/>
                    <a:pt x="1" y="181"/>
                    <a:pt x="1" y="176"/>
                  </a:cubicBezTo>
                  <a:cubicBezTo>
                    <a:pt x="1" y="173"/>
                    <a:pt x="0" y="170"/>
                    <a:pt x="0" y="167"/>
                  </a:cubicBezTo>
                  <a:cubicBezTo>
                    <a:pt x="0" y="162"/>
                    <a:pt x="0" y="156"/>
                    <a:pt x="0" y="151"/>
                  </a:cubicBezTo>
                  <a:cubicBezTo>
                    <a:pt x="0" y="143"/>
                    <a:pt x="0" y="136"/>
                    <a:pt x="0" y="128"/>
                  </a:cubicBezTo>
                  <a:cubicBezTo>
                    <a:pt x="1" y="123"/>
                    <a:pt x="1" y="118"/>
                    <a:pt x="1" y="114"/>
                  </a:cubicBezTo>
                  <a:cubicBezTo>
                    <a:pt x="8" y="44"/>
                    <a:pt x="31" y="0"/>
                    <a:pt x="32" y="1"/>
                  </a:cubicBezTo>
                  <a:cubicBezTo>
                    <a:pt x="51" y="27"/>
                    <a:pt x="70" y="39"/>
                    <a:pt x="89" y="43"/>
                  </a:cubicBezTo>
                  <a:cubicBezTo>
                    <a:pt x="88" y="125"/>
                    <a:pt x="106" y="264"/>
                    <a:pt x="207" y="381"/>
                  </a:cubicBezTo>
                  <a:cubicBezTo>
                    <a:pt x="292" y="481"/>
                    <a:pt x="436" y="467"/>
                    <a:pt x="552" y="410"/>
                  </a:cubicBezTo>
                  <a:cubicBezTo>
                    <a:pt x="569" y="401"/>
                    <a:pt x="586" y="392"/>
                    <a:pt x="602" y="381"/>
                  </a:cubicBezTo>
                  <a:cubicBezTo>
                    <a:pt x="591" y="393"/>
                    <a:pt x="579" y="404"/>
                    <a:pt x="567" y="414"/>
                  </a:cubicBezTo>
                  <a:cubicBezTo>
                    <a:pt x="566" y="415"/>
                    <a:pt x="565" y="417"/>
                    <a:pt x="563" y="418"/>
                  </a:cubicBezTo>
                  <a:cubicBezTo>
                    <a:pt x="562" y="419"/>
                    <a:pt x="562" y="419"/>
                    <a:pt x="562" y="419"/>
                  </a:cubicBezTo>
                  <a:cubicBezTo>
                    <a:pt x="442" y="520"/>
                    <a:pt x="234" y="580"/>
                    <a:pt x="124" y="451"/>
                  </a:cubicBezTo>
                  <a:close/>
                </a:path>
              </a:pathLst>
            </a:custGeom>
            <a:solidFill>
              <a:srgbClr val="D7A3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656">
              <a:extLst>
                <a:ext uri="{FF2B5EF4-FFF2-40B4-BE49-F238E27FC236}">
                  <a16:creationId xmlns:a16="http://schemas.microsoft.com/office/drawing/2014/main" id="{8CBD6E65-77C0-40CA-BC11-C7B16780A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5763" y="4562476"/>
              <a:ext cx="338138" cy="347663"/>
            </a:xfrm>
            <a:custGeom>
              <a:avLst/>
              <a:gdLst>
                <a:gd name="T0" fmla="*/ 158 w 389"/>
                <a:gd name="T1" fmla="*/ 186 h 401"/>
                <a:gd name="T2" fmla="*/ 384 w 389"/>
                <a:gd name="T3" fmla="*/ 401 h 401"/>
                <a:gd name="T4" fmla="*/ 389 w 389"/>
                <a:gd name="T5" fmla="*/ 397 h 401"/>
                <a:gd name="T6" fmla="*/ 163 w 389"/>
                <a:gd name="T7" fmla="*/ 183 h 401"/>
                <a:gd name="T8" fmla="*/ 3 w 389"/>
                <a:gd name="T9" fmla="*/ 0 h 401"/>
                <a:gd name="T10" fmla="*/ 0 w 389"/>
                <a:gd name="T11" fmla="*/ 5 h 401"/>
                <a:gd name="T12" fmla="*/ 158 w 389"/>
                <a:gd name="T13" fmla="*/ 186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9" h="401">
                  <a:moveTo>
                    <a:pt x="158" y="186"/>
                  </a:moveTo>
                  <a:cubicBezTo>
                    <a:pt x="199" y="259"/>
                    <a:pt x="313" y="349"/>
                    <a:pt x="384" y="401"/>
                  </a:cubicBezTo>
                  <a:cubicBezTo>
                    <a:pt x="386" y="400"/>
                    <a:pt x="387" y="398"/>
                    <a:pt x="389" y="397"/>
                  </a:cubicBezTo>
                  <a:cubicBezTo>
                    <a:pt x="318" y="346"/>
                    <a:pt x="204" y="256"/>
                    <a:pt x="163" y="183"/>
                  </a:cubicBezTo>
                  <a:cubicBezTo>
                    <a:pt x="140" y="142"/>
                    <a:pt x="75" y="71"/>
                    <a:pt x="3" y="0"/>
                  </a:cubicBezTo>
                  <a:cubicBezTo>
                    <a:pt x="2" y="2"/>
                    <a:pt x="1" y="4"/>
                    <a:pt x="0" y="5"/>
                  </a:cubicBezTo>
                  <a:cubicBezTo>
                    <a:pt x="71" y="76"/>
                    <a:pt x="135" y="145"/>
                    <a:pt x="158" y="186"/>
                  </a:cubicBezTo>
                  <a:close/>
                </a:path>
              </a:pathLst>
            </a:custGeom>
            <a:solidFill>
              <a:srgbClr val="CC99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57">
              <a:extLst>
                <a:ext uri="{FF2B5EF4-FFF2-40B4-BE49-F238E27FC236}">
                  <a16:creationId xmlns:a16="http://schemas.microsoft.com/office/drawing/2014/main" id="{C8CD7856-4367-4F68-8B17-6AD0BD279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3725" y="546101"/>
              <a:ext cx="449263" cy="1344613"/>
            </a:xfrm>
            <a:custGeom>
              <a:avLst/>
              <a:gdLst>
                <a:gd name="T0" fmla="*/ 102 w 516"/>
                <a:gd name="T1" fmla="*/ 9 h 1552"/>
                <a:gd name="T2" fmla="*/ 516 w 516"/>
                <a:gd name="T3" fmla="*/ 885 h 1552"/>
                <a:gd name="T4" fmla="*/ 144 w 516"/>
                <a:gd name="T5" fmla="*/ 1552 h 1552"/>
                <a:gd name="T6" fmla="*/ 57 w 516"/>
                <a:gd name="T7" fmla="*/ 1492 h 1552"/>
                <a:gd name="T8" fmla="*/ 267 w 516"/>
                <a:gd name="T9" fmla="*/ 873 h 1552"/>
                <a:gd name="T10" fmla="*/ 18 w 516"/>
                <a:gd name="T11" fmla="*/ 345 h 1552"/>
                <a:gd name="T12" fmla="*/ 102 w 516"/>
                <a:gd name="T13" fmla="*/ 9 h 1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6" h="1552">
                  <a:moveTo>
                    <a:pt x="102" y="9"/>
                  </a:moveTo>
                  <a:cubicBezTo>
                    <a:pt x="349" y="31"/>
                    <a:pt x="419" y="433"/>
                    <a:pt x="516" y="885"/>
                  </a:cubicBezTo>
                  <a:cubicBezTo>
                    <a:pt x="144" y="1552"/>
                    <a:pt x="144" y="1552"/>
                    <a:pt x="144" y="1552"/>
                  </a:cubicBezTo>
                  <a:cubicBezTo>
                    <a:pt x="57" y="1492"/>
                    <a:pt x="57" y="1492"/>
                    <a:pt x="57" y="1492"/>
                  </a:cubicBezTo>
                  <a:cubicBezTo>
                    <a:pt x="267" y="873"/>
                    <a:pt x="267" y="873"/>
                    <a:pt x="267" y="873"/>
                  </a:cubicBezTo>
                  <a:cubicBezTo>
                    <a:pt x="18" y="345"/>
                    <a:pt x="18" y="345"/>
                    <a:pt x="18" y="345"/>
                  </a:cubicBezTo>
                  <a:cubicBezTo>
                    <a:pt x="18" y="345"/>
                    <a:pt x="0" y="0"/>
                    <a:pt x="102" y="9"/>
                  </a:cubicBezTo>
                  <a:close/>
                </a:path>
              </a:pathLst>
            </a:custGeom>
            <a:solidFill>
              <a:srgbClr val="E3C8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658">
              <a:extLst>
                <a:ext uri="{FF2B5EF4-FFF2-40B4-BE49-F238E27FC236}">
                  <a16:creationId xmlns:a16="http://schemas.microsoft.com/office/drawing/2014/main" id="{2A5E03E3-E048-41E3-8DF3-B5A2A4DAB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1688" y="546101"/>
              <a:ext cx="620713" cy="1123950"/>
            </a:xfrm>
            <a:custGeom>
              <a:avLst/>
              <a:gdLst>
                <a:gd name="T0" fmla="*/ 410 w 714"/>
                <a:gd name="T1" fmla="*/ 9 h 1297"/>
                <a:gd name="T2" fmla="*/ 0 w 714"/>
                <a:gd name="T3" fmla="*/ 940 h 1297"/>
                <a:gd name="T4" fmla="*/ 673 w 714"/>
                <a:gd name="T5" fmla="*/ 1297 h 1297"/>
                <a:gd name="T6" fmla="*/ 714 w 714"/>
                <a:gd name="T7" fmla="*/ 1197 h 1297"/>
                <a:gd name="T8" fmla="*/ 244 w 714"/>
                <a:gd name="T9" fmla="*/ 873 h 1297"/>
                <a:gd name="T10" fmla="*/ 493 w 714"/>
                <a:gd name="T11" fmla="*/ 345 h 1297"/>
                <a:gd name="T12" fmla="*/ 410 w 714"/>
                <a:gd name="T13" fmla="*/ 9 h 1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4" h="1297">
                  <a:moveTo>
                    <a:pt x="410" y="9"/>
                  </a:moveTo>
                  <a:cubicBezTo>
                    <a:pt x="162" y="31"/>
                    <a:pt x="55" y="639"/>
                    <a:pt x="0" y="940"/>
                  </a:cubicBezTo>
                  <a:cubicBezTo>
                    <a:pt x="69" y="1093"/>
                    <a:pt x="673" y="1297"/>
                    <a:pt x="673" y="1297"/>
                  </a:cubicBezTo>
                  <a:cubicBezTo>
                    <a:pt x="714" y="1197"/>
                    <a:pt x="714" y="1197"/>
                    <a:pt x="714" y="1197"/>
                  </a:cubicBezTo>
                  <a:cubicBezTo>
                    <a:pt x="244" y="873"/>
                    <a:pt x="244" y="873"/>
                    <a:pt x="244" y="873"/>
                  </a:cubicBezTo>
                  <a:cubicBezTo>
                    <a:pt x="493" y="345"/>
                    <a:pt x="493" y="345"/>
                    <a:pt x="493" y="345"/>
                  </a:cubicBezTo>
                  <a:cubicBezTo>
                    <a:pt x="493" y="345"/>
                    <a:pt x="512" y="0"/>
                    <a:pt x="410" y="9"/>
                  </a:cubicBezTo>
                  <a:close/>
                </a:path>
              </a:pathLst>
            </a:custGeom>
            <a:solidFill>
              <a:srgbClr val="E3C8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659">
              <a:extLst>
                <a:ext uri="{FF2B5EF4-FFF2-40B4-BE49-F238E27FC236}">
                  <a16:creationId xmlns:a16="http://schemas.microsoft.com/office/drawing/2014/main" id="{F67704D2-2BBE-4007-965C-BA02F0300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5825" y="3567113"/>
              <a:ext cx="950913" cy="954088"/>
            </a:xfrm>
            <a:custGeom>
              <a:avLst/>
              <a:gdLst>
                <a:gd name="T0" fmla="*/ 175 w 1094"/>
                <a:gd name="T1" fmla="*/ 1027 h 1100"/>
                <a:gd name="T2" fmla="*/ 422 w 1094"/>
                <a:gd name="T3" fmla="*/ 90 h 1100"/>
                <a:gd name="T4" fmla="*/ 1087 w 1094"/>
                <a:gd name="T5" fmla="*/ 50 h 1100"/>
                <a:gd name="T6" fmla="*/ 1094 w 1094"/>
                <a:gd name="T7" fmla="*/ 160 h 1100"/>
                <a:gd name="T8" fmla="*/ 604 w 1094"/>
                <a:gd name="T9" fmla="*/ 259 h 1100"/>
                <a:gd name="T10" fmla="*/ 455 w 1094"/>
                <a:gd name="T11" fmla="*/ 823 h 1100"/>
                <a:gd name="T12" fmla="*/ 175 w 1094"/>
                <a:gd name="T13" fmla="*/ 1027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4" h="1100">
                  <a:moveTo>
                    <a:pt x="175" y="1027"/>
                  </a:moveTo>
                  <a:cubicBezTo>
                    <a:pt x="0" y="851"/>
                    <a:pt x="209" y="410"/>
                    <a:pt x="422" y="90"/>
                  </a:cubicBezTo>
                  <a:cubicBezTo>
                    <a:pt x="565" y="0"/>
                    <a:pt x="1087" y="50"/>
                    <a:pt x="1087" y="50"/>
                  </a:cubicBezTo>
                  <a:cubicBezTo>
                    <a:pt x="1094" y="160"/>
                    <a:pt x="1094" y="160"/>
                    <a:pt x="1094" y="160"/>
                  </a:cubicBezTo>
                  <a:cubicBezTo>
                    <a:pt x="604" y="259"/>
                    <a:pt x="604" y="259"/>
                    <a:pt x="604" y="259"/>
                  </a:cubicBezTo>
                  <a:cubicBezTo>
                    <a:pt x="455" y="823"/>
                    <a:pt x="455" y="823"/>
                    <a:pt x="455" y="823"/>
                  </a:cubicBezTo>
                  <a:cubicBezTo>
                    <a:pt x="455" y="823"/>
                    <a:pt x="248" y="1100"/>
                    <a:pt x="175" y="1027"/>
                  </a:cubicBezTo>
                  <a:close/>
                </a:path>
              </a:pathLst>
            </a:custGeom>
            <a:solidFill>
              <a:srgbClr val="447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660">
              <a:extLst>
                <a:ext uri="{FF2B5EF4-FFF2-40B4-BE49-F238E27FC236}">
                  <a16:creationId xmlns:a16="http://schemas.microsoft.com/office/drawing/2014/main" id="{0ACAE47F-9501-4224-A15B-0E1CE7FA5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3213" y="4067176"/>
              <a:ext cx="901700" cy="1023938"/>
            </a:xfrm>
            <a:custGeom>
              <a:avLst/>
              <a:gdLst>
                <a:gd name="T0" fmla="*/ 84 w 1037"/>
                <a:gd name="T1" fmla="*/ 1040 h 1182"/>
                <a:gd name="T2" fmla="*/ 977 w 1037"/>
                <a:gd name="T3" fmla="*/ 675 h 1182"/>
                <a:gd name="T4" fmla="*/ 790 w 1037"/>
                <a:gd name="T5" fmla="*/ 0 h 1182"/>
                <a:gd name="T6" fmla="*/ 679 w 1037"/>
                <a:gd name="T7" fmla="*/ 10 h 1182"/>
                <a:gd name="T8" fmla="*/ 767 w 1037"/>
                <a:gd name="T9" fmla="*/ 548 h 1182"/>
                <a:gd name="T10" fmla="*/ 237 w 1037"/>
                <a:gd name="T11" fmla="*/ 728 h 1182"/>
                <a:gd name="T12" fmla="*/ 84 w 1037"/>
                <a:gd name="T13" fmla="*/ 1040 h 1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7" h="1182">
                  <a:moveTo>
                    <a:pt x="84" y="1040"/>
                  </a:moveTo>
                  <a:cubicBezTo>
                    <a:pt x="288" y="1182"/>
                    <a:pt x="785" y="863"/>
                    <a:pt x="977" y="675"/>
                  </a:cubicBezTo>
                  <a:cubicBezTo>
                    <a:pt x="1037" y="482"/>
                    <a:pt x="790" y="0"/>
                    <a:pt x="790" y="0"/>
                  </a:cubicBezTo>
                  <a:cubicBezTo>
                    <a:pt x="679" y="10"/>
                    <a:pt x="679" y="10"/>
                    <a:pt x="679" y="10"/>
                  </a:cubicBezTo>
                  <a:cubicBezTo>
                    <a:pt x="767" y="548"/>
                    <a:pt x="767" y="548"/>
                    <a:pt x="767" y="548"/>
                  </a:cubicBezTo>
                  <a:cubicBezTo>
                    <a:pt x="237" y="728"/>
                    <a:pt x="237" y="728"/>
                    <a:pt x="237" y="728"/>
                  </a:cubicBezTo>
                  <a:cubicBezTo>
                    <a:pt x="237" y="728"/>
                    <a:pt x="0" y="981"/>
                    <a:pt x="84" y="1040"/>
                  </a:cubicBezTo>
                  <a:close/>
                </a:path>
              </a:pathLst>
            </a:custGeom>
            <a:solidFill>
              <a:srgbClr val="447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661">
              <a:extLst>
                <a:ext uri="{FF2B5EF4-FFF2-40B4-BE49-F238E27FC236}">
                  <a16:creationId xmlns:a16="http://schemas.microsoft.com/office/drawing/2014/main" id="{86036990-83B2-495D-AF96-FB939CD37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3038" y="2300288"/>
              <a:ext cx="628650" cy="561975"/>
            </a:xfrm>
            <a:custGeom>
              <a:avLst/>
              <a:gdLst>
                <a:gd name="T0" fmla="*/ 697 w 724"/>
                <a:gd name="T1" fmla="*/ 212 h 648"/>
                <a:gd name="T2" fmla="*/ 204 w 724"/>
                <a:gd name="T3" fmla="*/ 8 h 648"/>
                <a:gd name="T4" fmla="*/ 158 w 724"/>
                <a:gd name="T5" fmla="*/ 27 h 648"/>
                <a:gd name="T6" fmla="*/ 8 w 724"/>
                <a:gd name="T7" fmla="*/ 391 h 648"/>
                <a:gd name="T8" fmla="*/ 27 w 724"/>
                <a:gd name="T9" fmla="*/ 437 h 648"/>
                <a:gd name="T10" fmla="*/ 520 w 724"/>
                <a:gd name="T11" fmla="*/ 641 h 648"/>
                <a:gd name="T12" fmla="*/ 565 w 724"/>
                <a:gd name="T13" fmla="*/ 622 h 648"/>
                <a:gd name="T14" fmla="*/ 716 w 724"/>
                <a:gd name="T15" fmla="*/ 258 h 648"/>
                <a:gd name="T16" fmla="*/ 697 w 724"/>
                <a:gd name="T17" fmla="*/ 212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4" h="648">
                  <a:moveTo>
                    <a:pt x="697" y="212"/>
                  </a:moveTo>
                  <a:cubicBezTo>
                    <a:pt x="204" y="8"/>
                    <a:pt x="204" y="8"/>
                    <a:pt x="204" y="8"/>
                  </a:cubicBezTo>
                  <a:cubicBezTo>
                    <a:pt x="186" y="0"/>
                    <a:pt x="166" y="9"/>
                    <a:pt x="158" y="27"/>
                  </a:cubicBezTo>
                  <a:cubicBezTo>
                    <a:pt x="8" y="391"/>
                    <a:pt x="8" y="391"/>
                    <a:pt x="8" y="391"/>
                  </a:cubicBezTo>
                  <a:cubicBezTo>
                    <a:pt x="0" y="409"/>
                    <a:pt x="9" y="429"/>
                    <a:pt x="27" y="437"/>
                  </a:cubicBezTo>
                  <a:cubicBezTo>
                    <a:pt x="520" y="641"/>
                    <a:pt x="520" y="641"/>
                    <a:pt x="520" y="641"/>
                  </a:cubicBezTo>
                  <a:cubicBezTo>
                    <a:pt x="538" y="648"/>
                    <a:pt x="558" y="640"/>
                    <a:pt x="565" y="622"/>
                  </a:cubicBezTo>
                  <a:cubicBezTo>
                    <a:pt x="716" y="258"/>
                    <a:pt x="716" y="258"/>
                    <a:pt x="716" y="258"/>
                  </a:cubicBezTo>
                  <a:cubicBezTo>
                    <a:pt x="724" y="240"/>
                    <a:pt x="715" y="219"/>
                    <a:pt x="697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662">
              <a:extLst>
                <a:ext uri="{FF2B5EF4-FFF2-40B4-BE49-F238E27FC236}">
                  <a16:creationId xmlns:a16="http://schemas.microsoft.com/office/drawing/2014/main" id="{15F777DB-869B-4765-9BDF-6C4AD221C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3513" y="2274888"/>
              <a:ext cx="627063" cy="561975"/>
            </a:xfrm>
            <a:custGeom>
              <a:avLst/>
              <a:gdLst>
                <a:gd name="T0" fmla="*/ 7 w 723"/>
                <a:gd name="T1" fmla="*/ 391 h 648"/>
                <a:gd name="T2" fmla="*/ 158 w 723"/>
                <a:gd name="T3" fmla="*/ 27 h 648"/>
                <a:gd name="T4" fmla="*/ 204 w 723"/>
                <a:gd name="T5" fmla="*/ 8 h 648"/>
                <a:gd name="T6" fmla="*/ 697 w 723"/>
                <a:gd name="T7" fmla="*/ 212 h 648"/>
                <a:gd name="T8" fmla="*/ 716 w 723"/>
                <a:gd name="T9" fmla="*/ 258 h 648"/>
                <a:gd name="T10" fmla="*/ 565 w 723"/>
                <a:gd name="T11" fmla="*/ 622 h 648"/>
                <a:gd name="T12" fmla="*/ 519 w 723"/>
                <a:gd name="T13" fmla="*/ 641 h 648"/>
                <a:gd name="T14" fmla="*/ 26 w 723"/>
                <a:gd name="T15" fmla="*/ 437 h 648"/>
                <a:gd name="T16" fmla="*/ 7 w 723"/>
                <a:gd name="T17" fmla="*/ 391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3" h="648">
                  <a:moveTo>
                    <a:pt x="7" y="391"/>
                  </a:moveTo>
                  <a:cubicBezTo>
                    <a:pt x="158" y="27"/>
                    <a:pt x="158" y="27"/>
                    <a:pt x="158" y="27"/>
                  </a:cubicBezTo>
                  <a:cubicBezTo>
                    <a:pt x="165" y="9"/>
                    <a:pt x="186" y="0"/>
                    <a:pt x="204" y="8"/>
                  </a:cubicBezTo>
                  <a:cubicBezTo>
                    <a:pt x="697" y="212"/>
                    <a:pt x="697" y="212"/>
                    <a:pt x="697" y="212"/>
                  </a:cubicBezTo>
                  <a:cubicBezTo>
                    <a:pt x="714" y="219"/>
                    <a:pt x="723" y="240"/>
                    <a:pt x="716" y="258"/>
                  </a:cubicBezTo>
                  <a:cubicBezTo>
                    <a:pt x="565" y="622"/>
                    <a:pt x="565" y="622"/>
                    <a:pt x="565" y="622"/>
                  </a:cubicBezTo>
                  <a:cubicBezTo>
                    <a:pt x="557" y="640"/>
                    <a:pt x="537" y="648"/>
                    <a:pt x="519" y="641"/>
                  </a:cubicBezTo>
                  <a:cubicBezTo>
                    <a:pt x="26" y="437"/>
                    <a:pt x="26" y="437"/>
                    <a:pt x="26" y="437"/>
                  </a:cubicBezTo>
                  <a:cubicBezTo>
                    <a:pt x="8" y="429"/>
                    <a:pt x="0" y="409"/>
                    <a:pt x="7" y="39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663">
              <a:extLst>
                <a:ext uri="{FF2B5EF4-FFF2-40B4-BE49-F238E27FC236}">
                  <a16:creationId xmlns:a16="http://schemas.microsoft.com/office/drawing/2014/main" id="{AE618E9A-4AB3-4DF8-9531-DFA4339C4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2250" y="2314576"/>
              <a:ext cx="542925" cy="496888"/>
            </a:xfrm>
            <a:custGeom>
              <a:avLst/>
              <a:gdLst>
                <a:gd name="T0" fmla="*/ 0 w 342"/>
                <a:gd name="T1" fmla="*/ 207 h 313"/>
                <a:gd name="T2" fmla="*/ 85 w 342"/>
                <a:gd name="T3" fmla="*/ 0 h 313"/>
                <a:gd name="T4" fmla="*/ 342 w 342"/>
                <a:gd name="T5" fmla="*/ 106 h 313"/>
                <a:gd name="T6" fmla="*/ 257 w 342"/>
                <a:gd name="T7" fmla="*/ 313 h 313"/>
                <a:gd name="T8" fmla="*/ 0 w 342"/>
                <a:gd name="T9" fmla="*/ 207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" h="313">
                  <a:moveTo>
                    <a:pt x="0" y="207"/>
                  </a:moveTo>
                  <a:lnTo>
                    <a:pt x="85" y="0"/>
                  </a:lnTo>
                  <a:lnTo>
                    <a:pt x="342" y="106"/>
                  </a:lnTo>
                  <a:lnTo>
                    <a:pt x="257" y="313"/>
                  </a:lnTo>
                  <a:lnTo>
                    <a:pt x="0" y="207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64">
              <a:extLst>
                <a:ext uri="{FF2B5EF4-FFF2-40B4-BE49-F238E27FC236}">
                  <a16:creationId xmlns:a16="http://schemas.microsoft.com/office/drawing/2014/main" id="{2540A740-164E-4394-852E-FF0D9373E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6063" y="2449513"/>
              <a:ext cx="36513" cy="36513"/>
            </a:xfrm>
            <a:custGeom>
              <a:avLst/>
              <a:gdLst>
                <a:gd name="T0" fmla="*/ 14 w 42"/>
                <a:gd name="T1" fmla="*/ 38 h 41"/>
                <a:gd name="T2" fmla="*/ 4 w 42"/>
                <a:gd name="T3" fmla="*/ 14 h 41"/>
                <a:gd name="T4" fmla="*/ 28 w 42"/>
                <a:gd name="T5" fmla="*/ 4 h 41"/>
                <a:gd name="T6" fmla="*/ 38 w 42"/>
                <a:gd name="T7" fmla="*/ 28 h 41"/>
                <a:gd name="T8" fmla="*/ 14 w 42"/>
                <a:gd name="T9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1">
                  <a:moveTo>
                    <a:pt x="14" y="38"/>
                  </a:moveTo>
                  <a:cubicBezTo>
                    <a:pt x="5" y="34"/>
                    <a:pt x="0" y="23"/>
                    <a:pt x="4" y="14"/>
                  </a:cubicBezTo>
                  <a:cubicBezTo>
                    <a:pt x="8" y="4"/>
                    <a:pt x="19" y="0"/>
                    <a:pt x="28" y="4"/>
                  </a:cubicBezTo>
                  <a:cubicBezTo>
                    <a:pt x="38" y="8"/>
                    <a:pt x="42" y="18"/>
                    <a:pt x="38" y="28"/>
                  </a:cubicBezTo>
                  <a:cubicBezTo>
                    <a:pt x="34" y="37"/>
                    <a:pt x="24" y="41"/>
                    <a:pt x="14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665">
              <a:extLst>
                <a:ext uri="{FF2B5EF4-FFF2-40B4-BE49-F238E27FC236}">
                  <a16:creationId xmlns:a16="http://schemas.microsoft.com/office/drawing/2014/main" id="{62CFE098-D376-4ADA-AFE9-E91EE07CD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7825" y="2363788"/>
              <a:ext cx="234950" cy="100013"/>
            </a:xfrm>
            <a:custGeom>
              <a:avLst/>
              <a:gdLst>
                <a:gd name="T0" fmla="*/ 0 w 270"/>
                <a:gd name="T1" fmla="*/ 1 h 114"/>
                <a:gd name="T2" fmla="*/ 2 w 270"/>
                <a:gd name="T3" fmla="*/ 1 h 114"/>
                <a:gd name="T4" fmla="*/ 269 w 270"/>
                <a:gd name="T5" fmla="*/ 111 h 114"/>
                <a:gd name="T6" fmla="*/ 270 w 270"/>
                <a:gd name="T7" fmla="*/ 113 h 114"/>
                <a:gd name="T8" fmla="*/ 268 w 270"/>
                <a:gd name="T9" fmla="*/ 114 h 114"/>
                <a:gd name="T10" fmla="*/ 1 w 270"/>
                <a:gd name="T11" fmla="*/ 3 h 114"/>
                <a:gd name="T12" fmla="*/ 0 w 270"/>
                <a:gd name="T13" fmla="*/ 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114">
                  <a:moveTo>
                    <a:pt x="0" y="1"/>
                  </a:moveTo>
                  <a:cubicBezTo>
                    <a:pt x="1" y="1"/>
                    <a:pt x="1" y="0"/>
                    <a:pt x="2" y="1"/>
                  </a:cubicBezTo>
                  <a:cubicBezTo>
                    <a:pt x="269" y="111"/>
                    <a:pt x="269" y="111"/>
                    <a:pt x="269" y="111"/>
                  </a:cubicBezTo>
                  <a:cubicBezTo>
                    <a:pt x="270" y="112"/>
                    <a:pt x="270" y="112"/>
                    <a:pt x="270" y="113"/>
                  </a:cubicBezTo>
                  <a:cubicBezTo>
                    <a:pt x="270" y="114"/>
                    <a:pt x="269" y="114"/>
                    <a:pt x="268" y="11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666">
              <a:extLst>
                <a:ext uri="{FF2B5EF4-FFF2-40B4-BE49-F238E27FC236}">
                  <a16:creationId xmlns:a16="http://schemas.microsoft.com/office/drawing/2014/main" id="{EF23600E-87F0-4170-B8E8-A309285BE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8450" y="2357438"/>
              <a:ext cx="100013" cy="234950"/>
            </a:xfrm>
            <a:custGeom>
              <a:avLst/>
              <a:gdLst>
                <a:gd name="T0" fmla="*/ 1 w 115"/>
                <a:gd name="T1" fmla="*/ 270 h 272"/>
                <a:gd name="T2" fmla="*/ 112 w 115"/>
                <a:gd name="T3" fmla="*/ 2 h 272"/>
                <a:gd name="T4" fmla="*/ 114 w 115"/>
                <a:gd name="T5" fmla="*/ 1 h 272"/>
                <a:gd name="T6" fmla="*/ 115 w 115"/>
                <a:gd name="T7" fmla="*/ 3 h 272"/>
                <a:gd name="T8" fmla="*/ 3 w 115"/>
                <a:gd name="T9" fmla="*/ 271 h 272"/>
                <a:gd name="T10" fmla="*/ 2 w 115"/>
                <a:gd name="T11" fmla="*/ 272 h 272"/>
                <a:gd name="T12" fmla="*/ 1 w 115"/>
                <a:gd name="T13" fmla="*/ 27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272">
                  <a:moveTo>
                    <a:pt x="1" y="270"/>
                  </a:moveTo>
                  <a:cubicBezTo>
                    <a:pt x="112" y="2"/>
                    <a:pt x="112" y="2"/>
                    <a:pt x="112" y="2"/>
                  </a:cubicBezTo>
                  <a:cubicBezTo>
                    <a:pt x="112" y="1"/>
                    <a:pt x="113" y="0"/>
                    <a:pt x="114" y="1"/>
                  </a:cubicBezTo>
                  <a:cubicBezTo>
                    <a:pt x="115" y="1"/>
                    <a:pt x="115" y="2"/>
                    <a:pt x="115" y="3"/>
                  </a:cubicBezTo>
                  <a:cubicBezTo>
                    <a:pt x="3" y="271"/>
                    <a:pt x="3" y="271"/>
                    <a:pt x="3" y="271"/>
                  </a:cubicBezTo>
                  <a:cubicBezTo>
                    <a:pt x="3" y="272"/>
                    <a:pt x="2" y="272"/>
                    <a:pt x="2" y="272"/>
                  </a:cubicBezTo>
                  <a:cubicBezTo>
                    <a:pt x="1" y="272"/>
                    <a:pt x="0" y="271"/>
                    <a:pt x="1" y="270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667">
              <a:extLst>
                <a:ext uri="{FF2B5EF4-FFF2-40B4-BE49-F238E27FC236}">
                  <a16:creationId xmlns:a16="http://schemas.microsoft.com/office/drawing/2014/main" id="{0D9C8F8D-54A8-4F0F-BE42-2A667EDF5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7825" y="2400301"/>
              <a:ext cx="144463" cy="282575"/>
            </a:xfrm>
            <a:custGeom>
              <a:avLst/>
              <a:gdLst>
                <a:gd name="T0" fmla="*/ 38 w 165"/>
                <a:gd name="T1" fmla="*/ 2 h 326"/>
                <a:gd name="T2" fmla="*/ 39 w 165"/>
                <a:gd name="T3" fmla="*/ 1 h 326"/>
                <a:gd name="T4" fmla="*/ 41 w 165"/>
                <a:gd name="T5" fmla="*/ 1 h 326"/>
                <a:gd name="T6" fmla="*/ 99 w 165"/>
                <a:gd name="T7" fmla="*/ 85 h 326"/>
                <a:gd name="T8" fmla="*/ 100 w 165"/>
                <a:gd name="T9" fmla="*/ 86 h 326"/>
                <a:gd name="T10" fmla="*/ 99 w 165"/>
                <a:gd name="T11" fmla="*/ 87 h 326"/>
                <a:gd name="T12" fmla="*/ 69 w 165"/>
                <a:gd name="T13" fmla="*/ 106 h 326"/>
                <a:gd name="T14" fmla="*/ 133 w 165"/>
                <a:gd name="T15" fmla="*/ 165 h 326"/>
                <a:gd name="T16" fmla="*/ 133 w 165"/>
                <a:gd name="T17" fmla="*/ 167 h 326"/>
                <a:gd name="T18" fmla="*/ 133 w 165"/>
                <a:gd name="T19" fmla="*/ 167 h 326"/>
                <a:gd name="T20" fmla="*/ 132 w 165"/>
                <a:gd name="T21" fmla="*/ 168 h 326"/>
                <a:gd name="T22" fmla="*/ 7 w 165"/>
                <a:gd name="T23" fmla="*/ 160 h 326"/>
                <a:gd name="T24" fmla="*/ 72 w 165"/>
                <a:gd name="T25" fmla="*/ 206 h 326"/>
                <a:gd name="T26" fmla="*/ 72 w 165"/>
                <a:gd name="T27" fmla="*/ 208 h 326"/>
                <a:gd name="T28" fmla="*/ 71 w 165"/>
                <a:gd name="T29" fmla="*/ 209 h 326"/>
                <a:gd name="T30" fmla="*/ 42 w 165"/>
                <a:gd name="T31" fmla="*/ 214 h 326"/>
                <a:gd name="T32" fmla="*/ 112 w 165"/>
                <a:gd name="T33" fmla="*/ 260 h 326"/>
                <a:gd name="T34" fmla="*/ 113 w 165"/>
                <a:gd name="T35" fmla="*/ 261 h 326"/>
                <a:gd name="T36" fmla="*/ 111 w 165"/>
                <a:gd name="T37" fmla="*/ 262 h 326"/>
                <a:gd name="T38" fmla="*/ 94 w 165"/>
                <a:gd name="T39" fmla="*/ 267 h 326"/>
                <a:gd name="T40" fmla="*/ 164 w 165"/>
                <a:gd name="T41" fmla="*/ 324 h 326"/>
                <a:gd name="T42" fmla="*/ 164 w 165"/>
                <a:gd name="T43" fmla="*/ 326 h 326"/>
                <a:gd name="T44" fmla="*/ 162 w 165"/>
                <a:gd name="T45" fmla="*/ 326 h 326"/>
                <a:gd name="T46" fmla="*/ 90 w 165"/>
                <a:gd name="T47" fmla="*/ 267 h 326"/>
                <a:gd name="T48" fmla="*/ 90 w 165"/>
                <a:gd name="T49" fmla="*/ 266 h 326"/>
                <a:gd name="T50" fmla="*/ 91 w 165"/>
                <a:gd name="T51" fmla="*/ 265 h 326"/>
                <a:gd name="T52" fmla="*/ 108 w 165"/>
                <a:gd name="T53" fmla="*/ 260 h 326"/>
                <a:gd name="T54" fmla="*/ 37 w 165"/>
                <a:gd name="T55" fmla="*/ 215 h 326"/>
                <a:gd name="T56" fmla="*/ 36 w 165"/>
                <a:gd name="T57" fmla="*/ 213 h 326"/>
                <a:gd name="T58" fmla="*/ 37 w 165"/>
                <a:gd name="T59" fmla="*/ 212 h 326"/>
                <a:gd name="T60" fmla="*/ 67 w 165"/>
                <a:gd name="T61" fmla="*/ 207 h 326"/>
                <a:gd name="T62" fmla="*/ 1 w 165"/>
                <a:gd name="T63" fmla="*/ 159 h 326"/>
                <a:gd name="T64" fmla="*/ 0 w 165"/>
                <a:gd name="T65" fmla="*/ 158 h 326"/>
                <a:gd name="T66" fmla="*/ 2 w 165"/>
                <a:gd name="T67" fmla="*/ 157 h 326"/>
                <a:gd name="T68" fmla="*/ 128 w 165"/>
                <a:gd name="T69" fmla="*/ 164 h 326"/>
                <a:gd name="T70" fmla="*/ 65 w 165"/>
                <a:gd name="T71" fmla="*/ 107 h 326"/>
                <a:gd name="T72" fmla="*/ 65 w 165"/>
                <a:gd name="T73" fmla="*/ 106 h 326"/>
                <a:gd name="T74" fmla="*/ 66 w 165"/>
                <a:gd name="T75" fmla="*/ 104 h 326"/>
                <a:gd name="T76" fmla="*/ 96 w 165"/>
                <a:gd name="T77" fmla="*/ 85 h 326"/>
                <a:gd name="T78" fmla="*/ 38 w 165"/>
                <a:gd name="T79" fmla="*/ 3 h 326"/>
                <a:gd name="T80" fmla="*/ 38 w 165"/>
                <a:gd name="T81" fmla="*/ 2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5" h="326">
                  <a:moveTo>
                    <a:pt x="38" y="2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39" y="0"/>
                    <a:pt x="40" y="1"/>
                    <a:pt x="41" y="1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100" y="85"/>
                    <a:pt x="100" y="85"/>
                    <a:pt x="100" y="86"/>
                  </a:cubicBezTo>
                  <a:cubicBezTo>
                    <a:pt x="100" y="86"/>
                    <a:pt x="99" y="87"/>
                    <a:pt x="99" y="87"/>
                  </a:cubicBezTo>
                  <a:cubicBezTo>
                    <a:pt x="69" y="106"/>
                    <a:pt x="69" y="106"/>
                    <a:pt x="69" y="106"/>
                  </a:cubicBezTo>
                  <a:cubicBezTo>
                    <a:pt x="133" y="165"/>
                    <a:pt x="133" y="165"/>
                    <a:pt x="133" y="165"/>
                  </a:cubicBezTo>
                  <a:cubicBezTo>
                    <a:pt x="133" y="165"/>
                    <a:pt x="133" y="166"/>
                    <a:pt x="133" y="167"/>
                  </a:cubicBezTo>
                  <a:cubicBezTo>
                    <a:pt x="133" y="167"/>
                    <a:pt x="133" y="167"/>
                    <a:pt x="133" y="167"/>
                  </a:cubicBezTo>
                  <a:cubicBezTo>
                    <a:pt x="133" y="167"/>
                    <a:pt x="132" y="168"/>
                    <a:pt x="132" y="168"/>
                  </a:cubicBezTo>
                  <a:cubicBezTo>
                    <a:pt x="7" y="160"/>
                    <a:pt x="7" y="160"/>
                    <a:pt x="7" y="160"/>
                  </a:cubicBezTo>
                  <a:cubicBezTo>
                    <a:pt x="72" y="206"/>
                    <a:pt x="72" y="206"/>
                    <a:pt x="72" y="206"/>
                  </a:cubicBezTo>
                  <a:cubicBezTo>
                    <a:pt x="72" y="207"/>
                    <a:pt x="72" y="207"/>
                    <a:pt x="72" y="208"/>
                  </a:cubicBezTo>
                  <a:cubicBezTo>
                    <a:pt x="72" y="208"/>
                    <a:pt x="72" y="209"/>
                    <a:pt x="71" y="209"/>
                  </a:cubicBezTo>
                  <a:cubicBezTo>
                    <a:pt x="42" y="214"/>
                    <a:pt x="42" y="214"/>
                    <a:pt x="42" y="214"/>
                  </a:cubicBezTo>
                  <a:cubicBezTo>
                    <a:pt x="112" y="260"/>
                    <a:pt x="112" y="260"/>
                    <a:pt x="112" y="260"/>
                  </a:cubicBezTo>
                  <a:cubicBezTo>
                    <a:pt x="112" y="260"/>
                    <a:pt x="113" y="260"/>
                    <a:pt x="113" y="261"/>
                  </a:cubicBezTo>
                  <a:cubicBezTo>
                    <a:pt x="112" y="262"/>
                    <a:pt x="112" y="262"/>
                    <a:pt x="111" y="262"/>
                  </a:cubicBezTo>
                  <a:cubicBezTo>
                    <a:pt x="94" y="267"/>
                    <a:pt x="94" y="267"/>
                    <a:pt x="94" y="267"/>
                  </a:cubicBezTo>
                  <a:cubicBezTo>
                    <a:pt x="164" y="324"/>
                    <a:pt x="164" y="324"/>
                    <a:pt x="164" y="324"/>
                  </a:cubicBezTo>
                  <a:cubicBezTo>
                    <a:pt x="165" y="324"/>
                    <a:pt x="165" y="325"/>
                    <a:pt x="164" y="326"/>
                  </a:cubicBezTo>
                  <a:cubicBezTo>
                    <a:pt x="164" y="326"/>
                    <a:pt x="163" y="326"/>
                    <a:pt x="162" y="326"/>
                  </a:cubicBezTo>
                  <a:cubicBezTo>
                    <a:pt x="90" y="267"/>
                    <a:pt x="90" y="267"/>
                    <a:pt x="90" y="267"/>
                  </a:cubicBezTo>
                  <a:cubicBezTo>
                    <a:pt x="90" y="267"/>
                    <a:pt x="90" y="266"/>
                    <a:pt x="90" y="266"/>
                  </a:cubicBezTo>
                  <a:cubicBezTo>
                    <a:pt x="90" y="265"/>
                    <a:pt x="91" y="265"/>
                    <a:pt x="91" y="265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37" y="215"/>
                    <a:pt x="37" y="215"/>
                    <a:pt x="37" y="215"/>
                  </a:cubicBezTo>
                  <a:cubicBezTo>
                    <a:pt x="36" y="215"/>
                    <a:pt x="36" y="214"/>
                    <a:pt x="36" y="213"/>
                  </a:cubicBezTo>
                  <a:cubicBezTo>
                    <a:pt x="36" y="213"/>
                    <a:pt x="37" y="212"/>
                    <a:pt x="37" y="212"/>
                  </a:cubicBezTo>
                  <a:cubicBezTo>
                    <a:pt x="67" y="207"/>
                    <a:pt x="67" y="207"/>
                    <a:pt x="67" y="207"/>
                  </a:cubicBezTo>
                  <a:cubicBezTo>
                    <a:pt x="1" y="159"/>
                    <a:pt x="1" y="159"/>
                    <a:pt x="1" y="159"/>
                  </a:cubicBezTo>
                  <a:cubicBezTo>
                    <a:pt x="0" y="159"/>
                    <a:pt x="0" y="158"/>
                    <a:pt x="0" y="158"/>
                  </a:cubicBezTo>
                  <a:cubicBezTo>
                    <a:pt x="1" y="157"/>
                    <a:pt x="1" y="157"/>
                    <a:pt x="2" y="157"/>
                  </a:cubicBezTo>
                  <a:cubicBezTo>
                    <a:pt x="128" y="164"/>
                    <a:pt x="128" y="164"/>
                    <a:pt x="128" y="164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65" y="106"/>
                    <a:pt x="65" y="106"/>
                    <a:pt x="65" y="106"/>
                  </a:cubicBezTo>
                  <a:cubicBezTo>
                    <a:pt x="65" y="105"/>
                    <a:pt x="65" y="105"/>
                    <a:pt x="66" y="104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2"/>
                    <a:pt x="38" y="2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668">
              <a:extLst>
                <a:ext uri="{FF2B5EF4-FFF2-40B4-BE49-F238E27FC236}">
                  <a16:creationId xmlns:a16="http://schemas.microsoft.com/office/drawing/2014/main" id="{B0C16853-D4E6-4DEA-A4D9-A35895DB4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3238" y="2665413"/>
              <a:ext cx="19050" cy="17463"/>
            </a:xfrm>
            <a:custGeom>
              <a:avLst/>
              <a:gdLst>
                <a:gd name="T0" fmla="*/ 0 w 22"/>
                <a:gd name="T1" fmla="*/ 11 h 20"/>
                <a:gd name="T2" fmla="*/ 2 w 22"/>
                <a:gd name="T3" fmla="*/ 11 h 20"/>
                <a:gd name="T4" fmla="*/ 17 w 22"/>
                <a:gd name="T5" fmla="*/ 16 h 20"/>
                <a:gd name="T6" fmla="*/ 8 w 22"/>
                <a:gd name="T7" fmla="*/ 3 h 20"/>
                <a:gd name="T8" fmla="*/ 9 w 22"/>
                <a:gd name="T9" fmla="*/ 1 h 20"/>
                <a:gd name="T10" fmla="*/ 11 w 22"/>
                <a:gd name="T11" fmla="*/ 1 h 20"/>
                <a:gd name="T12" fmla="*/ 21 w 22"/>
                <a:gd name="T13" fmla="*/ 18 h 20"/>
                <a:gd name="T14" fmla="*/ 21 w 22"/>
                <a:gd name="T15" fmla="*/ 20 h 20"/>
                <a:gd name="T16" fmla="*/ 20 w 22"/>
                <a:gd name="T17" fmla="*/ 20 h 20"/>
                <a:gd name="T18" fmla="*/ 1 w 22"/>
                <a:gd name="T19" fmla="*/ 13 h 20"/>
                <a:gd name="T20" fmla="*/ 0 w 22"/>
                <a:gd name="T21" fmla="*/ 12 h 20"/>
                <a:gd name="T22" fmla="*/ 0 w 22"/>
                <a:gd name="T2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0">
                  <a:moveTo>
                    <a:pt x="0" y="11"/>
                  </a:moveTo>
                  <a:cubicBezTo>
                    <a:pt x="0" y="11"/>
                    <a:pt x="1" y="10"/>
                    <a:pt x="2" y="11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9" y="1"/>
                  </a:cubicBezTo>
                  <a:cubicBezTo>
                    <a:pt x="10" y="0"/>
                    <a:pt x="10" y="0"/>
                    <a:pt x="11" y="1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2" y="19"/>
                    <a:pt x="22" y="19"/>
                    <a:pt x="21" y="20"/>
                  </a:cubicBezTo>
                  <a:cubicBezTo>
                    <a:pt x="21" y="20"/>
                    <a:pt x="20" y="20"/>
                    <a:pt x="20" y="20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2"/>
                    <a:pt x="0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669">
              <a:extLst>
                <a:ext uri="{FF2B5EF4-FFF2-40B4-BE49-F238E27FC236}">
                  <a16:creationId xmlns:a16="http://schemas.microsoft.com/office/drawing/2014/main" id="{6A9346AD-CE65-4540-B12A-EA6C0EC42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5950" y="2506663"/>
              <a:ext cx="111125" cy="260350"/>
            </a:xfrm>
            <a:custGeom>
              <a:avLst/>
              <a:gdLst>
                <a:gd name="T0" fmla="*/ 0 w 70"/>
                <a:gd name="T1" fmla="*/ 163 h 164"/>
                <a:gd name="T2" fmla="*/ 68 w 70"/>
                <a:gd name="T3" fmla="*/ 0 h 164"/>
                <a:gd name="T4" fmla="*/ 70 w 70"/>
                <a:gd name="T5" fmla="*/ 1 h 164"/>
                <a:gd name="T6" fmla="*/ 3 w 70"/>
                <a:gd name="T7" fmla="*/ 164 h 164"/>
                <a:gd name="T8" fmla="*/ 0 w 70"/>
                <a:gd name="T9" fmla="*/ 16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3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3" y="164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670">
              <a:extLst>
                <a:ext uri="{FF2B5EF4-FFF2-40B4-BE49-F238E27FC236}">
                  <a16:creationId xmlns:a16="http://schemas.microsoft.com/office/drawing/2014/main" id="{5B894938-C742-4699-A96B-875E3AC4C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5313" y="2497138"/>
              <a:ext cx="111125" cy="260350"/>
            </a:xfrm>
            <a:custGeom>
              <a:avLst/>
              <a:gdLst>
                <a:gd name="T0" fmla="*/ 0 w 70"/>
                <a:gd name="T1" fmla="*/ 164 h 164"/>
                <a:gd name="T2" fmla="*/ 68 w 70"/>
                <a:gd name="T3" fmla="*/ 0 h 164"/>
                <a:gd name="T4" fmla="*/ 70 w 70"/>
                <a:gd name="T5" fmla="*/ 1 h 164"/>
                <a:gd name="T6" fmla="*/ 2 w 70"/>
                <a:gd name="T7" fmla="*/ 164 h 164"/>
                <a:gd name="T8" fmla="*/ 0 w 70"/>
                <a:gd name="T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4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2" y="164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671">
              <a:extLst>
                <a:ext uri="{FF2B5EF4-FFF2-40B4-BE49-F238E27FC236}">
                  <a16:creationId xmlns:a16="http://schemas.microsoft.com/office/drawing/2014/main" id="{FE5E4E1D-04CC-4787-AFA0-EEA774A2E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3088" y="2487613"/>
              <a:ext cx="111125" cy="261938"/>
            </a:xfrm>
            <a:custGeom>
              <a:avLst/>
              <a:gdLst>
                <a:gd name="T0" fmla="*/ 0 w 70"/>
                <a:gd name="T1" fmla="*/ 164 h 165"/>
                <a:gd name="T2" fmla="*/ 68 w 70"/>
                <a:gd name="T3" fmla="*/ 0 h 165"/>
                <a:gd name="T4" fmla="*/ 70 w 70"/>
                <a:gd name="T5" fmla="*/ 2 h 165"/>
                <a:gd name="T6" fmla="*/ 2 w 70"/>
                <a:gd name="T7" fmla="*/ 165 h 165"/>
                <a:gd name="T8" fmla="*/ 0 w 70"/>
                <a:gd name="T9" fmla="*/ 16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5">
                  <a:moveTo>
                    <a:pt x="0" y="164"/>
                  </a:moveTo>
                  <a:lnTo>
                    <a:pt x="68" y="0"/>
                  </a:lnTo>
                  <a:lnTo>
                    <a:pt x="70" y="2"/>
                  </a:lnTo>
                  <a:lnTo>
                    <a:pt x="2" y="165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72">
              <a:extLst>
                <a:ext uri="{FF2B5EF4-FFF2-40B4-BE49-F238E27FC236}">
                  <a16:creationId xmlns:a16="http://schemas.microsoft.com/office/drawing/2014/main" id="{47003382-97CB-4D6D-8E8A-237950B8F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0863" y="2479676"/>
              <a:ext cx="111125" cy="260350"/>
            </a:xfrm>
            <a:custGeom>
              <a:avLst/>
              <a:gdLst>
                <a:gd name="T0" fmla="*/ 0 w 70"/>
                <a:gd name="T1" fmla="*/ 163 h 164"/>
                <a:gd name="T2" fmla="*/ 68 w 70"/>
                <a:gd name="T3" fmla="*/ 0 h 164"/>
                <a:gd name="T4" fmla="*/ 70 w 70"/>
                <a:gd name="T5" fmla="*/ 1 h 164"/>
                <a:gd name="T6" fmla="*/ 2 w 70"/>
                <a:gd name="T7" fmla="*/ 164 h 164"/>
                <a:gd name="T8" fmla="*/ 0 w 70"/>
                <a:gd name="T9" fmla="*/ 16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3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2" y="164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673">
              <a:extLst>
                <a:ext uri="{FF2B5EF4-FFF2-40B4-BE49-F238E27FC236}">
                  <a16:creationId xmlns:a16="http://schemas.microsoft.com/office/drawing/2014/main" id="{51A5FAD9-E0A9-4E46-BAA1-F26EB94A2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9800" y="2497138"/>
              <a:ext cx="585788" cy="461963"/>
            </a:xfrm>
            <a:custGeom>
              <a:avLst/>
              <a:gdLst>
                <a:gd name="T0" fmla="*/ 652 w 675"/>
                <a:gd name="T1" fmla="*/ 37 h 533"/>
                <a:gd name="T2" fmla="*/ 674 w 675"/>
                <a:gd name="T3" fmla="*/ 462 h 533"/>
                <a:gd name="T4" fmla="*/ 638 w 675"/>
                <a:gd name="T5" fmla="*/ 502 h 533"/>
                <a:gd name="T6" fmla="*/ 63 w 675"/>
                <a:gd name="T7" fmla="*/ 531 h 533"/>
                <a:gd name="T8" fmla="*/ 23 w 675"/>
                <a:gd name="T9" fmla="*/ 496 h 533"/>
                <a:gd name="T10" fmla="*/ 1 w 675"/>
                <a:gd name="T11" fmla="*/ 71 h 533"/>
                <a:gd name="T12" fmla="*/ 37 w 675"/>
                <a:gd name="T13" fmla="*/ 31 h 533"/>
                <a:gd name="T14" fmla="*/ 612 w 675"/>
                <a:gd name="T15" fmla="*/ 1 h 533"/>
                <a:gd name="T16" fmla="*/ 652 w 675"/>
                <a:gd name="T17" fmla="*/ 3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533">
                  <a:moveTo>
                    <a:pt x="652" y="37"/>
                  </a:moveTo>
                  <a:cubicBezTo>
                    <a:pt x="674" y="462"/>
                    <a:pt x="674" y="462"/>
                    <a:pt x="674" y="462"/>
                  </a:cubicBezTo>
                  <a:cubicBezTo>
                    <a:pt x="675" y="483"/>
                    <a:pt x="659" y="500"/>
                    <a:pt x="638" y="502"/>
                  </a:cubicBezTo>
                  <a:cubicBezTo>
                    <a:pt x="63" y="531"/>
                    <a:pt x="63" y="531"/>
                    <a:pt x="63" y="531"/>
                  </a:cubicBezTo>
                  <a:cubicBezTo>
                    <a:pt x="42" y="533"/>
                    <a:pt x="24" y="516"/>
                    <a:pt x="23" y="496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50"/>
                    <a:pt x="16" y="32"/>
                    <a:pt x="37" y="31"/>
                  </a:cubicBezTo>
                  <a:cubicBezTo>
                    <a:pt x="612" y="1"/>
                    <a:pt x="612" y="1"/>
                    <a:pt x="612" y="1"/>
                  </a:cubicBezTo>
                  <a:cubicBezTo>
                    <a:pt x="633" y="0"/>
                    <a:pt x="651" y="16"/>
                    <a:pt x="652" y="37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74">
              <a:extLst>
                <a:ext uri="{FF2B5EF4-FFF2-40B4-BE49-F238E27FC236}">
                  <a16:creationId xmlns:a16="http://schemas.microsoft.com/office/drawing/2014/main" id="{C7C10F7B-2DBC-498B-BCD0-1D4763CB4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5200" y="2525713"/>
              <a:ext cx="527050" cy="406400"/>
            </a:xfrm>
            <a:custGeom>
              <a:avLst/>
              <a:gdLst>
                <a:gd name="T0" fmla="*/ 320 w 332"/>
                <a:gd name="T1" fmla="*/ 0 h 256"/>
                <a:gd name="T2" fmla="*/ 332 w 332"/>
                <a:gd name="T3" fmla="*/ 240 h 256"/>
                <a:gd name="T4" fmla="*/ 13 w 332"/>
                <a:gd name="T5" fmla="*/ 256 h 256"/>
                <a:gd name="T6" fmla="*/ 0 w 332"/>
                <a:gd name="T7" fmla="*/ 15 h 256"/>
                <a:gd name="T8" fmla="*/ 320 w 332"/>
                <a:gd name="T9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2" h="256">
                  <a:moveTo>
                    <a:pt x="320" y="0"/>
                  </a:moveTo>
                  <a:lnTo>
                    <a:pt x="332" y="240"/>
                  </a:lnTo>
                  <a:lnTo>
                    <a:pt x="13" y="256"/>
                  </a:lnTo>
                  <a:lnTo>
                    <a:pt x="0" y="15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675">
              <a:extLst>
                <a:ext uri="{FF2B5EF4-FFF2-40B4-BE49-F238E27FC236}">
                  <a16:creationId xmlns:a16="http://schemas.microsoft.com/office/drawing/2014/main" id="{0D688104-C53E-4BF3-AAC7-3FD9D34BF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9163" y="2058988"/>
              <a:ext cx="585788" cy="461963"/>
            </a:xfrm>
            <a:custGeom>
              <a:avLst/>
              <a:gdLst>
                <a:gd name="T0" fmla="*/ 652 w 675"/>
                <a:gd name="T1" fmla="*/ 37 h 533"/>
                <a:gd name="T2" fmla="*/ 674 w 675"/>
                <a:gd name="T3" fmla="*/ 462 h 533"/>
                <a:gd name="T4" fmla="*/ 638 w 675"/>
                <a:gd name="T5" fmla="*/ 502 h 533"/>
                <a:gd name="T6" fmla="*/ 63 w 675"/>
                <a:gd name="T7" fmla="*/ 532 h 533"/>
                <a:gd name="T8" fmla="*/ 23 w 675"/>
                <a:gd name="T9" fmla="*/ 496 h 533"/>
                <a:gd name="T10" fmla="*/ 1 w 675"/>
                <a:gd name="T11" fmla="*/ 71 h 533"/>
                <a:gd name="T12" fmla="*/ 37 w 675"/>
                <a:gd name="T13" fmla="*/ 31 h 533"/>
                <a:gd name="T14" fmla="*/ 612 w 675"/>
                <a:gd name="T15" fmla="*/ 1 h 533"/>
                <a:gd name="T16" fmla="*/ 652 w 675"/>
                <a:gd name="T17" fmla="*/ 3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533">
                  <a:moveTo>
                    <a:pt x="652" y="37"/>
                  </a:moveTo>
                  <a:cubicBezTo>
                    <a:pt x="674" y="462"/>
                    <a:pt x="674" y="462"/>
                    <a:pt x="674" y="462"/>
                  </a:cubicBezTo>
                  <a:cubicBezTo>
                    <a:pt x="675" y="483"/>
                    <a:pt x="659" y="501"/>
                    <a:pt x="638" y="502"/>
                  </a:cubicBezTo>
                  <a:cubicBezTo>
                    <a:pt x="63" y="532"/>
                    <a:pt x="63" y="532"/>
                    <a:pt x="63" y="532"/>
                  </a:cubicBezTo>
                  <a:cubicBezTo>
                    <a:pt x="42" y="533"/>
                    <a:pt x="24" y="517"/>
                    <a:pt x="23" y="496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50"/>
                    <a:pt x="16" y="32"/>
                    <a:pt x="37" y="31"/>
                  </a:cubicBezTo>
                  <a:cubicBezTo>
                    <a:pt x="612" y="1"/>
                    <a:pt x="612" y="1"/>
                    <a:pt x="612" y="1"/>
                  </a:cubicBezTo>
                  <a:cubicBezTo>
                    <a:pt x="633" y="0"/>
                    <a:pt x="651" y="16"/>
                    <a:pt x="652" y="37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676">
              <a:extLst>
                <a:ext uri="{FF2B5EF4-FFF2-40B4-BE49-F238E27FC236}">
                  <a16:creationId xmlns:a16="http://schemas.microsoft.com/office/drawing/2014/main" id="{BE48FF14-8BEE-44AF-BA9F-526F2ED4F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4563" y="2087563"/>
              <a:ext cx="527050" cy="406400"/>
            </a:xfrm>
            <a:custGeom>
              <a:avLst/>
              <a:gdLst>
                <a:gd name="T0" fmla="*/ 320 w 332"/>
                <a:gd name="T1" fmla="*/ 0 h 256"/>
                <a:gd name="T2" fmla="*/ 332 w 332"/>
                <a:gd name="T3" fmla="*/ 240 h 256"/>
                <a:gd name="T4" fmla="*/ 13 w 332"/>
                <a:gd name="T5" fmla="*/ 256 h 256"/>
                <a:gd name="T6" fmla="*/ 0 w 332"/>
                <a:gd name="T7" fmla="*/ 15 h 256"/>
                <a:gd name="T8" fmla="*/ 320 w 332"/>
                <a:gd name="T9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2" h="256">
                  <a:moveTo>
                    <a:pt x="320" y="0"/>
                  </a:moveTo>
                  <a:lnTo>
                    <a:pt x="332" y="240"/>
                  </a:lnTo>
                  <a:lnTo>
                    <a:pt x="13" y="256"/>
                  </a:lnTo>
                  <a:lnTo>
                    <a:pt x="0" y="15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677">
              <a:extLst>
                <a:ext uri="{FF2B5EF4-FFF2-40B4-BE49-F238E27FC236}">
                  <a16:creationId xmlns:a16="http://schemas.microsoft.com/office/drawing/2014/main" id="{02BA105E-F192-47DE-AF1A-ADDAEA148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7450" y="2865438"/>
              <a:ext cx="274638" cy="17463"/>
            </a:xfrm>
            <a:custGeom>
              <a:avLst/>
              <a:gdLst>
                <a:gd name="T0" fmla="*/ 315 w 315"/>
                <a:gd name="T1" fmla="*/ 2 h 20"/>
                <a:gd name="T2" fmla="*/ 313 w 315"/>
                <a:gd name="T3" fmla="*/ 4 h 20"/>
                <a:gd name="T4" fmla="*/ 2 w 315"/>
                <a:gd name="T5" fmla="*/ 20 h 20"/>
                <a:gd name="T6" fmla="*/ 0 w 315"/>
                <a:gd name="T7" fmla="*/ 18 h 20"/>
                <a:gd name="T8" fmla="*/ 1 w 315"/>
                <a:gd name="T9" fmla="*/ 17 h 20"/>
                <a:gd name="T10" fmla="*/ 313 w 315"/>
                <a:gd name="T11" fmla="*/ 0 h 20"/>
                <a:gd name="T12" fmla="*/ 315 w 315"/>
                <a:gd name="T13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5" h="20">
                  <a:moveTo>
                    <a:pt x="315" y="2"/>
                  </a:moveTo>
                  <a:cubicBezTo>
                    <a:pt x="315" y="3"/>
                    <a:pt x="314" y="4"/>
                    <a:pt x="313" y="4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17"/>
                    <a:pt x="1" y="17"/>
                    <a:pt x="1" y="17"/>
                  </a:cubicBezTo>
                  <a:cubicBezTo>
                    <a:pt x="313" y="0"/>
                    <a:pt x="313" y="0"/>
                    <a:pt x="313" y="0"/>
                  </a:cubicBezTo>
                  <a:cubicBezTo>
                    <a:pt x="314" y="0"/>
                    <a:pt x="315" y="1"/>
                    <a:pt x="315" y="2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678">
              <a:extLst>
                <a:ext uri="{FF2B5EF4-FFF2-40B4-BE49-F238E27FC236}">
                  <a16:creationId xmlns:a16="http://schemas.microsoft.com/office/drawing/2014/main" id="{26A379BE-9E95-4F43-B1F2-83BF325B6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1925" y="2609851"/>
              <a:ext cx="15875" cy="274638"/>
            </a:xfrm>
            <a:custGeom>
              <a:avLst/>
              <a:gdLst>
                <a:gd name="T0" fmla="*/ 3 w 19"/>
                <a:gd name="T1" fmla="*/ 1 h 317"/>
                <a:gd name="T2" fmla="*/ 19 w 19"/>
                <a:gd name="T3" fmla="*/ 315 h 317"/>
                <a:gd name="T4" fmla="*/ 18 w 19"/>
                <a:gd name="T5" fmla="*/ 316 h 317"/>
                <a:gd name="T6" fmla="*/ 16 w 19"/>
                <a:gd name="T7" fmla="*/ 315 h 317"/>
                <a:gd name="T8" fmla="*/ 0 w 19"/>
                <a:gd name="T9" fmla="*/ 2 h 317"/>
                <a:gd name="T10" fmla="*/ 1 w 19"/>
                <a:gd name="T11" fmla="*/ 0 h 317"/>
                <a:gd name="T12" fmla="*/ 3 w 19"/>
                <a:gd name="T13" fmla="*/ 1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17">
                  <a:moveTo>
                    <a:pt x="3" y="1"/>
                  </a:moveTo>
                  <a:cubicBezTo>
                    <a:pt x="19" y="315"/>
                    <a:pt x="19" y="315"/>
                    <a:pt x="19" y="315"/>
                  </a:cubicBezTo>
                  <a:cubicBezTo>
                    <a:pt x="19" y="316"/>
                    <a:pt x="18" y="316"/>
                    <a:pt x="18" y="316"/>
                  </a:cubicBezTo>
                  <a:cubicBezTo>
                    <a:pt x="17" y="317"/>
                    <a:pt x="16" y="316"/>
                    <a:pt x="16" y="31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679">
              <a:extLst>
                <a:ext uri="{FF2B5EF4-FFF2-40B4-BE49-F238E27FC236}">
                  <a16:creationId xmlns:a16="http://schemas.microsoft.com/office/drawing/2014/main" id="{B45F720B-232D-4E42-9282-F1773E913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4750" y="2624138"/>
              <a:ext cx="238125" cy="225425"/>
            </a:xfrm>
            <a:custGeom>
              <a:avLst/>
              <a:gdLst>
                <a:gd name="T0" fmla="*/ 274 w 274"/>
                <a:gd name="T1" fmla="*/ 259 h 260"/>
                <a:gd name="T2" fmla="*/ 274 w 274"/>
                <a:gd name="T3" fmla="*/ 259 h 260"/>
                <a:gd name="T4" fmla="*/ 272 w 274"/>
                <a:gd name="T5" fmla="*/ 260 h 260"/>
                <a:gd name="T6" fmla="*/ 176 w 274"/>
                <a:gd name="T7" fmla="*/ 206 h 260"/>
                <a:gd name="T8" fmla="*/ 175 w 274"/>
                <a:gd name="T9" fmla="*/ 205 h 260"/>
                <a:gd name="T10" fmla="*/ 175 w 274"/>
                <a:gd name="T11" fmla="*/ 204 h 260"/>
                <a:gd name="T12" fmla="*/ 196 w 274"/>
                <a:gd name="T13" fmla="*/ 171 h 260"/>
                <a:gd name="T14" fmla="*/ 106 w 274"/>
                <a:gd name="T15" fmla="*/ 143 h 260"/>
                <a:gd name="T16" fmla="*/ 105 w 274"/>
                <a:gd name="T17" fmla="*/ 142 h 260"/>
                <a:gd name="T18" fmla="*/ 105 w 274"/>
                <a:gd name="T19" fmla="*/ 142 h 260"/>
                <a:gd name="T20" fmla="*/ 106 w 274"/>
                <a:gd name="T21" fmla="*/ 140 h 260"/>
                <a:gd name="T22" fmla="*/ 231 w 274"/>
                <a:gd name="T23" fmla="*/ 90 h 260"/>
                <a:gd name="T24" fmla="*/ 146 w 274"/>
                <a:gd name="T25" fmla="*/ 74 h 260"/>
                <a:gd name="T26" fmla="*/ 145 w 274"/>
                <a:gd name="T27" fmla="*/ 73 h 260"/>
                <a:gd name="T28" fmla="*/ 146 w 274"/>
                <a:gd name="T29" fmla="*/ 72 h 260"/>
                <a:gd name="T30" fmla="*/ 172 w 274"/>
                <a:gd name="T31" fmla="*/ 53 h 260"/>
                <a:gd name="T32" fmla="*/ 82 w 274"/>
                <a:gd name="T33" fmla="*/ 41 h 260"/>
                <a:gd name="T34" fmla="*/ 81 w 274"/>
                <a:gd name="T35" fmla="*/ 40 h 260"/>
                <a:gd name="T36" fmla="*/ 82 w 274"/>
                <a:gd name="T37" fmla="*/ 39 h 260"/>
                <a:gd name="T38" fmla="*/ 96 w 274"/>
                <a:gd name="T39" fmla="*/ 26 h 260"/>
                <a:gd name="T40" fmla="*/ 2 w 274"/>
                <a:gd name="T41" fmla="*/ 3 h 260"/>
                <a:gd name="T42" fmla="*/ 1 w 274"/>
                <a:gd name="T43" fmla="*/ 1 h 260"/>
                <a:gd name="T44" fmla="*/ 2 w 274"/>
                <a:gd name="T45" fmla="*/ 0 h 260"/>
                <a:gd name="T46" fmla="*/ 100 w 274"/>
                <a:gd name="T47" fmla="*/ 24 h 260"/>
                <a:gd name="T48" fmla="*/ 101 w 274"/>
                <a:gd name="T49" fmla="*/ 25 h 260"/>
                <a:gd name="T50" fmla="*/ 100 w 274"/>
                <a:gd name="T51" fmla="*/ 26 h 260"/>
                <a:gd name="T52" fmla="*/ 86 w 274"/>
                <a:gd name="T53" fmla="*/ 39 h 260"/>
                <a:gd name="T54" fmla="*/ 176 w 274"/>
                <a:gd name="T55" fmla="*/ 50 h 260"/>
                <a:gd name="T56" fmla="*/ 178 w 274"/>
                <a:gd name="T57" fmla="*/ 51 h 260"/>
                <a:gd name="T58" fmla="*/ 177 w 274"/>
                <a:gd name="T59" fmla="*/ 53 h 260"/>
                <a:gd name="T60" fmla="*/ 151 w 274"/>
                <a:gd name="T61" fmla="*/ 72 h 260"/>
                <a:gd name="T62" fmla="*/ 237 w 274"/>
                <a:gd name="T63" fmla="*/ 87 h 260"/>
                <a:gd name="T64" fmla="*/ 239 w 274"/>
                <a:gd name="T65" fmla="*/ 89 h 260"/>
                <a:gd name="T66" fmla="*/ 238 w 274"/>
                <a:gd name="T67" fmla="*/ 90 h 260"/>
                <a:gd name="T68" fmla="*/ 111 w 274"/>
                <a:gd name="T69" fmla="*/ 141 h 260"/>
                <a:gd name="T70" fmla="*/ 199 w 274"/>
                <a:gd name="T71" fmla="*/ 169 h 260"/>
                <a:gd name="T72" fmla="*/ 200 w 274"/>
                <a:gd name="T73" fmla="*/ 170 h 260"/>
                <a:gd name="T74" fmla="*/ 200 w 274"/>
                <a:gd name="T75" fmla="*/ 171 h 260"/>
                <a:gd name="T76" fmla="*/ 179 w 274"/>
                <a:gd name="T77" fmla="*/ 204 h 260"/>
                <a:gd name="T78" fmla="*/ 273 w 274"/>
                <a:gd name="T79" fmla="*/ 257 h 260"/>
                <a:gd name="T80" fmla="*/ 274 w 274"/>
                <a:gd name="T81" fmla="*/ 259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4" h="260"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3" y="260"/>
                    <a:pt x="273" y="260"/>
                    <a:pt x="272" y="260"/>
                  </a:cubicBezTo>
                  <a:cubicBezTo>
                    <a:pt x="176" y="206"/>
                    <a:pt x="176" y="206"/>
                    <a:pt x="176" y="206"/>
                  </a:cubicBezTo>
                  <a:cubicBezTo>
                    <a:pt x="175" y="206"/>
                    <a:pt x="175" y="205"/>
                    <a:pt x="175" y="205"/>
                  </a:cubicBezTo>
                  <a:cubicBezTo>
                    <a:pt x="175" y="205"/>
                    <a:pt x="175" y="204"/>
                    <a:pt x="175" y="204"/>
                  </a:cubicBezTo>
                  <a:cubicBezTo>
                    <a:pt x="196" y="171"/>
                    <a:pt x="196" y="171"/>
                    <a:pt x="196" y="171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5" y="143"/>
                    <a:pt x="105" y="142"/>
                    <a:pt x="105" y="142"/>
                  </a:cubicBezTo>
                  <a:cubicBezTo>
                    <a:pt x="105" y="142"/>
                    <a:pt x="105" y="142"/>
                    <a:pt x="105" y="142"/>
                  </a:cubicBezTo>
                  <a:cubicBezTo>
                    <a:pt x="105" y="141"/>
                    <a:pt x="105" y="140"/>
                    <a:pt x="106" y="140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146" y="74"/>
                    <a:pt x="146" y="74"/>
                    <a:pt x="146" y="74"/>
                  </a:cubicBezTo>
                  <a:cubicBezTo>
                    <a:pt x="146" y="74"/>
                    <a:pt x="145" y="74"/>
                    <a:pt x="145" y="73"/>
                  </a:cubicBezTo>
                  <a:cubicBezTo>
                    <a:pt x="145" y="73"/>
                    <a:pt x="145" y="72"/>
                    <a:pt x="146" y="72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41"/>
                    <a:pt x="81" y="41"/>
                    <a:pt x="81" y="40"/>
                  </a:cubicBezTo>
                  <a:cubicBezTo>
                    <a:pt x="81" y="40"/>
                    <a:pt x="81" y="39"/>
                    <a:pt x="82" y="39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0" y="24"/>
                    <a:pt x="101" y="24"/>
                    <a:pt x="101" y="25"/>
                  </a:cubicBezTo>
                  <a:cubicBezTo>
                    <a:pt x="101" y="25"/>
                    <a:pt x="101" y="26"/>
                    <a:pt x="100" y="26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176" y="50"/>
                    <a:pt x="176" y="50"/>
                    <a:pt x="176" y="50"/>
                  </a:cubicBezTo>
                  <a:cubicBezTo>
                    <a:pt x="177" y="50"/>
                    <a:pt x="177" y="51"/>
                    <a:pt x="178" y="51"/>
                  </a:cubicBezTo>
                  <a:cubicBezTo>
                    <a:pt x="178" y="52"/>
                    <a:pt x="177" y="52"/>
                    <a:pt x="177" y="53"/>
                  </a:cubicBezTo>
                  <a:cubicBezTo>
                    <a:pt x="151" y="72"/>
                    <a:pt x="151" y="72"/>
                    <a:pt x="151" y="72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38" y="88"/>
                    <a:pt x="239" y="88"/>
                    <a:pt x="239" y="89"/>
                  </a:cubicBezTo>
                  <a:cubicBezTo>
                    <a:pt x="239" y="90"/>
                    <a:pt x="238" y="90"/>
                    <a:pt x="238" y="90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99" y="169"/>
                    <a:pt x="199" y="169"/>
                    <a:pt x="199" y="169"/>
                  </a:cubicBezTo>
                  <a:cubicBezTo>
                    <a:pt x="199" y="169"/>
                    <a:pt x="200" y="169"/>
                    <a:pt x="200" y="170"/>
                  </a:cubicBezTo>
                  <a:cubicBezTo>
                    <a:pt x="200" y="170"/>
                    <a:pt x="200" y="171"/>
                    <a:pt x="200" y="171"/>
                  </a:cubicBezTo>
                  <a:cubicBezTo>
                    <a:pt x="179" y="204"/>
                    <a:pt x="179" y="204"/>
                    <a:pt x="179" y="204"/>
                  </a:cubicBezTo>
                  <a:cubicBezTo>
                    <a:pt x="273" y="257"/>
                    <a:pt x="273" y="257"/>
                    <a:pt x="273" y="257"/>
                  </a:cubicBezTo>
                  <a:cubicBezTo>
                    <a:pt x="274" y="258"/>
                    <a:pt x="274" y="258"/>
                    <a:pt x="274" y="259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680">
              <a:extLst>
                <a:ext uri="{FF2B5EF4-FFF2-40B4-BE49-F238E27FC236}">
                  <a16:creationId xmlns:a16="http://schemas.microsoft.com/office/drawing/2014/main" id="{6DDFAC12-54FE-457B-ADBF-E160BEC74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4750" y="2622551"/>
              <a:ext cx="20638" cy="14288"/>
            </a:xfrm>
            <a:custGeom>
              <a:avLst/>
              <a:gdLst>
                <a:gd name="T0" fmla="*/ 25 w 25"/>
                <a:gd name="T1" fmla="*/ 1 h 17"/>
                <a:gd name="T2" fmla="*/ 24 w 25"/>
                <a:gd name="T3" fmla="*/ 3 h 17"/>
                <a:gd name="T4" fmla="*/ 7 w 25"/>
                <a:gd name="T5" fmla="*/ 5 h 17"/>
                <a:gd name="T6" fmla="*/ 21 w 25"/>
                <a:gd name="T7" fmla="*/ 14 h 17"/>
                <a:gd name="T8" fmla="*/ 22 w 25"/>
                <a:gd name="T9" fmla="*/ 16 h 17"/>
                <a:gd name="T10" fmla="*/ 19 w 25"/>
                <a:gd name="T11" fmla="*/ 16 h 17"/>
                <a:gd name="T12" fmla="*/ 1 w 25"/>
                <a:gd name="T13" fmla="*/ 5 h 17"/>
                <a:gd name="T14" fmla="*/ 1 w 25"/>
                <a:gd name="T15" fmla="*/ 3 h 17"/>
                <a:gd name="T16" fmla="*/ 2 w 25"/>
                <a:gd name="T17" fmla="*/ 2 h 17"/>
                <a:gd name="T18" fmla="*/ 24 w 25"/>
                <a:gd name="T19" fmla="*/ 0 h 17"/>
                <a:gd name="T20" fmla="*/ 25 w 25"/>
                <a:gd name="T2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2"/>
                    <a:pt x="25" y="3"/>
                    <a:pt x="24" y="3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2" y="14"/>
                    <a:pt x="22" y="15"/>
                    <a:pt x="22" y="16"/>
                  </a:cubicBezTo>
                  <a:cubicBezTo>
                    <a:pt x="21" y="17"/>
                    <a:pt x="20" y="17"/>
                    <a:pt x="19" y="1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0" y="4"/>
                    <a:pt x="1" y="3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5" y="0"/>
                    <a:pt x="25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681">
              <a:extLst>
                <a:ext uri="{FF2B5EF4-FFF2-40B4-BE49-F238E27FC236}">
                  <a16:creationId xmlns:a16="http://schemas.microsoft.com/office/drawing/2014/main" id="{0C2AE36B-24FD-4910-B93F-094BE0F47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5363" y="258762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682">
              <a:extLst>
                <a:ext uri="{FF2B5EF4-FFF2-40B4-BE49-F238E27FC236}">
                  <a16:creationId xmlns:a16="http://schemas.microsoft.com/office/drawing/2014/main" id="{7E6A49CC-7461-480E-A3F6-2559FBAEC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0763" y="2587626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683">
              <a:extLst>
                <a:ext uri="{FF2B5EF4-FFF2-40B4-BE49-F238E27FC236}">
                  <a16:creationId xmlns:a16="http://schemas.microsoft.com/office/drawing/2014/main" id="{D5101D08-9F7D-4FB6-A857-7A8601D9F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6163" y="2586038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684">
              <a:extLst>
                <a:ext uri="{FF2B5EF4-FFF2-40B4-BE49-F238E27FC236}">
                  <a16:creationId xmlns:a16="http://schemas.microsoft.com/office/drawing/2014/main" id="{E447A855-61A7-4E98-88D1-F005CE314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1563" y="2584451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685">
              <a:extLst>
                <a:ext uri="{FF2B5EF4-FFF2-40B4-BE49-F238E27FC236}">
                  <a16:creationId xmlns:a16="http://schemas.microsoft.com/office/drawing/2014/main" id="{CDC8842D-CE02-4E54-BF49-A1D54F50D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6963" y="2586038"/>
              <a:ext cx="19050" cy="301625"/>
            </a:xfrm>
            <a:custGeom>
              <a:avLst/>
              <a:gdLst>
                <a:gd name="T0" fmla="*/ 3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3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3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686">
              <a:extLst>
                <a:ext uri="{FF2B5EF4-FFF2-40B4-BE49-F238E27FC236}">
                  <a16:creationId xmlns:a16="http://schemas.microsoft.com/office/drawing/2014/main" id="{EF58B84E-0EFE-4B3F-BC0C-B051C8D28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2363" y="2584451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687">
              <a:extLst>
                <a:ext uri="{FF2B5EF4-FFF2-40B4-BE49-F238E27FC236}">
                  <a16:creationId xmlns:a16="http://schemas.microsoft.com/office/drawing/2014/main" id="{601E2CC2-6FEF-40F9-85FF-81863B1DC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63138" y="214947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0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0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688">
              <a:extLst>
                <a:ext uri="{FF2B5EF4-FFF2-40B4-BE49-F238E27FC236}">
                  <a16:creationId xmlns:a16="http://schemas.microsoft.com/office/drawing/2014/main" id="{EF483B1F-A61A-42D0-88D4-A4513E02B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8538" y="2147888"/>
              <a:ext cx="20638" cy="303213"/>
            </a:xfrm>
            <a:custGeom>
              <a:avLst/>
              <a:gdLst>
                <a:gd name="T0" fmla="*/ 2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2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2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689">
              <a:extLst>
                <a:ext uri="{FF2B5EF4-FFF2-40B4-BE49-F238E27FC236}">
                  <a16:creationId xmlns:a16="http://schemas.microsoft.com/office/drawing/2014/main" id="{74098FF4-6074-4F6B-A491-73049DEC5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3938" y="2146301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690">
              <a:extLst>
                <a:ext uri="{FF2B5EF4-FFF2-40B4-BE49-F238E27FC236}">
                  <a16:creationId xmlns:a16="http://schemas.microsoft.com/office/drawing/2014/main" id="{C2822E90-E0F3-4C3B-BBBC-9A6C518D39D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9338" y="2146301"/>
              <a:ext cx="20638" cy="301625"/>
            </a:xfrm>
            <a:custGeom>
              <a:avLst/>
              <a:gdLst>
                <a:gd name="T0" fmla="*/ 3 w 13"/>
                <a:gd name="T1" fmla="*/ 0 h 190"/>
                <a:gd name="T2" fmla="*/ 13 w 13"/>
                <a:gd name="T3" fmla="*/ 190 h 190"/>
                <a:gd name="T4" fmla="*/ 10 w 13"/>
                <a:gd name="T5" fmla="*/ 190 h 190"/>
                <a:gd name="T6" fmla="*/ 0 w 13"/>
                <a:gd name="T7" fmla="*/ 0 h 190"/>
                <a:gd name="T8" fmla="*/ 3 w 13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0">
                  <a:moveTo>
                    <a:pt x="3" y="0"/>
                  </a:moveTo>
                  <a:lnTo>
                    <a:pt x="13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691">
              <a:extLst>
                <a:ext uri="{FF2B5EF4-FFF2-40B4-BE49-F238E27FC236}">
                  <a16:creationId xmlns:a16="http://schemas.microsoft.com/office/drawing/2014/main" id="{D7B7F628-44EC-4D45-AC5B-E48A7FED1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4738" y="2146301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692">
              <a:extLst>
                <a:ext uri="{FF2B5EF4-FFF2-40B4-BE49-F238E27FC236}">
                  <a16:creationId xmlns:a16="http://schemas.microsoft.com/office/drawing/2014/main" id="{A37D8B84-975A-43CC-9FCB-8362274E2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1725" y="2146301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9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9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693">
              <a:extLst>
                <a:ext uri="{FF2B5EF4-FFF2-40B4-BE49-F238E27FC236}">
                  <a16:creationId xmlns:a16="http://schemas.microsoft.com/office/drawing/2014/main" id="{9BDCB92C-3142-4E46-BA6F-20BA670BF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214312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694">
              <a:extLst>
                <a:ext uri="{FF2B5EF4-FFF2-40B4-BE49-F238E27FC236}">
                  <a16:creationId xmlns:a16="http://schemas.microsoft.com/office/drawing/2014/main" id="{CA55041B-68A4-4738-97EF-6B0E1F25A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2525" y="2141538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695">
              <a:extLst>
                <a:ext uri="{FF2B5EF4-FFF2-40B4-BE49-F238E27FC236}">
                  <a16:creationId xmlns:a16="http://schemas.microsoft.com/office/drawing/2014/main" id="{484832CE-638E-481B-8951-8F4ED8BF1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7925" y="2139951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696">
              <a:extLst>
                <a:ext uri="{FF2B5EF4-FFF2-40B4-BE49-F238E27FC236}">
                  <a16:creationId xmlns:a16="http://schemas.microsoft.com/office/drawing/2014/main" id="{A35E5C8F-F539-4DBC-891C-0D5A6F53A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3325" y="2138363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1 w 13"/>
                <a:gd name="T5" fmla="*/ 191 h 191"/>
                <a:gd name="T6" fmla="*/ 0 w 13"/>
                <a:gd name="T7" fmla="*/ 0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1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697">
              <a:extLst>
                <a:ext uri="{FF2B5EF4-FFF2-40B4-BE49-F238E27FC236}">
                  <a16:creationId xmlns:a16="http://schemas.microsoft.com/office/drawing/2014/main" id="{993256EB-5248-4B29-94B5-08171ED96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8725" y="2139951"/>
              <a:ext cx="20638" cy="303213"/>
            </a:xfrm>
            <a:custGeom>
              <a:avLst/>
              <a:gdLst>
                <a:gd name="T0" fmla="*/ 2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2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2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698">
              <a:extLst>
                <a:ext uri="{FF2B5EF4-FFF2-40B4-BE49-F238E27FC236}">
                  <a16:creationId xmlns:a16="http://schemas.microsoft.com/office/drawing/2014/main" id="{51D4617A-4C05-4EAE-A1FC-C855DF876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5713" y="2138363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9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9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699">
              <a:extLst>
                <a:ext uri="{FF2B5EF4-FFF2-40B4-BE49-F238E27FC236}">
                  <a16:creationId xmlns:a16="http://schemas.microsoft.com/office/drawing/2014/main" id="{568BECF8-F95B-428D-A64F-7EB6237BC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9525" y="2133601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1 w 13"/>
                <a:gd name="T5" fmla="*/ 191 h 191"/>
                <a:gd name="T6" fmla="*/ 0 w 13"/>
                <a:gd name="T7" fmla="*/ 1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1" y="191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700">
              <a:extLst>
                <a:ext uri="{FF2B5EF4-FFF2-40B4-BE49-F238E27FC236}">
                  <a16:creationId xmlns:a16="http://schemas.microsoft.com/office/drawing/2014/main" id="{403FA11D-7F9A-494D-9222-DAB7600EC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6513" y="2133601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701">
              <a:extLst>
                <a:ext uri="{FF2B5EF4-FFF2-40B4-BE49-F238E27FC236}">
                  <a16:creationId xmlns:a16="http://schemas.microsoft.com/office/drawing/2014/main" id="{EACF65AD-0871-495B-AC1A-910A46202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1913" y="2130426"/>
              <a:ext cx="19050" cy="304800"/>
            </a:xfrm>
            <a:custGeom>
              <a:avLst/>
              <a:gdLst>
                <a:gd name="T0" fmla="*/ 2 w 12"/>
                <a:gd name="T1" fmla="*/ 0 h 192"/>
                <a:gd name="T2" fmla="*/ 12 w 12"/>
                <a:gd name="T3" fmla="*/ 191 h 192"/>
                <a:gd name="T4" fmla="*/ 10 w 12"/>
                <a:gd name="T5" fmla="*/ 192 h 192"/>
                <a:gd name="T6" fmla="*/ 0 w 12"/>
                <a:gd name="T7" fmla="*/ 1 h 192"/>
                <a:gd name="T8" fmla="*/ 2 w 12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2">
                  <a:moveTo>
                    <a:pt x="2" y="0"/>
                  </a:moveTo>
                  <a:lnTo>
                    <a:pt x="12" y="191"/>
                  </a:lnTo>
                  <a:lnTo>
                    <a:pt x="10" y="192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702">
              <a:extLst>
                <a:ext uri="{FF2B5EF4-FFF2-40B4-BE49-F238E27FC236}">
                  <a16:creationId xmlns:a16="http://schemas.microsoft.com/office/drawing/2014/main" id="{99D4AF95-35F1-45B0-A542-23E387C4E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7313" y="2130426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703">
              <a:extLst>
                <a:ext uri="{FF2B5EF4-FFF2-40B4-BE49-F238E27FC236}">
                  <a16:creationId xmlns:a16="http://schemas.microsoft.com/office/drawing/2014/main" id="{8C141A24-830D-402E-9EB3-2DB022DC6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2713" y="2130426"/>
              <a:ext cx="19050" cy="304800"/>
            </a:xfrm>
            <a:custGeom>
              <a:avLst/>
              <a:gdLst>
                <a:gd name="T0" fmla="*/ 2 w 12"/>
                <a:gd name="T1" fmla="*/ 0 h 192"/>
                <a:gd name="T2" fmla="*/ 12 w 12"/>
                <a:gd name="T3" fmla="*/ 191 h 192"/>
                <a:gd name="T4" fmla="*/ 10 w 12"/>
                <a:gd name="T5" fmla="*/ 192 h 192"/>
                <a:gd name="T6" fmla="*/ 0 w 12"/>
                <a:gd name="T7" fmla="*/ 1 h 192"/>
                <a:gd name="T8" fmla="*/ 2 w 12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2">
                  <a:moveTo>
                    <a:pt x="2" y="0"/>
                  </a:moveTo>
                  <a:lnTo>
                    <a:pt x="12" y="191"/>
                  </a:lnTo>
                  <a:lnTo>
                    <a:pt x="10" y="192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704">
              <a:extLst>
                <a:ext uri="{FF2B5EF4-FFF2-40B4-BE49-F238E27FC236}">
                  <a16:creationId xmlns:a16="http://schemas.microsoft.com/office/drawing/2014/main" id="{216D591F-C126-4B03-A444-BABE71D56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8113" y="2130426"/>
              <a:ext cx="19050" cy="301625"/>
            </a:xfrm>
            <a:custGeom>
              <a:avLst/>
              <a:gdLst>
                <a:gd name="T0" fmla="*/ 3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3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3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705">
              <a:extLst>
                <a:ext uri="{FF2B5EF4-FFF2-40B4-BE49-F238E27FC236}">
                  <a16:creationId xmlns:a16="http://schemas.microsoft.com/office/drawing/2014/main" id="{379D3C38-4A25-4F8E-B3A1-FF966A8B6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4888" y="2500313"/>
              <a:ext cx="100013" cy="33338"/>
            </a:xfrm>
            <a:custGeom>
              <a:avLst/>
              <a:gdLst>
                <a:gd name="T0" fmla="*/ 2 w 63"/>
                <a:gd name="T1" fmla="*/ 21 h 21"/>
                <a:gd name="T2" fmla="*/ 63 w 63"/>
                <a:gd name="T3" fmla="*/ 18 h 21"/>
                <a:gd name="T4" fmla="*/ 61 w 63"/>
                <a:gd name="T5" fmla="*/ 0 h 21"/>
                <a:gd name="T6" fmla="*/ 0 w 63"/>
                <a:gd name="T7" fmla="*/ 4 h 21"/>
                <a:gd name="T8" fmla="*/ 2 w 63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1">
                  <a:moveTo>
                    <a:pt x="2" y="21"/>
                  </a:moveTo>
                  <a:lnTo>
                    <a:pt x="63" y="18"/>
                  </a:lnTo>
                  <a:lnTo>
                    <a:pt x="61" y="0"/>
                  </a:lnTo>
                  <a:lnTo>
                    <a:pt x="0" y="4"/>
                  </a:lnTo>
                  <a:lnTo>
                    <a:pt x="2" y="21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706">
              <a:extLst>
                <a:ext uri="{FF2B5EF4-FFF2-40B4-BE49-F238E27FC236}">
                  <a16:creationId xmlns:a16="http://schemas.microsoft.com/office/drawing/2014/main" id="{CFF51BBB-0EC8-4A4E-8C88-2D494DB05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9525" y="2486026"/>
              <a:ext cx="100013" cy="34925"/>
            </a:xfrm>
            <a:custGeom>
              <a:avLst/>
              <a:gdLst>
                <a:gd name="T0" fmla="*/ 2 w 63"/>
                <a:gd name="T1" fmla="*/ 22 h 22"/>
                <a:gd name="T2" fmla="*/ 63 w 63"/>
                <a:gd name="T3" fmla="*/ 18 h 22"/>
                <a:gd name="T4" fmla="*/ 61 w 63"/>
                <a:gd name="T5" fmla="*/ 0 h 22"/>
                <a:gd name="T6" fmla="*/ 0 w 63"/>
                <a:gd name="T7" fmla="*/ 5 h 22"/>
                <a:gd name="T8" fmla="*/ 2 w 63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2">
                  <a:moveTo>
                    <a:pt x="2" y="22"/>
                  </a:moveTo>
                  <a:lnTo>
                    <a:pt x="63" y="18"/>
                  </a:lnTo>
                  <a:lnTo>
                    <a:pt x="61" y="0"/>
                  </a:lnTo>
                  <a:lnTo>
                    <a:pt x="0" y="5"/>
                  </a:lnTo>
                  <a:lnTo>
                    <a:pt x="2" y="22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707">
              <a:extLst>
                <a:ext uri="{FF2B5EF4-FFF2-40B4-BE49-F238E27FC236}">
                  <a16:creationId xmlns:a16="http://schemas.microsoft.com/office/drawing/2014/main" id="{11B02687-9241-41BA-B470-A647DAE9A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1513" y="1671638"/>
              <a:ext cx="1116013" cy="466725"/>
            </a:xfrm>
            <a:custGeom>
              <a:avLst/>
              <a:gdLst>
                <a:gd name="T0" fmla="*/ 33 w 1285"/>
                <a:gd name="T1" fmla="*/ 193 h 539"/>
                <a:gd name="T2" fmla="*/ 829 w 1285"/>
                <a:gd name="T3" fmla="*/ 84 h 539"/>
                <a:gd name="T4" fmla="*/ 1285 w 1285"/>
                <a:gd name="T5" fmla="*/ 477 h 539"/>
                <a:gd name="T6" fmla="*/ 1199 w 1285"/>
                <a:gd name="T7" fmla="*/ 539 h 539"/>
                <a:gd name="T8" fmla="*/ 755 w 1285"/>
                <a:gd name="T9" fmla="*/ 281 h 539"/>
                <a:gd name="T10" fmla="*/ 276 w 1285"/>
                <a:gd name="T11" fmla="*/ 346 h 539"/>
                <a:gd name="T12" fmla="*/ 33 w 1285"/>
                <a:gd name="T13" fmla="*/ 193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5" h="539">
                  <a:moveTo>
                    <a:pt x="33" y="193"/>
                  </a:moveTo>
                  <a:cubicBezTo>
                    <a:pt x="115" y="0"/>
                    <a:pt x="449" y="47"/>
                    <a:pt x="829" y="84"/>
                  </a:cubicBezTo>
                  <a:cubicBezTo>
                    <a:pt x="1285" y="477"/>
                    <a:pt x="1285" y="477"/>
                    <a:pt x="1285" y="477"/>
                  </a:cubicBezTo>
                  <a:cubicBezTo>
                    <a:pt x="1199" y="539"/>
                    <a:pt x="1199" y="539"/>
                    <a:pt x="1199" y="539"/>
                  </a:cubicBezTo>
                  <a:cubicBezTo>
                    <a:pt x="755" y="281"/>
                    <a:pt x="755" y="281"/>
                    <a:pt x="755" y="281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0" y="273"/>
                    <a:pt x="33" y="193"/>
                  </a:cubicBezTo>
                  <a:close/>
                </a:path>
              </a:pathLst>
            </a:custGeom>
            <a:solidFill>
              <a:srgbClr val="F44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708">
              <a:extLst>
                <a:ext uri="{FF2B5EF4-FFF2-40B4-BE49-F238E27FC236}">
                  <a16:creationId xmlns:a16="http://schemas.microsoft.com/office/drawing/2014/main" id="{10D20644-F97D-4D39-95B9-8F23E327E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850" y="2579688"/>
              <a:ext cx="82550" cy="106363"/>
            </a:xfrm>
            <a:custGeom>
              <a:avLst/>
              <a:gdLst>
                <a:gd name="T0" fmla="*/ 79 w 96"/>
                <a:gd name="T1" fmla="*/ 95 h 123"/>
                <a:gd name="T2" fmla="*/ 96 w 96"/>
                <a:gd name="T3" fmla="*/ 8 h 123"/>
                <a:gd name="T4" fmla="*/ 79 w 96"/>
                <a:gd name="T5" fmla="*/ 8 h 123"/>
                <a:gd name="T6" fmla="*/ 0 w 96"/>
                <a:gd name="T7" fmla="*/ 123 h 123"/>
                <a:gd name="T8" fmla="*/ 79 w 96"/>
                <a:gd name="T9" fmla="*/ 9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123">
                  <a:moveTo>
                    <a:pt x="79" y="95"/>
                  </a:moveTo>
                  <a:cubicBezTo>
                    <a:pt x="96" y="8"/>
                    <a:pt x="96" y="8"/>
                    <a:pt x="96" y="8"/>
                  </a:cubicBezTo>
                  <a:cubicBezTo>
                    <a:pt x="93" y="0"/>
                    <a:pt x="82" y="0"/>
                    <a:pt x="79" y="8"/>
                  </a:cubicBezTo>
                  <a:cubicBezTo>
                    <a:pt x="0" y="123"/>
                    <a:pt x="0" y="123"/>
                    <a:pt x="0" y="123"/>
                  </a:cubicBezTo>
                  <a:lnTo>
                    <a:pt x="79" y="9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709">
              <a:extLst>
                <a:ext uri="{FF2B5EF4-FFF2-40B4-BE49-F238E27FC236}">
                  <a16:creationId xmlns:a16="http://schemas.microsoft.com/office/drawing/2014/main" id="{C0182FD4-95CC-49E6-8BFF-D9C363556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7650" y="2547938"/>
              <a:ext cx="309563" cy="227013"/>
            </a:xfrm>
            <a:custGeom>
              <a:avLst/>
              <a:gdLst>
                <a:gd name="T0" fmla="*/ 51 w 356"/>
                <a:gd name="T1" fmla="*/ 263 h 263"/>
                <a:gd name="T2" fmla="*/ 249 w 356"/>
                <a:gd name="T3" fmla="*/ 210 h 263"/>
                <a:gd name="T4" fmla="*/ 337 w 356"/>
                <a:gd name="T5" fmla="*/ 120 h 263"/>
                <a:gd name="T6" fmla="*/ 336 w 356"/>
                <a:gd name="T7" fmla="*/ 13 h 263"/>
                <a:gd name="T8" fmla="*/ 167 w 356"/>
                <a:gd name="T9" fmla="*/ 118 h 263"/>
                <a:gd name="T10" fmla="*/ 95 w 356"/>
                <a:gd name="T11" fmla="*/ 144 h 263"/>
                <a:gd name="T12" fmla="*/ 61 w 356"/>
                <a:gd name="T13" fmla="*/ 180 h 263"/>
                <a:gd name="T14" fmla="*/ 0 w 356"/>
                <a:gd name="T15" fmla="*/ 214 h 263"/>
                <a:gd name="T16" fmla="*/ 51 w 356"/>
                <a:gd name="T17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6" h="263">
                  <a:moveTo>
                    <a:pt x="51" y="263"/>
                  </a:moveTo>
                  <a:cubicBezTo>
                    <a:pt x="51" y="263"/>
                    <a:pt x="205" y="236"/>
                    <a:pt x="249" y="210"/>
                  </a:cubicBezTo>
                  <a:cubicBezTo>
                    <a:pt x="281" y="190"/>
                    <a:pt x="337" y="120"/>
                    <a:pt x="337" y="120"/>
                  </a:cubicBezTo>
                  <a:cubicBezTo>
                    <a:pt x="339" y="113"/>
                    <a:pt x="356" y="19"/>
                    <a:pt x="336" y="13"/>
                  </a:cubicBezTo>
                  <a:cubicBezTo>
                    <a:pt x="285" y="0"/>
                    <a:pt x="167" y="118"/>
                    <a:pt x="167" y="118"/>
                  </a:cubicBezTo>
                  <a:cubicBezTo>
                    <a:pt x="167" y="118"/>
                    <a:pt x="114" y="120"/>
                    <a:pt x="95" y="14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0" y="214"/>
                    <a:pt x="0" y="214"/>
                    <a:pt x="0" y="214"/>
                  </a:cubicBezTo>
                  <a:lnTo>
                    <a:pt x="51" y="263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710">
              <a:extLst>
                <a:ext uri="{FF2B5EF4-FFF2-40B4-BE49-F238E27FC236}">
                  <a16:creationId xmlns:a16="http://schemas.microsoft.com/office/drawing/2014/main" id="{1278017C-0206-432F-9CB8-BF99A3294D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39363" y="2698751"/>
              <a:ext cx="112713" cy="76200"/>
            </a:xfrm>
            <a:custGeom>
              <a:avLst/>
              <a:gdLst>
                <a:gd name="T0" fmla="*/ 47 w 131"/>
                <a:gd name="T1" fmla="*/ 88 h 88"/>
                <a:gd name="T2" fmla="*/ 1 w 131"/>
                <a:gd name="T3" fmla="*/ 13 h 88"/>
                <a:gd name="T4" fmla="*/ 16 w 131"/>
                <a:gd name="T5" fmla="*/ 6 h 88"/>
                <a:gd name="T6" fmla="*/ 131 w 131"/>
                <a:gd name="T7" fmla="*/ 87 h 88"/>
                <a:gd name="T8" fmla="*/ 47 w 131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88">
                  <a:moveTo>
                    <a:pt x="47" y="88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0" y="4"/>
                    <a:pt x="11" y="0"/>
                    <a:pt x="16" y="6"/>
                  </a:cubicBezTo>
                  <a:cubicBezTo>
                    <a:pt x="131" y="87"/>
                    <a:pt x="131" y="87"/>
                    <a:pt x="131" y="87"/>
                  </a:cubicBezTo>
                  <a:lnTo>
                    <a:pt x="47" y="88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711">
              <a:extLst>
                <a:ext uri="{FF2B5EF4-FFF2-40B4-BE49-F238E27FC236}">
                  <a16:creationId xmlns:a16="http://schemas.microsoft.com/office/drawing/2014/main" id="{FEEBFD86-38EF-46B2-B9AE-DE1468CE5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0138" y="2703513"/>
              <a:ext cx="349250" cy="168275"/>
            </a:xfrm>
            <a:custGeom>
              <a:avLst/>
              <a:gdLst>
                <a:gd name="T0" fmla="*/ 370 w 402"/>
                <a:gd name="T1" fmla="*/ 165 h 194"/>
                <a:gd name="T2" fmla="*/ 167 w 402"/>
                <a:gd name="T3" fmla="*/ 184 h 194"/>
                <a:gd name="T4" fmla="*/ 53 w 402"/>
                <a:gd name="T5" fmla="*/ 130 h 194"/>
                <a:gd name="T6" fmla="*/ 17 w 402"/>
                <a:gd name="T7" fmla="*/ 30 h 194"/>
                <a:gd name="T8" fmla="*/ 211 w 402"/>
                <a:gd name="T9" fmla="*/ 70 h 194"/>
                <a:gd name="T10" fmla="*/ 288 w 402"/>
                <a:gd name="T11" fmla="*/ 69 h 194"/>
                <a:gd name="T12" fmla="*/ 332 w 402"/>
                <a:gd name="T13" fmla="*/ 91 h 194"/>
                <a:gd name="T14" fmla="*/ 402 w 402"/>
                <a:gd name="T15" fmla="*/ 102 h 194"/>
                <a:gd name="T16" fmla="*/ 370 w 402"/>
                <a:gd name="T17" fmla="*/ 16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2" h="194">
                  <a:moveTo>
                    <a:pt x="370" y="165"/>
                  </a:moveTo>
                  <a:cubicBezTo>
                    <a:pt x="370" y="165"/>
                    <a:pt x="217" y="194"/>
                    <a:pt x="167" y="184"/>
                  </a:cubicBezTo>
                  <a:cubicBezTo>
                    <a:pt x="130" y="177"/>
                    <a:pt x="53" y="130"/>
                    <a:pt x="53" y="130"/>
                  </a:cubicBezTo>
                  <a:cubicBezTo>
                    <a:pt x="48" y="125"/>
                    <a:pt x="0" y="42"/>
                    <a:pt x="17" y="30"/>
                  </a:cubicBezTo>
                  <a:cubicBezTo>
                    <a:pt x="60" y="0"/>
                    <a:pt x="211" y="70"/>
                    <a:pt x="211" y="70"/>
                  </a:cubicBezTo>
                  <a:cubicBezTo>
                    <a:pt x="211" y="70"/>
                    <a:pt x="262" y="53"/>
                    <a:pt x="288" y="69"/>
                  </a:cubicBezTo>
                  <a:cubicBezTo>
                    <a:pt x="332" y="91"/>
                    <a:pt x="332" y="91"/>
                    <a:pt x="332" y="91"/>
                  </a:cubicBezTo>
                  <a:cubicBezTo>
                    <a:pt x="402" y="102"/>
                    <a:pt x="402" y="102"/>
                    <a:pt x="402" y="102"/>
                  </a:cubicBezTo>
                  <a:lnTo>
                    <a:pt x="370" y="16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712">
              <a:extLst>
                <a:ext uri="{FF2B5EF4-FFF2-40B4-BE49-F238E27FC236}">
                  <a16:creationId xmlns:a16="http://schemas.microsoft.com/office/drawing/2014/main" id="{D6EC8DFB-B72C-4DA7-8D18-70CA8CB1C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9825" y="2270126"/>
              <a:ext cx="71438" cy="114300"/>
            </a:xfrm>
            <a:custGeom>
              <a:avLst/>
              <a:gdLst>
                <a:gd name="T0" fmla="*/ 7 w 82"/>
                <a:gd name="T1" fmla="*/ 36 h 132"/>
                <a:gd name="T2" fmla="*/ 0 w 82"/>
                <a:gd name="T3" fmla="*/ 125 h 132"/>
                <a:gd name="T4" fmla="*/ 16 w 82"/>
                <a:gd name="T5" fmla="*/ 123 h 132"/>
                <a:gd name="T6" fmla="*/ 82 w 82"/>
                <a:gd name="T7" fmla="*/ 0 h 132"/>
                <a:gd name="T8" fmla="*/ 7 w 82"/>
                <a:gd name="T9" fmla="*/ 3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132">
                  <a:moveTo>
                    <a:pt x="7" y="36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3" y="132"/>
                    <a:pt x="14" y="131"/>
                    <a:pt x="16" y="123"/>
                  </a:cubicBezTo>
                  <a:cubicBezTo>
                    <a:pt x="82" y="0"/>
                    <a:pt x="82" y="0"/>
                    <a:pt x="82" y="0"/>
                  </a:cubicBezTo>
                  <a:lnTo>
                    <a:pt x="7" y="36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713">
              <a:extLst>
                <a:ext uri="{FF2B5EF4-FFF2-40B4-BE49-F238E27FC236}">
                  <a16:creationId xmlns:a16="http://schemas.microsoft.com/office/drawing/2014/main" id="{13CC1D70-4EA3-4360-A2DB-F0A9C2C32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2188" y="2178051"/>
              <a:ext cx="287338" cy="249238"/>
            </a:xfrm>
            <a:custGeom>
              <a:avLst/>
              <a:gdLst>
                <a:gd name="T0" fmla="*/ 274 w 331"/>
                <a:gd name="T1" fmla="*/ 0 h 288"/>
                <a:gd name="T2" fmla="*/ 85 w 331"/>
                <a:gd name="T3" fmla="*/ 75 h 288"/>
                <a:gd name="T4" fmla="*/ 8 w 331"/>
                <a:gd name="T5" fmla="*/ 175 h 288"/>
                <a:gd name="T6" fmla="*/ 20 w 331"/>
                <a:gd name="T7" fmla="*/ 280 h 288"/>
                <a:gd name="T8" fmla="*/ 176 w 331"/>
                <a:gd name="T9" fmla="*/ 158 h 288"/>
                <a:gd name="T10" fmla="*/ 245 w 331"/>
                <a:gd name="T11" fmla="*/ 123 h 288"/>
                <a:gd name="T12" fmla="*/ 274 w 331"/>
                <a:gd name="T13" fmla="*/ 84 h 288"/>
                <a:gd name="T14" fmla="*/ 331 w 331"/>
                <a:gd name="T15" fmla="*/ 43 h 288"/>
                <a:gd name="T16" fmla="*/ 274 w 331"/>
                <a:gd name="T17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1" h="288">
                  <a:moveTo>
                    <a:pt x="274" y="0"/>
                  </a:moveTo>
                  <a:cubicBezTo>
                    <a:pt x="274" y="0"/>
                    <a:pt x="125" y="44"/>
                    <a:pt x="85" y="75"/>
                  </a:cubicBezTo>
                  <a:cubicBezTo>
                    <a:pt x="55" y="98"/>
                    <a:pt x="8" y="175"/>
                    <a:pt x="8" y="175"/>
                  </a:cubicBezTo>
                  <a:cubicBezTo>
                    <a:pt x="6" y="182"/>
                    <a:pt x="0" y="278"/>
                    <a:pt x="20" y="280"/>
                  </a:cubicBezTo>
                  <a:cubicBezTo>
                    <a:pt x="72" y="288"/>
                    <a:pt x="176" y="158"/>
                    <a:pt x="176" y="158"/>
                  </a:cubicBezTo>
                  <a:cubicBezTo>
                    <a:pt x="176" y="158"/>
                    <a:pt x="229" y="150"/>
                    <a:pt x="245" y="123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331" y="43"/>
                    <a:pt x="331" y="43"/>
                    <a:pt x="331" y="43"/>
                  </a:cubicBezTo>
                  <a:lnTo>
                    <a:pt x="274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714">
              <a:extLst>
                <a:ext uri="{FF2B5EF4-FFF2-40B4-BE49-F238E27FC236}">
                  <a16:creationId xmlns:a16="http://schemas.microsoft.com/office/drawing/2014/main" id="{B1721465-46A7-4328-95E4-0FD76628A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2438" y="2401888"/>
              <a:ext cx="1144588" cy="574675"/>
            </a:xfrm>
            <a:custGeom>
              <a:avLst/>
              <a:gdLst>
                <a:gd name="T0" fmla="*/ 47 w 1317"/>
                <a:gd name="T1" fmla="*/ 84 h 662"/>
                <a:gd name="T2" fmla="*/ 626 w 1317"/>
                <a:gd name="T3" fmla="*/ 640 h 662"/>
                <a:gd name="T4" fmla="*/ 1317 w 1317"/>
                <a:gd name="T5" fmla="*/ 431 h 662"/>
                <a:gd name="T6" fmla="*/ 1266 w 1317"/>
                <a:gd name="T7" fmla="*/ 351 h 662"/>
                <a:gd name="T8" fmla="*/ 682 w 1317"/>
                <a:gd name="T9" fmla="*/ 437 h 662"/>
                <a:gd name="T10" fmla="*/ 332 w 1317"/>
                <a:gd name="T11" fmla="*/ 103 h 662"/>
                <a:gd name="T12" fmla="*/ 47 w 1317"/>
                <a:gd name="T13" fmla="*/ 84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7" h="662">
                  <a:moveTo>
                    <a:pt x="47" y="84"/>
                  </a:moveTo>
                  <a:cubicBezTo>
                    <a:pt x="0" y="288"/>
                    <a:pt x="332" y="496"/>
                    <a:pt x="626" y="640"/>
                  </a:cubicBezTo>
                  <a:cubicBezTo>
                    <a:pt x="810" y="662"/>
                    <a:pt x="1317" y="431"/>
                    <a:pt x="1317" y="431"/>
                  </a:cubicBezTo>
                  <a:cubicBezTo>
                    <a:pt x="1266" y="351"/>
                    <a:pt x="1266" y="351"/>
                    <a:pt x="1266" y="351"/>
                  </a:cubicBezTo>
                  <a:cubicBezTo>
                    <a:pt x="682" y="437"/>
                    <a:pt x="682" y="437"/>
                    <a:pt x="682" y="437"/>
                  </a:cubicBezTo>
                  <a:cubicBezTo>
                    <a:pt x="332" y="103"/>
                    <a:pt x="332" y="103"/>
                    <a:pt x="332" y="103"/>
                  </a:cubicBezTo>
                  <a:cubicBezTo>
                    <a:pt x="332" y="103"/>
                    <a:pt x="66" y="0"/>
                    <a:pt x="47" y="84"/>
                  </a:cubicBezTo>
                  <a:close/>
                </a:path>
              </a:pathLst>
            </a:custGeom>
            <a:solidFill>
              <a:srgbClr val="F44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715">
              <a:extLst>
                <a:ext uri="{FF2B5EF4-FFF2-40B4-BE49-F238E27FC236}">
                  <a16:creationId xmlns:a16="http://schemas.microsoft.com/office/drawing/2014/main" id="{8AA0B265-489E-46FB-9023-727E6762F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1150" y="1812926"/>
              <a:ext cx="600075" cy="633413"/>
            </a:xfrm>
            <a:custGeom>
              <a:avLst/>
              <a:gdLst>
                <a:gd name="T0" fmla="*/ 397 w 689"/>
                <a:gd name="T1" fmla="*/ 60 h 731"/>
                <a:gd name="T2" fmla="*/ 635 w 689"/>
                <a:gd name="T3" fmla="*/ 475 h 731"/>
                <a:gd name="T4" fmla="*/ 199 w 689"/>
                <a:gd name="T5" fmla="*/ 670 h 731"/>
                <a:gd name="T6" fmla="*/ 55 w 689"/>
                <a:gd name="T7" fmla="*/ 287 h 731"/>
                <a:gd name="T8" fmla="*/ 397 w 689"/>
                <a:gd name="T9" fmla="*/ 60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9" h="731">
                  <a:moveTo>
                    <a:pt x="397" y="60"/>
                  </a:moveTo>
                  <a:cubicBezTo>
                    <a:pt x="583" y="121"/>
                    <a:pt x="689" y="306"/>
                    <a:pt x="635" y="475"/>
                  </a:cubicBezTo>
                  <a:cubicBezTo>
                    <a:pt x="580" y="643"/>
                    <a:pt x="385" y="731"/>
                    <a:pt x="199" y="670"/>
                  </a:cubicBezTo>
                  <a:cubicBezTo>
                    <a:pt x="12" y="610"/>
                    <a:pt x="0" y="455"/>
                    <a:pt x="55" y="287"/>
                  </a:cubicBezTo>
                  <a:cubicBezTo>
                    <a:pt x="110" y="118"/>
                    <a:pt x="211" y="0"/>
                    <a:pt x="397" y="60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716">
              <a:extLst>
                <a:ext uri="{FF2B5EF4-FFF2-40B4-BE49-F238E27FC236}">
                  <a16:creationId xmlns:a16="http://schemas.microsoft.com/office/drawing/2014/main" id="{2E466A13-57ED-4794-BE39-D6B902A05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400" y="2138363"/>
              <a:ext cx="114300" cy="136525"/>
            </a:xfrm>
            <a:custGeom>
              <a:avLst/>
              <a:gdLst>
                <a:gd name="T0" fmla="*/ 85 w 132"/>
                <a:gd name="T1" fmla="*/ 138 h 156"/>
                <a:gd name="T2" fmla="*/ 0 w 132"/>
                <a:gd name="T3" fmla="*/ 156 h 156"/>
                <a:gd name="T4" fmla="*/ 51 w 132"/>
                <a:gd name="T5" fmla="*/ 0 h 156"/>
                <a:gd name="T6" fmla="*/ 109 w 132"/>
                <a:gd name="T7" fmla="*/ 64 h 156"/>
                <a:gd name="T8" fmla="*/ 85 w 132"/>
                <a:gd name="T9" fmla="*/ 13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56">
                  <a:moveTo>
                    <a:pt x="85" y="138"/>
                  </a:moveTo>
                  <a:cubicBezTo>
                    <a:pt x="0" y="156"/>
                    <a:pt x="0" y="156"/>
                    <a:pt x="0" y="156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32" y="90"/>
                    <a:pt x="119" y="131"/>
                    <a:pt x="85" y="138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717">
              <a:extLst>
                <a:ext uri="{FF2B5EF4-FFF2-40B4-BE49-F238E27FC236}">
                  <a16:creationId xmlns:a16="http://schemas.microsoft.com/office/drawing/2014/main" id="{B6DDE148-81B9-47DC-84E5-B0AE01135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100" y="1781176"/>
              <a:ext cx="676275" cy="719138"/>
            </a:xfrm>
            <a:custGeom>
              <a:avLst/>
              <a:gdLst>
                <a:gd name="T0" fmla="*/ 406 w 779"/>
                <a:gd name="T1" fmla="*/ 50 h 829"/>
                <a:gd name="T2" fmla="*/ 51 w 779"/>
                <a:gd name="T3" fmla="*/ 310 h 829"/>
                <a:gd name="T4" fmla="*/ 203 w 779"/>
                <a:gd name="T5" fmla="*/ 742 h 829"/>
                <a:gd name="T6" fmla="*/ 643 w 779"/>
                <a:gd name="T7" fmla="*/ 735 h 829"/>
                <a:gd name="T8" fmla="*/ 536 w 779"/>
                <a:gd name="T9" fmla="*/ 662 h 829"/>
                <a:gd name="T10" fmla="*/ 601 w 779"/>
                <a:gd name="T11" fmla="*/ 543 h 829"/>
                <a:gd name="T12" fmla="*/ 595 w 779"/>
                <a:gd name="T13" fmla="*/ 380 h 829"/>
                <a:gd name="T14" fmla="*/ 688 w 779"/>
                <a:gd name="T15" fmla="*/ 308 h 829"/>
                <a:gd name="T16" fmla="*/ 778 w 779"/>
                <a:gd name="T17" fmla="*/ 322 h 829"/>
                <a:gd name="T18" fmla="*/ 406 w 779"/>
                <a:gd name="T19" fmla="*/ 50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9" h="829">
                  <a:moveTo>
                    <a:pt x="406" y="50"/>
                  </a:moveTo>
                  <a:cubicBezTo>
                    <a:pt x="244" y="0"/>
                    <a:pt x="100" y="161"/>
                    <a:pt x="51" y="310"/>
                  </a:cubicBezTo>
                  <a:cubicBezTo>
                    <a:pt x="0" y="469"/>
                    <a:pt x="30" y="685"/>
                    <a:pt x="203" y="742"/>
                  </a:cubicBezTo>
                  <a:cubicBezTo>
                    <a:pt x="469" y="829"/>
                    <a:pt x="644" y="735"/>
                    <a:pt x="643" y="735"/>
                  </a:cubicBezTo>
                  <a:cubicBezTo>
                    <a:pt x="549" y="714"/>
                    <a:pt x="538" y="662"/>
                    <a:pt x="536" y="662"/>
                  </a:cubicBezTo>
                  <a:cubicBezTo>
                    <a:pt x="564" y="630"/>
                    <a:pt x="614" y="591"/>
                    <a:pt x="601" y="543"/>
                  </a:cubicBezTo>
                  <a:cubicBezTo>
                    <a:pt x="581" y="467"/>
                    <a:pt x="584" y="415"/>
                    <a:pt x="595" y="380"/>
                  </a:cubicBezTo>
                  <a:cubicBezTo>
                    <a:pt x="608" y="339"/>
                    <a:pt x="646" y="311"/>
                    <a:pt x="688" y="308"/>
                  </a:cubicBezTo>
                  <a:cubicBezTo>
                    <a:pt x="714" y="307"/>
                    <a:pt x="745" y="308"/>
                    <a:pt x="778" y="322"/>
                  </a:cubicBezTo>
                  <a:cubicBezTo>
                    <a:pt x="779" y="323"/>
                    <a:pt x="708" y="145"/>
                    <a:pt x="406" y="50"/>
                  </a:cubicBezTo>
                  <a:close/>
                </a:path>
              </a:pathLst>
            </a:custGeom>
            <a:solidFill>
              <a:srgbClr val="FFE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718">
              <a:extLst>
                <a:ext uri="{FF2B5EF4-FFF2-40B4-BE49-F238E27FC236}">
                  <a16:creationId xmlns:a16="http://schemas.microsoft.com/office/drawing/2014/main" id="{C3E7EFAF-E0BB-4B23-89F7-0CF09E09C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675" y="2230438"/>
              <a:ext cx="530225" cy="269875"/>
            </a:xfrm>
            <a:custGeom>
              <a:avLst/>
              <a:gdLst>
                <a:gd name="T0" fmla="*/ 522 w 611"/>
                <a:gd name="T1" fmla="*/ 172 h 311"/>
                <a:gd name="T2" fmla="*/ 153 w 611"/>
                <a:gd name="T3" fmla="*/ 154 h 311"/>
                <a:gd name="T4" fmla="*/ 0 w 611"/>
                <a:gd name="T5" fmla="*/ 0 h 311"/>
                <a:gd name="T6" fmla="*/ 170 w 611"/>
                <a:gd name="T7" fmla="*/ 224 h 311"/>
                <a:gd name="T8" fmla="*/ 610 w 611"/>
                <a:gd name="T9" fmla="*/ 217 h 311"/>
                <a:gd name="T10" fmla="*/ 522 w 611"/>
                <a:gd name="T11" fmla="*/ 172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1" h="311">
                  <a:moveTo>
                    <a:pt x="522" y="172"/>
                  </a:moveTo>
                  <a:cubicBezTo>
                    <a:pt x="447" y="192"/>
                    <a:pt x="318" y="208"/>
                    <a:pt x="153" y="154"/>
                  </a:cubicBezTo>
                  <a:cubicBezTo>
                    <a:pt x="75" y="129"/>
                    <a:pt x="26" y="70"/>
                    <a:pt x="0" y="0"/>
                  </a:cubicBezTo>
                  <a:cubicBezTo>
                    <a:pt x="15" y="101"/>
                    <a:pt x="68" y="190"/>
                    <a:pt x="170" y="224"/>
                  </a:cubicBezTo>
                  <a:cubicBezTo>
                    <a:pt x="436" y="311"/>
                    <a:pt x="611" y="217"/>
                    <a:pt x="610" y="217"/>
                  </a:cubicBezTo>
                  <a:cubicBezTo>
                    <a:pt x="563" y="206"/>
                    <a:pt x="537" y="188"/>
                    <a:pt x="522" y="172"/>
                  </a:cubicBezTo>
                  <a:close/>
                </a:path>
              </a:pathLst>
            </a:custGeom>
            <a:solidFill>
              <a:srgbClr val="EDD6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719">
              <a:extLst>
                <a:ext uri="{FF2B5EF4-FFF2-40B4-BE49-F238E27FC236}">
                  <a16:creationId xmlns:a16="http://schemas.microsoft.com/office/drawing/2014/main" id="{96596A00-3142-4A89-8498-5111332AE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1763" y="2401888"/>
              <a:ext cx="1185863" cy="555625"/>
            </a:xfrm>
            <a:custGeom>
              <a:avLst/>
              <a:gdLst>
                <a:gd name="T0" fmla="*/ 1318 w 1365"/>
                <a:gd name="T1" fmla="*/ 84 h 640"/>
                <a:gd name="T2" fmla="*/ 739 w 1365"/>
                <a:gd name="T3" fmla="*/ 640 h 640"/>
                <a:gd name="T4" fmla="*/ 0 w 1365"/>
                <a:gd name="T5" fmla="*/ 524 h 640"/>
                <a:gd name="T6" fmla="*/ 14 w 1365"/>
                <a:gd name="T7" fmla="*/ 430 h 640"/>
                <a:gd name="T8" fmla="*/ 683 w 1365"/>
                <a:gd name="T9" fmla="*/ 437 h 640"/>
                <a:gd name="T10" fmla="*/ 1033 w 1365"/>
                <a:gd name="T11" fmla="*/ 103 h 640"/>
                <a:gd name="T12" fmla="*/ 1318 w 1365"/>
                <a:gd name="T13" fmla="*/ 84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5" h="640">
                  <a:moveTo>
                    <a:pt x="1318" y="84"/>
                  </a:moveTo>
                  <a:cubicBezTo>
                    <a:pt x="1365" y="288"/>
                    <a:pt x="1068" y="447"/>
                    <a:pt x="739" y="640"/>
                  </a:cubicBezTo>
                  <a:cubicBezTo>
                    <a:pt x="0" y="524"/>
                    <a:pt x="0" y="524"/>
                    <a:pt x="0" y="524"/>
                  </a:cubicBezTo>
                  <a:cubicBezTo>
                    <a:pt x="14" y="430"/>
                    <a:pt x="14" y="430"/>
                    <a:pt x="14" y="430"/>
                  </a:cubicBezTo>
                  <a:cubicBezTo>
                    <a:pt x="683" y="437"/>
                    <a:pt x="683" y="437"/>
                    <a:pt x="683" y="437"/>
                  </a:cubicBezTo>
                  <a:cubicBezTo>
                    <a:pt x="1033" y="103"/>
                    <a:pt x="1033" y="103"/>
                    <a:pt x="1033" y="103"/>
                  </a:cubicBezTo>
                  <a:cubicBezTo>
                    <a:pt x="1033" y="103"/>
                    <a:pt x="1299" y="0"/>
                    <a:pt x="1318" y="84"/>
                  </a:cubicBezTo>
                  <a:close/>
                </a:path>
              </a:pathLst>
            </a:custGeom>
            <a:solidFill>
              <a:srgbClr val="CF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720">
              <a:extLst>
                <a:ext uri="{FF2B5EF4-FFF2-40B4-BE49-F238E27FC236}">
                  <a16:creationId xmlns:a16="http://schemas.microsoft.com/office/drawing/2014/main" id="{90D51CD3-EC30-4B45-8018-BAF5E8988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8563" y="1671638"/>
              <a:ext cx="1169988" cy="568325"/>
            </a:xfrm>
            <a:custGeom>
              <a:avLst/>
              <a:gdLst>
                <a:gd name="T0" fmla="*/ 1314 w 1347"/>
                <a:gd name="T1" fmla="*/ 193 h 656"/>
                <a:gd name="T2" fmla="*/ 518 w 1347"/>
                <a:gd name="T3" fmla="*/ 84 h 656"/>
                <a:gd name="T4" fmla="*/ 0 w 1347"/>
                <a:gd name="T5" fmla="*/ 585 h 656"/>
                <a:gd name="T6" fmla="*/ 76 w 1347"/>
                <a:gd name="T7" fmla="*/ 656 h 656"/>
                <a:gd name="T8" fmla="*/ 592 w 1347"/>
                <a:gd name="T9" fmla="*/ 281 h 656"/>
                <a:gd name="T10" fmla="*/ 1072 w 1347"/>
                <a:gd name="T11" fmla="*/ 346 h 656"/>
                <a:gd name="T12" fmla="*/ 1314 w 1347"/>
                <a:gd name="T13" fmla="*/ 193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7" h="656">
                  <a:moveTo>
                    <a:pt x="1314" y="193"/>
                  </a:moveTo>
                  <a:cubicBezTo>
                    <a:pt x="1232" y="0"/>
                    <a:pt x="898" y="47"/>
                    <a:pt x="518" y="84"/>
                  </a:cubicBezTo>
                  <a:cubicBezTo>
                    <a:pt x="0" y="585"/>
                    <a:pt x="0" y="585"/>
                    <a:pt x="0" y="585"/>
                  </a:cubicBezTo>
                  <a:cubicBezTo>
                    <a:pt x="76" y="656"/>
                    <a:pt x="76" y="656"/>
                    <a:pt x="76" y="656"/>
                  </a:cubicBezTo>
                  <a:cubicBezTo>
                    <a:pt x="592" y="281"/>
                    <a:pt x="592" y="281"/>
                    <a:pt x="592" y="281"/>
                  </a:cubicBezTo>
                  <a:cubicBezTo>
                    <a:pt x="1072" y="346"/>
                    <a:pt x="1072" y="346"/>
                    <a:pt x="1072" y="346"/>
                  </a:cubicBezTo>
                  <a:cubicBezTo>
                    <a:pt x="1072" y="346"/>
                    <a:pt x="1347" y="273"/>
                    <a:pt x="1314" y="193"/>
                  </a:cubicBezTo>
                  <a:close/>
                </a:path>
              </a:pathLst>
            </a:custGeom>
            <a:solidFill>
              <a:srgbClr val="CF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721">
              <a:extLst>
                <a:ext uri="{FF2B5EF4-FFF2-40B4-BE49-F238E27FC236}">
                  <a16:creationId xmlns:a16="http://schemas.microsoft.com/office/drawing/2014/main" id="{7624AD20-5D50-4005-AE2E-97EDA8C58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6463" y="1766888"/>
              <a:ext cx="382588" cy="830263"/>
            </a:xfrm>
            <a:custGeom>
              <a:avLst/>
              <a:gdLst>
                <a:gd name="T0" fmla="*/ 369 w 441"/>
                <a:gd name="T1" fmla="*/ 936 h 959"/>
                <a:gd name="T2" fmla="*/ 90 w 441"/>
                <a:gd name="T3" fmla="*/ 522 h 959"/>
                <a:gd name="T4" fmla="*/ 72 w 441"/>
                <a:gd name="T5" fmla="*/ 23 h 959"/>
                <a:gd name="T6" fmla="*/ 351 w 441"/>
                <a:gd name="T7" fmla="*/ 437 h 959"/>
                <a:gd name="T8" fmla="*/ 369 w 441"/>
                <a:gd name="T9" fmla="*/ 936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1" h="959">
                  <a:moveTo>
                    <a:pt x="369" y="936"/>
                  </a:moveTo>
                  <a:cubicBezTo>
                    <a:pt x="297" y="959"/>
                    <a:pt x="172" y="774"/>
                    <a:pt x="90" y="522"/>
                  </a:cubicBezTo>
                  <a:cubicBezTo>
                    <a:pt x="8" y="270"/>
                    <a:pt x="0" y="47"/>
                    <a:pt x="72" y="23"/>
                  </a:cubicBezTo>
                  <a:cubicBezTo>
                    <a:pt x="144" y="0"/>
                    <a:pt x="269" y="185"/>
                    <a:pt x="351" y="437"/>
                  </a:cubicBezTo>
                  <a:cubicBezTo>
                    <a:pt x="432" y="689"/>
                    <a:pt x="441" y="912"/>
                    <a:pt x="369" y="936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722">
              <a:extLst>
                <a:ext uri="{FF2B5EF4-FFF2-40B4-BE49-F238E27FC236}">
                  <a16:creationId xmlns:a16="http://schemas.microsoft.com/office/drawing/2014/main" id="{F9D6AF26-56B1-47F7-9A34-20BEF5285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0738" y="2189163"/>
              <a:ext cx="109538" cy="107950"/>
            </a:xfrm>
            <a:custGeom>
              <a:avLst/>
              <a:gdLst>
                <a:gd name="T0" fmla="*/ 24 w 126"/>
                <a:gd name="T1" fmla="*/ 56 h 125"/>
                <a:gd name="T2" fmla="*/ 85 w 126"/>
                <a:gd name="T3" fmla="*/ 0 h 125"/>
                <a:gd name="T4" fmla="*/ 126 w 126"/>
                <a:gd name="T5" fmla="*/ 125 h 125"/>
                <a:gd name="T6" fmla="*/ 43 w 126"/>
                <a:gd name="T7" fmla="*/ 115 h 125"/>
                <a:gd name="T8" fmla="*/ 24 w 126"/>
                <a:gd name="T9" fmla="*/ 56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25">
                  <a:moveTo>
                    <a:pt x="24" y="5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126" y="125"/>
                    <a:pt x="126" y="125"/>
                    <a:pt x="126" y="125"/>
                  </a:cubicBezTo>
                  <a:cubicBezTo>
                    <a:pt x="43" y="115"/>
                    <a:pt x="43" y="115"/>
                    <a:pt x="43" y="115"/>
                  </a:cubicBezTo>
                  <a:cubicBezTo>
                    <a:pt x="11" y="111"/>
                    <a:pt x="0" y="78"/>
                    <a:pt x="24" y="56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723">
              <a:extLst>
                <a:ext uri="{FF2B5EF4-FFF2-40B4-BE49-F238E27FC236}">
                  <a16:creationId xmlns:a16="http://schemas.microsoft.com/office/drawing/2014/main" id="{183D6453-C884-4551-8CEF-FB328BD09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80800" y="1920876"/>
              <a:ext cx="217488" cy="307975"/>
            </a:xfrm>
            <a:custGeom>
              <a:avLst/>
              <a:gdLst>
                <a:gd name="T0" fmla="*/ 177 w 250"/>
                <a:gd name="T1" fmla="*/ 338 h 356"/>
                <a:gd name="T2" fmla="*/ 29 w 250"/>
                <a:gd name="T3" fmla="*/ 209 h 356"/>
                <a:gd name="T4" fmla="*/ 73 w 250"/>
                <a:gd name="T5" fmla="*/ 17 h 356"/>
                <a:gd name="T6" fmla="*/ 221 w 250"/>
                <a:gd name="T7" fmla="*/ 146 h 356"/>
                <a:gd name="T8" fmla="*/ 177 w 250"/>
                <a:gd name="T9" fmla="*/ 33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0" h="356">
                  <a:moveTo>
                    <a:pt x="177" y="338"/>
                  </a:moveTo>
                  <a:cubicBezTo>
                    <a:pt x="124" y="356"/>
                    <a:pt x="58" y="298"/>
                    <a:pt x="29" y="209"/>
                  </a:cubicBezTo>
                  <a:cubicBezTo>
                    <a:pt x="0" y="120"/>
                    <a:pt x="19" y="34"/>
                    <a:pt x="73" y="17"/>
                  </a:cubicBezTo>
                  <a:cubicBezTo>
                    <a:pt x="126" y="0"/>
                    <a:pt x="192" y="58"/>
                    <a:pt x="221" y="146"/>
                  </a:cubicBezTo>
                  <a:cubicBezTo>
                    <a:pt x="250" y="235"/>
                    <a:pt x="230" y="321"/>
                    <a:pt x="177" y="338"/>
                  </a:cubicBezTo>
                  <a:close/>
                </a:path>
              </a:pathLst>
            </a:custGeom>
            <a:solidFill>
              <a:srgbClr val="693F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24">
              <a:extLst>
                <a:ext uri="{FF2B5EF4-FFF2-40B4-BE49-F238E27FC236}">
                  <a16:creationId xmlns:a16="http://schemas.microsoft.com/office/drawing/2014/main" id="{081A85D7-6AD3-44B5-8C7D-3FD1732CAD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4388" y="1846263"/>
              <a:ext cx="644525" cy="635000"/>
            </a:xfrm>
            <a:custGeom>
              <a:avLst/>
              <a:gdLst>
                <a:gd name="T0" fmla="*/ 491 w 742"/>
                <a:gd name="T1" fmla="*/ 671 h 732"/>
                <a:gd name="T2" fmla="*/ 55 w 742"/>
                <a:gd name="T3" fmla="*/ 476 h 732"/>
                <a:gd name="T4" fmla="*/ 293 w 742"/>
                <a:gd name="T5" fmla="*/ 61 h 732"/>
                <a:gd name="T6" fmla="*/ 687 w 742"/>
                <a:gd name="T7" fmla="*/ 270 h 732"/>
                <a:gd name="T8" fmla="*/ 491 w 742"/>
                <a:gd name="T9" fmla="*/ 671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2" h="732">
                  <a:moveTo>
                    <a:pt x="491" y="671"/>
                  </a:moveTo>
                  <a:cubicBezTo>
                    <a:pt x="305" y="732"/>
                    <a:pt x="110" y="644"/>
                    <a:pt x="55" y="476"/>
                  </a:cubicBezTo>
                  <a:cubicBezTo>
                    <a:pt x="0" y="307"/>
                    <a:pt x="107" y="121"/>
                    <a:pt x="293" y="61"/>
                  </a:cubicBezTo>
                  <a:cubicBezTo>
                    <a:pt x="479" y="0"/>
                    <a:pt x="633" y="101"/>
                    <a:pt x="687" y="270"/>
                  </a:cubicBezTo>
                  <a:cubicBezTo>
                    <a:pt x="742" y="438"/>
                    <a:pt x="677" y="611"/>
                    <a:pt x="491" y="671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725">
              <a:extLst>
                <a:ext uri="{FF2B5EF4-FFF2-40B4-BE49-F238E27FC236}">
                  <a16:creationId xmlns:a16="http://schemas.microsoft.com/office/drawing/2014/main" id="{1797764D-7107-41E0-9CA1-B4A737E49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7563" y="1816101"/>
              <a:ext cx="661988" cy="657225"/>
            </a:xfrm>
            <a:custGeom>
              <a:avLst/>
              <a:gdLst>
                <a:gd name="T0" fmla="*/ 519 w 761"/>
                <a:gd name="T1" fmla="*/ 717 h 758"/>
                <a:gd name="T2" fmla="*/ 101 w 761"/>
                <a:gd name="T3" fmla="*/ 494 h 758"/>
                <a:gd name="T4" fmla="*/ 309 w 761"/>
                <a:gd name="T5" fmla="*/ 68 h 758"/>
                <a:gd name="T6" fmla="*/ 703 w 761"/>
                <a:gd name="T7" fmla="*/ 299 h 758"/>
                <a:gd name="T8" fmla="*/ 519 w 761"/>
                <a:gd name="T9" fmla="*/ 717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1" h="758">
                  <a:moveTo>
                    <a:pt x="519" y="717"/>
                  </a:moveTo>
                  <a:cubicBezTo>
                    <a:pt x="392" y="758"/>
                    <a:pt x="127" y="729"/>
                    <a:pt x="101" y="494"/>
                  </a:cubicBezTo>
                  <a:cubicBezTo>
                    <a:pt x="0" y="316"/>
                    <a:pt x="128" y="127"/>
                    <a:pt x="309" y="68"/>
                  </a:cubicBezTo>
                  <a:cubicBezTo>
                    <a:pt x="518" y="0"/>
                    <a:pt x="645" y="120"/>
                    <a:pt x="703" y="299"/>
                  </a:cubicBezTo>
                  <a:cubicBezTo>
                    <a:pt x="761" y="478"/>
                    <a:pt x="729" y="649"/>
                    <a:pt x="519" y="717"/>
                  </a:cubicBezTo>
                  <a:close/>
                </a:path>
              </a:pathLst>
            </a:custGeom>
            <a:solidFill>
              <a:srgbClr val="693F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726">
              <a:extLst>
                <a:ext uri="{FF2B5EF4-FFF2-40B4-BE49-F238E27FC236}">
                  <a16:creationId xmlns:a16="http://schemas.microsoft.com/office/drawing/2014/main" id="{12F70412-F41F-47C2-B7DD-F171B90B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8050" y="2079626"/>
              <a:ext cx="571500" cy="392113"/>
            </a:xfrm>
            <a:custGeom>
              <a:avLst/>
              <a:gdLst>
                <a:gd name="T0" fmla="*/ 601 w 657"/>
                <a:gd name="T1" fmla="*/ 0 h 453"/>
                <a:gd name="T2" fmla="*/ 390 w 657"/>
                <a:gd name="T3" fmla="*/ 321 h 453"/>
                <a:gd name="T4" fmla="*/ 0 w 657"/>
                <a:gd name="T5" fmla="*/ 207 h 453"/>
                <a:gd name="T6" fmla="*/ 416 w 657"/>
                <a:gd name="T7" fmla="*/ 413 h 453"/>
                <a:gd name="T8" fmla="*/ 601 w 657"/>
                <a:gd name="T9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7" h="453">
                  <a:moveTo>
                    <a:pt x="601" y="0"/>
                  </a:moveTo>
                  <a:cubicBezTo>
                    <a:pt x="620" y="139"/>
                    <a:pt x="566" y="264"/>
                    <a:pt x="390" y="321"/>
                  </a:cubicBezTo>
                  <a:cubicBezTo>
                    <a:pt x="282" y="356"/>
                    <a:pt x="81" y="344"/>
                    <a:pt x="0" y="207"/>
                  </a:cubicBezTo>
                  <a:cubicBezTo>
                    <a:pt x="38" y="427"/>
                    <a:pt x="292" y="453"/>
                    <a:pt x="416" y="413"/>
                  </a:cubicBezTo>
                  <a:cubicBezTo>
                    <a:pt x="624" y="345"/>
                    <a:pt x="657" y="177"/>
                    <a:pt x="601" y="0"/>
                  </a:cubicBezTo>
                  <a:close/>
                </a:path>
              </a:pathLst>
            </a:custGeom>
            <a:solidFill>
              <a:srgbClr val="4D2C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727">
              <a:extLst>
                <a:ext uri="{FF2B5EF4-FFF2-40B4-BE49-F238E27FC236}">
                  <a16:creationId xmlns:a16="http://schemas.microsoft.com/office/drawing/2014/main" id="{8D7DB485-362B-4267-A7D1-F5B2225EE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4875" y="2070101"/>
              <a:ext cx="525463" cy="177800"/>
            </a:xfrm>
            <a:custGeom>
              <a:avLst/>
              <a:gdLst>
                <a:gd name="T0" fmla="*/ 1 w 604"/>
                <a:gd name="T1" fmla="*/ 200 h 205"/>
                <a:gd name="T2" fmla="*/ 4 w 604"/>
                <a:gd name="T3" fmla="*/ 193 h 205"/>
                <a:gd name="T4" fmla="*/ 595 w 604"/>
                <a:gd name="T5" fmla="*/ 1 h 205"/>
                <a:gd name="T6" fmla="*/ 603 w 604"/>
                <a:gd name="T7" fmla="*/ 5 h 205"/>
                <a:gd name="T8" fmla="*/ 599 w 604"/>
                <a:gd name="T9" fmla="*/ 12 h 205"/>
                <a:gd name="T10" fmla="*/ 8 w 604"/>
                <a:gd name="T11" fmla="*/ 204 h 205"/>
                <a:gd name="T12" fmla="*/ 1 w 604"/>
                <a:gd name="T13" fmla="*/ 20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4" h="205">
                  <a:moveTo>
                    <a:pt x="1" y="200"/>
                  </a:moveTo>
                  <a:cubicBezTo>
                    <a:pt x="0" y="197"/>
                    <a:pt x="1" y="194"/>
                    <a:pt x="4" y="193"/>
                  </a:cubicBezTo>
                  <a:cubicBezTo>
                    <a:pt x="595" y="1"/>
                    <a:pt x="595" y="1"/>
                    <a:pt x="595" y="1"/>
                  </a:cubicBezTo>
                  <a:cubicBezTo>
                    <a:pt x="598" y="0"/>
                    <a:pt x="602" y="2"/>
                    <a:pt x="603" y="5"/>
                  </a:cubicBezTo>
                  <a:cubicBezTo>
                    <a:pt x="604" y="8"/>
                    <a:pt x="602" y="11"/>
                    <a:pt x="599" y="12"/>
                  </a:cubicBezTo>
                  <a:cubicBezTo>
                    <a:pt x="8" y="204"/>
                    <a:pt x="8" y="204"/>
                    <a:pt x="8" y="204"/>
                  </a:cubicBezTo>
                  <a:cubicBezTo>
                    <a:pt x="5" y="205"/>
                    <a:pt x="2" y="203"/>
                    <a:pt x="1" y="200"/>
                  </a:cubicBezTo>
                  <a:close/>
                </a:path>
              </a:pathLst>
            </a:custGeom>
            <a:solidFill>
              <a:srgbClr val="7F53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728">
              <a:extLst>
                <a:ext uri="{FF2B5EF4-FFF2-40B4-BE49-F238E27FC236}">
                  <a16:creationId xmlns:a16="http://schemas.microsoft.com/office/drawing/2014/main" id="{11E439F8-3F06-4FE7-A0C3-2A10AEEAF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9850" y="1874838"/>
              <a:ext cx="63500" cy="104775"/>
            </a:xfrm>
            <a:custGeom>
              <a:avLst/>
              <a:gdLst>
                <a:gd name="T0" fmla="*/ 1 w 74"/>
                <a:gd name="T1" fmla="*/ 13 h 122"/>
                <a:gd name="T2" fmla="*/ 6 w 74"/>
                <a:gd name="T3" fmla="*/ 3 h 122"/>
                <a:gd name="T4" fmla="*/ 17 w 74"/>
                <a:gd name="T5" fmla="*/ 6 h 122"/>
                <a:gd name="T6" fmla="*/ 72 w 74"/>
                <a:gd name="T7" fmla="*/ 108 h 122"/>
                <a:gd name="T8" fmla="*/ 68 w 74"/>
                <a:gd name="T9" fmla="*/ 120 h 122"/>
                <a:gd name="T10" fmla="*/ 57 w 74"/>
                <a:gd name="T11" fmla="*/ 116 h 122"/>
                <a:gd name="T12" fmla="*/ 2 w 74"/>
                <a:gd name="T13" fmla="*/ 15 h 122"/>
                <a:gd name="T14" fmla="*/ 1 w 74"/>
                <a:gd name="T15" fmla="*/ 1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122">
                  <a:moveTo>
                    <a:pt x="1" y="13"/>
                  </a:moveTo>
                  <a:cubicBezTo>
                    <a:pt x="0" y="9"/>
                    <a:pt x="2" y="5"/>
                    <a:pt x="6" y="3"/>
                  </a:cubicBezTo>
                  <a:cubicBezTo>
                    <a:pt x="10" y="0"/>
                    <a:pt x="15" y="2"/>
                    <a:pt x="17" y="6"/>
                  </a:cubicBezTo>
                  <a:cubicBezTo>
                    <a:pt x="72" y="108"/>
                    <a:pt x="72" y="108"/>
                    <a:pt x="72" y="108"/>
                  </a:cubicBezTo>
                  <a:cubicBezTo>
                    <a:pt x="74" y="112"/>
                    <a:pt x="73" y="118"/>
                    <a:pt x="68" y="120"/>
                  </a:cubicBezTo>
                  <a:cubicBezTo>
                    <a:pt x="64" y="122"/>
                    <a:pt x="59" y="121"/>
                    <a:pt x="57" y="116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4"/>
                    <a:pt x="2" y="14"/>
                    <a:pt x="1" y="13"/>
                  </a:cubicBezTo>
                  <a:close/>
                </a:path>
              </a:pathLst>
            </a:custGeom>
            <a:solidFill>
              <a:srgbClr val="039B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729">
              <a:extLst>
                <a:ext uri="{FF2B5EF4-FFF2-40B4-BE49-F238E27FC236}">
                  <a16:creationId xmlns:a16="http://schemas.microsoft.com/office/drawing/2014/main" id="{BAF79C1B-0B17-433E-8170-2FDBF7002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14150" y="2170113"/>
              <a:ext cx="30163" cy="114300"/>
            </a:xfrm>
            <a:custGeom>
              <a:avLst/>
              <a:gdLst>
                <a:gd name="T0" fmla="*/ 17 w 34"/>
                <a:gd name="T1" fmla="*/ 126 h 133"/>
                <a:gd name="T2" fmla="*/ 16 w 34"/>
                <a:gd name="T3" fmla="*/ 125 h 133"/>
                <a:gd name="T4" fmla="*/ 1 w 34"/>
                <a:gd name="T5" fmla="*/ 10 h 133"/>
                <a:gd name="T6" fmla="*/ 8 w 34"/>
                <a:gd name="T7" fmla="*/ 1 h 133"/>
                <a:gd name="T8" fmla="*/ 18 w 34"/>
                <a:gd name="T9" fmla="*/ 8 h 133"/>
                <a:gd name="T10" fmla="*/ 34 w 34"/>
                <a:gd name="T11" fmla="*/ 122 h 133"/>
                <a:gd name="T12" fmla="*/ 26 w 34"/>
                <a:gd name="T13" fmla="*/ 132 h 133"/>
                <a:gd name="T14" fmla="*/ 17 w 34"/>
                <a:gd name="T15" fmla="*/ 12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33">
                  <a:moveTo>
                    <a:pt x="17" y="126"/>
                  </a:moveTo>
                  <a:cubicBezTo>
                    <a:pt x="17" y="126"/>
                    <a:pt x="16" y="125"/>
                    <a:pt x="16" y="125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6"/>
                    <a:pt x="3" y="1"/>
                    <a:pt x="8" y="1"/>
                  </a:cubicBezTo>
                  <a:cubicBezTo>
                    <a:pt x="13" y="0"/>
                    <a:pt x="17" y="3"/>
                    <a:pt x="18" y="8"/>
                  </a:cubicBezTo>
                  <a:cubicBezTo>
                    <a:pt x="34" y="122"/>
                    <a:pt x="34" y="122"/>
                    <a:pt x="34" y="122"/>
                  </a:cubicBezTo>
                  <a:cubicBezTo>
                    <a:pt x="34" y="127"/>
                    <a:pt x="31" y="132"/>
                    <a:pt x="26" y="132"/>
                  </a:cubicBezTo>
                  <a:cubicBezTo>
                    <a:pt x="22" y="133"/>
                    <a:pt x="18" y="130"/>
                    <a:pt x="17" y="126"/>
                  </a:cubicBezTo>
                  <a:close/>
                </a:path>
              </a:pathLst>
            </a:custGeom>
            <a:solidFill>
              <a:srgbClr val="039B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730">
              <a:extLst>
                <a:ext uri="{FF2B5EF4-FFF2-40B4-BE49-F238E27FC236}">
                  <a16:creationId xmlns:a16="http://schemas.microsoft.com/office/drawing/2014/main" id="{BCFABBE1-E5FB-42A7-91AE-C9304590F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9213" y="4046538"/>
              <a:ext cx="263525" cy="244475"/>
            </a:xfrm>
            <a:custGeom>
              <a:avLst/>
              <a:gdLst>
                <a:gd name="T0" fmla="*/ 292 w 303"/>
                <a:gd name="T1" fmla="*/ 212 h 282"/>
                <a:gd name="T2" fmla="*/ 257 w 303"/>
                <a:gd name="T3" fmla="*/ 192 h 282"/>
                <a:gd name="T4" fmla="*/ 205 w 303"/>
                <a:gd name="T5" fmla="*/ 35 h 282"/>
                <a:gd name="T6" fmla="*/ 34 w 303"/>
                <a:gd name="T7" fmla="*/ 80 h 282"/>
                <a:gd name="T8" fmla="*/ 79 w 303"/>
                <a:gd name="T9" fmla="*/ 251 h 282"/>
                <a:gd name="T10" fmla="*/ 240 w 303"/>
                <a:gd name="T11" fmla="*/ 221 h 282"/>
                <a:gd name="T12" fmla="*/ 275 w 303"/>
                <a:gd name="T13" fmla="*/ 241 h 282"/>
                <a:gd name="T14" fmla="*/ 298 w 303"/>
                <a:gd name="T15" fmla="*/ 235 h 282"/>
                <a:gd name="T16" fmla="*/ 292 w 303"/>
                <a:gd name="T17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3" h="282">
                  <a:moveTo>
                    <a:pt x="292" y="212"/>
                  </a:moveTo>
                  <a:cubicBezTo>
                    <a:pt x="257" y="192"/>
                    <a:pt x="257" y="192"/>
                    <a:pt x="257" y="192"/>
                  </a:cubicBezTo>
                  <a:cubicBezTo>
                    <a:pt x="282" y="135"/>
                    <a:pt x="260" y="67"/>
                    <a:pt x="205" y="35"/>
                  </a:cubicBezTo>
                  <a:cubicBezTo>
                    <a:pt x="145" y="0"/>
                    <a:pt x="69" y="20"/>
                    <a:pt x="34" y="80"/>
                  </a:cubicBezTo>
                  <a:cubicBezTo>
                    <a:pt x="0" y="140"/>
                    <a:pt x="20" y="216"/>
                    <a:pt x="79" y="251"/>
                  </a:cubicBezTo>
                  <a:cubicBezTo>
                    <a:pt x="134" y="282"/>
                    <a:pt x="201" y="268"/>
                    <a:pt x="240" y="221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83" y="246"/>
                    <a:pt x="293" y="243"/>
                    <a:pt x="298" y="235"/>
                  </a:cubicBezTo>
                  <a:cubicBezTo>
                    <a:pt x="303" y="227"/>
                    <a:pt x="300" y="217"/>
                    <a:pt x="292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731">
              <a:extLst>
                <a:ext uri="{FF2B5EF4-FFF2-40B4-BE49-F238E27FC236}">
                  <a16:creationId xmlns:a16="http://schemas.microsoft.com/office/drawing/2014/main" id="{966D91E7-F09D-4AFB-82BF-6C9F1AEA1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9688" y="4032251"/>
              <a:ext cx="247650" cy="246063"/>
            </a:xfrm>
            <a:custGeom>
              <a:avLst/>
              <a:gdLst>
                <a:gd name="T0" fmla="*/ 251 w 285"/>
                <a:gd name="T1" fmla="*/ 205 h 285"/>
                <a:gd name="T2" fmla="*/ 80 w 285"/>
                <a:gd name="T3" fmla="*/ 250 h 285"/>
                <a:gd name="T4" fmla="*/ 34 w 285"/>
                <a:gd name="T5" fmla="*/ 80 h 285"/>
                <a:gd name="T6" fmla="*/ 205 w 285"/>
                <a:gd name="T7" fmla="*/ 34 h 285"/>
                <a:gd name="T8" fmla="*/ 251 w 285"/>
                <a:gd name="T9" fmla="*/ 20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5" h="285">
                  <a:moveTo>
                    <a:pt x="251" y="205"/>
                  </a:moveTo>
                  <a:cubicBezTo>
                    <a:pt x="216" y="265"/>
                    <a:pt x="139" y="285"/>
                    <a:pt x="80" y="250"/>
                  </a:cubicBezTo>
                  <a:cubicBezTo>
                    <a:pt x="20" y="216"/>
                    <a:pt x="0" y="139"/>
                    <a:pt x="34" y="80"/>
                  </a:cubicBezTo>
                  <a:cubicBezTo>
                    <a:pt x="69" y="20"/>
                    <a:pt x="146" y="0"/>
                    <a:pt x="205" y="34"/>
                  </a:cubicBezTo>
                  <a:cubicBezTo>
                    <a:pt x="265" y="69"/>
                    <a:pt x="285" y="145"/>
                    <a:pt x="251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732">
              <a:extLst>
                <a:ext uri="{FF2B5EF4-FFF2-40B4-BE49-F238E27FC236}">
                  <a16:creationId xmlns:a16="http://schemas.microsoft.com/office/drawing/2014/main" id="{249052A1-642D-4FA0-85AC-853592A72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8263" y="4060826"/>
              <a:ext cx="190500" cy="188913"/>
            </a:xfrm>
            <a:custGeom>
              <a:avLst/>
              <a:gdLst>
                <a:gd name="T0" fmla="*/ 213 w 219"/>
                <a:gd name="T1" fmla="*/ 99 h 219"/>
                <a:gd name="T2" fmla="*/ 120 w 219"/>
                <a:gd name="T3" fmla="*/ 213 h 219"/>
                <a:gd name="T4" fmla="*/ 6 w 219"/>
                <a:gd name="T5" fmla="*/ 120 h 219"/>
                <a:gd name="T6" fmla="*/ 99 w 219"/>
                <a:gd name="T7" fmla="*/ 6 h 219"/>
                <a:gd name="T8" fmla="*/ 213 w 219"/>
                <a:gd name="T9" fmla="*/ 9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19">
                  <a:moveTo>
                    <a:pt x="213" y="99"/>
                  </a:moveTo>
                  <a:cubicBezTo>
                    <a:pt x="219" y="156"/>
                    <a:pt x="177" y="207"/>
                    <a:pt x="120" y="213"/>
                  </a:cubicBezTo>
                  <a:cubicBezTo>
                    <a:pt x="63" y="219"/>
                    <a:pt x="12" y="177"/>
                    <a:pt x="6" y="120"/>
                  </a:cubicBezTo>
                  <a:cubicBezTo>
                    <a:pt x="0" y="63"/>
                    <a:pt x="42" y="12"/>
                    <a:pt x="99" y="6"/>
                  </a:cubicBezTo>
                  <a:cubicBezTo>
                    <a:pt x="156" y="0"/>
                    <a:pt x="207" y="41"/>
                    <a:pt x="213" y="99"/>
                  </a:cubicBezTo>
                  <a:close/>
                </a:path>
              </a:pathLst>
            </a:custGeom>
            <a:solidFill>
              <a:srgbClr val="9158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733">
              <a:extLst>
                <a:ext uri="{FF2B5EF4-FFF2-40B4-BE49-F238E27FC236}">
                  <a16:creationId xmlns:a16="http://schemas.microsoft.com/office/drawing/2014/main" id="{0F403B91-9B84-4CC9-8B24-1B0A44318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8263" y="4062413"/>
              <a:ext cx="158750" cy="168275"/>
            </a:xfrm>
            <a:custGeom>
              <a:avLst/>
              <a:gdLst>
                <a:gd name="T0" fmla="*/ 23 w 183"/>
                <a:gd name="T1" fmla="*/ 131 h 194"/>
                <a:gd name="T2" fmla="*/ 115 w 183"/>
                <a:gd name="T3" fmla="*/ 17 h 194"/>
                <a:gd name="T4" fmla="*/ 183 w 183"/>
                <a:gd name="T5" fmla="*/ 34 h 194"/>
                <a:gd name="T6" fmla="*/ 99 w 183"/>
                <a:gd name="T7" fmla="*/ 4 h 194"/>
                <a:gd name="T8" fmla="*/ 6 w 183"/>
                <a:gd name="T9" fmla="*/ 118 h 194"/>
                <a:gd name="T10" fmla="*/ 53 w 183"/>
                <a:gd name="T11" fmla="*/ 194 h 194"/>
                <a:gd name="T12" fmla="*/ 23 w 183"/>
                <a:gd name="T13" fmla="*/ 13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194">
                  <a:moveTo>
                    <a:pt x="23" y="131"/>
                  </a:moveTo>
                  <a:cubicBezTo>
                    <a:pt x="17" y="74"/>
                    <a:pt x="58" y="23"/>
                    <a:pt x="115" y="17"/>
                  </a:cubicBezTo>
                  <a:cubicBezTo>
                    <a:pt x="140" y="15"/>
                    <a:pt x="164" y="21"/>
                    <a:pt x="183" y="34"/>
                  </a:cubicBezTo>
                  <a:cubicBezTo>
                    <a:pt x="162" y="12"/>
                    <a:pt x="131" y="0"/>
                    <a:pt x="99" y="4"/>
                  </a:cubicBezTo>
                  <a:cubicBezTo>
                    <a:pt x="42" y="10"/>
                    <a:pt x="0" y="61"/>
                    <a:pt x="6" y="118"/>
                  </a:cubicBezTo>
                  <a:cubicBezTo>
                    <a:pt x="9" y="150"/>
                    <a:pt x="27" y="178"/>
                    <a:pt x="53" y="194"/>
                  </a:cubicBezTo>
                  <a:cubicBezTo>
                    <a:pt x="36" y="178"/>
                    <a:pt x="25" y="156"/>
                    <a:pt x="23" y="131"/>
                  </a:cubicBezTo>
                  <a:close/>
                </a:path>
              </a:pathLst>
            </a:custGeom>
            <a:solidFill>
              <a:srgbClr val="7C4B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734">
              <a:extLst>
                <a:ext uri="{FF2B5EF4-FFF2-40B4-BE49-F238E27FC236}">
                  <a16:creationId xmlns:a16="http://schemas.microsoft.com/office/drawing/2014/main" id="{2EF2E7C9-D440-4359-BF22-ED9E53C8D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1300" y="4194176"/>
              <a:ext cx="61913" cy="50800"/>
            </a:xfrm>
            <a:custGeom>
              <a:avLst/>
              <a:gdLst>
                <a:gd name="T0" fmla="*/ 42 w 70"/>
                <a:gd name="T1" fmla="*/ 54 h 59"/>
                <a:gd name="T2" fmla="*/ 0 w 70"/>
                <a:gd name="T3" fmla="*/ 30 h 59"/>
                <a:gd name="T4" fmla="*/ 17 w 70"/>
                <a:gd name="T5" fmla="*/ 0 h 59"/>
                <a:gd name="T6" fmla="*/ 59 w 70"/>
                <a:gd name="T7" fmla="*/ 25 h 59"/>
                <a:gd name="T8" fmla="*/ 65 w 70"/>
                <a:gd name="T9" fmla="*/ 48 h 59"/>
                <a:gd name="T10" fmla="*/ 42 w 70"/>
                <a:gd name="T11" fmla="*/ 5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59">
                  <a:moveTo>
                    <a:pt x="42" y="54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67" y="29"/>
                    <a:pt x="70" y="40"/>
                    <a:pt x="65" y="48"/>
                  </a:cubicBezTo>
                  <a:cubicBezTo>
                    <a:pt x="61" y="56"/>
                    <a:pt x="50" y="59"/>
                    <a:pt x="42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735">
              <a:extLst>
                <a:ext uri="{FF2B5EF4-FFF2-40B4-BE49-F238E27FC236}">
                  <a16:creationId xmlns:a16="http://schemas.microsoft.com/office/drawing/2014/main" id="{1B121890-B69A-4534-93C1-88E119724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6300" y="1749426"/>
              <a:ext cx="263525" cy="244475"/>
            </a:xfrm>
            <a:custGeom>
              <a:avLst/>
              <a:gdLst>
                <a:gd name="T0" fmla="*/ 293 w 303"/>
                <a:gd name="T1" fmla="*/ 212 h 282"/>
                <a:gd name="T2" fmla="*/ 258 w 303"/>
                <a:gd name="T3" fmla="*/ 191 h 282"/>
                <a:gd name="T4" fmla="*/ 206 w 303"/>
                <a:gd name="T5" fmla="*/ 34 h 282"/>
                <a:gd name="T6" fmla="*/ 35 w 303"/>
                <a:gd name="T7" fmla="*/ 80 h 282"/>
                <a:gd name="T8" fmla="*/ 80 w 303"/>
                <a:gd name="T9" fmla="*/ 250 h 282"/>
                <a:gd name="T10" fmla="*/ 240 w 303"/>
                <a:gd name="T11" fmla="*/ 221 h 282"/>
                <a:gd name="T12" fmla="*/ 275 w 303"/>
                <a:gd name="T13" fmla="*/ 241 h 282"/>
                <a:gd name="T14" fmla="*/ 299 w 303"/>
                <a:gd name="T15" fmla="*/ 235 h 282"/>
                <a:gd name="T16" fmla="*/ 293 w 303"/>
                <a:gd name="T17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3" h="282">
                  <a:moveTo>
                    <a:pt x="293" y="212"/>
                  </a:moveTo>
                  <a:cubicBezTo>
                    <a:pt x="258" y="191"/>
                    <a:pt x="258" y="191"/>
                    <a:pt x="258" y="191"/>
                  </a:cubicBezTo>
                  <a:cubicBezTo>
                    <a:pt x="282" y="134"/>
                    <a:pt x="261" y="66"/>
                    <a:pt x="206" y="34"/>
                  </a:cubicBezTo>
                  <a:cubicBezTo>
                    <a:pt x="146" y="0"/>
                    <a:pt x="70" y="20"/>
                    <a:pt x="35" y="80"/>
                  </a:cubicBezTo>
                  <a:cubicBezTo>
                    <a:pt x="0" y="139"/>
                    <a:pt x="21" y="216"/>
                    <a:pt x="80" y="250"/>
                  </a:cubicBezTo>
                  <a:cubicBezTo>
                    <a:pt x="134" y="282"/>
                    <a:pt x="202" y="268"/>
                    <a:pt x="240" y="221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84" y="246"/>
                    <a:pt x="294" y="243"/>
                    <a:pt x="299" y="235"/>
                  </a:cubicBezTo>
                  <a:cubicBezTo>
                    <a:pt x="303" y="227"/>
                    <a:pt x="301" y="216"/>
                    <a:pt x="293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736">
              <a:extLst>
                <a:ext uri="{FF2B5EF4-FFF2-40B4-BE49-F238E27FC236}">
                  <a16:creationId xmlns:a16="http://schemas.microsoft.com/office/drawing/2014/main" id="{1EB0E025-4DDD-46F5-A87E-70E08F482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7250" y="1754188"/>
              <a:ext cx="247650" cy="247650"/>
            </a:xfrm>
            <a:custGeom>
              <a:avLst/>
              <a:gdLst>
                <a:gd name="T0" fmla="*/ 251 w 285"/>
                <a:gd name="T1" fmla="*/ 205 h 285"/>
                <a:gd name="T2" fmla="*/ 80 w 285"/>
                <a:gd name="T3" fmla="*/ 250 h 285"/>
                <a:gd name="T4" fmla="*/ 35 w 285"/>
                <a:gd name="T5" fmla="*/ 79 h 285"/>
                <a:gd name="T6" fmla="*/ 205 w 285"/>
                <a:gd name="T7" fmla="*/ 34 h 285"/>
                <a:gd name="T8" fmla="*/ 251 w 285"/>
                <a:gd name="T9" fmla="*/ 20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5" h="285">
                  <a:moveTo>
                    <a:pt x="251" y="205"/>
                  </a:moveTo>
                  <a:cubicBezTo>
                    <a:pt x="216" y="265"/>
                    <a:pt x="140" y="285"/>
                    <a:pt x="80" y="250"/>
                  </a:cubicBezTo>
                  <a:cubicBezTo>
                    <a:pt x="20" y="216"/>
                    <a:pt x="0" y="139"/>
                    <a:pt x="35" y="79"/>
                  </a:cubicBezTo>
                  <a:cubicBezTo>
                    <a:pt x="69" y="20"/>
                    <a:pt x="146" y="0"/>
                    <a:pt x="205" y="34"/>
                  </a:cubicBezTo>
                  <a:cubicBezTo>
                    <a:pt x="265" y="69"/>
                    <a:pt x="285" y="145"/>
                    <a:pt x="251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737">
              <a:extLst>
                <a:ext uri="{FF2B5EF4-FFF2-40B4-BE49-F238E27FC236}">
                  <a16:creationId xmlns:a16="http://schemas.microsoft.com/office/drawing/2014/main" id="{E5A52628-CBEF-4276-91AA-59E114554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5825" y="1782763"/>
              <a:ext cx="190500" cy="190500"/>
            </a:xfrm>
            <a:custGeom>
              <a:avLst/>
              <a:gdLst>
                <a:gd name="T0" fmla="*/ 213 w 219"/>
                <a:gd name="T1" fmla="*/ 99 h 219"/>
                <a:gd name="T2" fmla="*/ 120 w 219"/>
                <a:gd name="T3" fmla="*/ 213 h 219"/>
                <a:gd name="T4" fmla="*/ 6 w 219"/>
                <a:gd name="T5" fmla="*/ 120 h 219"/>
                <a:gd name="T6" fmla="*/ 99 w 219"/>
                <a:gd name="T7" fmla="*/ 6 h 219"/>
                <a:gd name="T8" fmla="*/ 213 w 219"/>
                <a:gd name="T9" fmla="*/ 9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19">
                  <a:moveTo>
                    <a:pt x="213" y="99"/>
                  </a:moveTo>
                  <a:cubicBezTo>
                    <a:pt x="219" y="156"/>
                    <a:pt x="177" y="207"/>
                    <a:pt x="120" y="213"/>
                  </a:cubicBezTo>
                  <a:cubicBezTo>
                    <a:pt x="63" y="219"/>
                    <a:pt x="12" y="177"/>
                    <a:pt x="6" y="120"/>
                  </a:cubicBezTo>
                  <a:cubicBezTo>
                    <a:pt x="0" y="63"/>
                    <a:pt x="42" y="12"/>
                    <a:pt x="99" y="6"/>
                  </a:cubicBezTo>
                  <a:cubicBezTo>
                    <a:pt x="156" y="0"/>
                    <a:pt x="207" y="41"/>
                    <a:pt x="213" y="99"/>
                  </a:cubicBezTo>
                  <a:close/>
                </a:path>
              </a:pathLst>
            </a:custGeom>
            <a:solidFill>
              <a:srgbClr val="9158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738">
              <a:extLst>
                <a:ext uri="{FF2B5EF4-FFF2-40B4-BE49-F238E27FC236}">
                  <a16:creationId xmlns:a16="http://schemas.microsoft.com/office/drawing/2014/main" id="{27F0D199-300D-4DBF-8751-2A6A90140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5825" y="1784351"/>
              <a:ext cx="158750" cy="168275"/>
            </a:xfrm>
            <a:custGeom>
              <a:avLst/>
              <a:gdLst>
                <a:gd name="T0" fmla="*/ 23 w 183"/>
                <a:gd name="T1" fmla="*/ 131 h 194"/>
                <a:gd name="T2" fmla="*/ 116 w 183"/>
                <a:gd name="T3" fmla="*/ 17 h 194"/>
                <a:gd name="T4" fmla="*/ 183 w 183"/>
                <a:gd name="T5" fmla="*/ 34 h 194"/>
                <a:gd name="T6" fmla="*/ 99 w 183"/>
                <a:gd name="T7" fmla="*/ 4 h 194"/>
                <a:gd name="T8" fmla="*/ 6 w 183"/>
                <a:gd name="T9" fmla="*/ 118 h 194"/>
                <a:gd name="T10" fmla="*/ 53 w 183"/>
                <a:gd name="T11" fmla="*/ 194 h 194"/>
                <a:gd name="T12" fmla="*/ 23 w 183"/>
                <a:gd name="T13" fmla="*/ 13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194">
                  <a:moveTo>
                    <a:pt x="23" y="131"/>
                  </a:moveTo>
                  <a:cubicBezTo>
                    <a:pt x="17" y="74"/>
                    <a:pt x="58" y="23"/>
                    <a:pt x="116" y="17"/>
                  </a:cubicBezTo>
                  <a:cubicBezTo>
                    <a:pt x="140" y="15"/>
                    <a:pt x="164" y="21"/>
                    <a:pt x="183" y="34"/>
                  </a:cubicBezTo>
                  <a:cubicBezTo>
                    <a:pt x="162" y="12"/>
                    <a:pt x="131" y="0"/>
                    <a:pt x="99" y="4"/>
                  </a:cubicBezTo>
                  <a:cubicBezTo>
                    <a:pt x="42" y="10"/>
                    <a:pt x="0" y="61"/>
                    <a:pt x="6" y="118"/>
                  </a:cubicBezTo>
                  <a:cubicBezTo>
                    <a:pt x="9" y="150"/>
                    <a:pt x="27" y="178"/>
                    <a:pt x="53" y="194"/>
                  </a:cubicBezTo>
                  <a:cubicBezTo>
                    <a:pt x="36" y="178"/>
                    <a:pt x="25" y="156"/>
                    <a:pt x="23" y="131"/>
                  </a:cubicBezTo>
                  <a:close/>
                </a:path>
              </a:pathLst>
            </a:custGeom>
            <a:solidFill>
              <a:srgbClr val="7C4B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739">
              <a:extLst>
                <a:ext uri="{FF2B5EF4-FFF2-40B4-BE49-F238E27FC236}">
                  <a16:creationId xmlns:a16="http://schemas.microsoft.com/office/drawing/2014/main" id="{054328A0-52FA-4174-8DF5-C49F77755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8863" y="1916113"/>
              <a:ext cx="61913" cy="50800"/>
            </a:xfrm>
            <a:custGeom>
              <a:avLst/>
              <a:gdLst>
                <a:gd name="T0" fmla="*/ 42 w 70"/>
                <a:gd name="T1" fmla="*/ 54 h 59"/>
                <a:gd name="T2" fmla="*/ 0 w 70"/>
                <a:gd name="T3" fmla="*/ 29 h 59"/>
                <a:gd name="T4" fmla="*/ 17 w 70"/>
                <a:gd name="T5" fmla="*/ 0 h 59"/>
                <a:gd name="T6" fmla="*/ 59 w 70"/>
                <a:gd name="T7" fmla="*/ 24 h 59"/>
                <a:gd name="T8" fmla="*/ 65 w 70"/>
                <a:gd name="T9" fmla="*/ 48 h 59"/>
                <a:gd name="T10" fmla="*/ 42 w 70"/>
                <a:gd name="T11" fmla="*/ 5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59">
                  <a:moveTo>
                    <a:pt x="42" y="54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67" y="29"/>
                    <a:pt x="70" y="40"/>
                    <a:pt x="65" y="48"/>
                  </a:cubicBezTo>
                  <a:cubicBezTo>
                    <a:pt x="61" y="56"/>
                    <a:pt x="50" y="59"/>
                    <a:pt x="42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6403AD8-5BF8-4459-952F-C838B079D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563" y="397707"/>
            <a:ext cx="10339200" cy="784830"/>
          </a:xfrm>
        </p:spPr>
        <p:txBody>
          <a:bodyPr>
            <a:spAutoFit/>
          </a:bodyPr>
          <a:lstStyle/>
          <a:p>
            <a:r>
              <a:rPr lang="sv-SE" sz="6000" dirty="0"/>
              <a:t>Lab work</a:t>
            </a:r>
            <a:endParaRPr lang="en-US" sz="6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C7E1A3A-4FC8-466E-9692-08DDD41A95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0509" y="1757341"/>
            <a:ext cx="2451266" cy="4340268"/>
          </a:xfrm>
          <a:prstGeom prst="rect">
            <a:avLst/>
          </a:prstGeom>
        </p:spPr>
      </p:pic>
      <p:sp>
        <p:nvSpPr>
          <p:cNvPr id="768" name="TextBox 767">
            <a:extLst>
              <a:ext uri="{FF2B5EF4-FFF2-40B4-BE49-F238E27FC236}">
                <a16:creationId xmlns:a16="http://schemas.microsoft.com/office/drawing/2014/main" id="{FF9DA181-DE3E-440D-B1B8-A954603A7105}"/>
              </a:ext>
            </a:extLst>
          </p:cNvPr>
          <p:cNvSpPr txBox="1"/>
          <p:nvPr/>
        </p:nvSpPr>
        <p:spPr>
          <a:xfrm>
            <a:off x="821094" y="1758156"/>
            <a:ext cx="291880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sz="1600" spc="-70" dirty="0"/>
              <a:t>Create a stretch goal to a sales region</a:t>
            </a:r>
          </a:p>
          <a:p>
            <a:pPr marL="342900" indent="-342900">
              <a:buFontTx/>
              <a:buChar char="-"/>
            </a:pPr>
            <a:r>
              <a:rPr lang="en-US" sz="1600" spc="-70" dirty="0"/>
              <a:t>Notify the sales team</a:t>
            </a:r>
          </a:p>
        </p:txBody>
      </p:sp>
    </p:spTree>
    <p:extLst>
      <p:ext uri="{BB962C8B-B14F-4D97-AF65-F5344CB8AC3E}">
        <p14:creationId xmlns:p14="http://schemas.microsoft.com/office/powerpoint/2010/main" val="22040420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1F6288C-61D7-4F48-8612-DCBB0A6F6FB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7E39E4C5-F7CE-4A49-9C01-84974E49B9BE}"/>
              </a:ext>
            </a:extLst>
          </p:cNvPr>
          <p:cNvSpPr txBox="1"/>
          <p:nvPr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lang="en-US" sz="8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FC9CFA-33B8-4AC2-8692-F4821C917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53661" y="3010424"/>
            <a:ext cx="3644422" cy="837152"/>
          </a:xfrm>
        </p:spPr>
        <p:txBody>
          <a:bodyPr>
            <a:spAutoFit/>
          </a:bodyPr>
          <a:lstStyle/>
          <a:p>
            <a:r>
              <a:rPr lang="en-US" sz="3200" dirty="0"/>
              <a:t>Business scenario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B625C01-DFD9-4E33-8FD0-01E4C5F07547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41" name="Oval 503">
              <a:extLst>
                <a:ext uri="{FF2B5EF4-FFF2-40B4-BE49-F238E27FC236}">
                  <a16:creationId xmlns:a16="http://schemas.microsoft.com/office/drawing/2014/main" id="{86646E12-A5D7-455E-8B8F-EFD6EF4E28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504">
              <a:extLst>
                <a:ext uri="{FF2B5EF4-FFF2-40B4-BE49-F238E27FC236}">
                  <a16:creationId xmlns:a16="http://schemas.microsoft.com/office/drawing/2014/main" id="{E3B29C9C-2988-48A8-B800-0831BC1A4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505">
              <a:extLst>
                <a:ext uri="{FF2B5EF4-FFF2-40B4-BE49-F238E27FC236}">
                  <a16:creationId xmlns:a16="http://schemas.microsoft.com/office/drawing/2014/main" id="{1BBFC87C-450D-48E3-86E4-9352E9249D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506">
              <a:extLst>
                <a:ext uri="{FF2B5EF4-FFF2-40B4-BE49-F238E27FC236}">
                  <a16:creationId xmlns:a16="http://schemas.microsoft.com/office/drawing/2014/main" id="{5A940483-A4FF-4045-9AE2-A2B8598EE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404461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7" name="Group 766">
            <a:extLst>
              <a:ext uri="{FF2B5EF4-FFF2-40B4-BE49-F238E27FC236}">
                <a16:creationId xmlns:a16="http://schemas.microsoft.com/office/drawing/2014/main" id="{9001FA43-023B-449E-9649-3C3556FBEC55}"/>
              </a:ext>
            </a:extLst>
          </p:cNvPr>
          <p:cNvGrpSpPr/>
          <p:nvPr/>
        </p:nvGrpSpPr>
        <p:grpSpPr>
          <a:xfrm>
            <a:off x="8277225" y="0"/>
            <a:ext cx="5097463" cy="4886325"/>
            <a:chOff x="6600825" y="260351"/>
            <a:chExt cx="5097463" cy="4886325"/>
          </a:xfrm>
        </p:grpSpPr>
        <p:grpSp>
          <p:nvGrpSpPr>
            <p:cNvPr id="7" name="Group 205">
              <a:extLst>
                <a:ext uri="{FF2B5EF4-FFF2-40B4-BE49-F238E27FC236}">
                  <a16:creationId xmlns:a16="http://schemas.microsoft.com/office/drawing/2014/main" id="{BFEA87D8-F9F4-4909-B906-53FB73F7E08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600825" y="260351"/>
              <a:ext cx="5054600" cy="4886325"/>
              <a:chOff x="4158" y="164"/>
              <a:chExt cx="3184" cy="3078"/>
            </a:xfrm>
          </p:grpSpPr>
          <p:sp>
            <p:nvSpPr>
              <p:cNvPr id="567" name="Rectangle 5">
                <a:extLst>
                  <a:ext uri="{FF2B5EF4-FFF2-40B4-BE49-F238E27FC236}">
                    <a16:creationId xmlns:a16="http://schemas.microsoft.com/office/drawing/2014/main" id="{68BA803B-B0C0-446C-92B3-8DE3FA683C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79" y="263"/>
                <a:ext cx="196" cy="102"/>
              </a:xfrm>
              <a:prstGeom prst="rect">
                <a:avLst/>
              </a:pr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8" name="Freeform 6">
                <a:extLst>
                  <a:ext uri="{FF2B5EF4-FFF2-40B4-BE49-F238E27FC236}">
                    <a16:creationId xmlns:a16="http://schemas.microsoft.com/office/drawing/2014/main" id="{1B286794-E1E4-4DC8-80E4-74FBC31CD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0" y="164"/>
                <a:ext cx="375" cy="143"/>
              </a:xfrm>
              <a:custGeom>
                <a:avLst/>
                <a:gdLst>
                  <a:gd name="T0" fmla="*/ 35 w 686"/>
                  <a:gd name="T1" fmla="*/ 112 h 262"/>
                  <a:gd name="T2" fmla="*/ 650 w 686"/>
                  <a:gd name="T3" fmla="*/ 112 h 262"/>
                  <a:gd name="T4" fmla="*/ 679 w 686"/>
                  <a:gd name="T5" fmla="*/ 205 h 262"/>
                  <a:gd name="T6" fmla="*/ 628 w 686"/>
                  <a:gd name="T7" fmla="*/ 251 h 262"/>
                  <a:gd name="T8" fmla="*/ 57 w 686"/>
                  <a:gd name="T9" fmla="*/ 251 h 262"/>
                  <a:gd name="T10" fmla="*/ 7 w 686"/>
                  <a:gd name="T11" fmla="*/ 205 h 262"/>
                  <a:gd name="T12" fmla="*/ 35 w 686"/>
                  <a:gd name="T13" fmla="*/ 11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6" h="262">
                    <a:moveTo>
                      <a:pt x="35" y="112"/>
                    </a:moveTo>
                    <a:cubicBezTo>
                      <a:pt x="236" y="0"/>
                      <a:pt x="450" y="0"/>
                      <a:pt x="650" y="112"/>
                    </a:cubicBezTo>
                    <a:cubicBezTo>
                      <a:pt x="673" y="124"/>
                      <a:pt x="686" y="167"/>
                      <a:pt x="679" y="205"/>
                    </a:cubicBezTo>
                    <a:cubicBezTo>
                      <a:pt x="671" y="243"/>
                      <a:pt x="649" y="262"/>
                      <a:pt x="628" y="251"/>
                    </a:cubicBezTo>
                    <a:cubicBezTo>
                      <a:pt x="442" y="147"/>
                      <a:pt x="244" y="147"/>
                      <a:pt x="57" y="251"/>
                    </a:cubicBezTo>
                    <a:cubicBezTo>
                      <a:pt x="36" y="262"/>
                      <a:pt x="14" y="243"/>
                      <a:pt x="7" y="205"/>
                    </a:cubicBezTo>
                    <a:cubicBezTo>
                      <a:pt x="0" y="167"/>
                      <a:pt x="12" y="124"/>
                      <a:pt x="35" y="112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9" name="Freeform 7">
                <a:extLst>
                  <a:ext uri="{FF2B5EF4-FFF2-40B4-BE49-F238E27FC236}">
                    <a16:creationId xmlns:a16="http://schemas.microsoft.com/office/drawing/2014/main" id="{0FF847E9-8A2B-4A09-880C-06CB9F3E0E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1" y="385"/>
                <a:ext cx="573" cy="571"/>
              </a:xfrm>
              <a:custGeom>
                <a:avLst/>
                <a:gdLst>
                  <a:gd name="T0" fmla="*/ 25 w 1046"/>
                  <a:gd name="T1" fmla="*/ 25 h 1046"/>
                  <a:gd name="T2" fmla="*/ 116 w 1046"/>
                  <a:gd name="T3" fmla="*/ 25 h 1046"/>
                  <a:gd name="T4" fmla="*/ 1020 w 1046"/>
                  <a:gd name="T5" fmla="*/ 929 h 1046"/>
                  <a:gd name="T6" fmla="*/ 1020 w 1046"/>
                  <a:gd name="T7" fmla="*/ 1021 h 1046"/>
                  <a:gd name="T8" fmla="*/ 929 w 1046"/>
                  <a:gd name="T9" fmla="*/ 1021 h 1046"/>
                  <a:gd name="T10" fmla="*/ 25 w 1046"/>
                  <a:gd name="T11" fmla="*/ 116 h 1046"/>
                  <a:gd name="T12" fmla="*/ 25 w 1046"/>
                  <a:gd name="T13" fmla="*/ 25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6" h="1046">
                    <a:moveTo>
                      <a:pt x="25" y="25"/>
                    </a:moveTo>
                    <a:cubicBezTo>
                      <a:pt x="50" y="0"/>
                      <a:pt x="91" y="0"/>
                      <a:pt x="116" y="25"/>
                    </a:cubicBezTo>
                    <a:cubicBezTo>
                      <a:pt x="1020" y="929"/>
                      <a:pt x="1020" y="929"/>
                      <a:pt x="1020" y="929"/>
                    </a:cubicBezTo>
                    <a:cubicBezTo>
                      <a:pt x="1046" y="955"/>
                      <a:pt x="1046" y="995"/>
                      <a:pt x="1020" y="1021"/>
                    </a:cubicBezTo>
                    <a:cubicBezTo>
                      <a:pt x="995" y="1046"/>
                      <a:pt x="954" y="1046"/>
                      <a:pt x="929" y="1021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0" y="91"/>
                      <a:pt x="0" y="50"/>
                      <a:pt x="25" y="25"/>
                    </a:cubicBezTo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0" name="Freeform 8">
                <a:extLst>
                  <a:ext uri="{FF2B5EF4-FFF2-40B4-BE49-F238E27FC236}">
                    <a16:creationId xmlns:a16="http://schemas.microsoft.com/office/drawing/2014/main" id="{65F99480-1029-4DB9-A18D-EDF55E361C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1" y="385"/>
                <a:ext cx="573" cy="571"/>
              </a:xfrm>
              <a:custGeom>
                <a:avLst/>
                <a:gdLst>
                  <a:gd name="T0" fmla="*/ 1020 w 1046"/>
                  <a:gd name="T1" fmla="*/ 25 h 1046"/>
                  <a:gd name="T2" fmla="*/ 1020 w 1046"/>
                  <a:gd name="T3" fmla="*/ 116 h 1046"/>
                  <a:gd name="T4" fmla="*/ 116 w 1046"/>
                  <a:gd name="T5" fmla="*/ 1021 h 1046"/>
                  <a:gd name="T6" fmla="*/ 25 w 1046"/>
                  <a:gd name="T7" fmla="*/ 1021 h 1046"/>
                  <a:gd name="T8" fmla="*/ 25 w 1046"/>
                  <a:gd name="T9" fmla="*/ 929 h 1046"/>
                  <a:gd name="T10" fmla="*/ 929 w 1046"/>
                  <a:gd name="T11" fmla="*/ 25 h 1046"/>
                  <a:gd name="T12" fmla="*/ 1020 w 1046"/>
                  <a:gd name="T13" fmla="*/ 25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6" h="1046">
                    <a:moveTo>
                      <a:pt x="1020" y="25"/>
                    </a:moveTo>
                    <a:cubicBezTo>
                      <a:pt x="1046" y="50"/>
                      <a:pt x="1046" y="91"/>
                      <a:pt x="1020" y="116"/>
                    </a:cubicBezTo>
                    <a:cubicBezTo>
                      <a:pt x="116" y="1021"/>
                      <a:pt x="116" y="1021"/>
                      <a:pt x="116" y="1021"/>
                    </a:cubicBezTo>
                    <a:cubicBezTo>
                      <a:pt x="91" y="1046"/>
                      <a:pt x="50" y="1046"/>
                      <a:pt x="25" y="1021"/>
                    </a:cubicBezTo>
                    <a:cubicBezTo>
                      <a:pt x="0" y="995"/>
                      <a:pt x="0" y="955"/>
                      <a:pt x="25" y="929"/>
                    </a:cubicBezTo>
                    <a:cubicBezTo>
                      <a:pt x="929" y="25"/>
                      <a:pt x="929" y="25"/>
                      <a:pt x="929" y="25"/>
                    </a:cubicBezTo>
                    <a:cubicBezTo>
                      <a:pt x="954" y="0"/>
                      <a:pt x="995" y="0"/>
                      <a:pt x="1020" y="25"/>
                    </a:cubicBezTo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1" name="Freeform 9">
                <a:extLst>
                  <a:ext uri="{FF2B5EF4-FFF2-40B4-BE49-F238E27FC236}">
                    <a16:creationId xmlns:a16="http://schemas.microsoft.com/office/drawing/2014/main" id="{74F52746-F364-44D3-A132-444B52E7B7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5" y="299"/>
                <a:ext cx="745" cy="743"/>
              </a:xfrm>
              <a:custGeom>
                <a:avLst/>
                <a:gdLst>
                  <a:gd name="T0" fmla="*/ 242 w 1362"/>
                  <a:gd name="T1" fmla="*/ 1120 h 1362"/>
                  <a:gd name="T2" fmla="*/ 242 w 1362"/>
                  <a:gd name="T3" fmla="*/ 242 h 1362"/>
                  <a:gd name="T4" fmla="*/ 1119 w 1362"/>
                  <a:gd name="T5" fmla="*/ 242 h 1362"/>
                  <a:gd name="T6" fmla="*/ 1119 w 1362"/>
                  <a:gd name="T7" fmla="*/ 1120 h 1362"/>
                  <a:gd name="T8" fmla="*/ 242 w 1362"/>
                  <a:gd name="T9" fmla="*/ 1120 h 1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62" h="1362">
                    <a:moveTo>
                      <a:pt x="242" y="1120"/>
                    </a:moveTo>
                    <a:cubicBezTo>
                      <a:pt x="0" y="877"/>
                      <a:pt x="0" y="484"/>
                      <a:pt x="242" y="242"/>
                    </a:cubicBezTo>
                    <a:cubicBezTo>
                      <a:pt x="484" y="0"/>
                      <a:pt x="877" y="0"/>
                      <a:pt x="1119" y="242"/>
                    </a:cubicBezTo>
                    <a:cubicBezTo>
                      <a:pt x="1362" y="484"/>
                      <a:pt x="1362" y="877"/>
                      <a:pt x="1119" y="1120"/>
                    </a:cubicBezTo>
                    <a:cubicBezTo>
                      <a:pt x="877" y="1362"/>
                      <a:pt x="484" y="1362"/>
                      <a:pt x="242" y="1120"/>
                    </a:cubicBezTo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2" name="Freeform 10">
                <a:extLst>
                  <a:ext uri="{FF2B5EF4-FFF2-40B4-BE49-F238E27FC236}">
                    <a16:creationId xmlns:a16="http://schemas.microsoft.com/office/drawing/2014/main" id="{DDA0F044-A0AD-4CE6-9510-D09E97D71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12"/>
                <a:ext cx="702" cy="143"/>
              </a:xfrm>
              <a:custGeom>
                <a:avLst/>
                <a:gdLst>
                  <a:gd name="T0" fmla="*/ 66 w 1282"/>
                  <a:gd name="T1" fmla="*/ 112 h 263"/>
                  <a:gd name="T2" fmla="*/ 1216 w 1282"/>
                  <a:gd name="T3" fmla="*/ 112 h 263"/>
                  <a:gd name="T4" fmla="*/ 1268 w 1282"/>
                  <a:gd name="T5" fmla="*/ 205 h 263"/>
                  <a:gd name="T6" fmla="*/ 1174 w 1282"/>
                  <a:gd name="T7" fmla="*/ 251 h 263"/>
                  <a:gd name="T8" fmla="*/ 107 w 1282"/>
                  <a:gd name="T9" fmla="*/ 251 h 263"/>
                  <a:gd name="T10" fmla="*/ 13 w 1282"/>
                  <a:gd name="T11" fmla="*/ 205 h 263"/>
                  <a:gd name="T12" fmla="*/ 66 w 1282"/>
                  <a:gd name="T13" fmla="*/ 112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2" h="263">
                    <a:moveTo>
                      <a:pt x="66" y="112"/>
                    </a:moveTo>
                    <a:cubicBezTo>
                      <a:pt x="441" y="0"/>
                      <a:pt x="841" y="0"/>
                      <a:pt x="1216" y="112"/>
                    </a:cubicBezTo>
                    <a:cubicBezTo>
                      <a:pt x="1258" y="125"/>
                      <a:pt x="1282" y="168"/>
                      <a:pt x="1268" y="205"/>
                    </a:cubicBezTo>
                    <a:cubicBezTo>
                      <a:pt x="1255" y="243"/>
                      <a:pt x="1213" y="263"/>
                      <a:pt x="1174" y="251"/>
                    </a:cubicBezTo>
                    <a:cubicBezTo>
                      <a:pt x="826" y="147"/>
                      <a:pt x="455" y="147"/>
                      <a:pt x="107" y="251"/>
                    </a:cubicBezTo>
                    <a:cubicBezTo>
                      <a:pt x="68" y="263"/>
                      <a:pt x="26" y="243"/>
                      <a:pt x="13" y="205"/>
                    </a:cubicBezTo>
                    <a:cubicBezTo>
                      <a:pt x="0" y="168"/>
                      <a:pt x="23" y="125"/>
                      <a:pt x="66" y="112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3" name="Freeform 11">
                <a:extLst>
                  <a:ext uri="{FF2B5EF4-FFF2-40B4-BE49-F238E27FC236}">
                    <a16:creationId xmlns:a16="http://schemas.microsoft.com/office/drawing/2014/main" id="{7F569259-1666-42E1-90C5-2140422562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5" y="2908"/>
                <a:ext cx="218" cy="201"/>
              </a:xfrm>
              <a:custGeom>
                <a:avLst/>
                <a:gdLst>
                  <a:gd name="T0" fmla="*/ 218 w 218"/>
                  <a:gd name="T1" fmla="*/ 81 h 201"/>
                  <a:gd name="T2" fmla="*/ 63 w 218"/>
                  <a:gd name="T3" fmla="*/ 201 h 201"/>
                  <a:gd name="T4" fmla="*/ 0 w 218"/>
                  <a:gd name="T5" fmla="*/ 120 h 201"/>
                  <a:gd name="T6" fmla="*/ 155 w 218"/>
                  <a:gd name="T7" fmla="*/ 0 h 201"/>
                  <a:gd name="T8" fmla="*/ 218 w 218"/>
                  <a:gd name="T9" fmla="*/ 8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8" h="201">
                    <a:moveTo>
                      <a:pt x="218" y="81"/>
                    </a:moveTo>
                    <a:lnTo>
                      <a:pt x="63" y="201"/>
                    </a:lnTo>
                    <a:lnTo>
                      <a:pt x="0" y="120"/>
                    </a:lnTo>
                    <a:lnTo>
                      <a:pt x="155" y="0"/>
                    </a:lnTo>
                    <a:lnTo>
                      <a:pt x="218" y="81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4" name="Freeform 12">
                <a:extLst>
                  <a:ext uri="{FF2B5EF4-FFF2-40B4-BE49-F238E27FC236}">
                    <a16:creationId xmlns:a16="http://schemas.microsoft.com/office/drawing/2014/main" id="{8D58AA32-334F-4A0B-A072-B288A9C70D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3" y="2911"/>
                <a:ext cx="324" cy="273"/>
              </a:xfrm>
              <a:custGeom>
                <a:avLst/>
                <a:gdLst>
                  <a:gd name="T0" fmla="*/ 582 w 592"/>
                  <a:gd name="T1" fmla="*/ 118 h 500"/>
                  <a:gd name="T2" fmla="*/ 97 w 592"/>
                  <a:gd name="T3" fmla="*/ 496 h 500"/>
                  <a:gd name="T4" fmla="*/ 17 w 592"/>
                  <a:gd name="T5" fmla="*/ 440 h 500"/>
                  <a:gd name="T6" fmla="*/ 29 w 592"/>
                  <a:gd name="T7" fmla="*/ 372 h 500"/>
                  <a:gd name="T8" fmla="*/ 479 w 592"/>
                  <a:gd name="T9" fmla="*/ 22 h 500"/>
                  <a:gd name="T10" fmla="*/ 547 w 592"/>
                  <a:gd name="T11" fmla="*/ 27 h 500"/>
                  <a:gd name="T12" fmla="*/ 582 w 592"/>
                  <a:gd name="T13" fmla="*/ 118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2" h="500">
                    <a:moveTo>
                      <a:pt x="582" y="118"/>
                    </a:moveTo>
                    <a:cubicBezTo>
                      <a:pt x="493" y="330"/>
                      <a:pt x="324" y="461"/>
                      <a:pt x="97" y="496"/>
                    </a:cubicBezTo>
                    <a:cubicBezTo>
                      <a:pt x="71" y="500"/>
                      <a:pt x="35" y="474"/>
                      <a:pt x="17" y="440"/>
                    </a:cubicBezTo>
                    <a:cubicBezTo>
                      <a:pt x="0" y="405"/>
                      <a:pt x="5" y="376"/>
                      <a:pt x="29" y="372"/>
                    </a:cubicBezTo>
                    <a:cubicBezTo>
                      <a:pt x="240" y="340"/>
                      <a:pt x="396" y="218"/>
                      <a:pt x="479" y="22"/>
                    </a:cubicBezTo>
                    <a:cubicBezTo>
                      <a:pt x="489" y="0"/>
                      <a:pt x="518" y="2"/>
                      <a:pt x="547" y="27"/>
                    </a:cubicBezTo>
                    <a:cubicBezTo>
                      <a:pt x="576" y="53"/>
                      <a:pt x="592" y="94"/>
                      <a:pt x="582" y="1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5" name="Freeform 13">
                <a:extLst>
                  <a:ext uri="{FF2B5EF4-FFF2-40B4-BE49-F238E27FC236}">
                    <a16:creationId xmlns:a16="http://schemas.microsoft.com/office/drawing/2014/main" id="{BF01CC71-81EF-4791-845A-3A2916E063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9" y="2646"/>
                <a:ext cx="770" cy="161"/>
              </a:xfrm>
              <a:custGeom>
                <a:avLst/>
                <a:gdLst>
                  <a:gd name="T0" fmla="*/ 1402 w 1406"/>
                  <a:gd name="T1" fmla="*/ 235 h 295"/>
                  <a:gd name="T2" fmla="*/ 1402 w 1406"/>
                  <a:gd name="T3" fmla="*/ 235 h 295"/>
                  <a:gd name="T4" fmla="*/ 1330 w 1406"/>
                  <a:gd name="T5" fmla="*/ 291 h 295"/>
                  <a:gd name="T6" fmla="*/ 61 w 1406"/>
                  <a:gd name="T7" fmla="*/ 133 h 295"/>
                  <a:gd name="T8" fmla="*/ 5 w 1406"/>
                  <a:gd name="T9" fmla="*/ 61 h 295"/>
                  <a:gd name="T10" fmla="*/ 77 w 1406"/>
                  <a:gd name="T11" fmla="*/ 5 h 295"/>
                  <a:gd name="T12" fmla="*/ 1346 w 1406"/>
                  <a:gd name="T13" fmla="*/ 163 h 295"/>
                  <a:gd name="T14" fmla="*/ 1402 w 1406"/>
                  <a:gd name="T15" fmla="*/ 23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6" h="295">
                    <a:moveTo>
                      <a:pt x="1402" y="235"/>
                    </a:moveTo>
                    <a:cubicBezTo>
                      <a:pt x="1402" y="235"/>
                      <a:pt x="1402" y="235"/>
                      <a:pt x="1402" y="235"/>
                    </a:cubicBezTo>
                    <a:cubicBezTo>
                      <a:pt x="1397" y="270"/>
                      <a:pt x="1365" y="295"/>
                      <a:pt x="1330" y="291"/>
                    </a:cubicBezTo>
                    <a:cubicBezTo>
                      <a:pt x="61" y="133"/>
                      <a:pt x="61" y="133"/>
                      <a:pt x="61" y="133"/>
                    </a:cubicBezTo>
                    <a:cubicBezTo>
                      <a:pt x="25" y="128"/>
                      <a:pt x="0" y="96"/>
                      <a:pt x="5" y="61"/>
                    </a:cubicBezTo>
                    <a:cubicBezTo>
                      <a:pt x="9" y="25"/>
                      <a:pt x="41" y="0"/>
                      <a:pt x="77" y="5"/>
                    </a:cubicBezTo>
                    <a:cubicBezTo>
                      <a:pt x="1346" y="163"/>
                      <a:pt x="1346" y="163"/>
                      <a:pt x="1346" y="163"/>
                    </a:cubicBezTo>
                    <a:cubicBezTo>
                      <a:pt x="1381" y="167"/>
                      <a:pt x="1406" y="200"/>
                      <a:pt x="1402" y="235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6" name="Freeform 14">
                <a:extLst>
                  <a:ext uri="{FF2B5EF4-FFF2-40B4-BE49-F238E27FC236}">
                    <a16:creationId xmlns:a16="http://schemas.microsoft.com/office/drawing/2014/main" id="{B0FF48EF-0B8A-4C8E-9DEF-0132297105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4" y="2343"/>
                <a:ext cx="161" cy="768"/>
              </a:xfrm>
              <a:custGeom>
                <a:avLst/>
                <a:gdLst>
                  <a:gd name="T0" fmla="*/ 60 w 295"/>
                  <a:gd name="T1" fmla="*/ 1401 h 1406"/>
                  <a:gd name="T2" fmla="*/ 60 w 295"/>
                  <a:gd name="T3" fmla="*/ 1401 h 1406"/>
                  <a:gd name="T4" fmla="*/ 4 w 295"/>
                  <a:gd name="T5" fmla="*/ 1329 h 1406"/>
                  <a:gd name="T6" fmla="*/ 162 w 295"/>
                  <a:gd name="T7" fmla="*/ 60 h 1406"/>
                  <a:gd name="T8" fmla="*/ 234 w 295"/>
                  <a:gd name="T9" fmla="*/ 4 h 1406"/>
                  <a:gd name="T10" fmla="*/ 290 w 295"/>
                  <a:gd name="T11" fmla="*/ 76 h 1406"/>
                  <a:gd name="T12" fmla="*/ 132 w 295"/>
                  <a:gd name="T13" fmla="*/ 1345 h 1406"/>
                  <a:gd name="T14" fmla="*/ 60 w 295"/>
                  <a:gd name="T15" fmla="*/ 1401 h 1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5" h="1406">
                    <a:moveTo>
                      <a:pt x="60" y="1401"/>
                    </a:moveTo>
                    <a:cubicBezTo>
                      <a:pt x="60" y="1401"/>
                      <a:pt x="60" y="1401"/>
                      <a:pt x="60" y="1401"/>
                    </a:cubicBezTo>
                    <a:cubicBezTo>
                      <a:pt x="25" y="1397"/>
                      <a:pt x="0" y="1365"/>
                      <a:pt x="4" y="1329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67" y="25"/>
                      <a:pt x="199" y="0"/>
                      <a:pt x="234" y="4"/>
                    </a:cubicBezTo>
                    <a:cubicBezTo>
                      <a:pt x="270" y="9"/>
                      <a:pt x="295" y="41"/>
                      <a:pt x="290" y="76"/>
                    </a:cubicBezTo>
                    <a:cubicBezTo>
                      <a:pt x="132" y="1345"/>
                      <a:pt x="132" y="1345"/>
                      <a:pt x="132" y="1345"/>
                    </a:cubicBezTo>
                    <a:cubicBezTo>
                      <a:pt x="128" y="1381"/>
                      <a:pt x="95" y="1406"/>
                      <a:pt x="60" y="1401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7" name="Freeform 15">
                <a:extLst>
                  <a:ext uri="{FF2B5EF4-FFF2-40B4-BE49-F238E27FC236}">
                    <a16:creationId xmlns:a16="http://schemas.microsoft.com/office/drawing/2014/main" id="{BA8A4FA2-17D1-4E7F-822D-DF990678D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4" y="2368"/>
                <a:ext cx="720" cy="718"/>
              </a:xfrm>
              <a:custGeom>
                <a:avLst/>
                <a:gdLst>
                  <a:gd name="T0" fmla="*/ 735 w 1316"/>
                  <a:gd name="T1" fmla="*/ 42 h 1316"/>
                  <a:gd name="T2" fmla="*/ 1274 w 1316"/>
                  <a:gd name="T3" fmla="*/ 735 h 1316"/>
                  <a:gd name="T4" fmla="*/ 581 w 1316"/>
                  <a:gd name="T5" fmla="*/ 1273 h 1316"/>
                  <a:gd name="T6" fmla="*/ 43 w 1316"/>
                  <a:gd name="T7" fmla="*/ 581 h 1316"/>
                  <a:gd name="T8" fmla="*/ 735 w 1316"/>
                  <a:gd name="T9" fmla="*/ 42 h 1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6" h="1316">
                    <a:moveTo>
                      <a:pt x="735" y="42"/>
                    </a:moveTo>
                    <a:cubicBezTo>
                      <a:pt x="1075" y="85"/>
                      <a:pt x="1316" y="395"/>
                      <a:pt x="1274" y="735"/>
                    </a:cubicBezTo>
                    <a:cubicBezTo>
                      <a:pt x="1231" y="1075"/>
                      <a:pt x="921" y="1316"/>
                      <a:pt x="581" y="1273"/>
                    </a:cubicBezTo>
                    <a:cubicBezTo>
                      <a:pt x="241" y="1231"/>
                      <a:pt x="0" y="921"/>
                      <a:pt x="43" y="581"/>
                    </a:cubicBezTo>
                    <a:cubicBezTo>
                      <a:pt x="85" y="241"/>
                      <a:pt x="395" y="0"/>
                      <a:pt x="735" y="42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8" name="Freeform 16">
                <a:extLst>
                  <a:ext uri="{FF2B5EF4-FFF2-40B4-BE49-F238E27FC236}">
                    <a16:creationId xmlns:a16="http://schemas.microsoft.com/office/drawing/2014/main" id="{3726B187-656C-43AB-B8A1-4627A77B2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0" y="2778"/>
                <a:ext cx="572" cy="464"/>
              </a:xfrm>
              <a:custGeom>
                <a:avLst/>
                <a:gdLst>
                  <a:gd name="T0" fmla="*/ 1019 w 1045"/>
                  <a:gd name="T1" fmla="*/ 128 h 850"/>
                  <a:gd name="T2" fmla="*/ 111 w 1045"/>
                  <a:gd name="T3" fmla="*/ 834 h 850"/>
                  <a:gd name="T4" fmla="*/ 12 w 1045"/>
                  <a:gd name="T5" fmla="*/ 793 h 850"/>
                  <a:gd name="T6" fmla="*/ 59 w 1045"/>
                  <a:gd name="T7" fmla="*/ 699 h 850"/>
                  <a:gd name="T8" fmla="*/ 901 w 1045"/>
                  <a:gd name="T9" fmla="*/ 44 h 850"/>
                  <a:gd name="T10" fmla="*/ 1003 w 1045"/>
                  <a:gd name="T11" fmla="*/ 22 h 850"/>
                  <a:gd name="T12" fmla="*/ 1019 w 1045"/>
                  <a:gd name="T13" fmla="*/ 128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5" h="850">
                    <a:moveTo>
                      <a:pt x="1019" y="128"/>
                    </a:moveTo>
                    <a:cubicBezTo>
                      <a:pt x="791" y="447"/>
                      <a:pt x="476" y="692"/>
                      <a:pt x="111" y="834"/>
                    </a:cubicBezTo>
                    <a:cubicBezTo>
                      <a:pt x="70" y="850"/>
                      <a:pt x="25" y="831"/>
                      <a:pt x="12" y="793"/>
                    </a:cubicBezTo>
                    <a:cubicBezTo>
                      <a:pt x="0" y="755"/>
                      <a:pt x="21" y="714"/>
                      <a:pt x="59" y="699"/>
                    </a:cubicBezTo>
                    <a:cubicBezTo>
                      <a:pt x="397" y="567"/>
                      <a:pt x="690" y="339"/>
                      <a:pt x="901" y="44"/>
                    </a:cubicBezTo>
                    <a:cubicBezTo>
                      <a:pt x="924" y="10"/>
                      <a:pt x="970" y="0"/>
                      <a:pt x="1003" y="22"/>
                    </a:cubicBezTo>
                    <a:cubicBezTo>
                      <a:pt x="1037" y="44"/>
                      <a:pt x="1045" y="92"/>
                      <a:pt x="1019" y="128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9" name="Freeform 17">
                <a:extLst>
                  <a:ext uri="{FF2B5EF4-FFF2-40B4-BE49-F238E27FC236}">
                    <a16:creationId xmlns:a16="http://schemas.microsoft.com/office/drawing/2014/main" id="{251AB2CC-64B5-43DA-B97F-97DD5DB0D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6" y="2906"/>
                <a:ext cx="218" cy="201"/>
              </a:xfrm>
              <a:custGeom>
                <a:avLst/>
                <a:gdLst>
                  <a:gd name="T0" fmla="*/ 0 w 218"/>
                  <a:gd name="T1" fmla="*/ 81 h 201"/>
                  <a:gd name="T2" fmla="*/ 155 w 218"/>
                  <a:gd name="T3" fmla="*/ 201 h 201"/>
                  <a:gd name="T4" fmla="*/ 218 w 218"/>
                  <a:gd name="T5" fmla="*/ 120 h 201"/>
                  <a:gd name="T6" fmla="*/ 63 w 218"/>
                  <a:gd name="T7" fmla="*/ 0 h 201"/>
                  <a:gd name="T8" fmla="*/ 0 w 218"/>
                  <a:gd name="T9" fmla="*/ 8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8" h="201">
                    <a:moveTo>
                      <a:pt x="0" y="81"/>
                    </a:moveTo>
                    <a:lnTo>
                      <a:pt x="155" y="201"/>
                    </a:lnTo>
                    <a:lnTo>
                      <a:pt x="218" y="120"/>
                    </a:lnTo>
                    <a:lnTo>
                      <a:pt x="63" y="0"/>
                    </a:lnTo>
                    <a:lnTo>
                      <a:pt x="0" y="81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0" name="Freeform 18">
                <a:extLst>
                  <a:ext uri="{FF2B5EF4-FFF2-40B4-BE49-F238E27FC236}">
                    <a16:creationId xmlns:a16="http://schemas.microsoft.com/office/drawing/2014/main" id="{71052E22-99A6-4D9D-BCD8-537C388BF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2" y="2909"/>
                <a:ext cx="324" cy="273"/>
              </a:xfrm>
              <a:custGeom>
                <a:avLst/>
                <a:gdLst>
                  <a:gd name="T0" fmla="*/ 10 w 592"/>
                  <a:gd name="T1" fmla="*/ 118 h 500"/>
                  <a:gd name="T2" fmla="*/ 495 w 592"/>
                  <a:gd name="T3" fmla="*/ 496 h 500"/>
                  <a:gd name="T4" fmla="*/ 575 w 592"/>
                  <a:gd name="T5" fmla="*/ 440 h 500"/>
                  <a:gd name="T6" fmla="*/ 563 w 592"/>
                  <a:gd name="T7" fmla="*/ 373 h 500"/>
                  <a:gd name="T8" fmla="*/ 113 w 592"/>
                  <a:gd name="T9" fmla="*/ 22 h 500"/>
                  <a:gd name="T10" fmla="*/ 45 w 592"/>
                  <a:gd name="T11" fmla="*/ 27 h 500"/>
                  <a:gd name="T12" fmla="*/ 10 w 592"/>
                  <a:gd name="T13" fmla="*/ 118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2" h="500">
                    <a:moveTo>
                      <a:pt x="10" y="118"/>
                    </a:moveTo>
                    <a:cubicBezTo>
                      <a:pt x="99" y="330"/>
                      <a:pt x="268" y="461"/>
                      <a:pt x="495" y="496"/>
                    </a:cubicBezTo>
                    <a:cubicBezTo>
                      <a:pt x="521" y="500"/>
                      <a:pt x="557" y="474"/>
                      <a:pt x="575" y="440"/>
                    </a:cubicBezTo>
                    <a:cubicBezTo>
                      <a:pt x="592" y="406"/>
                      <a:pt x="587" y="376"/>
                      <a:pt x="563" y="373"/>
                    </a:cubicBezTo>
                    <a:cubicBezTo>
                      <a:pt x="352" y="340"/>
                      <a:pt x="196" y="218"/>
                      <a:pt x="113" y="22"/>
                    </a:cubicBezTo>
                    <a:cubicBezTo>
                      <a:pt x="103" y="0"/>
                      <a:pt x="74" y="2"/>
                      <a:pt x="45" y="27"/>
                    </a:cubicBezTo>
                    <a:cubicBezTo>
                      <a:pt x="16" y="53"/>
                      <a:pt x="0" y="94"/>
                      <a:pt x="10" y="1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1" name="Freeform 19">
                <a:extLst>
                  <a:ext uri="{FF2B5EF4-FFF2-40B4-BE49-F238E27FC236}">
                    <a16:creationId xmlns:a16="http://schemas.microsoft.com/office/drawing/2014/main" id="{69D3E486-AC03-479B-B2DF-7FE35741E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0" y="2645"/>
                <a:ext cx="769" cy="161"/>
              </a:xfrm>
              <a:custGeom>
                <a:avLst/>
                <a:gdLst>
                  <a:gd name="T0" fmla="*/ 4 w 1406"/>
                  <a:gd name="T1" fmla="*/ 235 h 295"/>
                  <a:gd name="T2" fmla="*/ 4 w 1406"/>
                  <a:gd name="T3" fmla="*/ 235 h 295"/>
                  <a:gd name="T4" fmla="*/ 76 w 1406"/>
                  <a:gd name="T5" fmla="*/ 291 h 295"/>
                  <a:gd name="T6" fmla="*/ 1345 w 1406"/>
                  <a:gd name="T7" fmla="*/ 133 h 295"/>
                  <a:gd name="T8" fmla="*/ 1401 w 1406"/>
                  <a:gd name="T9" fmla="*/ 61 h 295"/>
                  <a:gd name="T10" fmla="*/ 1329 w 1406"/>
                  <a:gd name="T11" fmla="*/ 5 h 295"/>
                  <a:gd name="T12" fmla="*/ 60 w 1406"/>
                  <a:gd name="T13" fmla="*/ 163 h 295"/>
                  <a:gd name="T14" fmla="*/ 4 w 1406"/>
                  <a:gd name="T15" fmla="*/ 23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6" h="295">
                    <a:moveTo>
                      <a:pt x="4" y="235"/>
                    </a:moveTo>
                    <a:cubicBezTo>
                      <a:pt x="4" y="235"/>
                      <a:pt x="4" y="235"/>
                      <a:pt x="4" y="235"/>
                    </a:cubicBezTo>
                    <a:cubicBezTo>
                      <a:pt x="9" y="270"/>
                      <a:pt x="41" y="295"/>
                      <a:pt x="76" y="291"/>
                    </a:cubicBezTo>
                    <a:cubicBezTo>
                      <a:pt x="1345" y="133"/>
                      <a:pt x="1345" y="133"/>
                      <a:pt x="1345" y="133"/>
                    </a:cubicBezTo>
                    <a:cubicBezTo>
                      <a:pt x="1381" y="128"/>
                      <a:pt x="1406" y="96"/>
                      <a:pt x="1401" y="61"/>
                    </a:cubicBezTo>
                    <a:cubicBezTo>
                      <a:pt x="1397" y="25"/>
                      <a:pt x="1365" y="0"/>
                      <a:pt x="1329" y="5"/>
                    </a:cubicBezTo>
                    <a:cubicBezTo>
                      <a:pt x="60" y="163"/>
                      <a:pt x="60" y="163"/>
                      <a:pt x="60" y="163"/>
                    </a:cubicBezTo>
                    <a:cubicBezTo>
                      <a:pt x="25" y="167"/>
                      <a:pt x="0" y="200"/>
                      <a:pt x="4" y="235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2" name="Freeform 20">
                <a:extLst>
                  <a:ext uri="{FF2B5EF4-FFF2-40B4-BE49-F238E27FC236}">
                    <a16:creationId xmlns:a16="http://schemas.microsoft.com/office/drawing/2014/main" id="{073D37E2-0C61-4A3E-9391-9780E7D029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3" y="2342"/>
                <a:ext cx="162" cy="767"/>
              </a:xfrm>
              <a:custGeom>
                <a:avLst/>
                <a:gdLst>
                  <a:gd name="T0" fmla="*/ 235 w 295"/>
                  <a:gd name="T1" fmla="*/ 1401 h 1406"/>
                  <a:gd name="T2" fmla="*/ 235 w 295"/>
                  <a:gd name="T3" fmla="*/ 1401 h 1406"/>
                  <a:gd name="T4" fmla="*/ 291 w 295"/>
                  <a:gd name="T5" fmla="*/ 1329 h 1406"/>
                  <a:gd name="T6" fmla="*/ 133 w 295"/>
                  <a:gd name="T7" fmla="*/ 60 h 1406"/>
                  <a:gd name="T8" fmla="*/ 61 w 295"/>
                  <a:gd name="T9" fmla="*/ 4 h 1406"/>
                  <a:gd name="T10" fmla="*/ 5 w 295"/>
                  <a:gd name="T11" fmla="*/ 76 h 1406"/>
                  <a:gd name="T12" fmla="*/ 163 w 295"/>
                  <a:gd name="T13" fmla="*/ 1345 h 1406"/>
                  <a:gd name="T14" fmla="*/ 235 w 295"/>
                  <a:gd name="T15" fmla="*/ 1401 h 1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5" h="1406">
                    <a:moveTo>
                      <a:pt x="235" y="1401"/>
                    </a:moveTo>
                    <a:cubicBezTo>
                      <a:pt x="235" y="1401"/>
                      <a:pt x="235" y="1401"/>
                      <a:pt x="235" y="1401"/>
                    </a:cubicBezTo>
                    <a:cubicBezTo>
                      <a:pt x="270" y="1397"/>
                      <a:pt x="295" y="1365"/>
                      <a:pt x="291" y="1329"/>
                    </a:cubicBezTo>
                    <a:cubicBezTo>
                      <a:pt x="133" y="60"/>
                      <a:pt x="133" y="60"/>
                      <a:pt x="133" y="60"/>
                    </a:cubicBezTo>
                    <a:cubicBezTo>
                      <a:pt x="128" y="25"/>
                      <a:pt x="96" y="0"/>
                      <a:pt x="61" y="4"/>
                    </a:cubicBezTo>
                    <a:cubicBezTo>
                      <a:pt x="25" y="9"/>
                      <a:pt x="0" y="41"/>
                      <a:pt x="5" y="76"/>
                    </a:cubicBezTo>
                    <a:cubicBezTo>
                      <a:pt x="163" y="1345"/>
                      <a:pt x="163" y="1345"/>
                      <a:pt x="163" y="1345"/>
                    </a:cubicBezTo>
                    <a:cubicBezTo>
                      <a:pt x="167" y="1381"/>
                      <a:pt x="200" y="1406"/>
                      <a:pt x="235" y="1401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3" name="Freeform 21">
                <a:extLst>
                  <a:ext uri="{FF2B5EF4-FFF2-40B4-BE49-F238E27FC236}">
                    <a16:creationId xmlns:a16="http://schemas.microsoft.com/office/drawing/2014/main" id="{77E2B33F-78C7-4D0D-B788-60F5651B8C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4" y="2366"/>
                <a:ext cx="721" cy="719"/>
              </a:xfrm>
              <a:custGeom>
                <a:avLst/>
                <a:gdLst>
                  <a:gd name="T0" fmla="*/ 581 w 1316"/>
                  <a:gd name="T1" fmla="*/ 42 h 1316"/>
                  <a:gd name="T2" fmla="*/ 42 w 1316"/>
                  <a:gd name="T3" fmla="*/ 735 h 1316"/>
                  <a:gd name="T4" fmla="*/ 735 w 1316"/>
                  <a:gd name="T5" fmla="*/ 1273 h 1316"/>
                  <a:gd name="T6" fmla="*/ 1273 w 1316"/>
                  <a:gd name="T7" fmla="*/ 581 h 1316"/>
                  <a:gd name="T8" fmla="*/ 581 w 1316"/>
                  <a:gd name="T9" fmla="*/ 42 h 1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6" h="1316">
                    <a:moveTo>
                      <a:pt x="581" y="42"/>
                    </a:moveTo>
                    <a:cubicBezTo>
                      <a:pt x="241" y="85"/>
                      <a:pt x="0" y="395"/>
                      <a:pt x="42" y="735"/>
                    </a:cubicBezTo>
                    <a:cubicBezTo>
                      <a:pt x="85" y="1075"/>
                      <a:pt x="395" y="1316"/>
                      <a:pt x="735" y="1273"/>
                    </a:cubicBezTo>
                    <a:cubicBezTo>
                      <a:pt x="1075" y="1231"/>
                      <a:pt x="1316" y="921"/>
                      <a:pt x="1273" y="581"/>
                    </a:cubicBezTo>
                    <a:cubicBezTo>
                      <a:pt x="1231" y="241"/>
                      <a:pt x="921" y="0"/>
                      <a:pt x="581" y="42"/>
                    </a:cubicBezTo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4" name="Freeform 22">
                <a:extLst>
                  <a:ext uri="{FF2B5EF4-FFF2-40B4-BE49-F238E27FC236}">
                    <a16:creationId xmlns:a16="http://schemas.microsoft.com/office/drawing/2014/main" id="{ACAAD5FE-1AED-457C-92DE-1E2777B74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7" y="2776"/>
                <a:ext cx="572" cy="464"/>
              </a:xfrm>
              <a:custGeom>
                <a:avLst/>
                <a:gdLst>
                  <a:gd name="T0" fmla="*/ 26 w 1045"/>
                  <a:gd name="T1" fmla="*/ 128 h 850"/>
                  <a:gd name="T2" fmla="*/ 934 w 1045"/>
                  <a:gd name="T3" fmla="*/ 834 h 850"/>
                  <a:gd name="T4" fmla="*/ 1033 w 1045"/>
                  <a:gd name="T5" fmla="*/ 793 h 850"/>
                  <a:gd name="T6" fmla="*/ 986 w 1045"/>
                  <a:gd name="T7" fmla="*/ 699 h 850"/>
                  <a:gd name="T8" fmla="*/ 144 w 1045"/>
                  <a:gd name="T9" fmla="*/ 44 h 850"/>
                  <a:gd name="T10" fmla="*/ 42 w 1045"/>
                  <a:gd name="T11" fmla="*/ 22 h 850"/>
                  <a:gd name="T12" fmla="*/ 26 w 1045"/>
                  <a:gd name="T13" fmla="*/ 128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5" h="850">
                    <a:moveTo>
                      <a:pt x="26" y="128"/>
                    </a:moveTo>
                    <a:cubicBezTo>
                      <a:pt x="254" y="447"/>
                      <a:pt x="569" y="692"/>
                      <a:pt x="934" y="834"/>
                    </a:cubicBezTo>
                    <a:cubicBezTo>
                      <a:pt x="975" y="850"/>
                      <a:pt x="1020" y="831"/>
                      <a:pt x="1033" y="793"/>
                    </a:cubicBezTo>
                    <a:cubicBezTo>
                      <a:pt x="1045" y="755"/>
                      <a:pt x="1024" y="714"/>
                      <a:pt x="986" y="699"/>
                    </a:cubicBezTo>
                    <a:cubicBezTo>
                      <a:pt x="648" y="567"/>
                      <a:pt x="355" y="339"/>
                      <a:pt x="144" y="44"/>
                    </a:cubicBezTo>
                    <a:cubicBezTo>
                      <a:pt x="121" y="11"/>
                      <a:pt x="75" y="0"/>
                      <a:pt x="42" y="22"/>
                    </a:cubicBezTo>
                    <a:cubicBezTo>
                      <a:pt x="8" y="44"/>
                      <a:pt x="0" y="92"/>
                      <a:pt x="26" y="128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5" name="Freeform 23">
                <a:extLst>
                  <a:ext uri="{FF2B5EF4-FFF2-40B4-BE49-F238E27FC236}">
                    <a16:creationId xmlns:a16="http://schemas.microsoft.com/office/drawing/2014/main" id="{28972A08-BF74-497F-A67E-B1ED40ED2B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0" y="1228"/>
                <a:ext cx="158" cy="218"/>
              </a:xfrm>
              <a:custGeom>
                <a:avLst/>
                <a:gdLst>
                  <a:gd name="T0" fmla="*/ 0 w 158"/>
                  <a:gd name="T1" fmla="*/ 186 h 218"/>
                  <a:gd name="T2" fmla="*/ 60 w 158"/>
                  <a:gd name="T3" fmla="*/ 0 h 218"/>
                  <a:gd name="T4" fmla="*/ 158 w 158"/>
                  <a:gd name="T5" fmla="*/ 31 h 218"/>
                  <a:gd name="T6" fmla="*/ 98 w 158"/>
                  <a:gd name="T7" fmla="*/ 218 h 218"/>
                  <a:gd name="T8" fmla="*/ 0 w 158"/>
                  <a:gd name="T9" fmla="*/ 186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218">
                    <a:moveTo>
                      <a:pt x="0" y="186"/>
                    </a:moveTo>
                    <a:lnTo>
                      <a:pt x="60" y="0"/>
                    </a:lnTo>
                    <a:lnTo>
                      <a:pt x="158" y="31"/>
                    </a:lnTo>
                    <a:lnTo>
                      <a:pt x="98" y="218"/>
                    </a:lnTo>
                    <a:lnTo>
                      <a:pt x="0" y="186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6" name="Freeform 24">
                <a:extLst>
                  <a:ext uri="{FF2B5EF4-FFF2-40B4-BE49-F238E27FC236}">
                    <a16:creationId xmlns:a16="http://schemas.microsoft.com/office/drawing/2014/main" id="{62591276-352D-4C74-A3C4-7B5B8CD9D4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8" y="1140"/>
                <a:ext cx="206" cy="362"/>
              </a:xfrm>
              <a:custGeom>
                <a:avLst/>
                <a:gdLst>
                  <a:gd name="T0" fmla="*/ 45 w 378"/>
                  <a:gd name="T1" fmla="*/ 602 h 663"/>
                  <a:gd name="T2" fmla="*/ 235 w 378"/>
                  <a:gd name="T3" fmla="*/ 17 h 663"/>
                  <a:gd name="T4" fmla="*/ 332 w 378"/>
                  <a:gd name="T5" fmla="*/ 19 h 663"/>
                  <a:gd name="T6" fmla="*/ 360 w 378"/>
                  <a:gd name="T7" fmla="*/ 81 h 663"/>
                  <a:gd name="T8" fmla="*/ 184 w 378"/>
                  <a:gd name="T9" fmla="*/ 624 h 663"/>
                  <a:gd name="T10" fmla="*/ 124 w 378"/>
                  <a:gd name="T11" fmla="*/ 658 h 663"/>
                  <a:gd name="T12" fmla="*/ 45 w 378"/>
                  <a:gd name="T13" fmla="*/ 602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8" h="663">
                    <a:moveTo>
                      <a:pt x="45" y="602"/>
                    </a:moveTo>
                    <a:cubicBezTo>
                      <a:pt x="0" y="377"/>
                      <a:pt x="66" y="174"/>
                      <a:pt x="235" y="17"/>
                    </a:cubicBezTo>
                    <a:cubicBezTo>
                      <a:pt x="254" y="0"/>
                      <a:pt x="298" y="1"/>
                      <a:pt x="332" y="19"/>
                    </a:cubicBezTo>
                    <a:cubicBezTo>
                      <a:pt x="366" y="38"/>
                      <a:pt x="378" y="65"/>
                      <a:pt x="360" y="81"/>
                    </a:cubicBezTo>
                    <a:cubicBezTo>
                      <a:pt x="204" y="226"/>
                      <a:pt x="142" y="415"/>
                      <a:pt x="184" y="624"/>
                    </a:cubicBezTo>
                    <a:cubicBezTo>
                      <a:pt x="188" y="648"/>
                      <a:pt x="163" y="663"/>
                      <a:pt x="124" y="658"/>
                    </a:cubicBezTo>
                    <a:cubicBezTo>
                      <a:pt x="86" y="653"/>
                      <a:pt x="50" y="628"/>
                      <a:pt x="45" y="602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7" name="Freeform 25">
                <a:extLst>
                  <a:ext uri="{FF2B5EF4-FFF2-40B4-BE49-F238E27FC236}">
                    <a16:creationId xmlns:a16="http://schemas.microsoft.com/office/drawing/2014/main" id="{696011B5-2B14-4AD6-9005-775342EDA5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7" y="1248"/>
                <a:ext cx="704" cy="397"/>
              </a:xfrm>
              <a:custGeom>
                <a:avLst/>
                <a:gdLst>
                  <a:gd name="T0" fmla="*/ 16 w 1286"/>
                  <a:gd name="T1" fmla="*/ 684 h 728"/>
                  <a:gd name="T2" fmla="*/ 16 w 1286"/>
                  <a:gd name="T3" fmla="*/ 684 h 728"/>
                  <a:gd name="T4" fmla="*/ 44 w 1286"/>
                  <a:gd name="T5" fmla="*/ 597 h 728"/>
                  <a:gd name="T6" fmla="*/ 1183 w 1286"/>
                  <a:gd name="T7" fmla="*/ 16 h 728"/>
                  <a:gd name="T8" fmla="*/ 1270 w 1286"/>
                  <a:gd name="T9" fmla="*/ 45 h 728"/>
                  <a:gd name="T10" fmla="*/ 1242 w 1286"/>
                  <a:gd name="T11" fmla="*/ 131 h 728"/>
                  <a:gd name="T12" fmla="*/ 102 w 1286"/>
                  <a:gd name="T13" fmla="*/ 712 h 728"/>
                  <a:gd name="T14" fmla="*/ 16 w 1286"/>
                  <a:gd name="T15" fmla="*/ 684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6" h="728">
                    <a:moveTo>
                      <a:pt x="16" y="684"/>
                    </a:moveTo>
                    <a:cubicBezTo>
                      <a:pt x="16" y="684"/>
                      <a:pt x="16" y="684"/>
                      <a:pt x="16" y="684"/>
                    </a:cubicBezTo>
                    <a:cubicBezTo>
                      <a:pt x="0" y="652"/>
                      <a:pt x="12" y="613"/>
                      <a:pt x="44" y="597"/>
                    </a:cubicBezTo>
                    <a:cubicBezTo>
                      <a:pt x="1183" y="16"/>
                      <a:pt x="1183" y="16"/>
                      <a:pt x="1183" y="16"/>
                    </a:cubicBezTo>
                    <a:cubicBezTo>
                      <a:pt x="1215" y="0"/>
                      <a:pt x="1254" y="13"/>
                      <a:pt x="1270" y="45"/>
                    </a:cubicBezTo>
                    <a:cubicBezTo>
                      <a:pt x="1286" y="76"/>
                      <a:pt x="1274" y="115"/>
                      <a:pt x="1242" y="131"/>
                    </a:cubicBezTo>
                    <a:cubicBezTo>
                      <a:pt x="102" y="712"/>
                      <a:pt x="102" y="712"/>
                      <a:pt x="102" y="712"/>
                    </a:cubicBezTo>
                    <a:cubicBezTo>
                      <a:pt x="71" y="728"/>
                      <a:pt x="32" y="715"/>
                      <a:pt x="16" y="684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8" name="Freeform 26">
                <a:extLst>
                  <a:ext uri="{FF2B5EF4-FFF2-40B4-BE49-F238E27FC236}">
                    <a16:creationId xmlns:a16="http://schemas.microsoft.com/office/drawing/2014/main" id="{0077D620-D677-4B2A-A94F-E80706EF6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0" y="1096"/>
                <a:ext cx="398" cy="702"/>
              </a:xfrm>
              <a:custGeom>
                <a:avLst/>
                <a:gdLst>
                  <a:gd name="T0" fmla="*/ 44 w 728"/>
                  <a:gd name="T1" fmla="*/ 16 h 1286"/>
                  <a:gd name="T2" fmla="*/ 44 w 728"/>
                  <a:gd name="T3" fmla="*/ 16 h 1286"/>
                  <a:gd name="T4" fmla="*/ 131 w 728"/>
                  <a:gd name="T5" fmla="*/ 44 h 1286"/>
                  <a:gd name="T6" fmla="*/ 712 w 728"/>
                  <a:gd name="T7" fmla="*/ 1183 h 1286"/>
                  <a:gd name="T8" fmla="*/ 683 w 728"/>
                  <a:gd name="T9" fmla="*/ 1270 h 1286"/>
                  <a:gd name="T10" fmla="*/ 597 w 728"/>
                  <a:gd name="T11" fmla="*/ 1242 h 1286"/>
                  <a:gd name="T12" fmla="*/ 16 w 728"/>
                  <a:gd name="T13" fmla="*/ 103 h 1286"/>
                  <a:gd name="T14" fmla="*/ 44 w 728"/>
                  <a:gd name="T15" fmla="*/ 16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8" h="1286">
                    <a:moveTo>
                      <a:pt x="44" y="16"/>
                    </a:moveTo>
                    <a:cubicBezTo>
                      <a:pt x="44" y="16"/>
                      <a:pt x="44" y="16"/>
                      <a:pt x="44" y="16"/>
                    </a:cubicBezTo>
                    <a:cubicBezTo>
                      <a:pt x="76" y="0"/>
                      <a:pt x="115" y="12"/>
                      <a:pt x="131" y="44"/>
                    </a:cubicBezTo>
                    <a:cubicBezTo>
                      <a:pt x="712" y="1183"/>
                      <a:pt x="712" y="1183"/>
                      <a:pt x="712" y="1183"/>
                    </a:cubicBezTo>
                    <a:cubicBezTo>
                      <a:pt x="728" y="1215"/>
                      <a:pt x="715" y="1254"/>
                      <a:pt x="683" y="1270"/>
                    </a:cubicBezTo>
                    <a:cubicBezTo>
                      <a:pt x="652" y="1286"/>
                      <a:pt x="613" y="1274"/>
                      <a:pt x="597" y="1242"/>
                    </a:cubicBezTo>
                    <a:cubicBezTo>
                      <a:pt x="16" y="103"/>
                      <a:pt x="16" y="103"/>
                      <a:pt x="16" y="103"/>
                    </a:cubicBezTo>
                    <a:cubicBezTo>
                      <a:pt x="0" y="71"/>
                      <a:pt x="13" y="32"/>
                      <a:pt x="44" y="16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9" name="Freeform 27">
                <a:extLst>
                  <a:ext uri="{FF2B5EF4-FFF2-40B4-BE49-F238E27FC236}">
                    <a16:creationId xmlns:a16="http://schemas.microsoft.com/office/drawing/2014/main" id="{7C2F37B9-8682-4D33-BB67-ACCE4A7FA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1" y="1060"/>
                <a:ext cx="776" cy="773"/>
              </a:xfrm>
              <a:custGeom>
                <a:avLst/>
                <a:gdLst>
                  <a:gd name="T0" fmla="*/ 990 w 1416"/>
                  <a:gd name="T1" fmla="*/ 1261 h 1416"/>
                  <a:gd name="T2" fmla="*/ 155 w 1416"/>
                  <a:gd name="T3" fmla="*/ 990 h 1416"/>
                  <a:gd name="T4" fmla="*/ 426 w 1416"/>
                  <a:gd name="T5" fmla="*/ 155 h 1416"/>
                  <a:gd name="T6" fmla="*/ 1261 w 1416"/>
                  <a:gd name="T7" fmla="*/ 426 h 1416"/>
                  <a:gd name="T8" fmla="*/ 990 w 1416"/>
                  <a:gd name="T9" fmla="*/ 1261 h 1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6" h="1416">
                    <a:moveTo>
                      <a:pt x="990" y="1261"/>
                    </a:moveTo>
                    <a:cubicBezTo>
                      <a:pt x="684" y="1416"/>
                      <a:pt x="311" y="1295"/>
                      <a:pt x="155" y="990"/>
                    </a:cubicBezTo>
                    <a:cubicBezTo>
                      <a:pt x="0" y="684"/>
                      <a:pt x="121" y="311"/>
                      <a:pt x="426" y="155"/>
                    </a:cubicBezTo>
                    <a:cubicBezTo>
                      <a:pt x="731" y="0"/>
                      <a:pt x="1105" y="121"/>
                      <a:pt x="1261" y="426"/>
                    </a:cubicBezTo>
                    <a:cubicBezTo>
                      <a:pt x="1416" y="732"/>
                      <a:pt x="1295" y="1105"/>
                      <a:pt x="990" y="1261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0" name="Freeform 28">
                <a:extLst>
                  <a:ext uri="{FF2B5EF4-FFF2-40B4-BE49-F238E27FC236}">
                    <a16:creationId xmlns:a16="http://schemas.microsoft.com/office/drawing/2014/main" id="{5D8F620B-07BC-4998-ADD6-8BAA518F13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2" y="1001"/>
                <a:ext cx="273" cy="665"/>
              </a:xfrm>
              <a:custGeom>
                <a:avLst/>
                <a:gdLst>
                  <a:gd name="T0" fmla="*/ 1 w 499"/>
                  <a:gd name="T1" fmla="*/ 1139 h 1219"/>
                  <a:gd name="T2" fmla="*/ 357 w 499"/>
                  <a:gd name="T3" fmla="*/ 45 h 1219"/>
                  <a:gd name="T4" fmla="*/ 461 w 499"/>
                  <a:gd name="T5" fmla="*/ 24 h 1219"/>
                  <a:gd name="T6" fmla="*/ 476 w 499"/>
                  <a:gd name="T7" fmla="*/ 128 h 1219"/>
                  <a:gd name="T8" fmla="*/ 146 w 499"/>
                  <a:gd name="T9" fmla="*/ 1143 h 1219"/>
                  <a:gd name="T10" fmla="*/ 73 w 499"/>
                  <a:gd name="T11" fmla="*/ 1218 h 1219"/>
                  <a:gd name="T12" fmla="*/ 1 w 499"/>
                  <a:gd name="T13" fmla="*/ 1139 h 1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9" h="1219">
                    <a:moveTo>
                      <a:pt x="1" y="1139"/>
                    </a:moveTo>
                    <a:cubicBezTo>
                      <a:pt x="11" y="748"/>
                      <a:pt x="134" y="368"/>
                      <a:pt x="357" y="45"/>
                    </a:cubicBezTo>
                    <a:cubicBezTo>
                      <a:pt x="382" y="9"/>
                      <a:pt x="430" y="0"/>
                      <a:pt x="461" y="24"/>
                    </a:cubicBezTo>
                    <a:cubicBezTo>
                      <a:pt x="493" y="48"/>
                      <a:pt x="499" y="94"/>
                      <a:pt x="476" y="128"/>
                    </a:cubicBezTo>
                    <a:cubicBezTo>
                      <a:pt x="270" y="427"/>
                      <a:pt x="155" y="779"/>
                      <a:pt x="146" y="1143"/>
                    </a:cubicBezTo>
                    <a:cubicBezTo>
                      <a:pt x="145" y="1183"/>
                      <a:pt x="114" y="1217"/>
                      <a:pt x="73" y="1218"/>
                    </a:cubicBezTo>
                    <a:cubicBezTo>
                      <a:pt x="33" y="1219"/>
                      <a:pt x="0" y="1184"/>
                      <a:pt x="1" y="1139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1" name="Freeform 29">
                <a:extLst>
                  <a:ext uri="{FF2B5EF4-FFF2-40B4-BE49-F238E27FC236}">
                    <a16:creationId xmlns:a16="http://schemas.microsoft.com/office/drawing/2014/main" id="{CEF9B0F6-2B6B-43D7-A193-4C9EEFE0F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2" y="1238"/>
                <a:ext cx="158" cy="217"/>
              </a:xfrm>
              <a:custGeom>
                <a:avLst/>
                <a:gdLst>
                  <a:gd name="T0" fmla="*/ 98 w 158"/>
                  <a:gd name="T1" fmla="*/ 0 h 217"/>
                  <a:gd name="T2" fmla="*/ 158 w 158"/>
                  <a:gd name="T3" fmla="*/ 186 h 217"/>
                  <a:gd name="T4" fmla="*/ 60 w 158"/>
                  <a:gd name="T5" fmla="*/ 217 h 217"/>
                  <a:gd name="T6" fmla="*/ 0 w 158"/>
                  <a:gd name="T7" fmla="*/ 31 h 217"/>
                  <a:gd name="T8" fmla="*/ 98 w 158"/>
                  <a:gd name="T9" fmla="*/ 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217">
                    <a:moveTo>
                      <a:pt x="98" y="0"/>
                    </a:moveTo>
                    <a:lnTo>
                      <a:pt x="158" y="186"/>
                    </a:lnTo>
                    <a:lnTo>
                      <a:pt x="60" y="217"/>
                    </a:lnTo>
                    <a:lnTo>
                      <a:pt x="0" y="31"/>
                    </a:lnTo>
                    <a:lnTo>
                      <a:pt x="98" y="0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2" name="Freeform 30">
                <a:extLst>
                  <a:ext uri="{FF2B5EF4-FFF2-40B4-BE49-F238E27FC236}">
                    <a16:creationId xmlns:a16="http://schemas.microsoft.com/office/drawing/2014/main" id="{FD5A995C-96B2-44D6-8B7A-7E250EEA00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6" y="1149"/>
                <a:ext cx="206" cy="363"/>
              </a:xfrm>
              <a:custGeom>
                <a:avLst/>
                <a:gdLst>
                  <a:gd name="T0" fmla="*/ 142 w 377"/>
                  <a:gd name="T1" fmla="*/ 18 h 664"/>
                  <a:gd name="T2" fmla="*/ 333 w 377"/>
                  <a:gd name="T3" fmla="*/ 603 h 664"/>
                  <a:gd name="T4" fmla="*/ 253 w 377"/>
                  <a:gd name="T5" fmla="*/ 659 h 664"/>
                  <a:gd name="T6" fmla="*/ 194 w 377"/>
                  <a:gd name="T7" fmla="*/ 625 h 664"/>
                  <a:gd name="T8" fmla="*/ 17 w 377"/>
                  <a:gd name="T9" fmla="*/ 82 h 664"/>
                  <a:gd name="T10" fmla="*/ 45 w 377"/>
                  <a:gd name="T11" fmla="*/ 20 h 664"/>
                  <a:gd name="T12" fmla="*/ 142 w 377"/>
                  <a:gd name="T13" fmla="*/ 18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7" h="664">
                    <a:moveTo>
                      <a:pt x="142" y="18"/>
                    </a:moveTo>
                    <a:cubicBezTo>
                      <a:pt x="311" y="174"/>
                      <a:pt x="377" y="378"/>
                      <a:pt x="333" y="603"/>
                    </a:cubicBezTo>
                    <a:cubicBezTo>
                      <a:pt x="328" y="629"/>
                      <a:pt x="291" y="654"/>
                      <a:pt x="253" y="659"/>
                    </a:cubicBezTo>
                    <a:cubicBezTo>
                      <a:pt x="215" y="664"/>
                      <a:pt x="189" y="649"/>
                      <a:pt x="194" y="625"/>
                    </a:cubicBezTo>
                    <a:cubicBezTo>
                      <a:pt x="235" y="416"/>
                      <a:pt x="173" y="227"/>
                      <a:pt x="17" y="82"/>
                    </a:cubicBezTo>
                    <a:cubicBezTo>
                      <a:pt x="0" y="66"/>
                      <a:pt x="11" y="39"/>
                      <a:pt x="45" y="20"/>
                    </a:cubicBezTo>
                    <a:cubicBezTo>
                      <a:pt x="79" y="2"/>
                      <a:pt x="123" y="0"/>
                      <a:pt x="142" y="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3" name="Freeform 31">
                <a:extLst>
                  <a:ext uri="{FF2B5EF4-FFF2-40B4-BE49-F238E27FC236}">
                    <a16:creationId xmlns:a16="http://schemas.microsoft.com/office/drawing/2014/main" id="{09F50EE9-6A4E-429E-A0CA-74A14BD1A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2" y="1106"/>
                <a:ext cx="398" cy="702"/>
              </a:xfrm>
              <a:custGeom>
                <a:avLst/>
                <a:gdLst>
                  <a:gd name="T0" fmla="*/ 684 w 728"/>
                  <a:gd name="T1" fmla="*/ 16 h 1286"/>
                  <a:gd name="T2" fmla="*/ 684 w 728"/>
                  <a:gd name="T3" fmla="*/ 16 h 1286"/>
                  <a:gd name="T4" fmla="*/ 712 w 728"/>
                  <a:gd name="T5" fmla="*/ 102 h 1286"/>
                  <a:gd name="T6" fmla="*/ 131 w 728"/>
                  <a:gd name="T7" fmla="*/ 1242 h 1286"/>
                  <a:gd name="T8" fmla="*/ 45 w 728"/>
                  <a:gd name="T9" fmla="*/ 1270 h 1286"/>
                  <a:gd name="T10" fmla="*/ 17 w 728"/>
                  <a:gd name="T11" fmla="*/ 1183 h 1286"/>
                  <a:gd name="T12" fmla="*/ 597 w 728"/>
                  <a:gd name="T13" fmla="*/ 44 h 1286"/>
                  <a:gd name="T14" fmla="*/ 684 w 728"/>
                  <a:gd name="T15" fmla="*/ 16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8" h="1286">
                    <a:moveTo>
                      <a:pt x="684" y="16"/>
                    </a:moveTo>
                    <a:cubicBezTo>
                      <a:pt x="684" y="16"/>
                      <a:pt x="684" y="16"/>
                      <a:pt x="684" y="16"/>
                    </a:cubicBezTo>
                    <a:cubicBezTo>
                      <a:pt x="716" y="32"/>
                      <a:pt x="728" y="71"/>
                      <a:pt x="712" y="102"/>
                    </a:cubicBezTo>
                    <a:cubicBezTo>
                      <a:pt x="131" y="1242"/>
                      <a:pt x="131" y="1242"/>
                      <a:pt x="131" y="1242"/>
                    </a:cubicBezTo>
                    <a:cubicBezTo>
                      <a:pt x="115" y="1274"/>
                      <a:pt x="76" y="1286"/>
                      <a:pt x="45" y="1270"/>
                    </a:cubicBezTo>
                    <a:cubicBezTo>
                      <a:pt x="13" y="1254"/>
                      <a:pt x="0" y="1215"/>
                      <a:pt x="17" y="1183"/>
                    </a:cubicBezTo>
                    <a:cubicBezTo>
                      <a:pt x="597" y="44"/>
                      <a:pt x="597" y="44"/>
                      <a:pt x="597" y="44"/>
                    </a:cubicBezTo>
                    <a:cubicBezTo>
                      <a:pt x="613" y="12"/>
                      <a:pt x="652" y="0"/>
                      <a:pt x="684" y="16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4" name="Freeform 32">
                <a:extLst>
                  <a:ext uri="{FF2B5EF4-FFF2-40B4-BE49-F238E27FC236}">
                    <a16:creationId xmlns:a16="http://schemas.microsoft.com/office/drawing/2014/main" id="{A0E15427-AEF8-479D-B22E-64D82551E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9" y="1258"/>
                <a:ext cx="705" cy="397"/>
              </a:xfrm>
              <a:custGeom>
                <a:avLst/>
                <a:gdLst>
                  <a:gd name="T0" fmla="*/ 1270 w 1287"/>
                  <a:gd name="T1" fmla="*/ 683 h 728"/>
                  <a:gd name="T2" fmla="*/ 1270 w 1287"/>
                  <a:gd name="T3" fmla="*/ 683 h 728"/>
                  <a:gd name="T4" fmla="*/ 1184 w 1287"/>
                  <a:gd name="T5" fmla="*/ 712 h 728"/>
                  <a:gd name="T6" fmla="*/ 44 w 1287"/>
                  <a:gd name="T7" fmla="*/ 131 h 728"/>
                  <a:gd name="T8" fmla="*/ 16 w 1287"/>
                  <a:gd name="T9" fmla="*/ 44 h 728"/>
                  <a:gd name="T10" fmla="*/ 103 w 1287"/>
                  <a:gd name="T11" fmla="*/ 16 h 728"/>
                  <a:gd name="T12" fmla="*/ 1242 w 1287"/>
                  <a:gd name="T13" fmla="*/ 597 h 728"/>
                  <a:gd name="T14" fmla="*/ 1270 w 1287"/>
                  <a:gd name="T15" fmla="*/ 683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7" h="728">
                    <a:moveTo>
                      <a:pt x="1270" y="683"/>
                    </a:moveTo>
                    <a:cubicBezTo>
                      <a:pt x="1270" y="683"/>
                      <a:pt x="1270" y="683"/>
                      <a:pt x="1270" y="683"/>
                    </a:cubicBezTo>
                    <a:cubicBezTo>
                      <a:pt x="1254" y="715"/>
                      <a:pt x="1215" y="728"/>
                      <a:pt x="1184" y="712"/>
                    </a:cubicBezTo>
                    <a:cubicBezTo>
                      <a:pt x="44" y="131"/>
                      <a:pt x="44" y="131"/>
                      <a:pt x="44" y="131"/>
                    </a:cubicBezTo>
                    <a:cubicBezTo>
                      <a:pt x="13" y="115"/>
                      <a:pt x="0" y="76"/>
                      <a:pt x="16" y="44"/>
                    </a:cubicBezTo>
                    <a:cubicBezTo>
                      <a:pt x="32" y="13"/>
                      <a:pt x="71" y="0"/>
                      <a:pt x="103" y="16"/>
                    </a:cubicBezTo>
                    <a:cubicBezTo>
                      <a:pt x="1242" y="597"/>
                      <a:pt x="1242" y="597"/>
                      <a:pt x="1242" y="597"/>
                    </a:cubicBezTo>
                    <a:cubicBezTo>
                      <a:pt x="1274" y="613"/>
                      <a:pt x="1287" y="652"/>
                      <a:pt x="1270" y="683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5" name="Freeform 33">
                <a:extLst>
                  <a:ext uri="{FF2B5EF4-FFF2-40B4-BE49-F238E27FC236}">
                    <a16:creationId xmlns:a16="http://schemas.microsoft.com/office/drawing/2014/main" id="{DD7D2269-3E3E-4A12-B656-DCE50F870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3" y="1070"/>
                <a:ext cx="776" cy="773"/>
              </a:xfrm>
              <a:custGeom>
                <a:avLst/>
                <a:gdLst>
                  <a:gd name="T0" fmla="*/ 156 w 1417"/>
                  <a:gd name="T1" fmla="*/ 426 h 1416"/>
                  <a:gd name="T2" fmla="*/ 990 w 1417"/>
                  <a:gd name="T3" fmla="*/ 155 h 1416"/>
                  <a:gd name="T4" fmla="*/ 1261 w 1417"/>
                  <a:gd name="T5" fmla="*/ 990 h 1416"/>
                  <a:gd name="T6" fmla="*/ 427 w 1417"/>
                  <a:gd name="T7" fmla="*/ 1261 h 1416"/>
                  <a:gd name="T8" fmla="*/ 156 w 1417"/>
                  <a:gd name="T9" fmla="*/ 426 h 1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7" h="1416">
                    <a:moveTo>
                      <a:pt x="156" y="426"/>
                    </a:moveTo>
                    <a:cubicBezTo>
                      <a:pt x="311" y="121"/>
                      <a:pt x="685" y="0"/>
                      <a:pt x="990" y="155"/>
                    </a:cubicBezTo>
                    <a:cubicBezTo>
                      <a:pt x="1295" y="311"/>
                      <a:pt x="1417" y="684"/>
                      <a:pt x="1261" y="990"/>
                    </a:cubicBezTo>
                    <a:cubicBezTo>
                      <a:pt x="1106" y="1295"/>
                      <a:pt x="732" y="1416"/>
                      <a:pt x="427" y="1261"/>
                    </a:cubicBezTo>
                    <a:cubicBezTo>
                      <a:pt x="121" y="1105"/>
                      <a:pt x="0" y="732"/>
                      <a:pt x="156" y="426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6" name="Freeform 34">
                <a:extLst>
                  <a:ext uri="{FF2B5EF4-FFF2-40B4-BE49-F238E27FC236}">
                    <a16:creationId xmlns:a16="http://schemas.microsoft.com/office/drawing/2014/main" id="{9D19934C-953E-4C18-B8A8-6E27CA7141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5" y="1011"/>
                <a:ext cx="273" cy="665"/>
              </a:xfrm>
              <a:custGeom>
                <a:avLst/>
                <a:gdLst>
                  <a:gd name="T0" fmla="*/ 143 w 499"/>
                  <a:gd name="T1" fmla="*/ 45 h 1219"/>
                  <a:gd name="T2" fmla="*/ 498 w 499"/>
                  <a:gd name="T3" fmla="*/ 1139 h 1219"/>
                  <a:gd name="T4" fmla="*/ 426 w 499"/>
                  <a:gd name="T5" fmla="*/ 1218 h 1219"/>
                  <a:gd name="T6" fmla="*/ 353 w 499"/>
                  <a:gd name="T7" fmla="*/ 1142 h 1219"/>
                  <a:gd name="T8" fmla="*/ 23 w 499"/>
                  <a:gd name="T9" fmla="*/ 128 h 1219"/>
                  <a:gd name="T10" fmla="*/ 38 w 499"/>
                  <a:gd name="T11" fmla="*/ 24 h 1219"/>
                  <a:gd name="T12" fmla="*/ 143 w 499"/>
                  <a:gd name="T13" fmla="*/ 45 h 1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9" h="1219">
                    <a:moveTo>
                      <a:pt x="143" y="45"/>
                    </a:moveTo>
                    <a:cubicBezTo>
                      <a:pt x="365" y="367"/>
                      <a:pt x="488" y="748"/>
                      <a:pt x="498" y="1139"/>
                    </a:cubicBezTo>
                    <a:cubicBezTo>
                      <a:pt x="499" y="1183"/>
                      <a:pt x="466" y="1219"/>
                      <a:pt x="426" y="1218"/>
                    </a:cubicBezTo>
                    <a:cubicBezTo>
                      <a:pt x="386" y="1217"/>
                      <a:pt x="354" y="1183"/>
                      <a:pt x="353" y="1142"/>
                    </a:cubicBezTo>
                    <a:cubicBezTo>
                      <a:pt x="344" y="779"/>
                      <a:pt x="230" y="427"/>
                      <a:pt x="23" y="128"/>
                    </a:cubicBezTo>
                    <a:cubicBezTo>
                      <a:pt x="0" y="94"/>
                      <a:pt x="6" y="48"/>
                      <a:pt x="38" y="24"/>
                    </a:cubicBezTo>
                    <a:cubicBezTo>
                      <a:pt x="70" y="0"/>
                      <a:pt x="117" y="9"/>
                      <a:pt x="143" y="45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7" name="Freeform 35">
                <a:extLst>
                  <a:ext uri="{FF2B5EF4-FFF2-40B4-BE49-F238E27FC236}">
                    <a16:creationId xmlns:a16="http://schemas.microsoft.com/office/drawing/2014/main" id="{D12DF3EC-1EE8-4C86-903E-9E47050AC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9" y="1193"/>
                <a:ext cx="676" cy="576"/>
              </a:xfrm>
              <a:custGeom>
                <a:avLst/>
                <a:gdLst>
                  <a:gd name="T0" fmla="*/ 204 w 1235"/>
                  <a:gd name="T1" fmla="*/ 1054 h 1054"/>
                  <a:gd name="T2" fmla="*/ 0 w 1235"/>
                  <a:gd name="T3" fmla="*/ 425 h 1054"/>
                  <a:gd name="T4" fmla="*/ 955 w 1235"/>
                  <a:gd name="T5" fmla="*/ 114 h 1054"/>
                  <a:gd name="T6" fmla="*/ 1160 w 1235"/>
                  <a:gd name="T7" fmla="*/ 743 h 1054"/>
                  <a:gd name="T8" fmla="*/ 204 w 1235"/>
                  <a:gd name="T9" fmla="*/ 1054 h 1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5" h="1054">
                    <a:moveTo>
                      <a:pt x="204" y="1054"/>
                    </a:moveTo>
                    <a:cubicBezTo>
                      <a:pt x="0" y="425"/>
                      <a:pt x="0" y="425"/>
                      <a:pt x="0" y="425"/>
                    </a:cubicBezTo>
                    <a:cubicBezTo>
                      <a:pt x="0" y="425"/>
                      <a:pt x="732" y="0"/>
                      <a:pt x="955" y="114"/>
                    </a:cubicBezTo>
                    <a:cubicBezTo>
                      <a:pt x="1103" y="189"/>
                      <a:pt x="1235" y="596"/>
                      <a:pt x="1160" y="743"/>
                    </a:cubicBezTo>
                    <a:cubicBezTo>
                      <a:pt x="1046" y="967"/>
                      <a:pt x="204" y="1054"/>
                      <a:pt x="204" y="1054"/>
                    </a:cubicBezTo>
                    <a:close/>
                  </a:path>
                </a:pathLst>
              </a:custGeom>
              <a:solidFill>
                <a:srgbClr val="4E34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8" name="Freeform 36">
                <a:extLst>
                  <a:ext uri="{FF2B5EF4-FFF2-40B4-BE49-F238E27FC236}">
                    <a16:creationId xmlns:a16="http://schemas.microsoft.com/office/drawing/2014/main" id="{655EDDF6-D045-4C41-858B-A11CEB64A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9" y="1246"/>
                <a:ext cx="276" cy="472"/>
              </a:xfrm>
              <a:custGeom>
                <a:avLst/>
                <a:gdLst>
                  <a:gd name="T0" fmla="*/ 0 w 505"/>
                  <a:gd name="T1" fmla="*/ 864 h 864"/>
                  <a:gd name="T2" fmla="*/ 170 w 505"/>
                  <a:gd name="T3" fmla="*/ 356 h 864"/>
                  <a:gd name="T4" fmla="*/ 168 w 505"/>
                  <a:gd name="T5" fmla="*/ 0 h 864"/>
                  <a:gd name="T6" fmla="*/ 225 w 505"/>
                  <a:gd name="T7" fmla="*/ 17 h 864"/>
                  <a:gd name="T8" fmla="*/ 430 w 505"/>
                  <a:gd name="T9" fmla="*/ 646 h 864"/>
                  <a:gd name="T10" fmla="*/ 0 w 505"/>
                  <a:gd name="T11" fmla="*/ 864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5" h="864">
                    <a:moveTo>
                      <a:pt x="0" y="864"/>
                    </a:moveTo>
                    <a:cubicBezTo>
                      <a:pt x="127" y="738"/>
                      <a:pt x="247" y="507"/>
                      <a:pt x="170" y="356"/>
                    </a:cubicBezTo>
                    <a:cubicBezTo>
                      <a:pt x="87" y="195"/>
                      <a:pt x="139" y="56"/>
                      <a:pt x="168" y="0"/>
                    </a:cubicBezTo>
                    <a:cubicBezTo>
                      <a:pt x="189" y="3"/>
                      <a:pt x="209" y="9"/>
                      <a:pt x="225" y="17"/>
                    </a:cubicBezTo>
                    <a:cubicBezTo>
                      <a:pt x="373" y="92"/>
                      <a:pt x="505" y="499"/>
                      <a:pt x="430" y="646"/>
                    </a:cubicBezTo>
                    <a:cubicBezTo>
                      <a:pt x="381" y="743"/>
                      <a:pt x="195" y="814"/>
                      <a:pt x="0" y="864"/>
                    </a:cubicBezTo>
                    <a:close/>
                  </a:path>
                </a:pathLst>
              </a:custGeom>
              <a:solidFill>
                <a:srgbClr val="3E27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9" name="Freeform 37">
                <a:extLst>
                  <a:ext uri="{FF2B5EF4-FFF2-40B4-BE49-F238E27FC236}">
                    <a16:creationId xmlns:a16="http://schemas.microsoft.com/office/drawing/2014/main" id="{04E3E1FF-2D74-4BED-B6DD-9EB526D12A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8" y="1096"/>
                <a:ext cx="278" cy="570"/>
              </a:xfrm>
              <a:custGeom>
                <a:avLst/>
                <a:gdLst>
                  <a:gd name="T0" fmla="*/ 323 w 508"/>
                  <a:gd name="T1" fmla="*/ 1045 h 1045"/>
                  <a:gd name="T2" fmla="*/ 0 w 508"/>
                  <a:gd name="T3" fmla="*/ 53 h 1045"/>
                  <a:gd name="T4" fmla="*/ 78 w 508"/>
                  <a:gd name="T5" fmla="*/ 28 h 1045"/>
                  <a:gd name="T6" fmla="*/ 288 w 508"/>
                  <a:gd name="T7" fmla="*/ 135 h 1045"/>
                  <a:gd name="T8" fmla="*/ 478 w 508"/>
                  <a:gd name="T9" fmla="*/ 446 h 1045"/>
                  <a:gd name="T10" fmla="*/ 507 w 508"/>
                  <a:gd name="T11" fmla="*/ 810 h 1045"/>
                  <a:gd name="T12" fmla="*/ 400 w 508"/>
                  <a:gd name="T13" fmla="*/ 1020 h 1045"/>
                  <a:gd name="T14" fmla="*/ 323 w 508"/>
                  <a:gd name="T15" fmla="*/ 1045 h 10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8" h="1045">
                    <a:moveTo>
                      <a:pt x="323" y="1045"/>
                    </a:moveTo>
                    <a:cubicBezTo>
                      <a:pt x="0" y="53"/>
                      <a:pt x="0" y="53"/>
                      <a:pt x="0" y="53"/>
                    </a:cubicBezTo>
                    <a:cubicBezTo>
                      <a:pt x="78" y="28"/>
                      <a:pt x="78" y="28"/>
                      <a:pt x="78" y="28"/>
                    </a:cubicBezTo>
                    <a:cubicBezTo>
                      <a:pt x="165" y="0"/>
                      <a:pt x="252" y="88"/>
                      <a:pt x="288" y="135"/>
                    </a:cubicBezTo>
                    <a:cubicBezTo>
                      <a:pt x="342" y="208"/>
                      <a:pt x="478" y="446"/>
                      <a:pt x="478" y="446"/>
                    </a:cubicBezTo>
                    <a:cubicBezTo>
                      <a:pt x="478" y="446"/>
                      <a:pt x="508" y="719"/>
                      <a:pt x="507" y="810"/>
                    </a:cubicBezTo>
                    <a:cubicBezTo>
                      <a:pt x="506" y="869"/>
                      <a:pt x="488" y="991"/>
                      <a:pt x="400" y="1020"/>
                    </a:cubicBezTo>
                    <a:lnTo>
                      <a:pt x="323" y="1045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0" name="Freeform 38">
                <a:extLst>
                  <a:ext uri="{FF2B5EF4-FFF2-40B4-BE49-F238E27FC236}">
                    <a16:creationId xmlns:a16="http://schemas.microsoft.com/office/drawing/2014/main" id="{DFAF4CBC-13B9-4AFB-B985-9C838DAFC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1" y="1134"/>
                <a:ext cx="319" cy="502"/>
              </a:xfrm>
              <a:custGeom>
                <a:avLst/>
                <a:gdLst>
                  <a:gd name="T0" fmla="*/ 183 w 583"/>
                  <a:gd name="T1" fmla="*/ 762 h 918"/>
                  <a:gd name="T2" fmla="*/ 183 w 583"/>
                  <a:gd name="T3" fmla="*/ 606 h 918"/>
                  <a:gd name="T4" fmla="*/ 144 w 583"/>
                  <a:gd name="T5" fmla="*/ 487 h 918"/>
                  <a:gd name="T6" fmla="*/ 53 w 583"/>
                  <a:gd name="T7" fmla="*/ 361 h 918"/>
                  <a:gd name="T8" fmla="*/ 226 w 583"/>
                  <a:gd name="T9" fmla="*/ 51 h 918"/>
                  <a:gd name="T10" fmla="*/ 284 w 583"/>
                  <a:gd name="T11" fmla="*/ 0 h 918"/>
                  <a:gd name="T12" fmla="*/ 583 w 583"/>
                  <a:gd name="T13" fmla="*/ 918 h 918"/>
                  <a:gd name="T14" fmla="*/ 506 w 583"/>
                  <a:gd name="T15" fmla="*/ 911 h 918"/>
                  <a:gd name="T16" fmla="*/ 183 w 583"/>
                  <a:gd name="T17" fmla="*/ 762 h 9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3" h="918">
                    <a:moveTo>
                      <a:pt x="183" y="762"/>
                    </a:moveTo>
                    <a:cubicBezTo>
                      <a:pt x="180" y="730"/>
                      <a:pt x="182" y="660"/>
                      <a:pt x="183" y="606"/>
                    </a:cubicBezTo>
                    <a:cubicBezTo>
                      <a:pt x="185" y="563"/>
                      <a:pt x="171" y="521"/>
                      <a:pt x="144" y="487"/>
                    </a:cubicBezTo>
                    <a:cubicBezTo>
                      <a:pt x="112" y="445"/>
                      <a:pt x="69" y="389"/>
                      <a:pt x="53" y="361"/>
                    </a:cubicBezTo>
                    <a:cubicBezTo>
                      <a:pt x="0" y="270"/>
                      <a:pt x="147" y="120"/>
                      <a:pt x="226" y="51"/>
                    </a:cubicBezTo>
                    <a:cubicBezTo>
                      <a:pt x="284" y="0"/>
                      <a:pt x="284" y="0"/>
                      <a:pt x="284" y="0"/>
                    </a:cubicBezTo>
                    <a:cubicBezTo>
                      <a:pt x="583" y="918"/>
                      <a:pt x="583" y="918"/>
                      <a:pt x="583" y="918"/>
                    </a:cubicBezTo>
                    <a:cubicBezTo>
                      <a:pt x="506" y="911"/>
                      <a:pt x="506" y="911"/>
                      <a:pt x="506" y="911"/>
                    </a:cubicBezTo>
                    <a:cubicBezTo>
                      <a:pt x="401" y="902"/>
                      <a:pt x="194" y="867"/>
                      <a:pt x="183" y="762"/>
                    </a:cubicBez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1" name="Freeform 39">
                <a:extLst>
                  <a:ext uri="{FF2B5EF4-FFF2-40B4-BE49-F238E27FC236}">
                    <a16:creationId xmlns:a16="http://schemas.microsoft.com/office/drawing/2014/main" id="{1C89D9E9-38A6-4B58-B4A6-7E540FF95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" y="1182"/>
                <a:ext cx="676" cy="575"/>
              </a:xfrm>
              <a:custGeom>
                <a:avLst/>
                <a:gdLst>
                  <a:gd name="T0" fmla="*/ 1235 w 1235"/>
                  <a:gd name="T1" fmla="*/ 425 h 1054"/>
                  <a:gd name="T2" fmla="*/ 1031 w 1235"/>
                  <a:gd name="T3" fmla="*/ 1054 h 1054"/>
                  <a:gd name="T4" fmla="*/ 75 w 1235"/>
                  <a:gd name="T5" fmla="*/ 743 h 1054"/>
                  <a:gd name="T6" fmla="*/ 280 w 1235"/>
                  <a:gd name="T7" fmla="*/ 114 h 1054"/>
                  <a:gd name="T8" fmla="*/ 1235 w 1235"/>
                  <a:gd name="T9" fmla="*/ 425 h 1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5" h="1054">
                    <a:moveTo>
                      <a:pt x="1235" y="425"/>
                    </a:moveTo>
                    <a:cubicBezTo>
                      <a:pt x="1031" y="1054"/>
                      <a:pt x="1031" y="1054"/>
                      <a:pt x="1031" y="1054"/>
                    </a:cubicBezTo>
                    <a:cubicBezTo>
                      <a:pt x="1031" y="1054"/>
                      <a:pt x="189" y="967"/>
                      <a:pt x="75" y="743"/>
                    </a:cubicBezTo>
                    <a:cubicBezTo>
                      <a:pt x="0" y="596"/>
                      <a:pt x="132" y="189"/>
                      <a:pt x="280" y="114"/>
                    </a:cubicBezTo>
                    <a:cubicBezTo>
                      <a:pt x="503" y="0"/>
                      <a:pt x="1235" y="425"/>
                      <a:pt x="1235" y="425"/>
                    </a:cubicBezTo>
                    <a:close/>
                  </a:path>
                </a:pathLst>
              </a:custGeom>
              <a:solidFill>
                <a:srgbClr val="4A4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2" name="Freeform 40">
                <a:extLst>
                  <a:ext uri="{FF2B5EF4-FFF2-40B4-BE49-F238E27FC236}">
                    <a16:creationId xmlns:a16="http://schemas.microsoft.com/office/drawing/2014/main" id="{58CF7800-E88A-4D46-B3A6-8CFC6C7105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" y="1217"/>
                <a:ext cx="413" cy="397"/>
              </a:xfrm>
              <a:custGeom>
                <a:avLst/>
                <a:gdLst>
                  <a:gd name="T0" fmla="*/ 755 w 755"/>
                  <a:gd name="T1" fmla="*/ 125 h 726"/>
                  <a:gd name="T2" fmla="*/ 319 w 755"/>
                  <a:gd name="T3" fmla="*/ 437 h 726"/>
                  <a:gd name="T4" fmla="*/ 112 w 755"/>
                  <a:gd name="T5" fmla="*/ 726 h 726"/>
                  <a:gd name="T6" fmla="*/ 75 w 755"/>
                  <a:gd name="T7" fmla="*/ 678 h 726"/>
                  <a:gd name="T8" fmla="*/ 280 w 755"/>
                  <a:gd name="T9" fmla="*/ 49 h 726"/>
                  <a:gd name="T10" fmla="*/ 755 w 755"/>
                  <a:gd name="T11" fmla="*/ 125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55" h="726">
                    <a:moveTo>
                      <a:pt x="755" y="125"/>
                    </a:moveTo>
                    <a:cubicBezTo>
                      <a:pt x="579" y="153"/>
                      <a:pt x="345" y="269"/>
                      <a:pt x="319" y="437"/>
                    </a:cubicBezTo>
                    <a:cubicBezTo>
                      <a:pt x="291" y="616"/>
                      <a:pt x="168" y="698"/>
                      <a:pt x="112" y="726"/>
                    </a:cubicBezTo>
                    <a:cubicBezTo>
                      <a:pt x="96" y="711"/>
                      <a:pt x="83" y="695"/>
                      <a:pt x="75" y="678"/>
                    </a:cubicBezTo>
                    <a:cubicBezTo>
                      <a:pt x="0" y="531"/>
                      <a:pt x="132" y="124"/>
                      <a:pt x="280" y="49"/>
                    </a:cubicBezTo>
                    <a:cubicBezTo>
                      <a:pt x="376" y="0"/>
                      <a:pt x="568" y="51"/>
                      <a:pt x="755" y="125"/>
                    </a:cubicBezTo>
                    <a:close/>
                  </a:path>
                </a:pathLst>
              </a:custGeom>
              <a:solidFill>
                <a:srgbClr val="372F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3" name="Freeform 41">
                <a:extLst>
                  <a:ext uri="{FF2B5EF4-FFF2-40B4-BE49-F238E27FC236}">
                    <a16:creationId xmlns:a16="http://schemas.microsoft.com/office/drawing/2014/main" id="{F05E0716-859C-44C2-8CC1-59ED0A94C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3" y="1084"/>
                <a:ext cx="277" cy="571"/>
              </a:xfrm>
              <a:custGeom>
                <a:avLst/>
                <a:gdLst>
                  <a:gd name="T0" fmla="*/ 507 w 507"/>
                  <a:gd name="T1" fmla="*/ 53 h 1045"/>
                  <a:gd name="T2" fmla="*/ 185 w 507"/>
                  <a:gd name="T3" fmla="*/ 1045 h 1045"/>
                  <a:gd name="T4" fmla="*/ 108 w 507"/>
                  <a:gd name="T5" fmla="*/ 1020 h 1045"/>
                  <a:gd name="T6" fmla="*/ 1 w 507"/>
                  <a:gd name="T7" fmla="*/ 810 h 1045"/>
                  <a:gd name="T8" fmla="*/ 30 w 507"/>
                  <a:gd name="T9" fmla="*/ 446 h 1045"/>
                  <a:gd name="T10" fmla="*/ 220 w 507"/>
                  <a:gd name="T11" fmla="*/ 135 h 1045"/>
                  <a:gd name="T12" fmla="*/ 430 w 507"/>
                  <a:gd name="T13" fmla="*/ 28 h 1045"/>
                  <a:gd name="T14" fmla="*/ 507 w 507"/>
                  <a:gd name="T15" fmla="*/ 53 h 10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7" h="1045">
                    <a:moveTo>
                      <a:pt x="507" y="53"/>
                    </a:moveTo>
                    <a:cubicBezTo>
                      <a:pt x="185" y="1045"/>
                      <a:pt x="185" y="1045"/>
                      <a:pt x="185" y="1045"/>
                    </a:cubicBezTo>
                    <a:cubicBezTo>
                      <a:pt x="108" y="1020"/>
                      <a:pt x="108" y="1020"/>
                      <a:pt x="108" y="1020"/>
                    </a:cubicBezTo>
                    <a:cubicBezTo>
                      <a:pt x="20" y="991"/>
                      <a:pt x="2" y="869"/>
                      <a:pt x="1" y="810"/>
                    </a:cubicBezTo>
                    <a:cubicBezTo>
                      <a:pt x="0" y="719"/>
                      <a:pt x="30" y="446"/>
                      <a:pt x="30" y="446"/>
                    </a:cubicBezTo>
                    <a:cubicBezTo>
                      <a:pt x="30" y="446"/>
                      <a:pt x="166" y="208"/>
                      <a:pt x="220" y="135"/>
                    </a:cubicBezTo>
                    <a:cubicBezTo>
                      <a:pt x="255" y="88"/>
                      <a:pt x="342" y="0"/>
                      <a:pt x="430" y="28"/>
                    </a:cubicBezTo>
                    <a:lnTo>
                      <a:pt x="507" y="53"/>
                    </a:ln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4" name="Freeform 42">
                <a:extLst>
                  <a:ext uri="{FF2B5EF4-FFF2-40B4-BE49-F238E27FC236}">
                    <a16:creationId xmlns:a16="http://schemas.microsoft.com/office/drawing/2014/main" id="{C5EA4983-78FE-486E-B0B0-52A3345D6F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8" y="1124"/>
                <a:ext cx="319" cy="502"/>
              </a:xfrm>
              <a:custGeom>
                <a:avLst/>
                <a:gdLst>
                  <a:gd name="T0" fmla="*/ 530 w 583"/>
                  <a:gd name="T1" fmla="*/ 361 h 919"/>
                  <a:gd name="T2" fmla="*/ 439 w 583"/>
                  <a:gd name="T3" fmla="*/ 487 h 919"/>
                  <a:gd name="T4" fmla="*/ 400 w 583"/>
                  <a:gd name="T5" fmla="*/ 607 h 919"/>
                  <a:gd name="T6" fmla="*/ 400 w 583"/>
                  <a:gd name="T7" fmla="*/ 763 h 919"/>
                  <a:gd name="T8" fmla="*/ 78 w 583"/>
                  <a:gd name="T9" fmla="*/ 912 h 919"/>
                  <a:gd name="T10" fmla="*/ 0 w 583"/>
                  <a:gd name="T11" fmla="*/ 919 h 919"/>
                  <a:gd name="T12" fmla="*/ 299 w 583"/>
                  <a:gd name="T13" fmla="*/ 0 h 919"/>
                  <a:gd name="T14" fmla="*/ 357 w 583"/>
                  <a:gd name="T15" fmla="*/ 51 h 919"/>
                  <a:gd name="T16" fmla="*/ 530 w 583"/>
                  <a:gd name="T17" fmla="*/ 361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3" h="919">
                    <a:moveTo>
                      <a:pt x="530" y="361"/>
                    </a:moveTo>
                    <a:cubicBezTo>
                      <a:pt x="514" y="389"/>
                      <a:pt x="471" y="445"/>
                      <a:pt x="439" y="487"/>
                    </a:cubicBezTo>
                    <a:cubicBezTo>
                      <a:pt x="412" y="521"/>
                      <a:pt x="398" y="564"/>
                      <a:pt x="400" y="607"/>
                    </a:cubicBezTo>
                    <a:cubicBezTo>
                      <a:pt x="402" y="660"/>
                      <a:pt x="403" y="730"/>
                      <a:pt x="400" y="763"/>
                    </a:cubicBezTo>
                    <a:cubicBezTo>
                      <a:pt x="389" y="867"/>
                      <a:pt x="182" y="902"/>
                      <a:pt x="78" y="912"/>
                    </a:cubicBezTo>
                    <a:cubicBezTo>
                      <a:pt x="0" y="919"/>
                      <a:pt x="0" y="919"/>
                      <a:pt x="0" y="919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357" y="51"/>
                      <a:pt x="357" y="51"/>
                      <a:pt x="357" y="51"/>
                    </a:cubicBezTo>
                    <a:cubicBezTo>
                      <a:pt x="436" y="120"/>
                      <a:pt x="583" y="270"/>
                      <a:pt x="530" y="361"/>
                    </a:cubicBez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5" name="Freeform 43">
                <a:extLst>
                  <a:ext uri="{FF2B5EF4-FFF2-40B4-BE49-F238E27FC236}">
                    <a16:creationId xmlns:a16="http://schemas.microsoft.com/office/drawing/2014/main" id="{88A0CF3D-29DB-4F98-A884-0871A6CC5F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4" y="2268"/>
                <a:ext cx="632" cy="661"/>
              </a:xfrm>
              <a:custGeom>
                <a:avLst/>
                <a:gdLst>
                  <a:gd name="T0" fmla="*/ 1153 w 1155"/>
                  <a:gd name="T1" fmla="*/ 770 h 1210"/>
                  <a:gd name="T2" fmla="*/ 646 w 1155"/>
                  <a:gd name="T3" fmla="*/ 1196 h 1210"/>
                  <a:gd name="T4" fmla="*/ 439 w 1155"/>
                  <a:gd name="T5" fmla="*/ 1065 h 1210"/>
                  <a:gd name="T6" fmla="*/ 284 w 1155"/>
                  <a:gd name="T7" fmla="*/ 879 h 1210"/>
                  <a:gd name="T8" fmla="*/ 0 w 1155"/>
                  <a:gd name="T9" fmla="*/ 426 h 1210"/>
                  <a:gd name="T10" fmla="*/ 507 w 1155"/>
                  <a:gd name="T11" fmla="*/ 0 h 1210"/>
                  <a:gd name="T12" fmla="*/ 855 w 1155"/>
                  <a:gd name="T13" fmla="*/ 307 h 1210"/>
                  <a:gd name="T14" fmla="*/ 996 w 1155"/>
                  <a:gd name="T15" fmla="*/ 460 h 1210"/>
                  <a:gd name="T16" fmla="*/ 1147 w 1155"/>
                  <a:gd name="T17" fmla="*/ 711 h 1210"/>
                  <a:gd name="T18" fmla="*/ 1153 w 1155"/>
                  <a:gd name="T19" fmla="*/ 770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5" h="1210">
                    <a:moveTo>
                      <a:pt x="1153" y="770"/>
                    </a:moveTo>
                    <a:cubicBezTo>
                      <a:pt x="1139" y="935"/>
                      <a:pt x="811" y="1210"/>
                      <a:pt x="646" y="1196"/>
                    </a:cubicBezTo>
                    <a:cubicBezTo>
                      <a:pt x="584" y="1190"/>
                      <a:pt x="512" y="1139"/>
                      <a:pt x="439" y="1065"/>
                    </a:cubicBezTo>
                    <a:cubicBezTo>
                      <a:pt x="386" y="1012"/>
                      <a:pt x="334" y="947"/>
                      <a:pt x="284" y="879"/>
                    </a:cubicBezTo>
                    <a:cubicBezTo>
                      <a:pt x="128" y="667"/>
                      <a:pt x="0" y="426"/>
                      <a:pt x="0" y="426"/>
                    </a:cubicBezTo>
                    <a:cubicBezTo>
                      <a:pt x="507" y="0"/>
                      <a:pt x="507" y="0"/>
                      <a:pt x="507" y="0"/>
                    </a:cubicBezTo>
                    <a:cubicBezTo>
                      <a:pt x="507" y="0"/>
                      <a:pt x="686" y="139"/>
                      <a:pt x="855" y="307"/>
                    </a:cubicBezTo>
                    <a:cubicBezTo>
                      <a:pt x="904" y="357"/>
                      <a:pt x="953" y="408"/>
                      <a:pt x="996" y="460"/>
                    </a:cubicBezTo>
                    <a:cubicBezTo>
                      <a:pt x="1070" y="548"/>
                      <a:pt x="1129" y="637"/>
                      <a:pt x="1147" y="711"/>
                    </a:cubicBezTo>
                    <a:cubicBezTo>
                      <a:pt x="1153" y="732"/>
                      <a:pt x="1155" y="752"/>
                      <a:pt x="1153" y="770"/>
                    </a:cubicBez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6" name="Freeform 44">
                <a:extLst>
                  <a:ext uri="{FF2B5EF4-FFF2-40B4-BE49-F238E27FC236}">
                    <a16:creationId xmlns:a16="http://schemas.microsoft.com/office/drawing/2014/main" id="{CDBB5449-D19B-4035-9AB5-CF4F41C729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5" y="2520"/>
                <a:ext cx="391" cy="409"/>
              </a:xfrm>
              <a:custGeom>
                <a:avLst/>
                <a:gdLst>
                  <a:gd name="T0" fmla="*/ 714 w 716"/>
                  <a:gd name="T1" fmla="*/ 310 h 750"/>
                  <a:gd name="T2" fmla="*/ 207 w 716"/>
                  <a:gd name="T3" fmla="*/ 736 h 750"/>
                  <a:gd name="T4" fmla="*/ 0 w 716"/>
                  <a:gd name="T5" fmla="*/ 605 h 750"/>
                  <a:gd name="T6" fmla="*/ 371 w 716"/>
                  <a:gd name="T7" fmla="*/ 346 h 750"/>
                  <a:gd name="T8" fmla="*/ 557 w 716"/>
                  <a:gd name="T9" fmla="*/ 0 h 750"/>
                  <a:gd name="T10" fmla="*/ 708 w 716"/>
                  <a:gd name="T11" fmla="*/ 251 h 750"/>
                  <a:gd name="T12" fmla="*/ 714 w 716"/>
                  <a:gd name="T13" fmla="*/ 31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6" h="750">
                    <a:moveTo>
                      <a:pt x="714" y="310"/>
                    </a:moveTo>
                    <a:cubicBezTo>
                      <a:pt x="700" y="475"/>
                      <a:pt x="372" y="750"/>
                      <a:pt x="207" y="736"/>
                    </a:cubicBezTo>
                    <a:cubicBezTo>
                      <a:pt x="145" y="730"/>
                      <a:pt x="73" y="679"/>
                      <a:pt x="0" y="605"/>
                    </a:cubicBezTo>
                    <a:cubicBezTo>
                      <a:pt x="168" y="609"/>
                      <a:pt x="368" y="481"/>
                      <a:pt x="371" y="346"/>
                    </a:cubicBezTo>
                    <a:cubicBezTo>
                      <a:pt x="375" y="174"/>
                      <a:pt x="483" y="79"/>
                      <a:pt x="557" y="0"/>
                    </a:cubicBezTo>
                    <a:cubicBezTo>
                      <a:pt x="631" y="88"/>
                      <a:pt x="690" y="177"/>
                      <a:pt x="708" y="251"/>
                    </a:cubicBezTo>
                    <a:cubicBezTo>
                      <a:pt x="714" y="272"/>
                      <a:pt x="716" y="292"/>
                      <a:pt x="714" y="310"/>
                    </a:cubicBezTo>
                    <a:close/>
                  </a:path>
                </a:pathLst>
              </a:custGeom>
              <a:solidFill>
                <a:srgbClr val="EC40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7" name="Freeform 45">
                <a:extLst>
                  <a:ext uri="{FF2B5EF4-FFF2-40B4-BE49-F238E27FC236}">
                    <a16:creationId xmlns:a16="http://schemas.microsoft.com/office/drawing/2014/main" id="{35AE25BB-1973-4B47-B8E9-E4715CE4E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2" y="2695"/>
                <a:ext cx="499" cy="438"/>
              </a:xfrm>
              <a:custGeom>
                <a:avLst/>
                <a:gdLst>
                  <a:gd name="T0" fmla="*/ 0 w 910"/>
                  <a:gd name="T1" fmla="*/ 670 h 803"/>
                  <a:gd name="T2" fmla="*/ 799 w 910"/>
                  <a:gd name="T3" fmla="*/ 0 h 803"/>
                  <a:gd name="T4" fmla="*/ 851 w 910"/>
                  <a:gd name="T5" fmla="*/ 62 h 803"/>
                  <a:gd name="T6" fmla="*/ 831 w 910"/>
                  <a:gd name="T7" fmla="*/ 297 h 803"/>
                  <a:gd name="T8" fmla="*/ 614 w 910"/>
                  <a:gd name="T9" fmla="*/ 590 h 803"/>
                  <a:gd name="T10" fmla="*/ 287 w 910"/>
                  <a:gd name="T11" fmla="*/ 753 h 803"/>
                  <a:gd name="T12" fmla="*/ 53 w 910"/>
                  <a:gd name="T13" fmla="*/ 732 h 803"/>
                  <a:gd name="T14" fmla="*/ 0 w 910"/>
                  <a:gd name="T15" fmla="*/ 670 h 8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0" h="803">
                    <a:moveTo>
                      <a:pt x="0" y="670"/>
                    </a:moveTo>
                    <a:cubicBezTo>
                      <a:pt x="799" y="0"/>
                      <a:pt x="799" y="0"/>
                      <a:pt x="799" y="0"/>
                    </a:cubicBezTo>
                    <a:cubicBezTo>
                      <a:pt x="851" y="62"/>
                      <a:pt x="851" y="62"/>
                      <a:pt x="851" y="62"/>
                    </a:cubicBezTo>
                    <a:cubicBezTo>
                      <a:pt x="910" y="133"/>
                      <a:pt x="861" y="246"/>
                      <a:pt x="831" y="297"/>
                    </a:cubicBezTo>
                    <a:cubicBezTo>
                      <a:pt x="784" y="375"/>
                      <a:pt x="614" y="590"/>
                      <a:pt x="614" y="590"/>
                    </a:cubicBezTo>
                    <a:cubicBezTo>
                      <a:pt x="614" y="590"/>
                      <a:pt x="372" y="720"/>
                      <a:pt x="287" y="753"/>
                    </a:cubicBezTo>
                    <a:cubicBezTo>
                      <a:pt x="232" y="774"/>
                      <a:pt x="112" y="803"/>
                      <a:pt x="53" y="732"/>
                    </a:cubicBezTo>
                    <a:lnTo>
                      <a:pt x="0" y="670"/>
                    </a:ln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8" name="Freeform 46">
                <a:extLst>
                  <a:ext uri="{FF2B5EF4-FFF2-40B4-BE49-F238E27FC236}">
                    <a16:creationId xmlns:a16="http://schemas.microsoft.com/office/drawing/2014/main" id="{0607F2B9-52D5-46E4-B79A-412D7CFB54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" y="2651"/>
                <a:ext cx="459" cy="428"/>
              </a:xfrm>
              <a:custGeom>
                <a:avLst/>
                <a:gdLst>
                  <a:gd name="T0" fmla="*/ 92 w 837"/>
                  <a:gd name="T1" fmla="*/ 354 h 783"/>
                  <a:gd name="T2" fmla="*/ 237 w 837"/>
                  <a:gd name="T3" fmla="*/ 296 h 783"/>
                  <a:gd name="T4" fmla="*/ 333 w 837"/>
                  <a:gd name="T5" fmla="*/ 215 h 783"/>
                  <a:gd name="T6" fmla="*/ 416 w 837"/>
                  <a:gd name="T7" fmla="*/ 83 h 783"/>
                  <a:gd name="T8" fmla="*/ 768 w 837"/>
                  <a:gd name="T9" fmla="*/ 127 h 783"/>
                  <a:gd name="T10" fmla="*/ 837 w 837"/>
                  <a:gd name="T11" fmla="*/ 162 h 783"/>
                  <a:gd name="T12" fmla="*/ 97 w 837"/>
                  <a:gd name="T13" fmla="*/ 783 h 783"/>
                  <a:gd name="T14" fmla="*/ 75 w 837"/>
                  <a:gd name="T15" fmla="*/ 709 h 783"/>
                  <a:gd name="T16" fmla="*/ 92 w 837"/>
                  <a:gd name="T17" fmla="*/ 354 h 7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37" h="783">
                    <a:moveTo>
                      <a:pt x="92" y="354"/>
                    </a:moveTo>
                    <a:cubicBezTo>
                      <a:pt x="121" y="339"/>
                      <a:pt x="187" y="314"/>
                      <a:pt x="237" y="296"/>
                    </a:cubicBezTo>
                    <a:cubicBezTo>
                      <a:pt x="277" y="281"/>
                      <a:pt x="311" y="252"/>
                      <a:pt x="333" y="215"/>
                    </a:cubicBezTo>
                    <a:cubicBezTo>
                      <a:pt x="360" y="169"/>
                      <a:pt x="396" y="109"/>
                      <a:pt x="416" y="83"/>
                    </a:cubicBezTo>
                    <a:cubicBezTo>
                      <a:pt x="480" y="0"/>
                      <a:pt x="674" y="80"/>
                      <a:pt x="768" y="127"/>
                    </a:cubicBezTo>
                    <a:cubicBezTo>
                      <a:pt x="837" y="162"/>
                      <a:pt x="837" y="162"/>
                      <a:pt x="837" y="162"/>
                    </a:cubicBezTo>
                    <a:cubicBezTo>
                      <a:pt x="97" y="783"/>
                      <a:pt x="97" y="783"/>
                      <a:pt x="97" y="783"/>
                    </a:cubicBezTo>
                    <a:cubicBezTo>
                      <a:pt x="75" y="709"/>
                      <a:pt x="75" y="709"/>
                      <a:pt x="75" y="709"/>
                    </a:cubicBezTo>
                    <a:cubicBezTo>
                      <a:pt x="45" y="608"/>
                      <a:pt x="0" y="403"/>
                      <a:pt x="92" y="354"/>
                    </a:cubicBez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9" name="Freeform 47">
                <a:extLst>
                  <a:ext uri="{FF2B5EF4-FFF2-40B4-BE49-F238E27FC236}">
                    <a16:creationId xmlns:a16="http://schemas.microsoft.com/office/drawing/2014/main" id="{F5BD1795-2483-49C4-B803-BF4627B2C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2" y="2240"/>
                <a:ext cx="709" cy="722"/>
              </a:xfrm>
              <a:custGeom>
                <a:avLst/>
                <a:gdLst>
                  <a:gd name="T0" fmla="*/ 772 w 1295"/>
                  <a:gd name="T1" fmla="*/ 0 h 1324"/>
                  <a:gd name="T2" fmla="*/ 987 w 1295"/>
                  <a:gd name="T3" fmla="*/ 181 h 1324"/>
                  <a:gd name="T4" fmla="*/ 474 w 1295"/>
                  <a:gd name="T5" fmla="*/ 832 h 1324"/>
                  <a:gd name="T6" fmla="*/ 369 w 1295"/>
                  <a:gd name="T7" fmla="*/ 1007 h 1324"/>
                  <a:gd name="T8" fmla="*/ 506 w 1295"/>
                  <a:gd name="T9" fmla="*/ 879 h 1324"/>
                  <a:gd name="T10" fmla="*/ 1058 w 1295"/>
                  <a:gd name="T11" fmla="*/ 241 h 1324"/>
                  <a:gd name="T12" fmla="*/ 1295 w 1295"/>
                  <a:gd name="T13" fmla="*/ 440 h 1324"/>
                  <a:gd name="T14" fmla="*/ 657 w 1295"/>
                  <a:gd name="T15" fmla="*/ 1323 h 1324"/>
                  <a:gd name="T16" fmla="*/ 12 w 1295"/>
                  <a:gd name="T17" fmla="*/ 782 h 1324"/>
                  <a:gd name="T18" fmla="*/ 772 w 1295"/>
                  <a:gd name="T19" fmla="*/ 0 h 1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95" h="1324">
                    <a:moveTo>
                      <a:pt x="772" y="0"/>
                    </a:moveTo>
                    <a:cubicBezTo>
                      <a:pt x="987" y="181"/>
                      <a:pt x="987" y="181"/>
                      <a:pt x="987" y="181"/>
                    </a:cubicBezTo>
                    <a:cubicBezTo>
                      <a:pt x="987" y="181"/>
                      <a:pt x="651" y="589"/>
                      <a:pt x="474" y="832"/>
                    </a:cubicBezTo>
                    <a:cubicBezTo>
                      <a:pt x="404" y="928"/>
                      <a:pt x="358" y="998"/>
                      <a:pt x="369" y="1007"/>
                    </a:cubicBezTo>
                    <a:cubicBezTo>
                      <a:pt x="377" y="1013"/>
                      <a:pt x="431" y="960"/>
                      <a:pt x="506" y="879"/>
                    </a:cubicBezTo>
                    <a:cubicBezTo>
                      <a:pt x="708" y="660"/>
                      <a:pt x="1058" y="241"/>
                      <a:pt x="1058" y="241"/>
                    </a:cubicBezTo>
                    <a:cubicBezTo>
                      <a:pt x="1295" y="440"/>
                      <a:pt x="1295" y="440"/>
                      <a:pt x="1295" y="440"/>
                    </a:cubicBezTo>
                    <a:cubicBezTo>
                      <a:pt x="1295" y="440"/>
                      <a:pt x="743" y="1324"/>
                      <a:pt x="657" y="1323"/>
                    </a:cubicBezTo>
                    <a:cubicBezTo>
                      <a:pt x="469" y="1322"/>
                      <a:pt x="32" y="961"/>
                      <a:pt x="12" y="782"/>
                    </a:cubicBezTo>
                    <a:cubicBezTo>
                      <a:pt x="0" y="675"/>
                      <a:pt x="772" y="0"/>
                      <a:pt x="772" y="0"/>
                    </a:cubicBezTo>
                  </a:path>
                </a:pathLst>
              </a:custGeom>
              <a:solidFill>
                <a:srgbClr val="213C4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0" name="Freeform 48">
                <a:extLst>
                  <a:ext uri="{FF2B5EF4-FFF2-40B4-BE49-F238E27FC236}">
                    <a16:creationId xmlns:a16="http://schemas.microsoft.com/office/drawing/2014/main" id="{263482B7-8058-45E6-8794-89CD4192F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5" y="2460"/>
                <a:ext cx="430" cy="502"/>
              </a:xfrm>
              <a:custGeom>
                <a:avLst/>
                <a:gdLst>
                  <a:gd name="T0" fmla="*/ 326 w 785"/>
                  <a:gd name="T1" fmla="*/ 0 h 919"/>
                  <a:gd name="T2" fmla="*/ 516 w 785"/>
                  <a:gd name="T3" fmla="*/ 363 h 919"/>
                  <a:gd name="T4" fmla="*/ 468 w 785"/>
                  <a:gd name="T5" fmla="*/ 427 h 919"/>
                  <a:gd name="T6" fmla="*/ 363 w 785"/>
                  <a:gd name="T7" fmla="*/ 603 h 919"/>
                  <a:gd name="T8" fmla="*/ 500 w 785"/>
                  <a:gd name="T9" fmla="*/ 475 h 919"/>
                  <a:gd name="T10" fmla="*/ 549 w 785"/>
                  <a:gd name="T11" fmla="*/ 421 h 919"/>
                  <a:gd name="T12" fmla="*/ 785 w 785"/>
                  <a:gd name="T13" fmla="*/ 784 h 919"/>
                  <a:gd name="T14" fmla="*/ 651 w 785"/>
                  <a:gd name="T15" fmla="*/ 919 h 919"/>
                  <a:gd name="T16" fmla="*/ 6 w 785"/>
                  <a:gd name="T17" fmla="*/ 378 h 919"/>
                  <a:gd name="T18" fmla="*/ 326 w 785"/>
                  <a:gd name="T19" fmla="*/ 0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5" h="919">
                    <a:moveTo>
                      <a:pt x="326" y="0"/>
                    </a:moveTo>
                    <a:cubicBezTo>
                      <a:pt x="384" y="118"/>
                      <a:pt x="449" y="243"/>
                      <a:pt x="516" y="363"/>
                    </a:cubicBezTo>
                    <a:cubicBezTo>
                      <a:pt x="499" y="385"/>
                      <a:pt x="483" y="407"/>
                      <a:pt x="468" y="427"/>
                    </a:cubicBezTo>
                    <a:cubicBezTo>
                      <a:pt x="398" y="524"/>
                      <a:pt x="352" y="594"/>
                      <a:pt x="363" y="603"/>
                    </a:cubicBezTo>
                    <a:cubicBezTo>
                      <a:pt x="371" y="609"/>
                      <a:pt x="425" y="556"/>
                      <a:pt x="500" y="475"/>
                    </a:cubicBezTo>
                    <a:cubicBezTo>
                      <a:pt x="516" y="458"/>
                      <a:pt x="532" y="440"/>
                      <a:pt x="549" y="421"/>
                    </a:cubicBezTo>
                    <a:cubicBezTo>
                      <a:pt x="629" y="560"/>
                      <a:pt x="710" y="689"/>
                      <a:pt x="785" y="784"/>
                    </a:cubicBezTo>
                    <a:cubicBezTo>
                      <a:pt x="722" y="866"/>
                      <a:pt x="672" y="919"/>
                      <a:pt x="651" y="919"/>
                    </a:cubicBezTo>
                    <a:cubicBezTo>
                      <a:pt x="463" y="918"/>
                      <a:pt x="26" y="557"/>
                      <a:pt x="6" y="378"/>
                    </a:cubicBezTo>
                    <a:cubicBezTo>
                      <a:pt x="0" y="330"/>
                      <a:pt x="155" y="166"/>
                      <a:pt x="326" y="0"/>
                    </a:cubicBezTo>
                    <a:close/>
                  </a:path>
                </a:pathLst>
              </a:custGeom>
              <a:solidFill>
                <a:srgbClr val="1B33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1" name="Freeform 49">
                <a:extLst>
                  <a:ext uri="{FF2B5EF4-FFF2-40B4-BE49-F238E27FC236}">
                    <a16:creationId xmlns:a16="http://schemas.microsoft.com/office/drawing/2014/main" id="{EE5AAC3D-3209-4B7B-A086-4B4B2BA22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2" y="2627"/>
                <a:ext cx="614" cy="548"/>
              </a:xfrm>
              <a:custGeom>
                <a:avLst/>
                <a:gdLst>
                  <a:gd name="T0" fmla="*/ 176 w 1122"/>
                  <a:gd name="T1" fmla="*/ 0 h 1004"/>
                  <a:gd name="T2" fmla="*/ 1122 w 1122"/>
                  <a:gd name="T3" fmla="*/ 793 h 1004"/>
                  <a:gd name="T4" fmla="*/ 1021 w 1122"/>
                  <a:gd name="T5" fmla="*/ 914 h 1004"/>
                  <a:gd name="T6" fmla="*/ 410 w 1122"/>
                  <a:gd name="T7" fmla="*/ 682 h 1004"/>
                  <a:gd name="T8" fmla="*/ 75 w 1122"/>
                  <a:gd name="T9" fmla="*/ 120 h 1004"/>
                  <a:gd name="T10" fmla="*/ 176 w 1122"/>
                  <a:gd name="T11" fmla="*/ 0 h 1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22" h="1004">
                    <a:moveTo>
                      <a:pt x="176" y="0"/>
                    </a:moveTo>
                    <a:cubicBezTo>
                      <a:pt x="1122" y="793"/>
                      <a:pt x="1122" y="793"/>
                      <a:pt x="1122" y="793"/>
                    </a:cubicBezTo>
                    <a:cubicBezTo>
                      <a:pt x="1021" y="914"/>
                      <a:pt x="1021" y="914"/>
                      <a:pt x="1021" y="914"/>
                    </a:cubicBezTo>
                    <a:cubicBezTo>
                      <a:pt x="946" y="1004"/>
                      <a:pt x="699" y="924"/>
                      <a:pt x="410" y="682"/>
                    </a:cubicBezTo>
                    <a:cubicBezTo>
                      <a:pt x="105" y="426"/>
                      <a:pt x="0" y="210"/>
                      <a:pt x="75" y="120"/>
                    </a:cubicBezTo>
                    <a:cubicBezTo>
                      <a:pt x="92" y="100"/>
                      <a:pt x="176" y="0"/>
                      <a:pt x="176" y="0"/>
                    </a:cubicBezTo>
                    <a:close/>
                  </a:path>
                </a:pathLst>
              </a:custGeom>
              <a:solidFill>
                <a:srgbClr val="4470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2" name="Freeform 50">
                <a:extLst>
                  <a:ext uri="{FF2B5EF4-FFF2-40B4-BE49-F238E27FC236}">
                    <a16:creationId xmlns:a16="http://schemas.microsoft.com/office/drawing/2014/main" id="{1F56ABCF-2BC2-41A6-8E90-EB4A758B57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9" y="2610"/>
                <a:ext cx="490" cy="441"/>
              </a:xfrm>
              <a:custGeom>
                <a:avLst/>
                <a:gdLst>
                  <a:gd name="T0" fmla="*/ 420 w 896"/>
                  <a:gd name="T1" fmla="*/ 86 h 808"/>
                  <a:gd name="T2" fmla="*/ 783 w 896"/>
                  <a:gd name="T3" fmla="*/ 390 h 808"/>
                  <a:gd name="T4" fmla="*/ 859 w 896"/>
                  <a:gd name="T5" fmla="*/ 651 h 808"/>
                  <a:gd name="T6" fmla="*/ 830 w 896"/>
                  <a:gd name="T7" fmla="*/ 808 h 808"/>
                  <a:gd name="T8" fmla="*/ 0 w 896"/>
                  <a:gd name="T9" fmla="*/ 111 h 808"/>
                  <a:gd name="T10" fmla="*/ 150 w 896"/>
                  <a:gd name="T11" fmla="*/ 56 h 808"/>
                  <a:gd name="T12" fmla="*/ 420 w 896"/>
                  <a:gd name="T13" fmla="*/ 86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96" h="808">
                    <a:moveTo>
                      <a:pt x="420" y="86"/>
                    </a:moveTo>
                    <a:cubicBezTo>
                      <a:pt x="512" y="160"/>
                      <a:pt x="693" y="313"/>
                      <a:pt x="783" y="390"/>
                    </a:cubicBezTo>
                    <a:cubicBezTo>
                      <a:pt x="838" y="439"/>
                      <a:pt x="896" y="541"/>
                      <a:pt x="859" y="651"/>
                    </a:cubicBezTo>
                    <a:cubicBezTo>
                      <a:pt x="830" y="808"/>
                      <a:pt x="830" y="808"/>
                      <a:pt x="830" y="808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252" y="0"/>
                      <a:pt x="362" y="39"/>
                      <a:pt x="420" y="86"/>
                    </a:cubicBezTo>
                    <a:close/>
                  </a:path>
                </a:pathLst>
              </a:custGeom>
              <a:solidFill>
                <a:srgbClr val="4470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3" name="Freeform 51">
                <a:extLst>
                  <a:ext uri="{FF2B5EF4-FFF2-40B4-BE49-F238E27FC236}">
                    <a16:creationId xmlns:a16="http://schemas.microsoft.com/office/drawing/2014/main" id="{7E7A7239-7E27-4D36-9211-068044E882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4" y="2684"/>
                <a:ext cx="407" cy="405"/>
              </a:xfrm>
              <a:custGeom>
                <a:avLst/>
                <a:gdLst>
                  <a:gd name="T0" fmla="*/ 126 w 743"/>
                  <a:gd name="T1" fmla="*/ 179 h 741"/>
                  <a:gd name="T2" fmla="*/ 599 w 743"/>
                  <a:gd name="T3" fmla="*/ 114 h 741"/>
                  <a:gd name="T4" fmla="*/ 617 w 743"/>
                  <a:gd name="T5" fmla="*/ 591 h 741"/>
                  <a:gd name="T6" fmla="*/ 172 w 743"/>
                  <a:gd name="T7" fmla="*/ 623 h 741"/>
                  <a:gd name="T8" fmla="*/ 126 w 743"/>
                  <a:gd name="T9" fmla="*/ 179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3" h="741">
                    <a:moveTo>
                      <a:pt x="126" y="179"/>
                    </a:moveTo>
                    <a:cubicBezTo>
                      <a:pt x="251" y="29"/>
                      <a:pt x="463" y="0"/>
                      <a:pt x="599" y="114"/>
                    </a:cubicBezTo>
                    <a:cubicBezTo>
                      <a:pt x="735" y="228"/>
                      <a:pt x="743" y="442"/>
                      <a:pt x="617" y="591"/>
                    </a:cubicBezTo>
                    <a:cubicBezTo>
                      <a:pt x="491" y="741"/>
                      <a:pt x="307" y="737"/>
                      <a:pt x="172" y="623"/>
                    </a:cubicBezTo>
                    <a:cubicBezTo>
                      <a:pt x="36" y="509"/>
                      <a:pt x="0" y="329"/>
                      <a:pt x="126" y="179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" name="Freeform 52">
                <a:extLst>
                  <a:ext uri="{FF2B5EF4-FFF2-40B4-BE49-F238E27FC236}">
                    <a16:creationId xmlns:a16="http://schemas.microsoft.com/office/drawing/2014/main" id="{B158B3FC-FF73-4F0B-B547-E7B5ADB0A1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9" y="2723"/>
                <a:ext cx="442" cy="405"/>
              </a:xfrm>
              <a:custGeom>
                <a:avLst/>
                <a:gdLst>
                  <a:gd name="T0" fmla="*/ 142 w 806"/>
                  <a:gd name="T1" fmla="*/ 134 h 741"/>
                  <a:gd name="T2" fmla="*/ 365 w 806"/>
                  <a:gd name="T3" fmla="*/ 4 h 741"/>
                  <a:gd name="T4" fmla="*/ 457 w 806"/>
                  <a:gd name="T5" fmla="*/ 57 h 741"/>
                  <a:gd name="T6" fmla="*/ 637 w 806"/>
                  <a:gd name="T7" fmla="*/ 74 h 741"/>
                  <a:gd name="T8" fmla="*/ 664 w 806"/>
                  <a:gd name="T9" fmla="*/ 572 h 741"/>
                  <a:gd name="T10" fmla="*/ 223 w 806"/>
                  <a:gd name="T11" fmla="*/ 568 h 741"/>
                  <a:gd name="T12" fmla="*/ 142 w 806"/>
                  <a:gd name="T13" fmla="*/ 134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6" h="741">
                    <a:moveTo>
                      <a:pt x="142" y="134"/>
                    </a:moveTo>
                    <a:cubicBezTo>
                      <a:pt x="208" y="54"/>
                      <a:pt x="292" y="0"/>
                      <a:pt x="365" y="4"/>
                    </a:cubicBezTo>
                    <a:cubicBezTo>
                      <a:pt x="400" y="6"/>
                      <a:pt x="419" y="49"/>
                      <a:pt x="457" y="57"/>
                    </a:cubicBezTo>
                    <a:cubicBezTo>
                      <a:pt x="510" y="69"/>
                      <a:pt x="552" y="4"/>
                      <a:pt x="637" y="74"/>
                    </a:cubicBezTo>
                    <a:cubicBezTo>
                      <a:pt x="783" y="194"/>
                      <a:pt x="806" y="403"/>
                      <a:pt x="664" y="572"/>
                    </a:cubicBezTo>
                    <a:cubicBezTo>
                      <a:pt x="522" y="741"/>
                      <a:pt x="367" y="689"/>
                      <a:pt x="223" y="568"/>
                    </a:cubicBezTo>
                    <a:cubicBezTo>
                      <a:pt x="78" y="447"/>
                      <a:pt x="0" y="303"/>
                      <a:pt x="142" y="134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" name="Freeform 53">
                <a:extLst>
                  <a:ext uri="{FF2B5EF4-FFF2-40B4-BE49-F238E27FC236}">
                    <a16:creationId xmlns:a16="http://schemas.microsoft.com/office/drawing/2014/main" id="{16413F5E-70EB-47F8-8FC2-807885A30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5" y="2743"/>
                <a:ext cx="374" cy="361"/>
              </a:xfrm>
              <a:custGeom>
                <a:avLst/>
                <a:gdLst>
                  <a:gd name="T0" fmla="*/ 127 w 684"/>
                  <a:gd name="T1" fmla="*/ 177 h 661"/>
                  <a:gd name="T2" fmla="*/ 314 w 684"/>
                  <a:gd name="T3" fmla="*/ 49 h 661"/>
                  <a:gd name="T4" fmla="*/ 390 w 684"/>
                  <a:gd name="T5" fmla="*/ 69 h 661"/>
                  <a:gd name="T6" fmla="*/ 533 w 684"/>
                  <a:gd name="T7" fmla="*/ 62 h 661"/>
                  <a:gd name="T8" fmla="*/ 557 w 684"/>
                  <a:gd name="T9" fmla="*/ 510 h 661"/>
                  <a:gd name="T10" fmla="*/ 161 w 684"/>
                  <a:gd name="T11" fmla="*/ 506 h 661"/>
                  <a:gd name="T12" fmla="*/ 127 w 684"/>
                  <a:gd name="T13" fmla="*/ 177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4" h="661">
                    <a:moveTo>
                      <a:pt x="127" y="177"/>
                    </a:moveTo>
                    <a:cubicBezTo>
                      <a:pt x="187" y="105"/>
                      <a:pt x="248" y="45"/>
                      <a:pt x="314" y="49"/>
                    </a:cubicBezTo>
                    <a:cubicBezTo>
                      <a:pt x="345" y="51"/>
                      <a:pt x="356" y="62"/>
                      <a:pt x="390" y="69"/>
                    </a:cubicBezTo>
                    <a:cubicBezTo>
                      <a:pt x="437" y="79"/>
                      <a:pt x="456" y="0"/>
                      <a:pt x="533" y="62"/>
                    </a:cubicBezTo>
                    <a:cubicBezTo>
                      <a:pt x="663" y="170"/>
                      <a:pt x="684" y="358"/>
                      <a:pt x="557" y="510"/>
                    </a:cubicBezTo>
                    <a:cubicBezTo>
                      <a:pt x="430" y="661"/>
                      <a:pt x="290" y="614"/>
                      <a:pt x="161" y="506"/>
                    </a:cubicBezTo>
                    <a:cubicBezTo>
                      <a:pt x="31" y="397"/>
                      <a:pt x="0" y="328"/>
                      <a:pt x="127" y="177"/>
                    </a:cubicBezTo>
                    <a:close/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" name="Freeform 54">
                <a:extLst>
                  <a:ext uri="{FF2B5EF4-FFF2-40B4-BE49-F238E27FC236}">
                    <a16:creationId xmlns:a16="http://schemas.microsoft.com/office/drawing/2014/main" id="{E75F928F-EF38-4B9F-AB97-0B873C8BDA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" y="2713"/>
                <a:ext cx="81" cy="80"/>
              </a:xfrm>
              <a:custGeom>
                <a:avLst/>
                <a:gdLst>
                  <a:gd name="T0" fmla="*/ 141 w 147"/>
                  <a:gd name="T1" fmla="*/ 61 h 147"/>
                  <a:gd name="T2" fmla="*/ 126 w 147"/>
                  <a:gd name="T3" fmla="*/ 147 h 147"/>
                  <a:gd name="T4" fmla="*/ 0 w 147"/>
                  <a:gd name="T5" fmla="*/ 41 h 147"/>
                  <a:gd name="T6" fmla="*/ 82 w 147"/>
                  <a:gd name="T7" fmla="*/ 11 h 147"/>
                  <a:gd name="T8" fmla="*/ 141 w 147"/>
                  <a:gd name="T9" fmla="*/ 61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7" h="147">
                    <a:moveTo>
                      <a:pt x="141" y="61"/>
                    </a:moveTo>
                    <a:cubicBezTo>
                      <a:pt x="126" y="147"/>
                      <a:pt x="126" y="147"/>
                      <a:pt x="126" y="147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114" y="0"/>
                      <a:pt x="147" y="27"/>
                      <a:pt x="141" y="61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" name="Freeform 55">
                <a:extLst>
                  <a:ext uri="{FF2B5EF4-FFF2-40B4-BE49-F238E27FC236}">
                    <a16:creationId xmlns:a16="http://schemas.microsoft.com/office/drawing/2014/main" id="{0ACBDDBE-62B5-4CC6-966D-5C280ABF8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4" y="483"/>
                <a:ext cx="539" cy="661"/>
              </a:xfrm>
              <a:custGeom>
                <a:avLst/>
                <a:gdLst>
                  <a:gd name="T0" fmla="*/ 829 w 986"/>
                  <a:gd name="T1" fmla="*/ 1211 h 1211"/>
                  <a:gd name="T2" fmla="*/ 547 w 986"/>
                  <a:gd name="T3" fmla="*/ 1211 h 1211"/>
                  <a:gd name="T4" fmla="*/ 522 w 986"/>
                  <a:gd name="T5" fmla="*/ 383 h 1211"/>
                  <a:gd name="T6" fmla="*/ 490 w 986"/>
                  <a:gd name="T7" fmla="*/ 181 h 1211"/>
                  <a:gd name="T8" fmla="*/ 467 w 986"/>
                  <a:gd name="T9" fmla="*/ 367 h 1211"/>
                  <a:gd name="T10" fmla="*/ 454 w 986"/>
                  <a:gd name="T11" fmla="*/ 1211 h 1211"/>
                  <a:gd name="T12" fmla="*/ 145 w 986"/>
                  <a:gd name="T13" fmla="*/ 1211 h 1211"/>
                  <a:gd name="T14" fmla="*/ 66 w 986"/>
                  <a:gd name="T15" fmla="*/ 124 h 1211"/>
                  <a:gd name="T16" fmla="*/ 908 w 986"/>
                  <a:gd name="T17" fmla="*/ 124 h 1211"/>
                  <a:gd name="T18" fmla="*/ 829 w 986"/>
                  <a:gd name="T19" fmla="*/ 1211 h 1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86" h="1211">
                    <a:moveTo>
                      <a:pt x="829" y="1211"/>
                    </a:moveTo>
                    <a:cubicBezTo>
                      <a:pt x="547" y="1211"/>
                      <a:pt x="547" y="1211"/>
                      <a:pt x="547" y="1211"/>
                    </a:cubicBezTo>
                    <a:cubicBezTo>
                      <a:pt x="547" y="1211"/>
                      <a:pt x="543" y="683"/>
                      <a:pt x="522" y="383"/>
                    </a:cubicBezTo>
                    <a:cubicBezTo>
                      <a:pt x="514" y="264"/>
                      <a:pt x="504" y="181"/>
                      <a:pt x="490" y="181"/>
                    </a:cubicBezTo>
                    <a:cubicBezTo>
                      <a:pt x="480" y="181"/>
                      <a:pt x="472" y="257"/>
                      <a:pt x="467" y="367"/>
                    </a:cubicBezTo>
                    <a:cubicBezTo>
                      <a:pt x="453" y="664"/>
                      <a:pt x="454" y="1211"/>
                      <a:pt x="454" y="1211"/>
                    </a:cubicBezTo>
                    <a:cubicBezTo>
                      <a:pt x="145" y="1211"/>
                      <a:pt x="145" y="1211"/>
                      <a:pt x="145" y="1211"/>
                    </a:cubicBezTo>
                    <a:cubicBezTo>
                      <a:pt x="145" y="1211"/>
                      <a:pt x="0" y="178"/>
                      <a:pt x="66" y="124"/>
                    </a:cubicBezTo>
                    <a:cubicBezTo>
                      <a:pt x="210" y="4"/>
                      <a:pt x="777" y="0"/>
                      <a:pt x="908" y="124"/>
                    </a:cubicBezTo>
                    <a:cubicBezTo>
                      <a:pt x="986" y="198"/>
                      <a:pt x="829" y="1211"/>
                      <a:pt x="829" y="1211"/>
                    </a:cubicBezTo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" name="Freeform 56">
                <a:extLst>
                  <a:ext uri="{FF2B5EF4-FFF2-40B4-BE49-F238E27FC236}">
                    <a16:creationId xmlns:a16="http://schemas.microsoft.com/office/drawing/2014/main" id="{3E45DEE8-5703-4681-8B7A-92708FAFC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9" y="483"/>
                <a:ext cx="491" cy="338"/>
              </a:xfrm>
              <a:custGeom>
                <a:avLst/>
                <a:gdLst>
                  <a:gd name="T0" fmla="*/ 860 w 897"/>
                  <a:gd name="T1" fmla="*/ 619 h 619"/>
                  <a:gd name="T2" fmla="*/ 481 w 897"/>
                  <a:gd name="T3" fmla="*/ 463 h 619"/>
                  <a:gd name="T4" fmla="*/ 476 w 897"/>
                  <a:gd name="T5" fmla="*/ 383 h 619"/>
                  <a:gd name="T6" fmla="*/ 444 w 897"/>
                  <a:gd name="T7" fmla="*/ 181 h 619"/>
                  <a:gd name="T8" fmla="*/ 421 w 897"/>
                  <a:gd name="T9" fmla="*/ 368 h 619"/>
                  <a:gd name="T10" fmla="*/ 418 w 897"/>
                  <a:gd name="T11" fmla="*/ 440 h 619"/>
                  <a:gd name="T12" fmla="*/ 4 w 897"/>
                  <a:gd name="T13" fmla="*/ 313 h 619"/>
                  <a:gd name="T14" fmla="*/ 20 w 897"/>
                  <a:gd name="T15" fmla="*/ 124 h 619"/>
                  <a:gd name="T16" fmla="*/ 862 w 897"/>
                  <a:gd name="T17" fmla="*/ 124 h 619"/>
                  <a:gd name="T18" fmla="*/ 860 w 897"/>
                  <a:gd name="T19" fmla="*/ 619 h 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97" h="619">
                    <a:moveTo>
                      <a:pt x="860" y="619"/>
                    </a:moveTo>
                    <a:cubicBezTo>
                      <a:pt x="739" y="566"/>
                      <a:pt x="609" y="512"/>
                      <a:pt x="481" y="463"/>
                    </a:cubicBezTo>
                    <a:cubicBezTo>
                      <a:pt x="480" y="435"/>
                      <a:pt x="478" y="408"/>
                      <a:pt x="476" y="383"/>
                    </a:cubicBezTo>
                    <a:cubicBezTo>
                      <a:pt x="468" y="264"/>
                      <a:pt x="458" y="181"/>
                      <a:pt x="444" y="181"/>
                    </a:cubicBezTo>
                    <a:cubicBezTo>
                      <a:pt x="434" y="181"/>
                      <a:pt x="427" y="257"/>
                      <a:pt x="421" y="368"/>
                    </a:cubicBezTo>
                    <a:cubicBezTo>
                      <a:pt x="420" y="390"/>
                      <a:pt x="419" y="414"/>
                      <a:pt x="418" y="440"/>
                    </a:cubicBezTo>
                    <a:cubicBezTo>
                      <a:pt x="268" y="384"/>
                      <a:pt x="123" y="338"/>
                      <a:pt x="4" y="313"/>
                    </a:cubicBezTo>
                    <a:cubicBezTo>
                      <a:pt x="0" y="210"/>
                      <a:pt x="4" y="137"/>
                      <a:pt x="20" y="124"/>
                    </a:cubicBezTo>
                    <a:cubicBezTo>
                      <a:pt x="164" y="4"/>
                      <a:pt x="732" y="0"/>
                      <a:pt x="862" y="124"/>
                    </a:cubicBezTo>
                    <a:cubicBezTo>
                      <a:pt x="897" y="157"/>
                      <a:pt x="885" y="382"/>
                      <a:pt x="860" y="619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" name="Freeform 57">
                <a:extLst>
                  <a:ext uri="{FF2B5EF4-FFF2-40B4-BE49-F238E27FC236}">
                    <a16:creationId xmlns:a16="http://schemas.microsoft.com/office/drawing/2014/main" id="{CA8A355B-9D21-439E-970A-3C7BF16F38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4" y="307"/>
                <a:ext cx="677" cy="203"/>
              </a:xfrm>
              <a:custGeom>
                <a:avLst/>
                <a:gdLst>
                  <a:gd name="T0" fmla="*/ 1236 w 1236"/>
                  <a:gd name="T1" fmla="*/ 372 h 372"/>
                  <a:gd name="T2" fmla="*/ 0 w 1236"/>
                  <a:gd name="T3" fmla="*/ 372 h 372"/>
                  <a:gd name="T4" fmla="*/ 0 w 1236"/>
                  <a:gd name="T5" fmla="*/ 215 h 372"/>
                  <a:gd name="T6" fmla="*/ 618 w 1236"/>
                  <a:gd name="T7" fmla="*/ 0 h 372"/>
                  <a:gd name="T8" fmla="*/ 1236 w 1236"/>
                  <a:gd name="T9" fmla="*/ 215 h 372"/>
                  <a:gd name="T10" fmla="*/ 1236 w 1236"/>
                  <a:gd name="T11" fmla="*/ 372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36" h="372">
                    <a:moveTo>
                      <a:pt x="1236" y="372"/>
                    </a:moveTo>
                    <a:cubicBezTo>
                      <a:pt x="0" y="372"/>
                      <a:pt x="0" y="372"/>
                      <a:pt x="0" y="372"/>
                    </a:cubicBezTo>
                    <a:cubicBezTo>
                      <a:pt x="0" y="215"/>
                      <a:pt x="0" y="215"/>
                      <a:pt x="0" y="215"/>
                    </a:cubicBezTo>
                    <a:cubicBezTo>
                      <a:pt x="0" y="98"/>
                      <a:pt x="241" y="0"/>
                      <a:pt x="618" y="0"/>
                    </a:cubicBezTo>
                    <a:cubicBezTo>
                      <a:pt x="1016" y="0"/>
                      <a:pt x="1236" y="98"/>
                      <a:pt x="1236" y="215"/>
                    </a:cubicBezTo>
                    <a:cubicBezTo>
                      <a:pt x="1236" y="241"/>
                      <a:pt x="1236" y="372"/>
                      <a:pt x="1236" y="372"/>
                    </a:cubicBez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" name="Freeform 58">
                <a:extLst>
                  <a:ext uri="{FF2B5EF4-FFF2-40B4-BE49-F238E27FC236}">
                    <a16:creationId xmlns:a16="http://schemas.microsoft.com/office/drawing/2014/main" id="{DC4A0D5B-0F11-490A-9B0A-FDDD55100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457"/>
                <a:ext cx="594" cy="159"/>
              </a:xfrm>
              <a:custGeom>
                <a:avLst/>
                <a:gdLst>
                  <a:gd name="T0" fmla="*/ 779 w 1084"/>
                  <a:gd name="T1" fmla="*/ 290 h 292"/>
                  <a:gd name="T2" fmla="*/ 305 w 1084"/>
                  <a:gd name="T3" fmla="*/ 290 h 292"/>
                  <a:gd name="T4" fmla="*/ 79 w 1084"/>
                  <a:gd name="T5" fmla="*/ 139 h 292"/>
                  <a:gd name="T6" fmla="*/ 0 w 1084"/>
                  <a:gd name="T7" fmla="*/ 0 h 292"/>
                  <a:gd name="T8" fmla="*/ 1084 w 1084"/>
                  <a:gd name="T9" fmla="*/ 0 h 292"/>
                  <a:gd name="T10" fmla="*/ 1004 w 1084"/>
                  <a:gd name="T11" fmla="*/ 139 h 292"/>
                  <a:gd name="T12" fmla="*/ 779 w 1084"/>
                  <a:gd name="T13" fmla="*/ 290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4" h="292">
                    <a:moveTo>
                      <a:pt x="779" y="290"/>
                    </a:moveTo>
                    <a:cubicBezTo>
                      <a:pt x="660" y="292"/>
                      <a:pt x="423" y="292"/>
                      <a:pt x="305" y="290"/>
                    </a:cubicBezTo>
                    <a:cubicBezTo>
                      <a:pt x="231" y="289"/>
                      <a:pt x="121" y="248"/>
                      <a:pt x="79" y="13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84" y="0"/>
                      <a:pt x="1084" y="0"/>
                      <a:pt x="1084" y="0"/>
                    </a:cubicBezTo>
                    <a:cubicBezTo>
                      <a:pt x="1004" y="139"/>
                      <a:pt x="1004" y="139"/>
                      <a:pt x="1004" y="139"/>
                    </a:cubicBezTo>
                    <a:cubicBezTo>
                      <a:pt x="962" y="248"/>
                      <a:pt x="852" y="289"/>
                      <a:pt x="779" y="290"/>
                    </a:cubicBez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" name="Oval 59">
                <a:extLst>
                  <a:ext uri="{FF2B5EF4-FFF2-40B4-BE49-F238E27FC236}">
                    <a16:creationId xmlns:a16="http://schemas.microsoft.com/office/drawing/2014/main" id="{5CDC4DDA-8AAE-415B-9754-A891090942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4" y="276"/>
                <a:ext cx="351" cy="363"/>
              </a:xfrm>
              <a:prstGeom prst="ellipse">
                <a:avLst/>
              </a:pr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" name="Freeform 60">
                <a:extLst>
                  <a:ext uri="{FF2B5EF4-FFF2-40B4-BE49-F238E27FC236}">
                    <a16:creationId xmlns:a16="http://schemas.microsoft.com/office/drawing/2014/main" id="{4B8D1EE1-05D8-4061-86E9-A3E4EBF86C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0" y="616"/>
                <a:ext cx="60" cy="64"/>
              </a:xfrm>
              <a:custGeom>
                <a:avLst/>
                <a:gdLst>
                  <a:gd name="T0" fmla="*/ 29 w 109"/>
                  <a:gd name="T1" fmla="*/ 87 h 117"/>
                  <a:gd name="T2" fmla="*/ 0 w 109"/>
                  <a:gd name="T3" fmla="*/ 0 h 117"/>
                  <a:gd name="T4" fmla="*/ 109 w 109"/>
                  <a:gd name="T5" fmla="*/ 0 h 117"/>
                  <a:gd name="T6" fmla="*/ 80 w 109"/>
                  <a:gd name="T7" fmla="*/ 87 h 117"/>
                  <a:gd name="T8" fmla="*/ 29 w 109"/>
                  <a:gd name="T9" fmla="*/ 8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117">
                    <a:moveTo>
                      <a:pt x="29" y="87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80" y="87"/>
                      <a:pt x="80" y="87"/>
                      <a:pt x="80" y="87"/>
                    </a:cubicBezTo>
                    <a:cubicBezTo>
                      <a:pt x="69" y="117"/>
                      <a:pt x="40" y="117"/>
                      <a:pt x="29" y="87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" name="Freeform 61">
                <a:extLst>
                  <a:ext uri="{FF2B5EF4-FFF2-40B4-BE49-F238E27FC236}">
                    <a16:creationId xmlns:a16="http://schemas.microsoft.com/office/drawing/2014/main" id="{E0D4A6BA-7474-4B01-8437-09FEB68DE2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265"/>
                <a:ext cx="373" cy="369"/>
              </a:xfrm>
              <a:custGeom>
                <a:avLst/>
                <a:gdLst>
                  <a:gd name="T0" fmla="*/ 682 w 682"/>
                  <a:gd name="T1" fmla="*/ 280 h 676"/>
                  <a:gd name="T2" fmla="*/ 341 w 682"/>
                  <a:gd name="T3" fmla="*/ 0 h 676"/>
                  <a:gd name="T4" fmla="*/ 0 w 682"/>
                  <a:gd name="T5" fmla="*/ 280 h 676"/>
                  <a:gd name="T6" fmla="*/ 219 w 682"/>
                  <a:gd name="T7" fmla="*/ 610 h 676"/>
                  <a:gd name="T8" fmla="*/ 219 w 682"/>
                  <a:gd name="T9" fmla="*/ 610 h 676"/>
                  <a:gd name="T10" fmla="*/ 222 w 682"/>
                  <a:gd name="T11" fmla="*/ 611 h 676"/>
                  <a:gd name="T12" fmla="*/ 224 w 682"/>
                  <a:gd name="T13" fmla="*/ 612 h 676"/>
                  <a:gd name="T14" fmla="*/ 270 w 682"/>
                  <a:gd name="T15" fmla="*/ 676 h 676"/>
                  <a:gd name="T16" fmla="*/ 389 w 682"/>
                  <a:gd name="T17" fmla="*/ 623 h 676"/>
                  <a:gd name="T18" fmla="*/ 391 w 682"/>
                  <a:gd name="T19" fmla="*/ 623 h 676"/>
                  <a:gd name="T20" fmla="*/ 374 w 682"/>
                  <a:gd name="T21" fmla="*/ 652 h 676"/>
                  <a:gd name="T22" fmla="*/ 473 w 682"/>
                  <a:gd name="T23" fmla="*/ 599 h 676"/>
                  <a:gd name="T24" fmla="*/ 473 w 682"/>
                  <a:gd name="T25" fmla="*/ 627 h 676"/>
                  <a:gd name="T26" fmla="*/ 628 w 682"/>
                  <a:gd name="T27" fmla="*/ 489 h 676"/>
                  <a:gd name="T28" fmla="*/ 627 w 682"/>
                  <a:gd name="T29" fmla="*/ 489 h 676"/>
                  <a:gd name="T30" fmla="*/ 682 w 682"/>
                  <a:gd name="T31" fmla="*/ 280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82" h="676">
                    <a:moveTo>
                      <a:pt x="682" y="280"/>
                    </a:moveTo>
                    <a:cubicBezTo>
                      <a:pt x="682" y="59"/>
                      <a:pt x="530" y="0"/>
                      <a:pt x="341" y="0"/>
                    </a:cubicBezTo>
                    <a:cubicBezTo>
                      <a:pt x="153" y="0"/>
                      <a:pt x="0" y="59"/>
                      <a:pt x="0" y="280"/>
                    </a:cubicBezTo>
                    <a:cubicBezTo>
                      <a:pt x="0" y="450"/>
                      <a:pt x="91" y="566"/>
                      <a:pt x="219" y="610"/>
                    </a:cubicBezTo>
                    <a:cubicBezTo>
                      <a:pt x="219" y="610"/>
                      <a:pt x="219" y="610"/>
                      <a:pt x="219" y="610"/>
                    </a:cubicBezTo>
                    <a:cubicBezTo>
                      <a:pt x="219" y="610"/>
                      <a:pt x="220" y="610"/>
                      <a:pt x="222" y="611"/>
                    </a:cubicBezTo>
                    <a:cubicBezTo>
                      <a:pt x="223" y="611"/>
                      <a:pt x="224" y="611"/>
                      <a:pt x="224" y="612"/>
                    </a:cubicBezTo>
                    <a:cubicBezTo>
                      <a:pt x="243" y="618"/>
                      <a:pt x="303" y="642"/>
                      <a:pt x="270" y="676"/>
                    </a:cubicBezTo>
                    <a:cubicBezTo>
                      <a:pt x="389" y="623"/>
                      <a:pt x="389" y="623"/>
                      <a:pt x="389" y="623"/>
                    </a:cubicBezTo>
                    <a:cubicBezTo>
                      <a:pt x="390" y="623"/>
                      <a:pt x="390" y="623"/>
                      <a:pt x="391" y="623"/>
                    </a:cubicBezTo>
                    <a:cubicBezTo>
                      <a:pt x="392" y="624"/>
                      <a:pt x="396" y="629"/>
                      <a:pt x="374" y="652"/>
                    </a:cubicBezTo>
                    <a:cubicBezTo>
                      <a:pt x="407" y="656"/>
                      <a:pt x="473" y="599"/>
                      <a:pt x="473" y="599"/>
                    </a:cubicBezTo>
                    <a:cubicBezTo>
                      <a:pt x="473" y="599"/>
                      <a:pt x="483" y="608"/>
                      <a:pt x="473" y="627"/>
                    </a:cubicBezTo>
                    <a:cubicBezTo>
                      <a:pt x="541" y="602"/>
                      <a:pt x="628" y="489"/>
                      <a:pt x="628" y="489"/>
                    </a:cubicBezTo>
                    <a:cubicBezTo>
                      <a:pt x="627" y="489"/>
                      <a:pt x="627" y="489"/>
                      <a:pt x="627" y="489"/>
                    </a:cubicBezTo>
                    <a:cubicBezTo>
                      <a:pt x="664" y="439"/>
                      <a:pt x="682" y="362"/>
                      <a:pt x="682" y="280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" name="Freeform 62">
                <a:extLst>
                  <a:ext uri="{FF2B5EF4-FFF2-40B4-BE49-F238E27FC236}">
                    <a16:creationId xmlns:a16="http://schemas.microsoft.com/office/drawing/2014/main" id="{37BBF909-DFAC-47A1-92AB-4DA38E887F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5" y="287"/>
                <a:ext cx="321" cy="332"/>
              </a:xfrm>
              <a:custGeom>
                <a:avLst/>
                <a:gdLst>
                  <a:gd name="T0" fmla="*/ 580 w 585"/>
                  <a:gd name="T1" fmla="*/ 240 h 608"/>
                  <a:gd name="T2" fmla="*/ 300 w 585"/>
                  <a:gd name="T3" fmla="*/ 0 h 608"/>
                  <a:gd name="T4" fmla="*/ 0 w 585"/>
                  <a:gd name="T5" fmla="*/ 247 h 608"/>
                  <a:gd name="T6" fmla="*/ 193 w 585"/>
                  <a:gd name="T7" fmla="*/ 538 h 608"/>
                  <a:gd name="T8" fmla="*/ 193 w 585"/>
                  <a:gd name="T9" fmla="*/ 538 h 608"/>
                  <a:gd name="T10" fmla="*/ 195 w 585"/>
                  <a:gd name="T11" fmla="*/ 538 h 608"/>
                  <a:gd name="T12" fmla="*/ 197 w 585"/>
                  <a:gd name="T13" fmla="*/ 539 h 608"/>
                  <a:gd name="T14" fmla="*/ 255 w 585"/>
                  <a:gd name="T15" fmla="*/ 608 h 608"/>
                  <a:gd name="T16" fmla="*/ 377 w 585"/>
                  <a:gd name="T17" fmla="*/ 550 h 608"/>
                  <a:gd name="T18" fmla="*/ 364 w 585"/>
                  <a:gd name="T19" fmla="*/ 575 h 608"/>
                  <a:gd name="T20" fmla="*/ 451 w 585"/>
                  <a:gd name="T21" fmla="*/ 528 h 608"/>
                  <a:gd name="T22" fmla="*/ 451 w 585"/>
                  <a:gd name="T23" fmla="*/ 553 h 608"/>
                  <a:gd name="T24" fmla="*/ 580 w 585"/>
                  <a:gd name="T25" fmla="*/ 24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5" h="608">
                    <a:moveTo>
                      <a:pt x="580" y="240"/>
                    </a:moveTo>
                    <a:cubicBezTo>
                      <a:pt x="580" y="46"/>
                      <a:pt x="466" y="0"/>
                      <a:pt x="300" y="0"/>
                    </a:cubicBezTo>
                    <a:cubicBezTo>
                      <a:pt x="134" y="0"/>
                      <a:pt x="0" y="52"/>
                      <a:pt x="0" y="247"/>
                    </a:cubicBezTo>
                    <a:cubicBezTo>
                      <a:pt x="0" y="397"/>
                      <a:pt x="80" y="499"/>
                      <a:pt x="193" y="538"/>
                    </a:cubicBezTo>
                    <a:cubicBezTo>
                      <a:pt x="193" y="538"/>
                      <a:pt x="193" y="538"/>
                      <a:pt x="193" y="538"/>
                    </a:cubicBezTo>
                    <a:cubicBezTo>
                      <a:pt x="193" y="538"/>
                      <a:pt x="194" y="538"/>
                      <a:pt x="195" y="538"/>
                    </a:cubicBezTo>
                    <a:cubicBezTo>
                      <a:pt x="196" y="539"/>
                      <a:pt x="197" y="539"/>
                      <a:pt x="197" y="539"/>
                    </a:cubicBezTo>
                    <a:cubicBezTo>
                      <a:pt x="214" y="545"/>
                      <a:pt x="284" y="578"/>
                      <a:pt x="255" y="608"/>
                    </a:cubicBezTo>
                    <a:cubicBezTo>
                      <a:pt x="377" y="550"/>
                      <a:pt x="377" y="550"/>
                      <a:pt x="377" y="550"/>
                    </a:cubicBezTo>
                    <a:cubicBezTo>
                      <a:pt x="378" y="549"/>
                      <a:pt x="384" y="554"/>
                      <a:pt x="364" y="575"/>
                    </a:cubicBezTo>
                    <a:cubicBezTo>
                      <a:pt x="393" y="578"/>
                      <a:pt x="451" y="528"/>
                      <a:pt x="451" y="528"/>
                    </a:cubicBezTo>
                    <a:cubicBezTo>
                      <a:pt x="451" y="528"/>
                      <a:pt x="460" y="536"/>
                      <a:pt x="451" y="553"/>
                    </a:cubicBezTo>
                    <a:cubicBezTo>
                      <a:pt x="585" y="493"/>
                      <a:pt x="580" y="313"/>
                      <a:pt x="580" y="240"/>
                    </a:cubicBezTo>
                    <a:close/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5" name="Oval 63">
                <a:extLst>
                  <a:ext uri="{FF2B5EF4-FFF2-40B4-BE49-F238E27FC236}">
                    <a16:creationId xmlns:a16="http://schemas.microsoft.com/office/drawing/2014/main" id="{188D2966-B231-47E6-83EA-4D27EE129C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7" y="801"/>
                <a:ext cx="2066" cy="2060"/>
              </a:xfrm>
              <a:prstGeom prst="ellipse">
                <a:avLst/>
              </a:prstGeom>
              <a:solidFill>
                <a:srgbClr val="BF9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6" name="Freeform 64">
                <a:extLst>
                  <a:ext uri="{FF2B5EF4-FFF2-40B4-BE49-F238E27FC236}">
                    <a16:creationId xmlns:a16="http://schemas.microsoft.com/office/drawing/2014/main" id="{FEA5E51C-5F1F-42EF-899C-89BC399171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1" y="1900"/>
                <a:ext cx="164" cy="226"/>
              </a:xfrm>
              <a:custGeom>
                <a:avLst/>
                <a:gdLst>
                  <a:gd name="T0" fmla="*/ 57 w 299"/>
                  <a:gd name="T1" fmla="*/ 19 h 414"/>
                  <a:gd name="T2" fmla="*/ 57 w 299"/>
                  <a:gd name="T3" fmla="*/ 19 h 414"/>
                  <a:gd name="T4" fmla="*/ 163 w 299"/>
                  <a:gd name="T5" fmla="*/ 57 h 414"/>
                  <a:gd name="T6" fmla="*/ 299 w 299"/>
                  <a:gd name="T7" fmla="*/ 346 h 414"/>
                  <a:gd name="T8" fmla="*/ 154 w 299"/>
                  <a:gd name="T9" fmla="*/ 414 h 414"/>
                  <a:gd name="T10" fmla="*/ 18 w 299"/>
                  <a:gd name="T11" fmla="*/ 125 h 414"/>
                  <a:gd name="T12" fmla="*/ 57 w 299"/>
                  <a:gd name="T13" fmla="*/ 19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9" h="414">
                    <a:moveTo>
                      <a:pt x="57" y="19"/>
                    </a:moveTo>
                    <a:cubicBezTo>
                      <a:pt x="57" y="19"/>
                      <a:pt x="57" y="19"/>
                      <a:pt x="57" y="19"/>
                    </a:cubicBezTo>
                    <a:cubicBezTo>
                      <a:pt x="97" y="0"/>
                      <a:pt x="145" y="17"/>
                      <a:pt x="163" y="57"/>
                    </a:cubicBezTo>
                    <a:cubicBezTo>
                      <a:pt x="299" y="346"/>
                      <a:pt x="299" y="346"/>
                      <a:pt x="299" y="346"/>
                    </a:cubicBezTo>
                    <a:cubicBezTo>
                      <a:pt x="154" y="414"/>
                      <a:pt x="154" y="414"/>
                      <a:pt x="154" y="414"/>
                    </a:cubicBezTo>
                    <a:cubicBezTo>
                      <a:pt x="18" y="125"/>
                      <a:pt x="18" y="125"/>
                      <a:pt x="18" y="125"/>
                    </a:cubicBezTo>
                    <a:cubicBezTo>
                      <a:pt x="0" y="85"/>
                      <a:pt x="17" y="37"/>
                      <a:pt x="57" y="1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7" name="Freeform 65">
                <a:extLst>
                  <a:ext uri="{FF2B5EF4-FFF2-40B4-BE49-F238E27FC236}">
                    <a16:creationId xmlns:a16="http://schemas.microsoft.com/office/drawing/2014/main" id="{D8AA0FF3-A2EA-4F2E-9F53-D1719123F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063"/>
                <a:ext cx="74" cy="51"/>
              </a:xfrm>
              <a:custGeom>
                <a:avLst/>
                <a:gdLst>
                  <a:gd name="T0" fmla="*/ 0 w 74"/>
                  <a:gd name="T1" fmla="*/ 30 h 51"/>
                  <a:gd name="T2" fmla="*/ 64 w 74"/>
                  <a:gd name="T3" fmla="*/ 0 h 51"/>
                  <a:gd name="T4" fmla="*/ 74 w 74"/>
                  <a:gd name="T5" fmla="*/ 21 h 51"/>
                  <a:gd name="T6" fmla="*/ 11 w 74"/>
                  <a:gd name="T7" fmla="*/ 51 h 51"/>
                  <a:gd name="T8" fmla="*/ 0 w 74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51">
                    <a:moveTo>
                      <a:pt x="0" y="30"/>
                    </a:moveTo>
                    <a:lnTo>
                      <a:pt x="64" y="0"/>
                    </a:lnTo>
                    <a:lnTo>
                      <a:pt x="74" y="21"/>
                    </a:lnTo>
                    <a:lnTo>
                      <a:pt x="11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BCAA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8" name="Freeform 66">
                <a:extLst>
                  <a:ext uri="{FF2B5EF4-FFF2-40B4-BE49-F238E27FC236}">
                    <a16:creationId xmlns:a16="http://schemas.microsoft.com/office/drawing/2014/main" id="{D550EDB7-E310-4FB2-9BFF-750F190654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8" y="2038"/>
                <a:ext cx="73" cy="50"/>
              </a:xfrm>
              <a:custGeom>
                <a:avLst/>
                <a:gdLst>
                  <a:gd name="T0" fmla="*/ 0 w 73"/>
                  <a:gd name="T1" fmla="*/ 30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3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30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188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9" name="Freeform 67">
                <a:extLst>
                  <a:ext uri="{FF2B5EF4-FFF2-40B4-BE49-F238E27FC236}">
                    <a16:creationId xmlns:a16="http://schemas.microsoft.com/office/drawing/2014/main" id="{A866751A-FCA4-4826-B6B7-D0B1FB4F8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6" y="2012"/>
                <a:ext cx="73" cy="51"/>
              </a:xfrm>
              <a:custGeom>
                <a:avLst/>
                <a:gdLst>
                  <a:gd name="T0" fmla="*/ 0 w 73"/>
                  <a:gd name="T1" fmla="*/ 30 h 51"/>
                  <a:gd name="T2" fmla="*/ 63 w 73"/>
                  <a:gd name="T3" fmla="*/ 0 h 51"/>
                  <a:gd name="T4" fmla="*/ 73 w 73"/>
                  <a:gd name="T5" fmla="*/ 22 h 51"/>
                  <a:gd name="T6" fmla="*/ 10 w 73"/>
                  <a:gd name="T7" fmla="*/ 51 h 51"/>
                  <a:gd name="T8" fmla="*/ 0 w 73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1">
                    <a:moveTo>
                      <a:pt x="0" y="30"/>
                    </a:moveTo>
                    <a:lnTo>
                      <a:pt x="63" y="0"/>
                    </a:lnTo>
                    <a:lnTo>
                      <a:pt x="73" y="22"/>
                    </a:lnTo>
                    <a:lnTo>
                      <a:pt x="10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0" name="Freeform 68">
                <a:extLst>
                  <a:ext uri="{FF2B5EF4-FFF2-40B4-BE49-F238E27FC236}">
                    <a16:creationId xmlns:a16="http://schemas.microsoft.com/office/drawing/2014/main" id="{63E9E06C-CEEA-4FB3-8304-6D15523FB3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987"/>
                <a:ext cx="73" cy="51"/>
              </a:xfrm>
              <a:custGeom>
                <a:avLst/>
                <a:gdLst>
                  <a:gd name="T0" fmla="*/ 0 w 73"/>
                  <a:gd name="T1" fmla="*/ 30 h 51"/>
                  <a:gd name="T2" fmla="*/ 63 w 73"/>
                  <a:gd name="T3" fmla="*/ 0 h 51"/>
                  <a:gd name="T4" fmla="*/ 73 w 73"/>
                  <a:gd name="T5" fmla="*/ 22 h 51"/>
                  <a:gd name="T6" fmla="*/ 10 w 73"/>
                  <a:gd name="T7" fmla="*/ 51 h 51"/>
                  <a:gd name="T8" fmla="*/ 0 w 73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1">
                    <a:moveTo>
                      <a:pt x="0" y="30"/>
                    </a:moveTo>
                    <a:lnTo>
                      <a:pt x="63" y="0"/>
                    </a:lnTo>
                    <a:lnTo>
                      <a:pt x="73" y="22"/>
                    </a:lnTo>
                    <a:lnTo>
                      <a:pt x="10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1" name="Freeform 69">
                <a:extLst>
                  <a:ext uri="{FF2B5EF4-FFF2-40B4-BE49-F238E27FC236}">
                    <a16:creationId xmlns:a16="http://schemas.microsoft.com/office/drawing/2014/main" id="{3F5AB45A-6330-446D-A414-83F8338606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2" y="1962"/>
                <a:ext cx="73" cy="50"/>
              </a:xfrm>
              <a:custGeom>
                <a:avLst/>
                <a:gdLst>
                  <a:gd name="T0" fmla="*/ 0 w 73"/>
                  <a:gd name="T1" fmla="*/ 29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2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29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6D4C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2" name="Freeform 70">
                <a:extLst>
                  <a:ext uri="{FF2B5EF4-FFF2-40B4-BE49-F238E27FC236}">
                    <a16:creationId xmlns:a16="http://schemas.microsoft.com/office/drawing/2014/main" id="{4EA31756-E02D-44B9-B25A-CB91A1EACD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" y="1937"/>
                <a:ext cx="73" cy="50"/>
              </a:xfrm>
              <a:custGeom>
                <a:avLst/>
                <a:gdLst>
                  <a:gd name="T0" fmla="*/ 0 w 73"/>
                  <a:gd name="T1" fmla="*/ 29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2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29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5D4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" name="Freeform 71">
                <a:extLst>
                  <a:ext uri="{FF2B5EF4-FFF2-40B4-BE49-F238E27FC236}">
                    <a16:creationId xmlns:a16="http://schemas.microsoft.com/office/drawing/2014/main" id="{BB3C6AE9-E14B-4FA2-817A-AD687EB49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3" y="1922"/>
                <a:ext cx="18" cy="18"/>
              </a:xfrm>
              <a:custGeom>
                <a:avLst/>
                <a:gdLst>
                  <a:gd name="T0" fmla="*/ 3 w 34"/>
                  <a:gd name="T1" fmla="*/ 23 h 34"/>
                  <a:gd name="T2" fmla="*/ 10 w 34"/>
                  <a:gd name="T3" fmla="*/ 3 h 34"/>
                  <a:gd name="T4" fmla="*/ 30 w 34"/>
                  <a:gd name="T5" fmla="*/ 10 h 34"/>
                  <a:gd name="T6" fmla="*/ 23 w 34"/>
                  <a:gd name="T7" fmla="*/ 30 h 34"/>
                  <a:gd name="T8" fmla="*/ 3 w 34"/>
                  <a:gd name="T9" fmla="*/ 2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3" y="23"/>
                    </a:moveTo>
                    <a:cubicBezTo>
                      <a:pt x="0" y="16"/>
                      <a:pt x="3" y="7"/>
                      <a:pt x="10" y="3"/>
                    </a:cubicBezTo>
                    <a:cubicBezTo>
                      <a:pt x="18" y="0"/>
                      <a:pt x="27" y="3"/>
                      <a:pt x="30" y="10"/>
                    </a:cubicBezTo>
                    <a:cubicBezTo>
                      <a:pt x="34" y="18"/>
                      <a:pt x="30" y="27"/>
                      <a:pt x="23" y="30"/>
                    </a:cubicBezTo>
                    <a:cubicBezTo>
                      <a:pt x="16" y="34"/>
                      <a:pt x="7" y="30"/>
                      <a:pt x="3" y="23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" name="Freeform 72">
                <a:extLst>
                  <a:ext uri="{FF2B5EF4-FFF2-40B4-BE49-F238E27FC236}">
                    <a16:creationId xmlns:a16="http://schemas.microsoft.com/office/drawing/2014/main" id="{6E07BE48-2D8D-415B-AE55-211D5AE4C3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3" y="1898"/>
                <a:ext cx="189" cy="215"/>
              </a:xfrm>
              <a:custGeom>
                <a:avLst/>
                <a:gdLst>
                  <a:gd name="T0" fmla="*/ 43 w 345"/>
                  <a:gd name="T1" fmla="*/ 26 h 394"/>
                  <a:gd name="T2" fmla="*/ 43 w 345"/>
                  <a:gd name="T3" fmla="*/ 26 h 394"/>
                  <a:gd name="T4" fmla="*/ 155 w 345"/>
                  <a:gd name="T5" fmla="*/ 42 h 394"/>
                  <a:gd name="T6" fmla="*/ 345 w 345"/>
                  <a:gd name="T7" fmla="*/ 298 h 394"/>
                  <a:gd name="T8" fmla="*/ 216 w 345"/>
                  <a:gd name="T9" fmla="*/ 394 h 394"/>
                  <a:gd name="T10" fmla="*/ 26 w 345"/>
                  <a:gd name="T11" fmla="*/ 138 h 394"/>
                  <a:gd name="T12" fmla="*/ 43 w 345"/>
                  <a:gd name="T13" fmla="*/ 26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5" h="394">
                    <a:moveTo>
                      <a:pt x="43" y="26"/>
                    </a:moveTo>
                    <a:cubicBezTo>
                      <a:pt x="43" y="26"/>
                      <a:pt x="43" y="26"/>
                      <a:pt x="43" y="26"/>
                    </a:cubicBezTo>
                    <a:cubicBezTo>
                      <a:pt x="78" y="0"/>
                      <a:pt x="128" y="7"/>
                      <a:pt x="155" y="42"/>
                    </a:cubicBezTo>
                    <a:cubicBezTo>
                      <a:pt x="345" y="298"/>
                      <a:pt x="345" y="298"/>
                      <a:pt x="345" y="298"/>
                    </a:cubicBezTo>
                    <a:cubicBezTo>
                      <a:pt x="216" y="394"/>
                      <a:pt x="216" y="394"/>
                      <a:pt x="216" y="394"/>
                    </a:cubicBezTo>
                    <a:cubicBezTo>
                      <a:pt x="26" y="138"/>
                      <a:pt x="26" y="138"/>
                      <a:pt x="26" y="138"/>
                    </a:cubicBezTo>
                    <a:cubicBezTo>
                      <a:pt x="0" y="103"/>
                      <a:pt x="7" y="52"/>
                      <a:pt x="43" y="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5" name="Freeform 73">
                <a:extLst>
                  <a:ext uri="{FF2B5EF4-FFF2-40B4-BE49-F238E27FC236}">
                    <a16:creationId xmlns:a16="http://schemas.microsoft.com/office/drawing/2014/main" id="{FDABCC91-CD3E-4CD6-B37E-A65595047B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9" y="2040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EF9A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6" name="Freeform 74">
                <a:extLst>
                  <a:ext uri="{FF2B5EF4-FFF2-40B4-BE49-F238E27FC236}">
                    <a16:creationId xmlns:a16="http://schemas.microsoft.com/office/drawing/2014/main" id="{9DC5DF73-1C1E-4DDB-BE34-3BA17DC6CB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" y="2017"/>
                <a:ext cx="69" cy="61"/>
              </a:xfrm>
              <a:custGeom>
                <a:avLst/>
                <a:gdLst>
                  <a:gd name="T0" fmla="*/ 0 w 69"/>
                  <a:gd name="T1" fmla="*/ 42 h 61"/>
                  <a:gd name="T2" fmla="*/ 55 w 69"/>
                  <a:gd name="T3" fmla="*/ 0 h 61"/>
                  <a:gd name="T4" fmla="*/ 69 w 69"/>
                  <a:gd name="T5" fmla="*/ 19 h 61"/>
                  <a:gd name="T6" fmla="*/ 13 w 69"/>
                  <a:gd name="T7" fmla="*/ 61 h 61"/>
                  <a:gd name="T8" fmla="*/ 0 w 69"/>
                  <a:gd name="T9" fmla="*/ 42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61">
                    <a:moveTo>
                      <a:pt x="0" y="42"/>
                    </a:moveTo>
                    <a:lnTo>
                      <a:pt x="55" y="0"/>
                    </a:lnTo>
                    <a:lnTo>
                      <a:pt x="69" y="19"/>
                    </a:lnTo>
                    <a:lnTo>
                      <a:pt x="13" y="61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E5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7" name="Freeform 75">
                <a:extLst>
                  <a:ext uri="{FF2B5EF4-FFF2-40B4-BE49-F238E27FC236}">
                    <a16:creationId xmlns:a16="http://schemas.microsoft.com/office/drawing/2014/main" id="{3D82EA04-162C-4821-AB9B-17ABD55BB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1995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5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5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EF53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8" name="Freeform 76">
                <a:extLst>
                  <a:ext uri="{FF2B5EF4-FFF2-40B4-BE49-F238E27FC236}">
                    <a16:creationId xmlns:a16="http://schemas.microsoft.com/office/drawing/2014/main" id="{28CC8D1F-AE39-450F-A7E5-476B29403E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9" y="1973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8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8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9" name="Freeform 77">
                <a:extLst>
                  <a:ext uri="{FF2B5EF4-FFF2-40B4-BE49-F238E27FC236}">
                    <a16:creationId xmlns:a16="http://schemas.microsoft.com/office/drawing/2014/main" id="{88A4E00F-B1F9-4E35-926C-56F4E1AA82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1950"/>
                <a:ext cx="70" cy="60"/>
              </a:xfrm>
              <a:custGeom>
                <a:avLst/>
                <a:gdLst>
                  <a:gd name="T0" fmla="*/ 0 w 70"/>
                  <a:gd name="T1" fmla="*/ 42 h 60"/>
                  <a:gd name="T2" fmla="*/ 56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2"/>
                    </a:moveTo>
                    <a:lnTo>
                      <a:pt x="56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E539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0" name="Freeform 78">
                <a:extLst>
                  <a:ext uri="{FF2B5EF4-FFF2-40B4-BE49-F238E27FC236}">
                    <a16:creationId xmlns:a16="http://schemas.microsoft.com/office/drawing/2014/main" id="{58396785-982C-4C73-8D52-781635E9E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5" y="1928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8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8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D3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1" name="Freeform 79">
                <a:extLst>
                  <a:ext uri="{FF2B5EF4-FFF2-40B4-BE49-F238E27FC236}">
                    <a16:creationId xmlns:a16="http://schemas.microsoft.com/office/drawing/2014/main" id="{6F7B70CB-6D3D-4E85-96E0-14A37BD6C2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1"/>
                <a:ext cx="18" cy="18"/>
              </a:xfrm>
              <a:custGeom>
                <a:avLst/>
                <a:gdLst>
                  <a:gd name="T0" fmla="*/ 5 w 34"/>
                  <a:gd name="T1" fmla="*/ 26 h 33"/>
                  <a:gd name="T2" fmla="*/ 8 w 34"/>
                  <a:gd name="T3" fmla="*/ 5 h 33"/>
                  <a:gd name="T4" fmla="*/ 29 w 34"/>
                  <a:gd name="T5" fmla="*/ 8 h 33"/>
                  <a:gd name="T6" fmla="*/ 26 w 34"/>
                  <a:gd name="T7" fmla="*/ 29 h 33"/>
                  <a:gd name="T8" fmla="*/ 5 w 34"/>
                  <a:gd name="T9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3">
                    <a:moveTo>
                      <a:pt x="5" y="26"/>
                    </a:moveTo>
                    <a:cubicBezTo>
                      <a:pt x="0" y="19"/>
                      <a:pt x="1" y="10"/>
                      <a:pt x="8" y="5"/>
                    </a:cubicBezTo>
                    <a:cubicBezTo>
                      <a:pt x="15" y="0"/>
                      <a:pt x="24" y="1"/>
                      <a:pt x="29" y="8"/>
                    </a:cubicBezTo>
                    <a:cubicBezTo>
                      <a:pt x="34" y="14"/>
                      <a:pt x="32" y="24"/>
                      <a:pt x="26" y="29"/>
                    </a:cubicBezTo>
                    <a:cubicBezTo>
                      <a:pt x="19" y="33"/>
                      <a:pt x="10" y="32"/>
                      <a:pt x="5" y="26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2" name="Freeform 80">
                <a:extLst>
                  <a:ext uri="{FF2B5EF4-FFF2-40B4-BE49-F238E27FC236}">
                    <a16:creationId xmlns:a16="http://schemas.microsoft.com/office/drawing/2014/main" id="{E22FA0C5-3AAF-496E-A5BF-274A3139C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2" y="1898"/>
                <a:ext cx="207" cy="198"/>
              </a:xfrm>
              <a:custGeom>
                <a:avLst/>
                <a:gdLst>
                  <a:gd name="T0" fmla="*/ 30 w 378"/>
                  <a:gd name="T1" fmla="*/ 35 h 363"/>
                  <a:gd name="T2" fmla="*/ 30 w 378"/>
                  <a:gd name="T3" fmla="*/ 35 h 363"/>
                  <a:gd name="T4" fmla="*/ 143 w 378"/>
                  <a:gd name="T5" fmla="*/ 30 h 363"/>
                  <a:gd name="T6" fmla="*/ 378 w 378"/>
                  <a:gd name="T7" fmla="*/ 245 h 363"/>
                  <a:gd name="T8" fmla="*/ 270 w 378"/>
                  <a:gd name="T9" fmla="*/ 363 h 363"/>
                  <a:gd name="T10" fmla="*/ 35 w 378"/>
                  <a:gd name="T11" fmla="*/ 149 h 363"/>
                  <a:gd name="T12" fmla="*/ 30 w 378"/>
                  <a:gd name="T13" fmla="*/ 3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8" h="363">
                    <a:moveTo>
                      <a:pt x="30" y="35"/>
                    </a:moveTo>
                    <a:cubicBezTo>
                      <a:pt x="30" y="35"/>
                      <a:pt x="30" y="35"/>
                      <a:pt x="30" y="35"/>
                    </a:cubicBezTo>
                    <a:cubicBezTo>
                      <a:pt x="59" y="3"/>
                      <a:pt x="110" y="0"/>
                      <a:pt x="143" y="30"/>
                    </a:cubicBezTo>
                    <a:cubicBezTo>
                      <a:pt x="378" y="245"/>
                      <a:pt x="378" y="245"/>
                      <a:pt x="378" y="245"/>
                    </a:cubicBezTo>
                    <a:cubicBezTo>
                      <a:pt x="270" y="363"/>
                      <a:pt x="270" y="363"/>
                      <a:pt x="270" y="363"/>
                    </a:cubicBezTo>
                    <a:cubicBezTo>
                      <a:pt x="35" y="149"/>
                      <a:pt x="35" y="149"/>
                      <a:pt x="35" y="149"/>
                    </a:cubicBezTo>
                    <a:cubicBezTo>
                      <a:pt x="2" y="119"/>
                      <a:pt x="0" y="68"/>
                      <a:pt x="30" y="3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3" name="Freeform 81">
                <a:extLst>
                  <a:ext uri="{FF2B5EF4-FFF2-40B4-BE49-F238E27FC236}">
                    <a16:creationId xmlns:a16="http://schemas.microsoft.com/office/drawing/2014/main" id="{A181CF10-6A52-4615-B0D7-5F2147E3E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017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6 w 64"/>
                  <a:gd name="T3" fmla="*/ 0 h 67"/>
                  <a:gd name="T4" fmla="*/ 64 w 64"/>
                  <a:gd name="T5" fmla="*/ 16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6" y="0"/>
                    </a:lnTo>
                    <a:lnTo>
                      <a:pt x="64" y="16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CC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4" name="Freeform 82">
                <a:extLst>
                  <a:ext uri="{FF2B5EF4-FFF2-40B4-BE49-F238E27FC236}">
                    <a16:creationId xmlns:a16="http://schemas.microsoft.com/office/drawing/2014/main" id="{FF8EF73D-DC8B-46DE-8BCF-BB2D4177A4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1" y="1998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5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5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B7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5" name="Freeform 83">
                <a:extLst>
                  <a:ext uri="{FF2B5EF4-FFF2-40B4-BE49-F238E27FC236}">
                    <a16:creationId xmlns:a16="http://schemas.microsoft.com/office/drawing/2014/main" id="{8C6327A9-F585-4F3E-BD25-8FCB73694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0" y="1979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6 h 67"/>
                  <a:gd name="T6" fmla="*/ 18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8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A7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6" name="Freeform 84">
                <a:extLst>
                  <a:ext uri="{FF2B5EF4-FFF2-40B4-BE49-F238E27FC236}">
                    <a16:creationId xmlns:a16="http://schemas.microsoft.com/office/drawing/2014/main" id="{0D4F97B8-E9AD-40CA-A233-BF051AE1A9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0" y="1960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6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9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7" name="Freeform 85">
                <a:extLst>
                  <a:ext uri="{FF2B5EF4-FFF2-40B4-BE49-F238E27FC236}">
                    <a16:creationId xmlns:a16="http://schemas.microsoft.com/office/drawing/2014/main" id="{69B176E8-5DD5-467E-A131-1001F7D25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1941"/>
                <a:ext cx="64" cy="68"/>
              </a:xfrm>
              <a:custGeom>
                <a:avLst/>
                <a:gdLst>
                  <a:gd name="T0" fmla="*/ 0 w 64"/>
                  <a:gd name="T1" fmla="*/ 52 h 68"/>
                  <a:gd name="T2" fmla="*/ 47 w 64"/>
                  <a:gd name="T3" fmla="*/ 0 h 68"/>
                  <a:gd name="T4" fmla="*/ 64 w 64"/>
                  <a:gd name="T5" fmla="*/ 16 h 68"/>
                  <a:gd name="T6" fmla="*/ 17 w 64"/>
                  <a:gd name="T7" fmla="*/ 68 h 68"/>
                  <a:gd name="T8" fmla="*/ 0 w 64"/>
                  <a:gd name="T9" fmla="*/ 52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8">
                    <a:moveTo>
                      <a:pt x="0" y="52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7" y="68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F57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8" name="Freeform 86">
                <a:extLst>
                  <a:ext uri="{FF2B5EF4-FFF2-40B4-BE49-F238E27FC236}">
                    <a16:creationId xmlns:a16="http://schemas.microsoft.com/office/drawing/2014/main" id="{C1E6594C-5BC3-466A-9C50-BD976E134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8" y="1922"/>
                <a:ext cx="65" cy="67"/>
              </a:xfrm>
              <a:custGeom>
                <a:avLst/>
                <a:gdLst>
                  <a:gd name="T0" fmla="*/ 0 w 65"/>
                  <a:gd name="T1" fmla="*/ 52 h 67"/>
                  <a:gd name="T2" fmla="*/ 47 w 65"/>
                  <a:gd name="T3" fmla="*/ 0 h 67"/>
                  <a:gd name="T4" fmla="*/ 65 w 65"/>
                  <a:gd name="T5" fmla="*/ 16 h 67"/>
                  <a:gd name="T6" fmla="*/ 17 w 65"/>
                  <a:gd name="T7" fmla="*/ 67 h 67"/>
                  <a:gd name="T8" fmla="*/ 0 w 65"/>
                  <a:gd name="T9" fmla="*/ 5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67">
                    <a:moveTo>
                      <a:pt x="0" y="52"/>
                    </a:moveTo>
                    <a:lnTo>
                      <a:pt x="47" y="0"/>
                    </a:lnTo>
                    <a:lnTo>
                      <a:pt x="65" y="16"/>
                    </a:lnTo>
                    <a:lnTo>
                      <a:pt x="17" y="67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EF6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9" name="Freeform 87">
                <a:extLst>
                  <a:ext uri="{FF2B5EF4-FFF2-40B4-BE49-F238E27FC236}">
                    <a16:creationId xmlns:a16="http://schemas.microsoft.com/office/drawing/2014/main" id="{BC081AAF-A0D6-4602-AAD2-C7AF38959A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8"/>
              </a:xfrm>
              <a:custGeom>
                <a:avLst/>
                <a:gdLst>
                  <a:gd name="T0" fmla="*/ 7 w 33"/>
                  <a:gd name="T1" fmla="*/ 28 h 33"/>
                  <a:gd name="T2" fmla="*/ 6 w 33"/>
                  <a:gd name="T3" fmla="*/ 7 h 33"/>
                  <a:gd name="T4" fmla="*/ 27 w 33"/>
                  <a:gd name="T5" fmla="*/ 6 h 33"/>
                  <a:gd name="T6" fmla="*/ 28 w 33"/>
                  <a:gd name="T7" fmla="*/ 27 h 33"/>
                  <a:gd name="T8" fmla="*/ 7 w 33"/>
                  <a:gd name="T9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3">
                    <a:moveTo>
                      <a:pt x="7" y="28"/>
                    </a:moveTo>
                    <a:cubicBezTo>
                      <a:pt x="1" y="22"/>
                      <a:pt x="0" y="13"/>
                      <a:pt x="6" y="7"/>
                    </a:cubicBezTo>
                    <a:cubicBezTo>
                      <a:pt x="11" y="1"/>
                      <a:pt x="21" y="0"/>
                      <a:pt x="27" y="6"/>
                    </a:cubicBezTo>
                    <a:cubicBezTo>
                      <a:pt x="33" y="11"/>
                      <a:pt x="33" y="21"/>
                      <a:pt x="28" y="27"/>
                    </a:cubicBezTo>
                    <a:cubicBezTo>
                      <a:pt x="22" y="33"/>
                      <a:pt x="13" y="33"/>
                      <a:pt x="7" y="28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0" name="Freeform 88">
                <a:extLst>
                  <a:ext uri="{FF2B5EF4-FFF2-40B4-BE49-F238E27FC236}">
                    <a16:creationId xmlns:a16="http://schemas.microsoft.com/office/drawing/2014/main" id="{D4484202-5762-4E9C-BA21-297799D03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8" y="1892"/>
                <a:ext cx="221" cy="179"/>
              </a:xfrm>
              <a:custGeom>
                <a:avLst/>
                <a:gdLst>
                  <a:gd name="T0" fmla="*/ 23 w 404"/>
                  <a:gd name="T1" fmla="*/ 49 h 328"/>
                  <a:gd name="T2" fmla="*/ 23 w 404"/>
                  <a:gd name="T3" fmla="*/ 49 h 328"/>
                  <a:gd name="T4" fmla="*/ 134 w 404"/>
                  <a:gd name="T5" fmla="*/ 23 h 328"/>
                  <a:gd name="T6" fmla="*/ 404 w 404"/>
                  <a:gd name="T7" fmla="*/ 192 h 328"/>
                  <a:gd name="T8" fmla="*/ 319 w 404"/>
                  <a:gd name="T9" fmla="*/ 328 h 328"/>
                  <a:gd name="T10" fmla="*/ 49 w 404"/>
                  <a:gd name="T11" fmla="*/ 159 h 328"/>
                  <a:gd name="T12" fmla="*/ 23 w 404"/>
                  <a:gd name="T13" fmla="*/ 4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4" h="328">
                    <a:moveTo>
                      <a:pt x="23" y="49"/>
                    </a:moveTo>
                    <a:cubicBezTo>
                      <a:pt x="23" y="49"/>
                      <a:pt x="23" y="49"/>
                      <a:pt x="23" y="49"/>
                    </a:cubicBezTo>
                    <a:cubicBezTo>
                      <a:pt x="47" y="11"/>
                      <a:pt x="96" y="0"/>
                      <a:pt x="134" y="23"/>
                    </a:cubicBezTo>
                    <a:cubicBezTo>
                      <a:pt x="404" y="192"/>
                      <a:pt x="404" y="192"/>
                      <a:pt x="404" y="192"/>
                    </a:cubicBezTo>
                    <a:cubicBezTo>
                      <a:pt x="319" y="328"/>
                      <a:pt x="319" y="328"/>
                      <a:pt x="319" y="328"/>
                    </a:cubicBezTo>
                    <a:cubicBezTo>
                      <a:pt x="49" y="159"/>
                      <a:pt x="49" y="159"/>
                      <a:pt x="49" y="159"/>
                    </a:cubicBezTo>
                    <a:cubicBezTo>
                      <a:pt x="11" y="136"/>
                      <a:pt x="0" y="86"/>
                      <a:pt x="23" y="4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1" name="Freeform 89">
                <a:extLst>
                  <a:ext uri="{FF2B5EF4-FFF2-40B4-BE49-F238E27FC236}">
                    <a16:creationId xmlns:a16="http://schemas.microsoft.com/office/drawing/2014/main" id="{2BC3A16C-5427-43FA-A41E-F1669D3C2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" y="1987"/>
                <a:ext cx="57" cy="71"/>
              </a:xfrm>
              <a:custGeom>
                <a:avLst/>
                <a:gdLst>
                  <a:gd name="T0" fmla="*/ 0 w 57"/>
                  <a:gd name="T1" fmla="*/ 59 h 71"/>
                  <a:gd name="T2" fmla="*/ 38 w 57"/>
                  <a:gd name="T3" fmla="*/ 0 h 71"/>
                  <a:gd name="T4" fmla="*/ 57 w 57"/>
                  <a:gd name="T5" fmla="*/ 13 h 71"/>
                  <a:gd name="T6" fmla="*/ 21 w 57"/>
                  <a:gd name="T7" fmla="*/ 71 h 71"/>
                  <a:gd name="T8" fmla="*/ 0 w 57"/>
                  <a:gd name="T9" fmla="*/ 5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9"/>
                    </a:moveTo>
                    <a:lnTo>
                      <a:pt x="38" y="0"/>
                    </a:lnTo>
                    <a:lnTo>
                      <a:pt x="57" y="13"/>
                    </a:lnTo>
                    <a:lnTo>
                      <a:pt x="21" y="71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FFF1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2" name="Freeform 90">
                <a:extLst>
                  <a:ext uri="{FF2B5EF4-FFF2-40B4-BE49-F238E27FC236}">
                    <a16:creationId xmlns:a16="http://schemas.microsoft.com/office/drawing/2014/main" id="{C6AD274A-BEF3-4F88-B231-B79A9995DD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" y="1973"/>
                <a:ext cx="57" cy="71"/>
              </a:xfrm>
              <a:custGeom>
                <a:avLst/>
                <a:gdLst>
                  <a:gd name="T0" fmla="*/ 0 w 57"/>
                  <a:gd name="T1" fmla="*/ 58 h 71"/>
                  <a:gd name="T2" fmla="*/ 36 w 57"/>
                  <a:gd name="T3" fmla="*/ 0 h 71"/>
                  <a:gd name="T4" fmla="*/ 57 w 57"/>
                  <a:gd name="T5" fmla="*/ 12 h 71"/>
                  <a:gd name="T6" fmla="*/ 19 w 57"/>
                  <a:gd name="T7" fmla="*/ 71 h 71"/>
                  <a:gd name="T8" fmla="*/ 0 w 57"/>
                  <a:gd name="T9" fmla="*/ 5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8"/>
                    </a:moveTo>
                    <a:lnTo>
                      <a:pt x="36" y="0"/>
                    </a:lnTo>
                    <a:lnTo>
                      <a:pt x="57" y="12"/>
                    </a:lnTo>
                    <a:lnTo>
                      <a:pt x="19" y="71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FFEE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3" name="Freeform 91">
                <a:extLst>
                  <a:ext uri="{FF2B5EF4-FFF2-40B4-BE49-F238E27FC236}">
                    <a16:creationId xmlns:a16="http://schemas.microsoft.com/office/drawing/2014/main" id="{53031A32-B1F0-4AED-B628-BDAE850E2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2" y="1957"/>
                <a:ext cx="57" cy="72"/>
              </a:xfrm>
              <a:custGeom>
                <a:avLst/>
                <a:gdLst>
                  <a:gd name="T0" fmla="*/ 0 w 57"/>
                  <a:gd name="T1" fmla="*/ 59 h 72"/>
                  <a:gd name="T2" fmla="*/ 37 w 57"/>
                  <a:gd name="T3" fmla="*/ 0 h 72"/>
                  <a:gd name="T4" fmla="*/ 57 w 57"/>
                  <a:gd name="T5" fmla="*/ 13 h 72"/>
                  <a:gd name="T6" fmla="*/ 20 w 57"/>
                  <a:gd name="T7" fmla="*/ 72 h 72"/>
                  <a:gd name="T8" fmla="*/ 0 w 57"/>
                  <a:gd name="T9" fmla="*/ 5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2">
                    <a:moveTo>
                      <a:pt x="0" y="59"/>
                    </a:moveTo>
                    <a:lnTo>
                      <a:pt x="37" y="0"/>
                    </a:lnTo>
                    <a:lnTo>
                      <a:pt x="57" y="13"/>
                    </a:lnTo>
                    <a:lnTo>
                      <a:pt x="20" y="72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4" name="Freeform 92">
                <a:extLst>
                  <a:ext uri="{FF2B5EF4-FFF2-40B4-BE49-F238E27FC236}">
                    <a16:creationId xmlns:a16="http://schemas.microsoft.com/office/drawing/2014/main" id="{08E38D7B-919C-4434-8D49-DA594F595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8" y="1943"/>
                <a:ext cx="57" cy="71"/>
              </a:xfrm>
              <a:custGeom>
                <a:avLst/>
                <a:gdLst>
                  <a:gd name="T0" fmla="*/ 0 w 57"/>
                  <a:gd name="T1" fmla="*/ 58 h 71"/>
                  <a:gd name="T2" fmla="*/ 37 w 57"/>
                  <a:gd name="T3" fmla="*/ 0 h 71"/>
                  <a:gd name="T4" fmla="*/ 57 w 57"/>
                  <a:gd name="T5" fmla="*/ 12 h 71"/>
                  <a:gd name="T6" fmla="*/ 20 w 57"/>
                  <a:gd name="T7" fmla="*/ 71 h 71"/>
                  <a:gd name="T8" fmla="*/ 0 w 57"/>
                  <a:gd name="T9" fmla="*/ 5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8"/>
                    </a:moveTo>
                    <a:lnTo>
                      <a:pt x="37" y="0"/>
                    </a:lnTo>
                    <a:lnTo>
                      <a:pt x="57" y="12"/>
                    </a:lnTo>
                    <a:lnTo>
                      <a:pt x="20" y="71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FDD8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" name="Freeform 93">
                <a:extLst>
                  <a:ext uri="{FF2B5EF4-FFF2-40B4-BE49-F238E27FC236}">
                    <a16:creationId xmlns:a16="http://schemas.microsoft.com/office/drawing/2014/main" id="{E05E122E-6F56-4413-A8F4-2AFE148E9D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5" y="1928"/>
                <a:ext cx="57" cy="71"/>
              </a:xfrm>
              <a:custGeom>
                <a:avLst/>
                <a:gdLst>
                  <a:gd name="T0" fmla="*/ 0 w 57"/>
                  <a:gd name="T1" fmla="*/ 59 h 71"/>
                  <a:gd name="T2" fmla="*/ 36 w 57"/>
                  <a:gd name="T3" fmla="*/ 0 h 71"/>
                  <a:gd name="T4" fmla="*/ 57 w 57"/>
                  <a:gd name="T5" fmla="*/ 12 h 71"/>
                  <a:gd name="T6" fmla="*/ 19 w 57"/>
                  <a:gd name="T7" fmla="*/ 71 h 71"/>
                  <a:gd name="T8" fmla="*/ 0 w 57"/>
                  <a:gd name="T9" fmla="*/ 5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9"/>
                    </a:moveTo>
                    <a:lnTo>
                      <a:pt x="36" y="0"/>
                    </a:lnTo>
                    <a:lnTo>
                      <a:pt x="57" y="12"/>
                    </a:lnTo>
                    <a:lnTo>
                      <a:pt x="19" y="71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" name="Freeform 94">
                <a:extLst>
                  <a:ext uri="{FF2B5EF4-FFF2-40B4-BE49-F238E27FC236}">
                    <a16:creationId xmlns:a16="http://schemas.microsoft.com/office/drawing/2014/main" id="{6656C0CE-DFC8-43BF-BE91-0F45A3C2B0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" y="1913"/>
                <a:ext cx="56" cy="72"/>
              </a:xfrm>
              <a:custGeom>
                <a:avLst/>
                <a:gdLst>
                  <a:gd name="T0" fmla="*/ 0 w 56"/>
                  <a:gd name="T1" fmla="*/ 59 h 72"/>
                  <a:gd name="T2" fmla="*/ 37 w 56"/>
                  <a:gd name="T3" fmla="*/ 0 h 72"/>
                  <a:gd name="T4" fmla="*/ 56 w 56"/>
                  <a:gd name="T5" fmla="*/ 13 h 72"/>
                  <a:gd name="T6" fmla="*/ 20 w 56"/>
                  <a:gd name="T7" fmla="*/ 72 h 72"/>
                  <a:gd name="T8" fmla="*/ 0 w 56"/>
                  <a:gd name="T9" fmla="*/ 5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72">
                    <a:moveTo>
                      <a:pt x="0" y="59"/>
                    </a:moveTo>
                    <a:lnTo>
                      <a:pt x="37" y="0"/>
                    </a:lnTo>
                    <a:lnTo>
                      <a:pt x="56" y="13"/>
                    </a:lnTo>
                    <a:lnTo>
                      <a:pt x="20" y="72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7" name="Freeform 95">
                <a:extLst>
                  <a:ext uri="{FF2B5EF4-FFF2-40B4-BE49-F238E27FC236}">
                    <a16:creationId xmlns:a16="http://schemas.microsoft.com/office/drawing/2014/main" id="{D587F3E1-7E71-4AA6-955A-1E01FFF4A8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1"/>
                <a:ext cx="18" cy="19"/>
              </a:xfrm>
              <a:custGeom>
                <a:avLst/>
                <a:gdLst>
                  <a:gd name="T0" fmla="*/ 9 w 34"/>
                  <a:gd name="T1" fmla="*/ 29 h 34"/>
                  <a:gd name="T2" fmla="*/ 4 w 34"/>
                  <a:gd name="T3" fmla="*/ 9 h 34"/>
                  <a:gd name="T4" fmla="*/ 25 w 34"/>
                  <a:gd name="T5" fmla="*/ 4 h 34"/>
                  <a:gd name="T6" fmla="*/ 30 w 34"/>
                  <a:gd name="T7" fmla="*/ 25 h 34"/>
                  <a:gd name="T8" fmla="*/ 9 w 34"/>
                  <a:gd name="T9" fmla="*/ 2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9" y="29"/>
                    </a:moveTo>
                    <a:cubicBezTo>
                      <a:pt x="2" y="25"/>
                      <a:pt x="0" y="16"/>
                      <a:pt x="4" y="9"/>
                    </a:cubicBezTo>
                    <a:cubicBezTo>
                      <a:pt x="9" y="2"/>
                      <a:pt x="18" y="0"/>
                      <a:pt x="25" y="4"/>
                    </a:cubicBezTo>
                    <a:cubicBezTo>
                      <a:pt x="32" y="9"/>
                      <a:pt x="34" y="18"/>
                      <a:pt x="30" y="25"/>
                    </a:cubicBezTo>
                    <a:cubicBezTo>
                      <a:pt x="25" y="32"/>
                      <a:pt x="16" y="34"/>
                      <a:pt x="9" y="29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8" name="Freeform 96">
                <a:extLst>
                  <a:ext uri="{FF2B5EF4-FFF2-40B4-BE49-F238E27FC236}">
                    <a16:creationId xmlns:a16="http://schemas.microsoft.com/office/drawing/2014/main" id="{65D28321-5E42-4B38-9631-98D7F74CC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" y="1891"/>
                <a:ext cx="229" cy="149"/>
              </a:xfrm>
              <a:custGeom>
                <a:avLst/>
                <a:gdLst>
                  <a:gd name="T0" fmla="*/ 15 w 418"/>
                  <a:gd name="T1" fmla="*/ 63 h 272"/>
                  <a:gd name="T2" fmla="*/ 15 w 418"/>
                  <a:gd name="T3" fmla="*/ 63 h 272"/>
                  <a:gd name="T4" fmla="*/ 117 w 418"/>
                  <a:gd name="T5" fmla="*/ 15 h 272"/>
                  <a:gd name="T6" fmla="*/ 418 w 418"/>
                  <a:gd name="T7" fmla="*/ 121 h 272"/>
                  <a:gd name="T8" fmla="*/ 364 w 418"/>
                  <a:gd name="T9" fmla="*/ 272 h 272"/>
                  <a:gd name="T10" fmla="*/ 64 w 418"/>
                  <a:gd name="T11" fmla="*/ 166 h 272"/>
                  <a:gd name="T12" fmla="*/ 15 w 418"/>
                  <a:gd name="T13" fmla="*/ 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8" h="272">
                    <a:moveTo>
                      <a:pt x="15" y="63"/>
                    </a:moveTo>
                    <a:cubicBezTo>
                      <a:pt x="15" y="63"/>
                      <a:pt x="15" y="63"/>
                      <a:pt x="15" y="63"/>
                    </a:cubicBezTo>
                    <a:cubicBezTo>
                      <a:pt x="30" y="22"/>
                      <a:pt x="76" y="0"/>
                      <a:pt x="117" y="15"/>
                    </a:cubicBezTo>
                    <a:cubicBezTo>
                      <a:pt x="418" y="121"/>
                      <a:pt x="418" y="121"/>
                      <a:pt x="418" y="121"/>
                    </a:cubicBezTo>
                    <a:cubicBezTo>
                      <a:pt x="364" y="272"/>
                      <a:pt x="364" y="272"/>
                      <a:pt x="364" y="272"/>
                    </a:cubicBezTo>
                    <a:cubicBezTo>
                      <a:pt x="64" y="166"/>
                      <a:pt x="64" y="166"/>
                      <a:pt x="64" y="166"/>
                    </a:cubicBezTo>
                    <a:cubicBezTo>
                      <a:pt x="22" y="151"/>
                      <a:pt x="0" y="105"/>
                      <a:pt x="15" y="6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9" name="Freeform 97">
                <a:extLst>
                  <a:ext uri="{FF2B5EF4-FFF2-40B4-BE49-F238E27FC236}">
                    <a16:creationId xmlns:a16="http://schemas.microsoft.com/office/drawing/2014/main" id="{565565E1-DA7C-4C7C-81BE-3897131B68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955"/>
                <a:ext cx="45" cy="73"/>
              </a:xfrm>
              <a:custGeom>
                <a:avLst/>
                <a:gdLst>
                  <a:gd name="T0" fmla="*/ 0 w 45"/>
                  <a:gd name="T1" fmla="*/ 66 h 73"/>
                  <a:gd name="T2" fmla="*/ 23 w 45"/>
                  <a:gd name="T3" fmla="*/ 0 h 73"/>
                  <a:gd name="T4" fmla="*/ 45 w 45"/>
                  <a:gd name="T5" fmla="*/ 8 h 73"/>
                  <a:gd name="T6" fmla="*/ 22 w 45"/>
                  <a:gd name="T7" fmla="*/ 73 h 73"/>
                  <a:gd name="T8" fmla="*/ 0 w 45"/>
                  <a:gd name="T9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6"/>
                    </a:moveTo>
                    <a:lnTo>
                      <a:pt x="23" y="0"/>
                    </a:lnTo>
                    <a:lnTo>
                      <a:pt x="45" y="8"/>
                    </a:lnTo>
                    <a:lnTo>
                      <a:pt x="22" y="73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E6EE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0" name="Freeform 98">
                <a:extLst>
                  <a:ext uri="{FF2B5EF4-FFF2-40B4-BE49-F238E27FC236}">
                    <a16:creationId xmlns:a16="http://schemas.microsoft.com/office/drawing/2014/main" id="{A726B54A-F4F4-4DA4-8282-724AC687F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0" y="1946"/>
                <a:ext cx="45" cy="73"/>
              </a:xfrm>
              <a:custGeom>
                <a:avLst/>
                <a:gdLst>
                  <a:gd name="T0" fmla="*/ 0 w 45"/>
                  <a:gd name="T1" fmla="*/ 65 h 73"/>
                  <a:gd name="T2" fmla="*/ 24 w 45"/>
                  <a:gd name="T3" fmla="*/ 0 h 73"/>
                  <a:gd name="T4" fmla="*/ 45 w 45"/>
                  <a:gd name="T5" fmla="*/ 7 h 73"/>
                  <a:gd name="T6" fmla="*/ 22 w 45"/>
                  <a:gd name="T7" fmla="*/ 73 h 73"/>
                  <a:gd name="T8" fmla="*/ 0 w 45"/>
                  <a:gd name="T9" fmla="*/ 6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5"/>
                    </a:moveTo>
                    <a:lnTo>
                      <a:pt x="24" y="0"/>
                    </a:lnTo>
                    <a:lnTo>
                      <a:pt x="45" y="7"/>
                    </a:lnTo>
                    <a:lnTo>
                      <a:pt x="22" y="73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DCE77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1" name="Freeform 99">
                <a:extLst>
                  <a:ext uri="{FF2B5EF4-FFF2-40B4-BE49-F238E27FC236}">
                    <a16:creationId xmlns:a16="http://schemas.microsoft.com/office/drawing/2014/main" id="{F69E95FD-011E-4FC5-B499-6C359ED9E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4" y="1937"/>
                <a:ext cx="45" cy="73"/>
              </a:xfrm>
              <a:custGeom>
                <a:avLst/>
                <a:gdLst>
                  <a:gd name="T0" fmla="*/ 0 w 45"/>
                  <a:gd name="T1" fmla="*/ 64 h 73"/>
                  <a:gd name="T2" fmla="*/ 23 w 45"/>
                  <a:gd name="T3" fmla="*/ 0 h 73"/>
                  <a:gd name="T4" fmla="*/ 45 w 45"/>
                  <a:gd name="T5" fmla="*/ 7 h 73"/>
                  <a:gd name="T6" fmla="*/ 22 w 45"/>
                  <a:gd name="T7" fmla="*/ 73 h 73"/>
                  <a:gd name="T8" fmla="*/ 0 w 45"/>
                  <a:gd name="T9" fmla="*/ 6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4"/>
                    </a:moveTo>
                    <a:lnTo>
                      <a:pt x="23" y="0"/>
                    </a:lnTo>
                    <a:lnTo>
                      <a:pt x="45" y="7"/>
                    </a:lnTo>
                    <a:lnTo>
                      <a:pt x="22" y="73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2" name="Freeform 100">
                <a:extLst>
                  <a:ext uri="{FF2B5EF4-FFF2-40B4-BE49-F238E27FC236}">
                    <a16:creationId xmlns:a16="http://schemas.microsoft.com/office/drawing/2014/main" id="{3320A667-29D2-4325-9627-6DD64612C1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7" y="1927"/>
                <a:ext cx="46" cy="73"/>
              </a:xfrm>
              <a:custGeom>
                <a:avLst/>
                <a:gdLst>
                  <a:gd name="T0" fmla="*/ 0 w 46"/>
                  <a:gd name="T1" fmla="*/ 65 h 73"/>
                  <a:gd name="T2" fmla="*/ 23 w 46"/>
                  <a:gd name="T3" fmla="*/ 0 h 73"/>
                  <a:gd name="T4" fmla="*/ 46 w 46"/>
                  <a:gd name="T5" fmla="*/ 8 h 73"/>
                  <a:gd name="T6" fmla="*/ 22 w 46"/>
                  <a:gd name="T7" fmla="*/ 73 h 73"/>
                  <a:gd name="T8" fmla="*/ 0 w 46"/>
                  <a:gd name="T9" fmla="*/ 6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0" y="65"/>
                    </a:moveTo>
                    <a:lnTo>
                      <a:pt x="23" y="0"/>
                    </a:lnTo>
                    <a:lnTo>
                      <a:pt x="46" y="8"/>
                    </a:lnTo>
                    <a:lnTo>
                      <a:pt x="22" y="73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CDDC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3" name="Freeform 101">
                <a:extLst>
                  <a:ext uri="{FF2B5EF4-FFF2-40B4-BE49-F238E27FC236}">
                    <a16:creationId xmlns:a16="http://schemas.microsoft.com/office/drawing/2014/main" id="{9F976ACC-0A27-4728-8AB9-92F1DC017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1" y="1917"/>
                <a:ext cx="45" cy="74"/>
              </a:xfrm>
              <a:custGeom>
                <a:avLst/>
                <a:gdLst>
                  <a:gd name="T0" fmla="*/ 0 w 45"/>
                  <a:gd name="T1" fmla="*/ 66 h 74"/>
                  <a:gd name="T2" fmla="*/ 23 w 45"/>
                  <a:gd name="T3" fmla="*/ 0 h 74"/>
                  <a:gd name="T4" fmla="*/ 45 w 45"/>
                  <a:gd name="T5" fmla="*/ 9 h 74"/>
                  <a:gd name="T6" fmla="*/ 22 w 45"/>
                  <a:gd name="T7" fmla="*/ 74 h 74"/>
                  <a:gd name="T8" fmla="*/ 0 w 45"/>
                  <a:gd name="T9" fmla="*/ 6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4">
                    <a:moveTo>
                      <a:pt x="0" y="66"/>
                    </a:moveTo>
                    <a:lnTo>
                      <a:pt x="23" y="0"/>
                    </a:lnTo>
                    <a:lnTo>
                      <a:pt x="45" y="9"/>
                    </a:lnTo>
                    <a:lnTo>
                      <a:pt x="22" y="74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C0CA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4" name="Freeform 102">
                <a:extLst>
                  <a:ext uri="{FF2B5EF4-FFF2-40B4-BE49-F238E27FC236}">
                    <a16:creationId xmlns:a16="http://schemas.microsoft.com/office/drawing/2014/main" id="{5E758009-E188-468F-8DF0-D50F294FC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908"/>
                <a:ext cx="46" cy="73"/>
              </a:xfrm>
              <a:custGeom>
                <a:avLst/>
                <a:gdLst>
                  <a:gd name="T0" fmla="*/ 0 w 46"/>
                  <a:gd name="T1" fmla="*/ 66 h 73"/>
                  <a:gd name="T2" fmla="*/ 24 w 46"/>
                  <a:gd name="T3" fmla="*/ 0 h 73"/>
                  <a:gd name="T4" fmla="*/ 46 w 46"/>
                  <a:gd name="T5" fmla="*/ 8 h 73"/>
                  <a:gd name="T6" fmla="*/ 23 w 46"/>
                  <a:gd name="T7" fmla="*/ 73 h 73"/>
                  <a:gd name="T8" fmla="*/ 0 w 46"/>
                  <a:gd name="T9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0" y="66"/>
                    </a:moveTo>
                    <a:lnTo>
                      <a:pt x="24" y="0"/>
                    </a:lnTo>
                    <a:lnTo>
                      <a:pt x="46" y="8"/>
                    </a:lnTo>
                    <a:lnTo>
                      <a:pt x="23" y="73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AFB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5" name="Freeform 103">
                <a:extLst>
                  <a:ext uri="{FF2B5EF4-FFF2-40B4-BE49-F238E27FC236}">
                    <a16:creationId xmlns:a16="http://schemas.microsoft.com/office/drawing/2014/main" id="{80356FB1-D90D-4EF3-84A4-00B7FE1863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9"/>
              </a:xfrm>
              <a:custGeom>
                <a:avLst/>
                <a:gdLst>
                  <a:gd name="T0" fmla="*/ 12 w 33"/>
                  <a:gd name="T1" fmla="*/ 30 h 33"/>
                  <a:gd name="T2" fmla="*/ 2 w 33"/>
                  <a:gd name="T3" fmla="*/ 11 h 33"/>
                  <a:gd name="T4" fmla="*/ 21 w 33"/>
                  <a:gd name="T5" fmla="*/ 2 h 33"/>
                  <a:gd name="T6" fmla="*/ 31 w 33"/>
                  <a:gd name="T7" fmla="*/ 21 h 33"/>
                  <a:gd name="T8" fmla="*/ 12 w 33"/>
                  <a:gd name="T9" fmla="*/ 3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3">
                    <a:moveTo>
                      <a:pt x="12" y="30"/>
                    </a:moveTo>
                    <a:cubicBezTo>
                      <a:pt x="4" y="28"/>
                      <a:pt x="0" y="19"/>
                      <a:pt x="2" y="11"/>
                    </a:cubicBezTo>
                    <a:cubicBezTo>
                      <a:pt x="5" y="4"/>
                      <a:pt x="14" y="0"/>
                      <a:pt x="21" y="2"/>
                    </a:cubicBezTo>
                    <a:cubicBezTo>
                      <a:pt x="29" y="5"/>
                      <a:pt x="33" y="14"/>
                      <a:pt x="31" y="21"/>
                    </a:cubicBezTo>
                    <a:cubicBezTo>
                      <a:pt x="28" y="29"/>
                      <a:pt x="19" y="33"/>
                      <a:pt x="12" y="30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6" name="Freeform 104">
                <a:extLst>
                  <a:ext uri="{FF2B5EF4-FFF2-40B4-BE49-F238E27FC236}">
                    <a16:creationId xmlns:a16="http://schemas.microsoft.com/office/drawing/2014/main" id="{F288D20D-0249-4BB9-B795-C0BCBCC03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" y="1887"/>
                <a:ext cx="225" cy="107"/>
              </a:xfrm>
              <a:custGeom>
                <a:avLst/>
                <a:gdLst>
                  <a:gd name="T0" fmla="*/ 5 w 410"/>
                  <a:gd name="T1" fmla="*/ 76 h 196"/>
                  <a:gd name="T2" fmla="*/ 5 w 410"/>
                  <a:gd name="T3" fmla="*/ 76 h 196"/>
                  <a:gd name="T4" fmla="*/ 93 w 410"/>
                  <a:gd name="T5" fmla="*/ 4 h 196"/>
                  <a:gd name="T6" fmla="*/ 410 w 410"/>
                  <a:gd name="T7" fmla="*/ 37 h 196"/>
                  <a:gd name="T8" fmla="*/ 393 w 410"/>
                  <a:gd name="T9" fmla="*/ 196 h 196"/>
                  <a:gd name="T10" fmla="*/ 76 w 410"/>
                  <a:gd name="T11" fmla="*/ 164 h 196"/>
                  <a:gd name="T12" fmla="*/ 5 w 410"/>
                  <a:gd name="T13" fmla="*/ 7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0" h="196">
                    <a:moveTo>
                      <a:pt x="5" y="76"/>
                    </a:moveTo>
                    <a:cubicBezTo>
                      <a:pt x="5" y="76"/>
                      <a:pt x="5" y="76"/>
                      <a:pt x="5" y="76"/>
                    </a:cubicBezTo>
                    <a:cubicBezTo>
                      <a:pt x="9" y="32"/>
                      <a:pt x="49" y="0"/>
                      <a:pt x="93" y="4"/>
                    </a:cubicBezTo>
                    <a:cubicBezTo>
                      <a:pt x="410" y="37"/>
                      <a:pt x="410" y="37"/>
                      <a:pt x="410" y="37"/>
                    </a:cubicBezTo>
                    <a:cubicBezTo>
                      <a:pt x="393" y="196"/>
                      <a:pt x="393" y="196"/>
                      <a:pt x="393" y="196"/>
                    </a:cubicBezTo>
                    <a:cubicBezTo>
                      <a:pt x="76" y="164"/>
                      <a:pt x="76" y="164"/>
                      <a:pt x="76" y="164"/>
                    </a:cubicBezTo>
                    <a:cubicBezTo>
                      <a:pt x="32" y="159"/>
                      <a:pt x="0" y="120"/>
                      <a:pt x="5" y="7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7" name="Freeform 105">
                <a:extLst>
                  <a:ext uri="{FF2B5EF4-FFF2-40B4-BE49-F238E27FC236}">
                    <a16:creationId xmlns:a16="http://schemas.microsoft.com/office/drawing/2014/main" id="{297A74DF-660D-472E-8098-462149FDFB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8" y="1912"/>
                <a:ext cx="31" cy="72"/>
              </a:xfrm>
              <a:custGeom>
                <a:avLst/>
                <a:gdLst>
                  <a:gd name="T0" fmla="*/ 0 w 31"/>
                  <a:gd name="T1" fmla="*/ 70 h 72"/>
                  <a:gd name="T2" fmla="*/ 7 w 31"/>
                  <a:gd name="T3" fmla="*/ 0 h 72"/>
                  <a:gd name="T4" fmla="*/ 31 w 31"/>
                  <a:gd name="T5" fmla="*/ 3 h 72"/>
                  <a:gd name="T6" fmla="*/ 24 w 31"/>
                  <a:gd name="T7" fmla="*/ 72 h 72"/>
                  <a:gd name="T8" fmla="*/ 0 w 31"/>
                  <a:gd name="T9" fmla="*/ 7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0" y="70"/>
                    </a:moveTo>
                    <a:lnTo>
                      <a:pt x="7" y="0"/>
                    </a:lnTo>
                    <a:lnTo>
                      <a:pt x="31" y="3"/>
                    </a:lnTo>
                    <a:lnTo>
                      <a:pt x="24" y="72"/>
                    </a:lnTo>
                    <a:lnTo>
                      <a:pt x="0" y="70"/>
                    </a:lnTo>
                    <a:close/>
                  </a:path>
                </a:pathLst>
              </a:custGeom>
              <a:solidFill>
                <a:srgbClr val="C5E1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8" name="Freeform 106">
                <a:extLst>
                  <a:ext uri="{FF2B5EF4-FFF2-40B4-BE49-F238E27FC236}">
                    <a16:creationId xmlns:a16="http://schemas.microsoft.com/office/drawing/2014/main" id="{4D6225FE-D55C-40DC-A38A-94CD4D9AB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" y="1910"/>
                <a:ext cx="31" cy="71"/>
              </a:xfrm>
              <a:custGeom>
                <a:avLst/>
                <a:gdLst>
                  <a:gd name="T0" fmla="*/ 0 w 31"/>
                  <a:gd name="T1" fmla="*/ 69 h 71"/>
                  <a:gd name="T2" fmla="*/ 7 w 31"/>
                  <a:gd name="T3" fmla="*/ 0 h 71"/>
                  <a:gd name="T4" fmla="*/ 31 w 31"/>
                  <a:gd name="T5" fmla="*/ 2 h 71"/>
                  <a:gd name="T6" fmla="*/ 24 w 31"/>
                  <a:gd name="T7" fmla="*/ 71 h 71"/>
                  <a:gd name="T8" fmla="*/ 0 w 31"/>
                  <a:gd name="T9" fmla="*/ 6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0" y="69"/>
                    </a:moveTo>
                    <a:lnTo>
                      <a:pt x="7" y="0"/>
                    </a:lnTo>
                    <a:lnTo>
                      <a:pt x="31" y="2"/>
                    </a:lnTo>
                    <a:lnTo>
                      <a:pt x="24" y="71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AED5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9" name="Freeform 107">
                <a:extLst>
                  <a:ext uri="{FF2B5EF4-FFF2-40B4-BE49-F238E27FC236}">
                    <a16:creationId xmlns:a16="http://schemas.microsoft.com/office/drawing/2014/main" id="{184F0614-A5A6-4C2A-A30B-2ECD9DD132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2" y="1907"/>
                <a:ext cx="31" cy="72"/>
              </a:xfrm>
              <a:custGeom>
                <a:avLst/>
                <a:gdLst>
                  <a:gd name="T0" fmla="*/ 0 w 31"/>
                  <a:gd name="T1" fmla="*/ 69 h 72"/>
                  <a:gd name="T2" fmla="*/ 7 w 31"/>
                  <a:gd name="T3" fmla="*/ 0 h 72"/>
                  <a:gd name="T4" fmla="*/ 31 w 31"/>
                  <a:gd name="T5" fmla="*/ 2 h 72"/>
                  <a:gd name="T6" fmla="*/ 24 w 31"/>
                  <a:gd name="T7" fmla="*/ 72 h 72"/>
                  <a:gd name="T8" fmla="*/ 0 w 31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0" y="69"/>
                    </a:moveTo>
                    <a:lnTo>
                      <a:pt x="7" y="0"/>
                    </a:lnTo>
                    <a:lnTo>
                      <a:pt x="31" y="2"/>
                    </a:lnTo>
                    <a:lnTo>
                      <a:pt x="24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9CCC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0" name="Freeform 108">
                <a:extLst>
                  <a:ext uri="{FF2B5EF4-FFF2-40B4-BE49-F238E27FC236}">
                    <a16:creationId xmlns:a16="http://schemas.microsoft.com/office/drawing/2014/main" id="{885973B0-D7BC-41B3-95B0-E0B3F35A58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1904"/>
                <a:ext cx="31" cy="71"/>
              </a:xfrm>
              <a:custGeom>
                <a:avLst/>
                <a:gdLst>
                  <a:gd name="T0" fmla="*/ 0 w 31"/>
                  <a:gd name="T1" fmla="*/ 69 h 71"/>
                  <a:gd name="T2" fmla="*/ 8 w 31"/>
                  <a:gd name="T3" fmla="*/ 0 h 71"/>
                  <a:gd name="T4" fmla="*/ 31 w 31"/>
                  <a:gd name="T5" fmla="*/ 2 h 71"/>
                  <a:gd name="T6" fmla="*/ 24 w 31"/>
                  <a:gd name="T7" fmla="*/ 71 h 71"/>
                  <a:gd name="T8" fmla="*/ 0 w 31"/>
                  <a:gd name="T9" fmla="*/ 6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0" y="69"/>
                    </a:moveTo>
                    <a:lnTo>
                      <a:pt x="8" y="0"/>
                    </a:lnTo>
                    <a:lnTo>
                      <a:pt x="31" y="2"/>
                    </a:lnTo>
                    <a:lnTo>
                      <a:pt x="24" y="71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1" name="Freeform 109">
                <a:extLst>
                  <a:ext uri="{FF2B5EF4-FFF2-40B4-BE49-F238E27FC236}">
                    <a16:creationId xmlns:a16="http://schemas.microsoft.com/office/drawing/2014/main" id="{E952FAAE-79ED-4F86-A93C-3626A2032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1901"/>
                <a:ext cx="30" cy="72"/>
              </a:xfrm>
              <a:custGeom>
                <a:avLst/>
                <a:gdLst>
                  <a:gd name="T0" fmla="*/ 0 w 30"/>
                  <a:gd name="T1" fmla="*/ 69 h 72"/>
                  <a:gd name="T2" fmla="*/ 7 w 30"/>
                  <a:gd name="T3" fmla="*/ 0 h 72"/>
                  <a:gd name="T4" fmla="*/ 30 w 30"/>
                  <a:gd name="T5" fmla="*/ 3 h 72"/>
                  <a:gd name="T6" fmla="*/ 23 w 30"/>
                  <a:gd name="T7" fmla="*/ 72 h 72"/>
                  <a:gd name="T8" fmla="*/ 0 w 30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72">
                    <a:moveTo>
                      <a:pt x="0" y="69"/>
                    </a:moveTo>
                    <a:lnTo>
                      <a:pt x="7" y="0"/>
                    </a:lnTo>
                    <a:lnTo>
                      <a:pt x="30" y="3"/>
                    </a:lnTo>
                    <a:lnTo>
                      <a:pt x="23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7CB3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2" name="Freeform 110">
                <a:extLst>
                  <a:ext uri="{FF2B5EF4-FFF2-40B4-BE49-F238E27FC236}">
                    <a16:creationId xmlns:a16="http://schemas.microsoft.com/office/drawing/2014/main" id="{FBF8D14E-A43B-49E7-8676-A560D1259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9" y="1898"/>
                <a:ext cx="30" cy="72"/>
              </a:xfrm>
              <a:custGeom>
                <a:avLst/>
                <a:gdLst>
                  <a:gd name="T0" fmla="*/ 0 w 30"/>
                  <a:gd name="T1" fmla="*/ 69 h 72"/>
                  <a:gd name="T2" fmla="*/ 7 w 30"/>
                  <a:gd name="T3" fmla="*/ 0 h 72"/>
                  <a:gd name="T4" fmla="*/ 30 w 30"/>
                  <a:gd name="T5" fmla="*/ 2 h 72"/>
                  <a:gd name="T6" fmla="*/ 23 w 30"/>
                  <a:gd name="T7" fmla="*/ 72 h 72"/>
                  <a:gd name="T8" fmla="*/ 0 w 30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72">
                    <a:moveTo>
                      <a:pt x="0" y="69"/>
                    </a:moveTo>
                    <a:lnTo>
                      <a:pt x="7" y="0"/>
                    </a:lnTo>
                    <a:lnTo>
                      <a:pt x="30" y="2"/>
                    </a:lnTo>
                    <a:lnTo>
                      <a:pt x="23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689F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3" name="Freeform 111">
                <a:extLst>
                  <a:ext uri="{FF2B5EF4-FFF2-40B4-BE49-F238E27FC236}">
                    <a16:creationId xmlns:a16="http://schemas.microsoft.com/office/drawing/2014/main" id="{194F6BEB-A6F3-4204-A3E7-28D0AB2875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2"/>
                <a:ext cx="17" cy="17"/>
              </a:xfrm>
              <a:custGeom>
                <a:avLst/>
                <a:gdLst>
                  <a:gd name="T0" fmla="*/ 14 w 31"/>
                  <a:gd name="T1" fmla="*/ 31 h 32"/>
                  <a:gd name="T2" fmla="*/ 1 w 31"/>
                  <a:gd name="T3" fmla="*/ 14 h 32"/>
                  <a:gd name="T4" fmla="*/ 17 w 31"/>
                  <a:gd name="T5" fmla="*/ 1 h 32"/>
                  <a:gd name="T6" fmla="*/ 30 w 31"/>
                  <a:gd name="T7" fmla="*/ 17 h 32"/>
                  <a:gd name="T8" fmla="*/ 14 w 31"/>
                  <a:gd name="T9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2">
                    <a:moveTo>
                      <a:pt x="14" y="31"/>
                    </a:moveTo>
                    <a:cubicBezTo>
                      <a:pt x="6" y="30"/>
                      <a:pt x="0" y="23"/>
                      <a:pt x="1" y="14"/>
                    </a:cubicBezTo>
                    <a:cubicBezTo>
                      <a:pt x="2" y="6"/>
                      <a:pt x="9" y="0"/>
                      <a:pt x="17" y="1"/>
                    </a:cubicBezTo>
                    <a:cubicBezTo>
                      <a:pt x="25" y="2"/>
                      <a:pt x="31" y="9"/>
                      <a:pt x="30" y="17"/>
                    </a:cubicBezTo>
                    <a:cubicBezTo>
                      <a:pt x="30" y="26"/>
                      <a:pt x="22" y="32"/>
                      <a:pt x="14" y="31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4" name="Freeform 112">
                <a:extLst>
                  <a:ext uri="{FF2B5EF4-FFF2-40B4-BE49-F238E27FC236}">
                    <a16:creationId xmlns:a16="http://schemas.microsoft.com/office/drawing/2014/main" id="{E6A7D0A3-C279-46E0-A2AD-A201233ACE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" y="1866"/>
                <a:ext cx="224" cy="109"/>
              </a:xfrm>
              <a:custGeom>
                <a:avLst/>
                <a:gdLst>
                  <a:gd name="T0" fmla="*/ 5 w 410"/>
                  <a:gd name="T1" fmla="*/ 124 h 200"/>
                  <a:gd name="T2" fmla="*/ 5 w 410"/>
                  <a:gd name="T3" fmla="*/ 124 h 200"/>
                  <a:gd name="T4" fmla="*/ 75 w 410"/>
                  <a:gd name="T5" fmla="*/ 35 h 200"/>
                  <a:gd name="T6" fmla="*/ 392 w 410"/>
                  <a:gd name="T7" fmla="*/ 0 h 200"/>
                  <a:gd name="T8" fmla="*/ 410 w 410"/>
                  <a:gd name="T9" fmla="*/ 159 h 200"/>
                  <a:gd name="T10" fmla="*/ 93 w 410"/>
                  <a:gd name="T11" fmla="*/ 195 h 200"/>
                  <a:gd name="T12" fmla="*/ 5 w 410"/>
                  <a:gd name="T13" fmla="*/ 124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0" h="200">
                    <a:moveTo>
                      <a:pt x="5" y="124"/>
                    </a:moveTo>
                    <a:cubicBezTo>
                      <a:pt x="5" y="124"/>
                      <a:pt x="5" y="124"/>
                      <a:pt x="5" y="124"/>
                    </a:cubicBezTo>
                    <a:cubicBezTo>
                      <a:pt x="0" y="80"/>
                      <a:pt x="31" y="40"/>
                      <a:pt x="75" y="35"/>
                    </a:cubicBezTo>
                    <a:cubicBezTo>
                      <a:pt x="392" y="0"/>
                      <a:pt x="392" y="0"/>
                      <a:pt x="392" y="0"/>
                    </a:cubicBezTo>
                    <a:cubicBezTo>
                      <a:pt x="410" y="159"/>
                      <a:pt x="410" y="159"/>
                      <a:pt x="410" y="159"/>
                    </a:cubicBezTo>
                    <a:cubicBezTo>
                      <a:pt x="93" y="195"/>
                      <a:pt x="93" y="195"/>
                      <a:pt x="93" y="195"/>
                    </a:cubicBezTo>
                    <a:cubicBezTo>
                      <a:pt x="49" y="200"/>
                      <a:pt x="10" y="168"/>
                      <a:pt x="5" y="1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5" name="Freeform 113">
                <a:extLst>
                  <a:ext uri="{FF2B5EF4-FFF2-40B4-BE49-F238E27FC236}">
                    <a16:creationId xmlns:a16="http://schemas.microsoft.com/office/drawing/2014/main" id="{D9EB15A7-C8BC-498E-B5AC-BF1CB4446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7" y="1876"/>
                <a:ext cx="31" cy="71"/>
              </a:xfrm>
              <a:custGeom>
                <a:avLst/>
                <a:gdLst>
                  <a:gd name="T0" fmla="*/ 8 w 31"/>
                  <a:gd name="T1" fmla="*/ 71 h 71"/>
                  <a:gd name="T2" fmla="*/ 0 w 31"/>
                  <a:gd name="T3" fmla="*/ 3 h 71"/>
                  <a:gd name="T4" fmla="*/ 23 w 31"/>
                  <a:gd name="T5" fmla="*/ 0 h 71"/>
                  <a:gd name="T6" fmla="*/ 31 w 31"/>
                  <a:gd name="T7" fmla="*/ 69 h 71"/>
                  <a:gd name="T8" fmla="*/ 8 w 31"/>
                  <a:gd name="T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8" y="71"/>
                    </a:moveTo>
                    <a:lnTo>
                      <a:pt x="0" y="3"/>
                    </a:lnTo>
                    <a:lnTo>
                      <a:pt x="23" y="0"/>
                    </a:lnTo>
                    <a:lnTo>
                      <a:pt x="31" y="69"/>
                    </a:lnTo>
                    <a:lnTo>
                      <a:pt x="8" y="71"/>
                    </a:lnTo>
                    <a:close/>
                  </a:path>
                </a:pathLst>
              </a:custGeom>
              <a:solidFill>
                <a:srgbClr val="80CB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6" name="Freeform 114">
                <a:extLst>
                  <a:ext uri="{FF2B5EF4-FFF2-40B4-BE49-F238E27FC236}">
                    <a16:creationId xmlns:a16="http://schemas.microsoft.com/office/drawing/2014/main" id="{FC3880F6-7A19-4FBC-80C9-497368FF86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9" y="1879"/>
                <a:ext cx="31" cy="72"/>
              </a:xfrm>
              <a:custGeom>
                <a:avLst/>
                <a:gdLst>
                  <a:gd name="T0" fmla="*/ 8 w 31"/>
                  <a:gd name="T1" fmla="*/ 72 h 72"/>
                  <a:gd name="T2" fmla="*/ 0 w 31"/>
                  <a:gd name="T3" fmla="*/ 3 h 72"/>
                  <a:gd name="T4" fmla="*/ 23 w 31"/>
                  <a:gd name="T5" fmla="*/ 0 h 72"/>
                  <a:gd name="T6" fmla="*/ 31 w 31"/>
                  <a:gd name="T7" fmla="*/ 69 h 72"/>
                  <a:gd name="T8" fmla="*/ 8 w 31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8" y="72"/>
                    </a:moveTo>
                    <a:lnTo>
                      <a:pt x="0" y="3"/>
                    </a:lnTo>
                    <a:lnTo>
                      <a:pt x="23" y="0"/>
                    </a:lnTo>
                    <a:lnTo>
                      <a:pt x="31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4DB6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7" name="Freeform 115">
                <a:extLst>
                  <a:ext uri="{FF2B5EF4-FFF2-40B4-BE49-F238E27FC236}">
                    <a16:creationId xmlns:a16="http://schemas.microsoft.com/office/drawing/2014/main" id="{8995C09D-66A0-4A50-A710-B881A9354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" y="1882"/>
                <a:ext cx="31" cy="72"/>
              </a:xfrm>
              <a:custGeom>
                <a:avLst/>
                <a:gdLst>
                  <a:gd name="T0" fmla="*/ 8 w 31"/>
                  <a:gd name="T1" fmla="*/ 72 h 72"/>
                  <a:gd name="T2" fmla="*/ 0 w 31"/>
                  <a:gd name="T3" fmla="*/ 3 h 72"/>
                  <a:gd name="T4" fmla="*/ 24 w 31"/>
                  <a:gd name="T5" fmla="*/ 0 h 72"/>
                  <a:gd name="T6" fmla="*/ 31 w 31"/>
                  <a:gd name="T7" fmla="*/ 69 h 72"/>
                  <a:gd name="T8" fmla="*/ 8 w 31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1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26A6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8" name="Freeform 116">
                <a:extLst>
                  <a:ext uri="{FF2B5EF4-FFF2-40B4-BE49-F238E27FC236}">
                    <a16:creationId xmlns:a16="http://schemas.microsoft.com/office/drawing/2014/main" id="{02E1561F-A0A1-4AD5-A216-6818D5F3E4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3" y="1885"/>
                <a:ext cx="32" cy="72"/>
              </a:xfrm>
              <a:custGeom>
                <a:avLst/>
                <a:gdLst>
                  <a:gd name="T0" fmla="*/ 8 w 32"/>
                  <a:gd name="T1" fmla="*/ 72 h 72"/>
                  <a:gd name="T2" fmla="*/ 0 w 32"/>
                  <a:gd name="T3" fmla="*/ 3 h 72"/>
                  <a:gd name="T4" fmla="*/ 24 w 32"/>
                  <a:gd name="T5" fmla="*/ 0 h 72"/>
                  <a:gd name="T6" fmla="*/ 32 w 32"/>
                  <a:gd name="T7" fmla="*/ 70 h 72"/>
                  <a:gd name="T8" fmla="*/ 8 w 32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2" y="70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0096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9" name="Freeform 117">
                <a:extLst>
                  <a:ext uri="{FF2B5EF4-FFF2-40B4-BE49-F238E27FC236}">
                    <a16:creationId xmlns:a16="http://schemas.microsoft.com/office/drawing/2014/main" id="{5C290804-0A41-4923-BFD7-F8C5E6004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5" y="1888"/>
                <a:ext cx="32" cy="72"/>
              </a:xfrm>
              <a:custGeom>
                <a:avLst/>
                <a:gdLst>
                  <a:gd name="T0" fmla="*/ 8 w 32"/>
                  <a:gd name="T1" fmla="*/ 72 h 72"/>
                  <a:gd name="T2" fmla="*/ 0 w 32"/>
                  <a:gd name="T3" fmla="*/ 3 h 72"/>
                  <a:gd name="T4" fmla="*/ 24 w 32"/>
                  <a:gd name="T5" fmla="*/ 0 h 72"/>
                  <a:gd name="T6" fmla="*/ 32 w 32"/>
                  <a:gd name="T7" fmla="*/ 69 h 72"/>
                  <a:gd name="T8" fmla="*/ 8 w 32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2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0089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0" name="Freeform 118">
                <a:extLst>
                  <a:ext uri="{FF2B5EF4-FFF2-40B4-BE49-F238E27FC236}">
                    <a16:creationId xmlns:a16="http://schemas.microsoft.com/office/drawing/2014/main" id="{FA5CDC67-A3F0-4D12-AEF7-61F0B5829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7" y="1892"/>
                <a:ext cx="32" cy="71"/>
              </a:xfrm>
              <a:custGeom>
                <a:avLst/>
                <a:gdLst>
                  <a:gd name="T0" fmla="*/ 8 w 32"/>
                  <a:gd name="T1" fmla="*/ 71 h 71"/>
                  <a:gd name="T2" fmla="*/ 0 w 32"/>
                  <a:gd name="T3" fmla="*/ 2 h 71"/>
                  <a:gd name="T4" fmla="*/ 24 w 32"/>
                  <a:gd name="T5" fmla="*/ 0 h 71"/>
                  <a:gd name="T6" fmla="*/ 32 w 32"/>
                  <a:gd name="T7" fmla="*/ 69 h 71"/>
                  <a:gd name="T8" fmla="*/ 8 w 32"/>
                  <a:gd name="T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1">
                    <a:moveTo>
                      <a:pt x="8" y="71"/>
                    </a:moveTo>
                    <a:lnTo>
                      <a:pt x="0" y="2"/>
                    </a:lnTo>
                    <a:lnTo>
                      <a:pt x="24" y="0"/>
                    </a:lnTo>
                    <a:lnTo>
                      <a:pt x="32" y="69"/>
                    </a:lnTo>
                    <a:lnTo>
                      <a:pt x="8" y="71"/>
                    </a:lnTo>
                    <a:close/>
                  </a:path>
                </a:pathLst>
              </a:custGeom>
              <a:solidFill>
                <a:srgbClr val="0079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1" name="Freeform 119">
                <a:extLst>
                  <a:ext uri="{FF2B5EF4-FFF2-40B4-BE49-F238E27FC236}">
                    <a16:creationId xmlns:a16="http://schemas.microsoft.com/office/drawing/2014/main" id="{1F040C92-6377-4ECA-B87E-2652886FAE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3"/>
                <a:ext cx="17" cy="17"/>
              </a:xfrm>
              <a:custGeom>
                <a:avLst/>
                <a:gdLst>
                  <a:gd name="T0" fmla="*/ 17 w 31"/>
                  <a:gd name="T1" fmla="*/ 30 h 31"/>
                  <a:gd name="T2" fmla="*/ 0 w 31"/>
                  <a:gd name="T3" fmla="*/ 17 h 31"/>
                  <a:gd name="T4" fmla="*/ 14 w 31"/>
                  <a:gd name="T5" fmla="*/ 1 h 31"/>
                  <a:gd name="T6" fmla="*/ 30 w 31"/>
                  <a:gd name="T7" fmla="*/ 14 h 31"/>
                  <a:gd name="T8" fmla="*/ 17 w 31"/>
                  <a:gd name="T9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1">
                    <a:moveTo>
                      <a:pt x="17" y="30"/>
                    </a:moveTo>
                    <a:cubicBezTo>
                      <a:pt x="9" y="31"/>
                      <a:pt x="1" y="25"/>
                      <a:pt x="0" y="17"/>
                    </a:cubicBezTo>
                    <a:cubicBezTo>
                      <a:pt x="0" y="9"/>
                      <a:pt x="5" y="1"/>
                      <a:pt x="14" y="1"/>
                    </a:cubicBezTo>
                    <a:cubicBezTo>
                      <a:pt x="22" y="0"/>
                      <a:pt x="29" y="5"/>
                      <a:pt x="30" y="14"/>
                    </a:cubicBezTo>
                    <a:cubicBezTo>
                      <a:pt x="31" y="22"/>
                      <a:pt x="25" y="29"/>
                      <a:pt x="17" y="30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2" name="Freeform 120">
                <a:extLst>
                  <a:ext uri="{FF2B5EF4-FFF2-40B4-BE49-F238E27FC236}">
                    <a16:creationId xmlns:a16="http://schemas.microsoft.com/office/drawing/2014/main" id="{7868BCA3-300A-48B0-AACE-433A61A35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" y="1825"/>
                <a:ext cx="228" cy="151"/>
              </a:xfrm>
              <a:custGeom>
                <a:avLst/>
                <a:gdLst>
                  <a:gd name="T0" fmla="*/ 15 w 417"/>
                  <a:gd name="T1" fmla="*/ 213 h 276"/>
                  <a:gd name="T2" fmla="*/ 15 w 417"/>
                  <a:gd name="T3" fmla="*/ 213 h 276"/>
                  <a:gd name="T4" fmla="*/ 62 w 417"/>
                  <a:gd name="T5" fmla="*/ 110 h 276"/>
                  <a:gd name="T6" fmla="*/ 361 w 417"/>
                  <a:gd name="T7" fmla="*/ 0 h 276"/>
                  <a:gd name="T8" fmla="*/ 417 w 417"/>
                  <a:gd name="T9" fmla="*/ 150 h 276"/>
                  <a:gd name="T10" fmla="*/ 118 w 417"/>
                  <a:gd name="T11" fmla="*/ 260 h 276"/>
                  <a:gd name="T12" fmla="*/ 15 w 417"/>
                  <a:gd name="T13" fmla="*/ 213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7" h="276">
                    <a:moveTo>
                      <a:pt x="15" y="213"/>
                    </a:moveTo>
                    <a:cubicBezTo>
                      <a:pt x="15" y="213"/>
                      <a:pt x="15" y="213"/>
                      <a:pt x="15" y="213"/>
                    </a:cubicBezTo>
                    <a:cubicBezTo>
                      <a:pt x="0" y="171"/>
                      <a:pt x="21" y="125"/>
                      <a:pt x="62" y="110"/>
                    </a:cubicBezTo>
                    <a:cubicBezTo>
                      <a:pt x="361" y="0"/>
                      <a:pt x="361" y="0"/>
                      <a:pt x="361" y="0"/>
                    </a:cubicBezTo>
                    <a:cubicBezTo>
                      <a:pt x="417" y="150"/>
                      <a:pt x="417" y="150"/>
                      <a:pt x="417" y="150"/>
                    </a:cubicBezTo>
                    <a:cubicBezTo>
                      <a:pt x="118" y="260"/>
                      <a:pt x="118" y="260"/>
                      <a:pt x="118" y="260"/>
                    </a:cubicBezTo>
                    <a:cubicBezTo>
                      <a:pt x="76" y="276"/>
                      <a:pt x="30" y="254"/>
                      <a:pt x="15" y="2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3" name="Freeform 121">
                <a:extLst>
                  <a:ext uri="{FF2B5EF4-FFF2-40B4-BE49-F238E27FC236}">
                    <a16:creationId xmlns:a16="http://schemas.microsoft.com/office/drawing/2014/main" id="{BDD2F821-504A-4880-94B5-0D04B3F1A4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5" y="1837"/>
                <a:ext cx="47" cy="73"/>
              </a:xfrm>
              <a:custGeom>
                <a:avLst/>
                <a:gdLst>
                  <a:gd name="T0" fmla="*/ 24 w 47"/>
                  <a:gd name="T1" fmla="*/ 73 h 73"/>
                  <a:gd name="T2" fmla="*/ 0 w 47"/>
                  <a:gd name="T3" fmla="*/ 8 h 73"/>
                  <a:gd name="T4" fmla="*/ 23 w 47"/>
                  <a:gd name="T5" fmla="*/ 0 h 73"/>
                  <a:gd name="T6" fmla="*/ 47 w 47"/>
                  <a:gd name="T7" fmla="*/ 65 h 73"/>
                  <a:gd name="T8" fmla="*/ 24 w 47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3">
                    <a:moveTo>
                      <a:pt x="24" y="73"/>
                    </a:moveTo>
                    <a:lnTo>
                      <a:pt x="0" y="8"/>
                    </a:lnTo>
                    <a:lnTo>
                      <a:pt x="23" y="0"/>
                    </a:lnTo>
                    <a:lnTo>
                      <a:pt x="47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81D4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4" name="Freeform 122">
                <a:extLst>
                  <a:ext uri="{FF2B5EF4-FFF2-40B4-BE49-F238E27FC236}">
                    <a16:creationId xmlns:a16="http://schemas.microsoft.com/office/drawing/2014/main" id="{74E1474D-72B8-4E21-99E0-C0EA235A4C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1846"/>
                <a:ext cx="46" cy="74"/>
              </a:xfrm>
              <a:custGeom>
                <a:avLst/>
                <a:gdLst>
                  <a:gd name="T0" fmla="*/ 24 w 46"/>
                  <a:gd name="T1" fmla="*/ 74 h 74"/>
                  <a:gd name="T2" fmla="*/ 0 w 46"/>
                  <a:gd name="T3" fmla="*/ 8 h 74"/>
                  <a:gd name="T4" fmla="*/ 22 w 46"/>
                  <a:gd name="T5" fmla="*/ 0 h 74"/>
                  <a:gd name="T6" fmla="*/ 46 w 46"/>
                  <a:gd name="T7" fmla="*/ 65 h 74"/>
                  <a:gd name="T8" fmla="*/ 24 w 46"/>
                  <a:gd name="T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4">
                    <a:moveTo>
                      <a:pt x="24" y="74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4"/>
                    </a:lnTo>
                    <a:close/>
                  </a:path>
                </a:pathLst>
              </a:custGeom>
              <a:solidFill>
                <a:srgbClr val="4FC3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5" name="Freeform 123">
                <a:extLst>
                  <a:ext uri="{FF2B5EF4-FFF2-40B4-BE49-F238E27FC236}">
                    <a16:creationId xmlns:a16="http://schemas.microsoft.com/office/drawing/2014/main" id="{B46B7594-62AF-4D46-B95E-6CEC97D81D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3" y="1856"/>
                <a:ext cx="46" cy="73"/>
              </a:xfrm>
              <a:custGeom>
                <a:avLst/>
                <a:gdLst>
                  <a:gd name="T0" fmla="*/ 24 w 46"/>
                  <a:gd name="T1" fmla="*/ 73 h 73"/>
                  <a:gd name="T2" fmla="*/ 0 w 46"/>
                  <a:gd name="T3" fmla="*/ 8 h 73"/>
                  <a:gd name="T4" fmla="*/ 22 w 46"/>
                  <a:gd name="T5" fmla="*/ 0 h 73"/>
                  <a:gd name="T6" fmla="*/ 46 w 46"/>
                  <a:gd name="T7" fmla="*/ 65 h 73"/>
                  <a:gd name="T8" fmla="*/ 24 w 46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24" y="73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29B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6" name="Freeform 124">
                <a:extLst>
                  <a:ext uri="{FF2B5EF4-FFF2-40B4-BE49-F238E27FC236}">
                    <a16:creationId xmlns:a16="http://schemas.microsoft.com/office/drawing/2014/main" id="{E36BE161-1C98-4A65-9E28-29C9BF2FD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6" y="1866"/>
                <a:ext cx="47" cy="73"/>
              </a:xfrm>
              <a:custGeom>
                <a:avLst/>
                <a:gdLst>
                  <a:gd name="T0" fmla="*/ 24 w 47"/>
                  <a:gd name="T1" fmla="*/ 73 h 73"/>
                  <a:gd name="T2" fmla="*/ 0 w 47"/>
                  <a:gd name="T3" fmla="*/ 8 h 73"/>
                  <a:gd name="T4" fmla="*/ 23 w 47"/>
                  <a:gd name="T5" fmla="*/ 0 h 73"/>
                  <a:gd name="T6" fmla="*/ 47 w 47"/>
                  <a:gd name="T7" fmla="*/ 64 h 73"/>
                  <a:gd name="T8" fmla="*/ 24 w 47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3">
                    <a:moveTo>
                      <a:pt x="24" y="73"/>
                    </a:moveTo>
                    <a:lnTo>
                      <a:pt x="0" y="8"/>
                    </a:lnTo>
                    <a:lnTo>
                      <a:pt x="23" y="0"/>
                    </a:lnTo>
                    <a:lnTo>
                      <a:pt x="47" y="64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03A9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7" name="Freeform 125">
                <a:extLst>
                  <a:ext uri="{FF2B5EF4-FFF2-40B4-BE49-F238E27FC236}">
                    <a16:creationId xmlns:a16="http://schemas.microsoft.com/office/drawing/2014/main" id="{FFD2CA59-B02F-40A9-BF67-2DE923216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0" y="1875"/>
                <a:ext cx="47" cy="74"/>
              </a:xfrm>
              <a:custGeom>
                <a:avLst/>
                <a:gdLst>
                  <a:gd name="T0" fmla="*/ 24 w 47"/>
                  <a:gd name="T1" fmla="*/ 74 h 74"/>
                  <a:gd name="T2" fmla="*/ 0 w 47"/>
                  <a:gd name="T3" fmla="*/ 9 h 74"/>
                  <a:gd name="T4" fmla="*/ 22 w 47"/>
                  <a:gd name="T5" fmla="*/ 0 h 74"/>
                  <a:gd name="T6" fmla="*/ 47 w 47"/>
                  <a:gd name="T7" fmla="*/ 65 h 74"/>
                  <a:gd name="T8" fmla="*/ 24 w 47"/>
                  <a:gd name="T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4">
                    <a:moveTo>
                      <a:pt x="24" y="74"/>
                    </a:moveTo>
                    <a:lnTo>
                      <a:pt x="0" y="9"/>
                    </a:lnTo>
                    <a:lnTo>
                      <a:pt x="22" y="0"/>
                    </a:lnTo>
                    <a:lnTo>
                      <a:pt x="47" y="65"/>
                    </a:lnTo>
                    <a:lnTo>
                      <a:pt x="24" y="74"/>
                    </a:lnTo>
                    <a:close/>
                  </a:path>
                </a:pathLst>
              </a:custGeom>
              <a:solidFill>
                <a:srgbClr val="039B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8" name="Freeform 126">
                <a:extLst>
                  <a:ext uri="{FF2B5EF4-FFF2-40B4-BE49-F238E27FC236}">
                    <a16:creationId xmlns:a16="http://schemas.microsoft.com/office/drawing/2014/main" id="{1D05BC67-9929-44B7-83A6-5BA3D2873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885"/>
                <a:ext cx="46" cy="73"/>
              </a:xfrm>
              <a:custGeom>
                <a:avLst/>
                <a:gdLst>
                  <a:gd name="T0" fmla="*/ 24 w 46"/>
                  <a:gd name="T1" fmla="*/ 73 h 73"/>
                  <a:gd name="T2" fmla="*/ 0 w 46"/>
                  <a:gd name="T3" fmla="*/ 8 h 73"/>
                  <a:gd name="T4" fmla="*/ 22 w 46"/>
                  <a:gd name="T5" fmla="*/ 0 h 73"/>
                  <a:gd name="T6" fmla="*/ 46 w 46"/>
                  <a:gd name="T7" fmla="*/ 65 h 73"/>
                  <a:gd name="T8" fmla="*/ 24 w 46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24" y="73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0288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9" name="Freeform 127">
                <a:extLst>
                  <a:ext uri="{FF2B5EF4-FFF2-40B4-BE49-F238E27FC236}">
                    <a16:creationId xmlns:a16="http://schemas.microsoft.com/office/drawing/2014/main" id="{F6B8E404-D271-410F-9E05-9DAF97083D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9"/>
              </a:xfrm>
              <a:custGeom>
                <a:avLst/>
                <a:gdLst>
                  <a:gd name="T0" fmla="*/ 22 w 33"/>
                  <a:gd name="T1" fmla="*/ 31 h 34"/>
                  <a:gd name="T2" fmla="*/ 2 w 33"/>
                  <a:gd name="T3" fmla="*/ 22 h 34"/>
                  <a:gd name="T4" fmla="*/ 11 w 33"/>
                  <a:gd name="T5" fmla="*/ 3 h 34"/>
                  <a:gd name="T6" fmla="*/ 30 w 33"/>
                  <a:gd name="T7" fmla="*/ 12 h 34"/>
                  <a:gd name="T8" fmla="*/ 22 w 33"/>
                  <a:gd name="T9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4">
                    <a:moveTo>
                      <a:pt x="22" y="31"/>
                    </a:moveTo>
                    <a:cubicBezTo>
                      <a:pt x="14" y="34"/>
                      <a:pt x="5" y="30"/>
                      <a:pt x="2" y="22"/>
                    </a:cubicBezTo>
                    <a:cubicBezTo>
                      <a:pt x="0" y="15"/>
                      <a:pt x="4" y="6"/>
                      <a:pt x="11" y="3"/>
                    </a:cubicBezTo>
                    <a:cubicBezTo>
                      <a:pt x="19" y="0"/>
                      <a:pt x="28" y="4"/>
                      <a:pt x="30" y="12"/>
                    </a:cubicBezTo>
                    <a:cubicBezTo>
                      <a:pt x="33" y="20"/>
                      <a:pt x="29" y="28"/>
                      <a:pt x="22" y="31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0" name="Freeform 128">
                <a:extLst>
                  <a:ext uri="{FF2B5EF4-FFF2-40B4-BE49-F238E27FC236}">
                    <a16:creationId xmlns:a16="http://schemas.microsoft.com/office/drawing/2014/main" id="{9ED94142-CE4D-400D-BF8C-381737330E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14"/>
                <a:ext cx="492" cy="389"/>
              </a:xfrm>
              <a:custGeom>
                <a:avLst/>
                <a:gdLst>
                  <a:gd name="T0" fmla="*/ 729 w 900"/>
                  <a:gd name="T1" fmla="*/ 705 h 711"/>
                  <a:gd name="T2" fmla="*/ 34 w 900"/>
                  <a:gd name="T3" fmla="*/ 519 h 711"/>
                  <a:gd name="T4" fmla="*/ 6 w 900"/>
                  <a:gd name="T5" fmla="*/ 471 h 711"/>
                  <a:gd name="T6" fmla="*/ 123 w 900"/>
                  <a:gd name="T7" fmla="*/ 34 h 711"/>
                  <a:gd name="T8" fmla="*/ 172 w 900"/>
                  <a:gd name="T9" fmla="*/ 6 h 711"/>
                  <a:gd name="T10" fmla="*/ 866 w 900"/>
                  <a:gd name="T11" fmla="*/ 192 h 711"/>
                  <a:gd name="T12" fmla="*/ 894 w 900"/>
                  <a:gd name="T13" fmla="*/ 240 h 711"/>
                  <a:gd name="T14" fmla="*/ 777 w 900"/>
                  <a:gd name="T15" fmla="*/ 677 h 711"/>
                  <a:gd name="T16" fmla="*/ 729 w 900"/>
                  <a:gd name="T17" fmla="*/ 705 h 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0" h="711">
                    <a:moveTo>
                      <a:pt x="729" y="705"/>
                    </a:moveTo>
                    <a:cubicBezTo>
                      <a:pt x="34" y="519"/>
                      <a:pt x="34" y="519"/>
                      <a:pt x="34" y="519"/>
                    </a:cubicBezTo>
                    <a:cubicBezTo>
                      <a:pt x="13" y="514"/>
                      <a:pt x="0" y="492"/>
                      <a:pt x="6" y="471"/>
                    </a:cubicBezTo>
                    <a:cubicBezTo>
                      <a:pt x="123" y="34"/>
                      <a:pt x="123" y="34"/>
                      <a:pt x="123" y="34"/>
                    </a:cubicBezTo>
                    <a:cubicBezTo>
                      <a:pt x="129" y="12"/>
                      <a:pt x="151" y="0"/>
                      <a:pt x="172" y="6"/>
                    </a:cubicBezTo>
                    <a:cubicBezTo>
                      <a:pt x="866" y="192"/>
                      <a:pt x="866" y="192"/>
                      <a:pt x="866" y="192"/>
                    </a:cubicBezTo>
                    <a:cubicBezTo>
                      <a:pt x="888" y="197"/>
                      <a:pt x="900" y="219"/>
                      <a:pt x="894" y="240"/>
                    </a:cubicBezTo>
                    <a:cubicBezTo>
                      <a:pt x="777" y="677"/>
                      <a:pt x="777" y="677"/>
                      <a:pt x="777" y="677"/>
                    </a:cubicBezTo>
                    <a:cubicBezTo>
                      <a:pt x="772" y="698"/>
                      <a:pt x="750" y="711"/>
                      <a:pt x="729" y="705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1" name="Freeform 129">
                <a:extLst>
                  <a:ext uri="{FF2B5EF4-FFF2-40B4-BE49-F238E27FC236}">
                    <a16:creationId xmlns:a16="http://schemas.microsoft.com/office/drawing/2014/main" id="{929AA544-EC89-400D-A01F-6076D4388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2239"/>
                <a:ext cx="253" cy="299"/>
              </a:xfrm>
              <a:custGeom>
                <a:avLst/>
                <a:gdLst>
                  <a:gd name="T0" fmla="*/ 462 w 462"/>
                  <a:gd name="T1" fmla="*/ 87 h 548"/>
                  <a:gd name="T2" fmla="*/ 152 w 462"/>
                  <a:gd name="T3" fmla="*/ 5 h 548"/>
                  <a:gd name="T4" fmla="*/ 111 w 462"/>
                  <a:gd name="T5" fmla="*/ 28 h 548"/>
                  <a:gd name="T6" fmla="*/ 5 w 462"/>
                  <a:gd name="T7" fmla="*/ 424 h 548"/>
                  <a:gd name="T8" fmla="*/ 29 w 462"/>
                  <a:gd name="T9" fmla="*/ 465 h 548"/>
                  <a:gd name="T10" fmla="*/ 338 w 462"/>
                  <a:gd name="T11" fmla="*/ 548 h 548"/>
                  <a:gd name="T12" fmla="*/ 462 w 462"/>
                  <a:gd name="T13" fmla="*/ 87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8">
                    <a:moveTo>
                      <a:pt x="462" y="87"/>
                    </a:moveTo>
                    <a:cubicBezTo>
                      <a:pt x="152" y="5"/>
                      <a:pt x="152" y="5"/>
                      <a:pt x="152" y="5"/>
                    </a:cubicBezTo>
                    <a:cubicBezTo>
                      <a:pt x="134" y="0"/>
                      <a:pt x="116" y="10"/>
                      <a:pt x="111" y="28"/>
                    </a:cubicBezTo>
                    <a:cubicBezTo>
                      <a:pt x="5" y="424"/>
                      <a:pt x="5" y="424"/>
                      <a:pt x="5" y="424"/>
                    </a:cubicBezTo>
                    <a:cubicBezTo>
                      <a:pt x="0" y="442"/>
                      <a:pt x="11" y="461"/>
                      <a:pt x="29" y="465"/>
                    </a:cubicBezTo>
                    <a:cubicBezTo>
                      <a:pt x="338" y="548"/>
                      <a:pt x="338" y="548"/>
                      <a:pt x="338" y="548"/>
                    </a:cubicBezTo>
                    <a:cubicBezTo>
                      <a:pt x="462" y="87"/>
                      <a:pt x="462" y="87"/>
                      <a:pt x="462" y="87"/>
                    </a:cubicBezTo>
                  </a:path>
                </a:pathLst>
              </a:custGeom>
              <a:solidFill>
                <a:srgbClr val="454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2" name="Freeform 130">
                <a:extLst>
                  <a:ext uri="{FF2B5EF4-FFF2-40B4-BE49-F238E27FC236}">
                    <a16:creationId xmlns:a16="http://schemas.microsoft.com/office/drawing/2014/main" id="{D781287F-E95B-4B89-B4CC-A35700D4BA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4" y="2289"/>
                <a:ext cx="253" cy="299"/>
              </a:xfrm>
              <a:custGeom>
                <a:avLst/>
                <a:gdLst>
                  <a:gd name="T0" fmla="*/ 124 w 462"/>
                  <a:gd name="T1" fmla="*/ 0 h 549"/>
                  <a:gd name="T2" fmla="*/ 0 w 462"/>
                  <a:gd name="T3" fmla="*/ 461 h 549"/>
                  <a:gd name="T4" fmla="*/ 310 w 462"/>
                  <a:gd name="T5" fmla="*/ 544 h 549"/>
                  <a:gd name="T6" fmla="*/ 351 w 462"/>
                  <a:gd name="T7" fmla="*/ 520 h 549"/>
                  <a:gd name="T8" fmla="*/ 457 w 462"/>
                  <a:gd name="T9" fmla="*/ 124 h 549"/>
                  <a:gd name="T10" fmla="*/ 434 w 462"/>
                  <a:gd name="T11" fmla="*/ 83 h 549"/>
                  <a:gd name="T12" fmla="*/ 124 w 462"/>
                  <a:gd name="T13" fmla="*/ 0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9">
                    <a:moveTo>
                      <a:pt x="124" y="0"/>
                    </a:moveTo>
                    <a:cubicBezTo>
                      <a:pt x="0" y="461"/>
                      <a:pt x="0" y="461"/>
                      <a:pt x="0" y="461"/>
                    </a:cubicBezTo>
                    <a:cubicBezTo>
                      <a:pt x="310" y="544"/>
                      <a:pt x="310" y="544"/>
                      <a:pt x="310" y="544"/>
                    </a:cubicBezTo>
                    <a:cubicBezTo>
                      <a:pt x="328" y="549"/>
                      <a:pt x="346" y="538"/>
                      <a:pt x="351" y="520"/>
                    </a:cubicBezTo>
                    <a:cubicBezTo>
                      <a:pt x="457" y="124"/>
                      <a:pt x="457" y="124"/>
                      <a:pt x="457" y="124"/>
                    </a:cubicBezTo>
                    <a:cubicBezTo>
                      <a:pt x="462" y="106"/>
                      <a:pt x="451" y="88"/>
                      <a:pt x="434" y="83"/>
                    </a:cubicBezTo>
                    <a:cubicBezTo>
                      <a:pt x="124" y="0"/>
                      <a:pt x="124" y="0"/>
                      <a:pt x="124" y="0"/>
                    </a:cubicBezTo>
                  </a:path>
                </a:pathLst>
              </a:custGeom>
              <a:solidFill>
                <a:srgbClr val="454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3" name="Freeform 131">
                <a:extLst>
                  <a:ext uri="{FF2B5EF4-FFF2-40B4-BE49-F238E27FC236}">
                    <a16:creationId xmlns:a16="http://schemas.microsoft.com/office/drawing/2014/main" id="{3A7A8ECC-86C1-4AB3-A109-4BEB37B6E4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9" y="2234"/>
                <a:ext cx="252" cy="299"/>
              </a:xfrm>
              <a:custGeom>
                <a:avLst/>
                <a:gdLst>
                  <a:gd name="T0" fmla="*/ 461 w 461"/>
                  <a:gd name="T1" fmla="*/ 87 h 548"/>
                  <a:gd name="T2" fmla="*/ 152 w 461"/>
                  <a:gd name="T3" fmla="*/ 4 h 548"/>
                  <a:gd name="T4" fmla="*/ 111 w 461"/>
                  <a:gd name="T5" fmla="*/ 28 h 548"/>
                  <a:gd name="T6" fmla="*/ 5 w 461"/>
                  <a:gd name="T7" fmla="*/ 424 h 548"/>
                  <a:gd name="T8" fmla="*/ 28 w 461"/>
                  <a:gd name="T9" fmla="*/ 465 h 548"/>
                  <a:gd name="T10" fmla="*/ 338 w 461"/>
                  <a:gd name="T11" fmla="*/ 548 h 548"/>
                  <a:gd name="T12" fmla="*/ 461 w 461"/>
                  <a:gd name="T13" fmla="*/ 87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1" h="548">
                    <a:moveTo>
                      <a:pt x="461" y="87"/>
                    </a:moveTo>
                    <a:cubicBezTo>
                      <a:pt x="152" y="4"/>
                      <a:pt x="152" y="4"/>
                      <a:pt x="152" y="4"/>
                    </a:cubicBezTo>
                    <a:cubicBezTo>
                      <a:pt x="134" y="0"/>
                      <a:pt x="115" y="10"/>
                      <a:pt x="111" y="28"/>
                    </a:cubicBezTo>
                    <a:cubicBezTo>
                      <a:pt x="5" y="424"/>
                      <a:pt x="5" y="424"/>
                      <a:pt x="5" y="424"/>
                    </a:cubicBezTo>
                    <a:cubicBezTo>
                      <a:pt x="0" y="442"/>
                      <a:pt x="10" y="460"/>
                      <a:pt x="28" y="465"/>
                    </a:cubicBezTo>
                    <a:cubicBezTo>
                      <a:pt x="338" y="548"/>
                      <a:pt x="338" y="548"/>
                      <a:pt x="338" y="548"/>
                    </a:cubicBezTo>
                    <a:cubicBezTo>
                      <a:pt x="461" y="87"/>
                      <a:pt x="461" y="87"/>
                      <a:pt x="461" y="87"/>
                    </a:cubicBezTo>
                  </a:path>
                </a:pathLst>
              </a:cu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4" name="Freeform 132">
                <a:extLst>
                  <a:ext uri="{FF2B5EF4-FFF2-40B4-BE49-F238E27FC236}">
                    <a16:creationId xmlns:a16="http://schemas.microsoft.com/office/drawing/2014/main" id="{0E2781FA-0F5E-4D2B-9452-AA49BBBDE9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1" y="2284"/>
                <a:ext cx="253" cy="299"/>
              </a:xfrm>
              <a:custGeom>
                <a:avLst/>
                <a:gdLst>
                  <a:gd name="T0" fmla="*/ 123 w 462"/>
                  <a:gd name="T1" fmla="*/ 0 h 548"/>
                  <a:gd name="T2" fmla="*/ 0 w 462"/>
                  <a:gd name="T3" fmla="*/ 461 h 548"/>
                  <a:gd name="T4" fmla="*/ 310 w 462"/>
                  <a:gd name="T5" fmla="*/ 544 h 548"/>
                  <a:gd name="T6" fmla="*/ 351 w 462"/>
                  <a:gd name="T7" fmla="*/ 520 h 548"/>
                  <a:gd name="T8" fmla="*/ 457 w 462"/>
                  <a:gd name="T9" fmla="*/ 124 h 548"/>
                  <a:gd name="T10" fmla="*/ 433 w 462"/>
                  <a:gd name="T11" fmla="*/ 83 h 548"/>
                  <a:gd name="T12" fmla="*/ 123 w 462"/>
                  <a:gd name="T13" fmla="*/ 0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8">
                    <a:moveTo>
                      <a:pt x="123" y="0"/>
                    </a:moveTo>
                    <a:cubicBezTo>
                      <a:pt x="0" y="461"/>
                      <a:pt x="0" y="461"/>
                      <a:pt x="0" y="461"/>
                    </a:cubicBezTo>
                    <a:cubicBezTo>
                      <a:pt x="310" y="544"/>
                      <a:pt x="310" y="544"/>
                      <a:pt x="310" y="544"/>
                    </a:cubicBezTo>
                    <a:cubicBezTo>
                      <a:pt x="328" y="548"/>
                      <a:pt x="346" y="538"/>
                      <a:pt x="351" y="520"/>
                    </a:cubicBezTo>
                    <a:cubicBezTo>
                      <a:pt x="457" y="124"/>
                      <a:pt x="457" y="124"/>
                      <a:pt x="457" y="124"/>
                    </a:cubicBezTo>
                    <a:cubicBezTo>
                      <a:pt x="462" y="106"/>
                      <a:pt x="451" y="88"/>
                      <a:pt x="433" y="83"/>
                    </a:cubicBezTo>
                    <a:cubicBezTo>
                      <a:pt x="123" y="0"/>
                      <a:pt x="123" y="0"/>
                      <a:pt x="123" y="0"/>
                    </a:cubicBezTo>
                  </a:path>
                </a:pathLst>
              </a:cu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5" name="Freeform 133">
                <a:extLst>
                  <a:ext uri="{FF2B5EF4-FFF2-40B4-BE49-F238E27FC236}">
                    <a16:creationId xmlns:a16="http://schemas.microsoft.com/office/drawing/2014/main" id="{F75E5D12-B8DA-4CA5-BD74-245710789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2281"/>
                <a:ext cx="249" cy="252"/>
              </a:xfrm>
              <a:custGeom>
                <a:avLst/>
                <a:gdLst>
                  <a:gd name="T0" fmla="*/ 451 w 455"/>
                  <a:gd name="T1" fmla="*/ 0 h 462"/>
                  <a:gd name="T2" fmla="*/ 329 w 455"/>
                  <a:gd name="T3" fmla="*/ 457 h 462"/>
                  <a:gd name="T4" fmla="*/ 19 w 455"/>
                  <a:gd name="T5" fmla="*/ 374 h 462"/>
                  <a:gd name="T6" fmla="*/ 0 w 455"/>
                  <a:gd name="T7" fmla="*/ 361 h 462"/>
                  <a:gd name="T8" fmla="*/ 22 w 455"/>
                  <a:gd name="T9" fmla="*/ 379 h 462"/>
                  <a:gd name="T10" fmla="*/ 332 w 455"/>
                  <a:gd name="T11" fmla="*/ 462 h 462"/>
                  <a:gd name="T12" fmla="*/ 455 w 455"/>
                  <a:gd name="T13" fmla="*/ 1 h 462"/>
                  <a:gd name="T14" fmla="*/ 451 w 455"/>
                  <a:gd name="T15" fmla="*/ 0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5" h="462">
                    <a:moveTo>
                      <a:pt x="451" y="0"/>
                    </a:moveTo>
                    <a:cubicBezTo>
                      <a:pt x="329" y="457"/>
                      <a:pt x="329" y="457"/>
                      <a:pt x="329" y="457"/>
                    </a:cubicBezTo>
                    <a:cubicBezTo>
                      <a:pt x="19" y="374"/>
                      <a:pt x="19" y="374"/>
                      <a:pt x="19" y="374"/>
                    </a:cubicBezTo>
                    <a:cubicBezTo>
                      <a:pt x="11" y="372"/>
                      <a:pt x="5" y="367"/>
                      <a:pt x="0" y="361"/>
                    </a:cubicBezTo>
                    <a:cubicBezTo>
                      <a:pt x="4" y="369"/>
                      <a:pt x="12" y="376"/>
                      <a:pt x="22" y="379"/>
                    </a:cubicBezTo>
                    <a:cubicBezTo>
                      <a:pt x="332" y="462"/>
                      <a:pt x="332" y="462"/>
                      <a:pt x="332" y="462"/>
                    </a:cubicBezTo>
                    <a:cubicBezTo>
                      <a:pt x="455" y="1"/>
                      <a:pt x="455" y="1"/>
                      <a:pt x="455" y="1"/>
                    </a:cubicBezTo>
                    <a:cubicBezTo>
                      <a:pt x="451" y="0"/>
                      <a:pt x="451" y="0"/>
                      <a:pt x="451" y="0"/>
                    </a:cubicBezTo>
                  </a:path>
                </a:pathLst>
              </a:custGeom>
              <a:solidFill>
                <a:srgbClr val="D6D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6" name="Freeform 134">
                <a:extLst>
                  <a:ext uri="{FF2B5EF4-FFF2-40B4-BE49-F238E27FC236}">
                    <a16:creationId xmlns:a16="http://schemas.microsoft.com/office/drawing/2014/main" id="{6F6C67F7-A486-4D39-9157-733A17DD2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1" y="2336"/>
                <a:ext cx="252" cy="247"/>
              </a:xfrm>
              <a:custGeom>
                <a:avLst/>
                <a:gdLst>
                  <a:gd name="T0" fmla="*/ 452 w 460"/>
                  <a:gd name="T1" fmla="*/ 0 h 452"/>
                  <a:gd name="T2" fmla="*/ 454 w 460"/>
                  <a:gd name="T3" fmla="*/ 22 h 452"/>
                  <a:gd name="T4" fmla="*/ 348 w 460"/>
                  <a:gd name="T5" fmla="*/ 418 h 452"/>
                  <a:gd name="T6" fmla="*/ 307 w 460"/>
                  <a:gd name="T7" fmla="*/ 442 h 452"/>
                  <a:gd name="T8" fmla="*/ 1 w 460"/>
                  <a:gd name="T9" fmla="*/ 360 h 452"/>
                  <a:gd name="T10" fmla="*/ 0 w 460"/>
                  <a:gd name="T11" fmla="*/ 365 h 452"/>
                  <a:gd name="T12" fmla="*/ 310 w 460"/>
                  <a:gd name="T13" fmla="*/ 448 h 452"/>
                  <a:gd name="T14" fmla="*/ 351 w 460"/>
                  <a:gd name="T15" fmla="*/ 424 h 452"/>
                  <a:gd name="T16" fmla="*/ 457 w 460"/>
                  <a:gd name="T17" fmla="*/ 28 h 452"/>
                  <a:gd name="T18" fmla="*/ 452 w 460"/>
                  <a:gd name="T19" fmla="*/ 0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0" h="452">
                    <a:moveTo>
                      <a:pt x="452" y="0"/>
                    </a:moveTo>
                    <a:cubicBezTo>
                      <a:pt x="455" y="7"/>
                      <a:pt x="456" y="15"/>
                      <a:pt x="454" y="22"/>
                    </a:cubicBezTo>
                    <a:cubicBezTo>
                      <a:pt x="348" y="418"/>
                      <a:pt x="348" y="418"/>
                      <a:pt x="348" y="418"/>
                    </a:cubicBezTo>
                    <a:cubicBezTo>
                      <a:pt x="343" y="436"/>
                      <a:pt x="324" y="447"/>
                      <a:pt x="307" y="442"/>
                    </a:cubicBezTo>
                    <a:cubicBezTo>
                      <a:pt x="1" y="360"/>
                      <a:pt x="1" y="360"/>
                      <a:pt x="1" y="360"/>
                    </a:cubicBezTo>
                    <a:cubicBezTo>
                      <a:pt x="0" y="365"/>
                      <a:pt x="0" y="365"/>
                      <a:pt x="0" y="365"/>
                    </a:cubicBezTo>
                    <a:cubicBezTo>
                      <a:pt x="310" y="448"/>
                      <a:pt x="310" y="448"/>
                      <a:pt x="310" y="448"/>
                    </a:cubicBezTo>
                    <a:cubicBezTo>
                      <a:pt x="328" y="452"/>
                      <a:pt x="346" y="442"/>
                      <a:pt x="351" y="424"/>
                    </a:cubicBezTo>
                    <a:cubicBezTo>
                      <a:pt x="457" y="28"/>
                      <a:pt x="457" y="28"/>
                      <a:pt x="457" y="28"/>
                    </a:cubicBezTo>
                    <a:cubicBezTo>
                      <a:pt x="460" y="18"/>
                      <a:pt x="457" y="8"/>
                      <a:pt x="452" y="0"/>
                    </a:cubicBezTo>
                    <a:close/>
                  </a:path>
                </a:pathLst>
              </a:custGeom>
              <a:solidFill>
                <a:srgbClr val="D6D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7" name="Freeform 135">
                <a:extLst>
                  <a:ext uri="{FF2B5EF4-FFF2-40B4-BE49-F238E27FC236}">
                    <a16:creationId xmlns:a16="http://schemas.microsoft.com/office/drawing/2014/main" id="{D0557176-3D17-4324-8754-7AA2CAF2B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8" y="2301"/>
                <a:ext cx="10" cy="9"/>
              </a:xfrm>
              <a:custGeom>
                <a:avLst/>
                <a:gdLst>
                  <a:gd name="T0" fmla="*/ 16 w 17"/>
                  <a:gd name="T1" fmla="*/ 10 h 16"/>
                  <a:gd name="T2" fmla="*/ 6 w 17"/>
                  <a:gd name="T3" fmla="*/ 15 h 16"/>
                  <a:gd name="T4" fmla="*/ 1 w 17"/>
                  <a:gd name="T5" fmla="*/ 6 h 16"/>
                  <a:gd name="T6" fmla="*/ 10 w 17"/>
                  <a:gd name="T7" fmla="*/ 1 h 16"/>
                  <a:gd name="T8" fmla="*/ 16 w 17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6">
                    <a:moveTo>
                      <a:pt x="16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7" y="6"/>
                      <a:pt x="16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8" name="Freeform 136">
                <a:extLst>
                  <a:ext uri="{FF2B5EF4-FFF2-40B4-BE49-F238E27FC236}">
                    <a16:creationId xmlns:a16="http://schemas.microsoft.com/office/drawing/2014/main" id="{452F5131-FBC4-431E-9881-F2D0BAAC8F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8" y="2341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5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9" name="Freeform 137">
                <a:extLst>
                  <a:ext uri="{FF2B5EF4-FFF2-40B4-BE49-F238E27FC236}">
                    <a16:creationId xmlns:a16="http://schemas.microsoft.com/office/drawing/2014/main" id="{9E0AA0F9-CDB4-44C5-92CE-983366CB74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7" y="2380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6 w 17"/>
                  <a:gd name="T3" fmla="*/ 16 h 17"/>
                  <a:gd name="T4" fmla="*/ 1 w 17"/>
                  <a:gd name="T5" fmla="*/ 7 h 17"/>
                  <a:gd name="T6" fmla="*/ 10 w 17"/>
                  <a:gd name="T7" fmla="*/ 2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0" y="17"/>
                      <a:pt x="6" y="16"/>
                    </a:cubicBezTo>
                    <a:cubicBezTo>
                      <a:pt x="2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2"/>
                    </a:cubicBezTo>
                    <a:cubicBezTo>
                      <a:pt x="14" y="3"/>
                      <a:pt x="17" y="7"/>
                      <a:pt x="16" y="11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0" name="Freeform 138">
                <a:extLst>
                  <a:ext uri="{FF2B5EF4-FFF2-40B4-BE49-F238E27FC236}">
                    <a16:creationId xmlns:a16="http://schemas.microsoft.com/office/drawing/2014/main" id="{B069C2DA-3D81-4ECD-9BBA-D3606A29E9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5" y="2499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1" name="Freeform 139">
                <a:extLst>
                  <a:ext uri="{FF2B5EF4-FFF2-40B4-BE49-F238E27FC236}">
                    <a16:creationId xmlns:a16="http://schemas.microsoft.com/office/drawing/2014/main" id="{C16E0FBA-C5A8-4B0F-ACB6-ED184B66D4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" y="2459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1 w 17"/>
                  <a:gd name="T7" fmla="*/ 2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7" y="0"/>
                      <a:pt x="11" y="2"/>
                    </a:cubicBezTo>
                    <a:cubicBezTo>
                      <a:pt x="15" y="3"/>
                      <a:pt x="17" y="7"/>
                      <a:pt x="16" y="11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2" name="Freeform 140">
                <a:extLst>
                  <a:ext uri="{FF2B5EF4-FFF2-40B4-BE49-F238E27FC236}">
                    <a16:creationId xmlns:a16="http://schemas.microsoft.com/office/drawing/2014/main" id="{9D8FFD49-F164-47E9-A903-62A9498860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6" y="2420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3" name="Freeform 141">
                <a:extLst>
                  <a:ext uri="{FF2B5EF4-FFF2-40B4-BE49-F238E27FC236}">
                    <a16:creationId xmlns:a16="http://schemas.microsoft.com/office/drawing/2014/main" id="{7196D28A-6498-4F67-A11F-9F5BF76DCA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8" y="2309"/>
                <a:ext cx="10" cy="9"/>
              </a:xfrm>
              <a:custGeom>
                <a:avLst/>
                <a:gdLst>
                  <a:gd name="T0" fmla="*/ 16 w 17"/>
                  <a:gd name="T1" fmla="*/ 11 h 17"/>
                  <a:gd name="T2" fmla="*/ 6 w 17"/>
                  <a:gd name="T3" fmla="*/ 16 h 17"/>
                  <a:gd name="T4" fmla="*/ 1 w 17"/>
                  <a:gd name="T5" fmla="*/ 7 h 17"/>
                  <a:gd name="T6" fmla="*/ 10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0" y="17"/>
                      <a:pt x="6" y="16"/>
                    </a:cubicBezTo>
                    <a:cubicBezTo>
                      <a:pt x="2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1"/>
                    </a:cubicBezTo>
                    <a:cubicBezTo>
                      <a:pt x="14" y="2"/>
                      <a:pt x="17" y="7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4" name="Freeform 142">
                <a:extLst>
                  <a:ext uri="{FF2B5EF4-FFF2-40B4-BE49-F238E27FC236}">
                    <a16:creationId xmlns:a16="http://schemas.microsoft.com/office/drawing/2014/main" id="{DFEEF809-7DE3-4CF5-9B6A-CA52D021E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" y="2349"/>
                <a:ext cx="9" cy="8"/>
              </a:xfrm>
              <a:custGeom>
                <a:avLst/>
                <a:gdLst>
                  <a:gd name="T0" fmla="*/ 15 w 16"/>
                  <a:gd name="T1" fmla="*/ 10 h 16"/>
                  <a:gd name="T2" fmla="*/ 6 w 16"/>
                  <a:gd name="T3" fmla="*/ 15 h 16"/>
                  <a:gd name="T4" fmla="*/ 1 w 16"/>
                  <a:gd name="T5" fmla="*/ 6 h 16"/>
                  <a:gd name="T6" fmla="*/ 10 w 16"/>
                  <a:gd name="T7" fmla="*/ 1 h 16"/>
                  <a:gd name="T8" fmla="*/ 15 w 16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5" name="Freeform 143">
                <a:extLst>
                  <a:ext uri="{FF2B5EF4-FFF2-40B4-BE49-F238E27FC236}">
                    <a16:creationId xmlns:a16="http://schemas.microsoft.com/office/drawing/2014/main" id="{27271D7D-6C8C-4898-B62F-50227D4D2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" y="2388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0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1"/>
                    </a:cubicBezTo>
                    <a:cubicBezTo>
                      <a:pt x="14" y="2"/>
                      <a:pt x="17" y="7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6" name="Freeform 144">
                <a:extLst>
                  <a:ext uri="{FF2B5EF4-FFF2-40B4-BE49-F238E27FC236}">
                    <a16:creationId xmlns:a16="http://schemas.microsoft.com/office/drawing/2014/main" id="{A01E69B0-9E9D-4800-A071-94D724630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507"/>
                <a:ext cx="10" cy="9"/>
              </a:xfrm>
              <a:custGeom>
                <a:avLst/>
                <a:gdLst>
                  <a:gd name="T0" fmla="*/ 15 w 17"/>
                  <a:gd name="T1" fmla="*/ 10 h 16"/>
                  <a:gd name="T2" fmla="*/ 6 w 17"/>
                  <a:gd name="T3" fmla="*/ 15 h 16"/>
                  <a:gd name="T4" fmla="*/ 1 w 17"/>
                  <a:gd name="T5" fmla="*/ 6 h 16"/>
                  <a:gd name="T6" fmla="*/ 10 w 17"/>
                  <a:gd name="T7" fmla="*/ 1 h 16"/>
                  <a:gd name="T8" fmla="*/ 15 w 17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7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7" name="Freeform 145">
                <a:extLst>
                  <a:ext uri="{FF2B5EF4-FFF2-40B4-BE49-F238E27FC236}">
                    <a16:creationId xmlns:a16="http://schemas.microsoft.com/office/drawing/2014/main" id="{97C5AAC5-A058-45DE-BE4F-788BFB4F9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" y="2467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1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7" y="0"/>
                      <a:pt x="11" y="1"/>
                    </a:cubicBezTo>
                    <a:cubicBezTo>
                      <a:pt x="15" y="2"/>
                      <a:pt x="17" y="6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8" name="Freeform 146">
                <a:extLst>
                  <a:ext uri="{FF2B5EF4-FFF2-40B4-BE49-F238E27FC236}">
                    <a16:creationId xmlns:a16="http://schemas.microsoft.com/office/drawing/2014/main" id="{3FCABD4D-5EC9-47E5-B42A-32719E9DF6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28"/>
                <a:ext cx="8" cy="9"/>
              </a:xfrm>
              <a:custGeom>
                <a:avLst/>
                <a:gdLst>
                  <a:gd name="T0" fmla="*/ 15 w 16"/>
                  <a:gd name="T1" fmla="*/ 10 h 16"/>
                  <a:gd name="T2" fmla="*/ 6 w 16"/>
                  <a:gd name="T3" fmla="*/ 15 h 16"/>
                  <a:gd name="T4" fmla="*/ 1 w 16"/>
                  <a:gd name="T5" fmla="*/ 6 h 16"/>
                  <a:gd name="T6" fmla="*/ 10 w 16"/>
                  <a:gd name="T7" fmla="*/ 1 h 16"/>
                  <a:gd name="T8" fmla="*/ 15 w 16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9" name="Freeform 147">
                <a:extLst>
                  <a:ext uri="{FF2B5EF4-FFF2-40B4-BE49-F238E27FC236}">
                    <a16:creationId xmlns:a16="http://schemas.microsoft.com/office/drawing/2014/main" id="{CC954639-0540-4E3E-B78E-901088D35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304"/>
                <a:ext cx="30" cy="11"/>
              </a:xfrm>
              <a:custGeom>
                <a:avLst/>
                <a:gdLst>
                  <a:gd name="T0" fmla="*/ 55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5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5" y="18"/>
                    </a:moveTo>
                    <a:cubicBezTo>
                      <a:pt x="55" y="19"/>
                      <a:pt x="54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2"/>
                      <a:pt x="1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5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0" name="Freeform 148">
                <a:extLst>
                  <a:ext uri="{FF2B5EF4-FFF2-40B4-BE49-F238E27FC236}">
                    <a16:creationId xmlns:a16="http://schemas.microsoft.com/office/drawing/2014/main" id="{C26C0854-DBE7-47BD-BECE-0B8C3B447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304"/>
                <a:ext cx="30" cy="9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4 w 55"/>
                  <a:gd name="T5" fmla="*/ 15 h 16"/>
                  <a:gd name="T6" fmla="*/ 55 w 55"/>
                  <a:gd name="T7" fmla="*/ 16 h 16"/>
                  <a:gd name="T8" fmla="*/ 53 w 55"/>
                  <a:gd name="T9" fmla="*/ 13 h 16"/>
                  <a:gd name="T10" fmla="*/ 5 w 55"/>
                  <a:gd name="T11" fmla="*/ 0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4" y="15"/>
                      <a:pt x="55" y="15"/>
                      <a:pt x="55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4"/>
                      <a:pt x="0" y="6"/>
                      <a:pt x="1" y="7"/>
                    </a:cubicBezTo>
                    <a:cubicBezTo>
                      <a:pt x="1" y="6"/>
                      <a:pt x="1" y="5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1" name="Freeform 149">
                <a:extLst>
                  <a:ext uri="{FF2B5EF4-FFF2-40B4-BE49-F238E27FC236}">
                    <a16:creationId xmlns:a16="http://schemas.microsoft.com/office/drawing/2014/main" id="{2BC59B2B-7C53-4333-94D6-E061631EBE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8" y="2308"/>
                <a:ext cx="4" cy="5"/>
              </a:xfrm>
              <a:custGeom>
                <a:avLst/>
                <a:gdLst>
                  <a:gd name="T0" fmla="*/ 0 w 4"/>
                  <a:gd name="T1" fmla="*/ 4 h 5"/>
                  <a:gd name="T2" fmla="*/ 0 w 4"/>
                  <a:gd name="T3" fmla="*/ 4 h 5"/>
                  <a:gd name="T4" fmla="*/ 3 w 4"/>
                  <a:gd name="T5" fmla="*/ 5 h 5"/>
                  <a:gd name="T6" fmla="*/ 3 w 4"/>
                  <a:gd name="T7" fmla="*/ 5 h 5"/>
                  <a:gd name="T8" fmla="*/ 0 w 4"/>
                  <a:gd name="T9" fmla="*/ 4 h 5"/>
                  <a:gd name="T10" fmla="*/ 1 w 4"/>
                  <a:gd name="T11" fmla="*/ 0 h 5"/>
                  <a:gd name="T12" fmla="*/ 1 w 4"/>
                  <a:gd name="T13" fmla="*/ 0 h 5"/>
                  <a:gd name="T14" fmla="*/ 4 w 4"/>
                  <a:gd name="T15" fmla="*/ 0 h 5"/>
                  <a:gd name="T16" fmla="*/ 4 w 4"/>
                  <a:gd name="T17" fmla="*/ 0 h 5"/>
                  <a:gd name="T18" fmla="*/ 1 w 4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5">
                    <a:moveTo>
                      <a:pt x="0" y="4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4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2" name="Freeform 150">
                <a:extLst>
                  <a:ext uri="{FF2B5EF4-FFF2-40B4-BE49-F238E27FC236}">
                    <a16:creationId xmlns:a16="http://schemas.microsoft.com/office/drawing/2014/main" id="{D98D57EF-CC79-4C01-8AFC-BEFECF1552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8" y="2308"/>
                <a:ext cx="4" cy="5"/>
              </a:xfrm>
              <a:custGeom>
                <a:avLst/>
                <a:gdLst>
                  <a:gd name="T0" fmla="*/ 0 w 4"/>
                  <a:gd name="T1" fmla="*/ 4 h 5"/>
                  <a:gd name="T2" fmla="*/ 0 w 4"/>
                  <a:gd name="T3" fmla="*/ 4 h 5"/>
                  <a:gd name="T4" fmla="*/ 3 w 4"/>
                  <a:gd name="T5" fmla="*/ 5 h 5"/>
                  <a:gd name="T6" fmla="*/ 3 w 4"/>
                  <a:gd name="T7" fmla="*/ 5 h 5"/>
                  <a:gd name="T8" fmla="*/ 0 w 4"/>
                  <a:gd name="T9" fmla="*/ 4 h 5"/>
                  <a:gd name="T10" fmla="*/ 1 w 4"/>
                  <a:gd name="T11" fmla="*/ 0 h 5"/>
                  <a:gd name="T12" fmla="*/ 1 w 4"/>
                  <a:gd name="T13" fmla="*/ 0 h 5"/>
                  <a:gd name="T14" fmla="*/ 4 w 4"/>
                  <a:gd name="T15" fmla="*/ 0 h 5"/>
                  <a:gd name="T16" fmla="*/ 4 w 4"/>
                  <a:gd name="T17" fmla="*/ 0 h 5"/>
                  <a:gd name="T18" fmla="*/ 1 w 4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5">
                    <a:moveTo>
                      <a:pt x="0" y="4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4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3" name="Freeform 151">
                <a:extLst>
                  <a:ext uri="{FF2B5EF4-FFF2-40B4-BE49-F238E27FC236}">
                    <a16:creationId xmlns:a16="http://schemas.microsoft.com/office/drawing/2014/main" id="{98D45B23-5FC9-4F77-B8F1-64A0C4AFC4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7" y="2307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1 w 2"/>
                  <a:gd name="T5" fmla="*/ 5 h 5"/>
                  <a:gd name="T6" fmla="*/ 1 w 2"/>
                  <a:gd name="T7" fmla="*/ 5 h 5"/>
                  <a:gd name="T8" fmla="*/ 0 w 2"/>
                  <a:gd name="T9" fmla="*/ 5 h 5"/>
                  <a:gd name="T10" fmla="*/ 2 w 2"/>
                  <a:gd name="T11" fmla="*/ 0 h 5"/>
                  <a:gd name="T12" fmla="*/ 2 w 2"/>
                  <a:gd name="T13" fmla="*/ 0 h 5"/>
                  <a:gd name="T14" fmla="*/ 2 w 2"/>
                  <a:gd name="T15" fmla="*/ 1 h 5"/>
                  <a:gd name="T16" fmla="*/ 2 w 2"/>
                  <a:gd name="T17" fmla="*/ 1 h 5"/>
                  <a:gd name="T18" fmla="*/ 2 w 2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5"/>
                    </a:lnTo>
                    <a:close/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4" name="Freeform 152">
                <a:extLst>
                  <a:ext uri="{FF2B5EF4-FFF2-40B4-BE49-F238E27FC236}">
                    <a16:creationId xmlns:a16="http://schemas.microsoft.com/office/drawing/2014/main" id="{0450F220-CED6-442A-A883-5442B54462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7" y="2307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1 w 2"/>
                  <a:gd name="T5" fmla="*/ 5 h 5"/>
                  <a:gd name="T6" fmla="*/ 1 w 2"/>
                  <a:gd name="T7" fmla="*/ 5 h 5"/>
                  <a:gd name="T8" fmla="*/ 0 w 2"/>
                  <a:gd name="T9" fmla="*/ 5 h 5"/>
                  <a:gd name="T10" fmla="*/ 2 w 2"/>
                  <a:gd name="T11" fmla="*/ 0 h 5"/>
                  <a:gd name="T12" fmla="*/ 2 w 2"/>
                  <a:gd name="T13" fmla="*/ 0 h 5"/>
                  <a:gd name="T14" fmla="*/ 2 w 2"/>
                  <a:gd name="T15" fmla="*/ 1 h 5"/>
                  <a:gd name="T16" fmla="*/ 2 w 2"/>
                  <a:gd name="T17" fmla="*/ 1 h 5"/>
                  <a:gd name="T18" fmla="*/ 2 w 2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5"/>
                    </a:lnTo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5" name="Freeform 153">
                <a:extLst>
                  <a:ext uri="{FF2B5EF4-FFF2-40B4-BE49-F238E27FC236}">
                    <a16:creationId xmlns:a16="http://schemas.microsoft.com/office/drawing/2014/main" id="{DE3EECDF-EAA2-4843-A36C-3CFE2712A6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1" y="2308"/>
                <a:ext cx="9" cy="7"/>
              </a:xfrm>
              <a:custGeom>
                <a:avLst/>
                <a:gdLst>
                  <a:gd name="T0" fmla="*/ 0 w 9"/>
                  <a:gd name="T1" fmla="*/ 5 h 7"/>
                  <a:gd name="T2" fmla="*/ 0 w 9"/>
                  <a:gd name="T3" fmla="*/ 5 h 7"/>
                  <a:gd name="T4" fmla="*/ 8 w 9"/>
                  <a:gd name="T5" fmla="*/ 7 h 7"/>
                  <a:gd name="T6" fmla="*/ 8 w 9"/>
                  <a:gd name="T7" fmla="*/ 7 h 7"/>
                  <a:gd name="T8" fmla="*/ 0 w 9"/>
                  <a:gd name="T9" fmla="*/ 5 h 7"/>
                  <a:gd name="T10" fmla="*/ 1 w 9"/>
                  <a:gd name="T11" fmla="*/ 0 h 7"/>
                  <a:gd name="T12" fmla="*/ 1 w 9"/>
                  <a:gd name="T13" fmla="*/ 0 h 7"/>
                  <a:gd name="T14" fmla="*/ 9 w 9"/>
                  <a:gd name="T15" fmla="*/ 2 h 7"/>
                  <a:gd name="T16" fmla="*/ 9 w 9"/>
                  <a:gd name="T17" fmla="*/ 2 h 7"/>
                  <a:gd name="T18" fmla="*/ 1 w 9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7">
                    <a:moveTo>
                      <a:pt x="0" y="5"/>
                    </a:moveTo>
                    <a:lnTo>
                      <a:pt x="0" y="5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0" y="5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6" name="Freeform 154">
                <a:extLst>
                  <a:ext uri="{FF2B5EF4-FFF2-40B4-BE49-F238E27FC236}">
                    <a16:creationId xmlns:a16="http://schemas.microsoft.com/office/drawing/2014/main" id="{9C8545D3-C945-41A6-AD9D-1F2E09C0BE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1" y="2308"/>
                <a:ext cx="9" cy="7"/>
              </a:xfrm>
              <a:custGeom>
                <a:avLst/>
                <a:gdLst>
                  <a:gd name="T0" fmla="*/ 0 w 9"/>
                  <a:gd name="T1" fmla="*/ 5 h 7"/>
                  <a:gd name="T2" fmla="*/ 0 w 9"/>
                  <a:gd name="T3" fmla="*/ 5 h 7"/>
                  <a:gd name="T4" fmla="*/ 8 w 9"/>
                  <a:gd name="T5" fmla="*/ 7 h 7"/>
                  <a:gd name="T6" fmla="*/ 8 w 9"/>
                  <a:gd name="T7" fmla="*/ 7 h 7"/>
                  <a:gd name="T8" fmla="*/ 0 w 9"/>
                  <a:gd name="T9" fmla="*/ 5 h 7"/>
                  <a:gd name="T10" fmla="*/ 1 w 9"/>
                  <a:gd name="T11" fmla="*/ 0 h 7"/>
                  <a:gd name="T12" fmla="*/ 1 w 9"/>
                  <a:gd name="T13" fmla="*/ 0 h 7"/>
                  <a:gd name="T14" fmla="*/ 9 w 9"/>
                  <a:gd name="T15" fmla="*/ 2 h 7"/>
                  <a:gd name="T16" fmla="*/ 9 w 9"/>
                  <a:gd name="T17" fmla="*/ 2 h 7"/>
                  <a:gd name="T18" fmla="*/ 1 w 9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7">
                    <a:moveTo>
                      <a:pt x="0" y="5"/>
                    </a:moveTo>
                    <a:lnTo>
                      <a:pt x="0" y="5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0" y="5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7" name="Freeform 155">
                <a:extLst>
                  <a:ext uri="{FF2B5EF4-FFF2-40B4-BE49-F238E27FC236}">
                    <a16:creationId xmlns:a16="http://schemas.microsoft.com/office/drawing/2014/main" id="{6425F98C-AD42-4627-81DE-7706010C0D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9" y="2310"/>
                <a:ext cx="4" cy="5"/>
              </a:xfrm>
              <a:custGeom>
                <a:avLst/>
                <a:gdLst>
                  <a:gd name="T0" fmla="*/ 0 w 7"/>
                  <a:gd name="T1" fmla="*/ 8 h 8"/>
                  <a:gd name="T2" fmla="*/ 0 w 7"/>
                  <a:gd name="T3" fmla="*/ 8 h 8"/>
                  <a:gd name="T4" fmla="*/ 3 w 7"/>
                  <a:gd name="T5" fmla="*/ 8 h 8"/>
                  <a:gd name="T6" fmla="*/ 0 w 7"/>
                  <a:gd name="T7" fmla="*/ 8 h 8"/>
                  <a:gd name="T8" fmla="*/ 2 w 7"/>
                  <a:gd name="T9" fmla="*/ 0 h 8"/>
                  <a:gd name="T10" fmla="*/ 2 w 7"/>
                  <a:gd name="T11" fmla="*/ 0 h 8"/>
                  <a:gd name="T12" fmla="*/ 5 w 7"/>
                  <a:gd name="T13" fmla="*/ 1 h 8"/>
                  <a:gd name="T14" fmla="*/ 7 w 7"/>
                  <a:gd name="T15" fmla="*/ 5 h 8"/>
                  <a:gd name="T16" fmla="*/ 5 w 7"/>
                  <a:gd name="T17" fmla="*/ 1 h 8"/>
                  <a:gd name="T18" fmla="*/ 2 w 7"/>
                  <a:gd name="T1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8">
                    <a:moveTo>
                      <a:pt x="0" y="8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0" y="8"/>
                      <a:pt x="0" y="8"/>
                      <a:pt x="0" y="8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3"/>
                      <a:pt x="7" y="5"/>
                    </a:cubicBezTo>
                    <a:cubicBezTo>
                      <a:pt x="7" y="3"/>
                      <a:pt x="6" y="1"/>
                      <a:pt x="5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8" name="Freeform 156">
                <a:extLst>
                  <a:ext uri="{FF2B5EF4-FFF2-40B4-BE49-F238E27FC236}">
                    <a16:creationId xmlns:a16="http://schemas.microsoft.com/office/drawing/2014/main" id="{F479153C-B8B0-456C-A4A1-AC7710D500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7" y="2307"/>
                <a:ext cx="16" cy="8"/>
              </a:xfrm>
              <a:custGeom>
                <a:avLst/>
                <a:gdLst>
                  <a:gd name="T0" fmla="*/ 2 w 28"/>
                  <a:gd name="T1" fmla="*/ 0 h 14"/>
                  <a:gd name="T2" fmla="*/ 2 w 28"/>
                  <a:gd name="T3" fmla="*/ 0 h 14"/>
                  <a:gd name="T4" fmla="*/ 26 w 28"/>
                  <a:gd name="T5" fmla="*/ 7 h 14"/>
                  <a:gd name="T6" fmla="*/ 28 w 28"/>
                  <a:gd name="T7" fmla="*/ 10 h 14"/>
                  <a:gd name="T8" fmla="*/ 27 w 28"/>
                  <a:gd name="T9" fmla="*/ 9 h 14"/>
                  <a:gd name="T10" fmla="*/ 1 w 28"/>
                  <a:gd name="T11" fmla="*/ 2 h 14"/>
                  <a:gd name="T12" fmla="*/ 0 w 28"/>
                  <a:gd name="T13" fmla="*/ 8 h 14"/>
                  <a:gd name="T14" fmla="*/ 1 w 28"/>
                  <a:gd name="T15" fmla="*/ 8 h 14"/>
                  <a:gd name="T16" fmla="*/ 6 w 28"/>
                  <a:gd name="T17" fmla="*/ 10 h 14"/>
                  <a:gd name="T18" fmla="*/ 21 w 28"/>
                  <a:gd name="T19" fmla="*/ 14 h 14"/>
                  <a:gd name="T20" fmla="*/ 24 w 28"/>
                  <a:gd name="T21" fmla="*/ 14 h 14"/>
                  <a:gd name="T22" fmla="*/ 25 w 28"/>
                  <a:gd name="T23" fmla="*/ 14 h 14"/>
                  <a:gd name="T24" fmla="*/ 27 w 28"/>
                  <a:gd name="T25" fmla="*/ 14 h 14"/>
                  <a:gd name="T26" fmla="*/ 28 w 28"/>
                  <a:gd name="T27" fmla="*/ 12 h 14"/>
                  <a:gd name="T28" fmla="*/ 28 w 28"/>
                  <a:gd name="T29" fmla="*/ 11 h 14"/>
                  <a:gd name="T30" fmla="*/ 26 w 28"/>
                  <a:gd name="T31" fmla="*/ 7 h 14"/>
                  <a:gd name="T32" fmla="*/ 23 w 28"/>
                  <a:gd name="T33" fmla="*/ 6 h 14"/>
                  <a:gd name="T34" fmla="*/ 8 w 28"/>
                  <a:gd name="T35" fmla="*/ 2 h 14"/>
                  <a:gd name="T36" fmla="*/ 3 w 28"/>
                  <a:gd name="T37" fmla="*/ 1 h 14"/>
                  <a:gd name="T38" fmla="*/ 2 w 28"/>
                  <a:gd name="T3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8" y="10"/>
                    </a:cubicBezTo>
                    <a:cubicBezTo>
                      <a:pt x="28" y="9"/>
                      <a:pt x="27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4" y="14"/>
                      <a:pt x="25" y="14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7" y="13"/>
                      <a:pt x="28" y="13"/>
                      <a:pt x="28" y="12"/>
                    </a:cubicBezTo>
                    <a:cubicBezTo>
                      <a:pt x="28" y="11"/>
                      <a:pt x="28" y="11"/>
                      <a:pt x="28" y="11"/>
                    </a:cubicBezTo>
                    <a:cubicBezTo>
                      <a:pt x="28" y="9"/>
                      <a:pt x="27" y="7"/>
                      <a:pt x="26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9" name="Freeform 157">
                <a:extLst>
                  <a:ext uri="{FF2B5EF4-FFF2-40B4-BE49-F238E27FC236}">
                    <a16:creationId xmlns:a16="http://schemas.microsoft.com/office/drawing/2014/main" id="{7E76D4A4-D9D7-44B7-92E8-78E614674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" y="2307"/>
                <a:ext cx="15" cy="6"/>
              </a:xfrm>
              <a:custGeom>
                <a:avLst/>
                <a:gdLst>
                  <a:gd name="T0" fmla="*/ 1 w 27"/>
                  <a:gd name="T1" fmla="*/ 0 h 10"/>
                  <a:gd name="T2" fmla="*/ 0 w 27"/>
                  <a:gd name="T3" fmla="*/ 2 h 10"/>
                  <a:gd name="T4" fmla="*/ 26 w 27"/>
                  <a:gd name="T5" fmla="*/ 9 h 10"/>
                  <a:gd name="T6" fmla="*/ 27 w 27"/>
                  <a:gd name="T7" fmla="*/ 10 h 10"/>
                  <a:gd name="T8" fmla="*/ 25 w 27"/>
                  <a:gd name="T9" fmla="*/ 7 h 10"/>
                  <a:gd name="T10" fmla="*/ 1 w 27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6" y="9"/>
                      <a:pt x="27" y="9"/>
                      <a:pt x="27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0" name="Freeform 158">
                <a:extLst>
                  <a:ext uri="{FF2B5EF4-FFF2-40B4-BE49-F238E27FC236}">
                    <a16:creationId xmlns:a16="http://schemas.microsoft.com/office/drawing/2014/main" id="{8742E592-4BCA-4A17-9791-2169AF1370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343"/>
                <a:ext cx="30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1 h 21"/>
                  <a:gd name="T6" fmla="*/ 4 w 56"/>
                  <a:gd name="T7" fmla="*/ 8 h 21"/>
                  <a:gd name="T8" fmla="*/ 1 w 56"/>
                  <a:gd name="T9" fmla="*/ 3 h 21"/>
                  <a:gd name="T10" fmla="*/ 3 w 56"/>
                  <a:gd name="T11" fmla="*/ 1 h 21"/>
                  <a:gd name="T12" fmla="*/ 6 w 56"/>
                  <a:gd name="T13" fmla="*/ 1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6" y="19"/>
                      <a:pt x="55" y="20"/>
                      <a:pt x="54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3" y="1"/>
                      <a:pt x="5" y="0"/>
                      <a:pt x="6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1" name="Freeform 159">
                <a:extLst>
                  <a:ext uri="{FF2B5EF4-FFF2-40B4-BE49-F238E27FC236}">
                    <a16:creationId xmlns:a16="http://schemas.microsoft.com/office/drawing/2014/main" id="{40DCCC97-2150-4B81-BC4C-9C1D92B79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343"/>
                <a:ext cx="30" cy="9"/>
              </a:xfrm>
              <a:custGeom>
                <a:avLst/>
                <a:gdLst>
                  <a:gd name="T0" fmla="*/ 2 w 56"/>
                  <a:gd name="T1" fmla="*/ 5 h 16"/>
                  <a:gd name="T2" fmla="*/ 7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6 w 56"/>
                  <a:gd name="T11" fmla="*/ 1 h 16"/>
                  <a:gd name="T12" fmla="*/ 1 w 56"/>
                  <a:gd name="T13" fmla="*/ 3 h 16"/>
                  <a:gd name="T14" fmla="*/ 2 w 56"/>
                  <a:gd name="T15" fmla="*/ 7 h 16"/>
                  <a:gd name="T16" fmla="*/ 2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2" y="5"/>
                    </a:moveTo>
                    <a:cubicBezTo>
                      <a:pt x="2" y="3"/>
                      <a:pt x="5" y="2"/>
                      <a:pt x="7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6"/>
                      <a:pt x="56" y="16"/>
                    </a:cubicBezTo>
                    <a:cubicBezTo>
                      <a:pt x="56" y="15"/>
                      <a:pt x="55" y="14"/>
                      <a:pt x="53" y="13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3" y="0"/>
                      <a:pt x="1" y="1"/>
                      <a:pt x="1" y="3"/>
                    </a:cubicBezTo>
                    <a:cubicBezTo>
                      <a:pt x="0" y="5"/>
                      <a:pt x="1" y="6"/>
                      <a:pt x="2" y="7"/>
                    </a:cubicBezTo>
                    <a:cubicBezTo>
                      <a:pt x="2" y="6"/>
                      <a:pt x="2" y="6"/>
                      <a:pt x="2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2" name="Freeform 160">
                <a:extLst>
                  <a:ext uri="{FF2B5EF4-FFF2-40B4-BE49-F238E27FC236}">
                    <a16:creationId xmlns:a16="http://schemas.microsoft.com/office/drawing/2014/main" id="{BC381D31-BB2C-486B-BC91-11F164C30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6" y="2347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6 h 14"/>
                  <a:gd name="T6" fmla="*/ 29 w 29"/>
                  <a:gd name="T7" fmla="*/ 9 h 14"/>
                  <a:gd name="T8" fmla="*/ 27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3 h 14"/>
                  <a:gd name="T20" fmla="*/ 29 w 29"/>
                  <a:gd name="T21" fmla="*/ 11 h 14"/>
                  <a:gd name="T22" fmla="*/ 29 w 29"/>
                  <a:gd name="T23" fmla="*/ 10 h 14"/>
                  <a:gd name="T24" fmla="*/ 26 w 29"/>
                  <a:gd name="T25" fmla="*/ 6 h 14"/>
                  <a:gd name="T26" fmla="*/ 26 w 29"/>
                  <a:gd name="T27" fmla="*/ 6 h 14"/>
                  <a:gd name="T28" fmla="*/ 2 w 29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8" y="9"/>
                      <a:pt x="28" y="8"/>
                      <a:pt x="27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6" y="6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3" name="Freeform 161">
                <a:extLst>
                  <a:ext uri="{FF2B5EF4-FFF2-40B4-BE49-F238E27FC236}">
                    <a16:creationId xmlns:a16="http://schemas.microsoft.com/office/drawing/2014/main" id="{B9EEC40D-6233-447A-AAF5-352FAD9B6D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8" y="2347"/>
                <a:ext cx="14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5 w 27"/>
                  <a:gd name="T5" fmla="*/ 8 h 9"/>
                  <a:gd name="T6" fmla="*/ 27 w 27"/>
                  <a:gd name="T7" fmla="*/ 9 h 9"/>
                  <a:gd name="T8" fmla="*/ 24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6" y="8"/>
                      <a:pt x="26" y="9"/>
                      <a:pt x="27" y="9"/>
                    </a:cubicBezTo>
                    <a:cubicBezTo>
                      <a:pt x="27" y="8"/>
                      <a:pt x="26" y="7"/>
                      <a:pt x="24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4" name="Freeform 162">
                <a:extLst>
                  <a:ext uri="{FF2B5EF4-FFF2-40B4-BE49-F238E27FC236}">
                    <a16:creationId xmlns:a16="http://schemas.microsoft.com/office/drawing/2014/main" id="{6830D058-1AB9-4E67-BA08-CCC59DB7B3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1" y="2383"/>
                <a:ext cx="31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5" y="19"/>
                      <a:pt x="55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2"/>
                      <a:pt x="1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5" name="Freeform 163">
                <a:extLst>
                  <a:ext uri="{FF2B5EF4-FFF2-40B4-BE49-F238E27FC236}">
                    <a16:creationId xmlns:a16="http://schemas.microsoft.com/office/drawing/2014/main" id="{5CE19905-0BA7-421D-ADCD-AF08BA4BE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1" y="2383"/>
                <a:ext cx="31" cy="9"/>
              </a:xfrm>
              <a:custGeom>
                <a:avLst/>
                <a:gdLst>
                  <a:gd name="T0" fmla="*/ 1 w 56"/>
                  <a:gd name="T1" fmla="*/ 5 h 16"/>
                  <a:gd name="T2" fmla="*/ 6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5 w 56"/>
                  <a:gd name="T11" fmla="*/ 0 h 16"/>
                  <a:gd name="T12" fmla="*/ 0 w 56"/>
                  <a:gd name="T13" fmla="*/ 3 h 16"/>
                  <a:gd name="T14" fmla="*/ 1 w 56"/>
                  <a:gd name="T15" fmla="*/ 7 h 16"/>
                  <a:gd name="T16" fmla="*/ 1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1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5"/>
                      <a:pt x="56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4"/>
                      <a:pt x="0" y="6"/>
                      <a:pt x="1" y="7"/>
                    </a:cubicBezTo>
                    <a:cubicBezTo>
                      <a:pt x="1" y="6"/>
                      <a:pt x="1" y="5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6" name="Freeform 164">
                <a:extLst>
                  <a:ext uri="{FF2B5EF4-FFF2-40B4-BE49-F238E27FC236}">
                    <a16:creationId xmlns:a16="http://schemas.microsoft.com/office/drawing/2014/main" id="{C2BAE547-43FC-4487-89FF-B405A59833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2386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7 h 14"/>
                  <a:gd name="T6" fmla="*/ 29 w 29"/>
                  <a:gd name="T7" fmla="*/ 10 h 14"/>
                  <a:gd name="T8" fmla="*/ 27 w 29"/>
                  <a:gd name="T9" fmla="*/ 9 h 14"/>
                  <a:gd name="T10" fmla="*/ 1 w 29"/>
                  <a:gd name="T11" fmla="*/ 2 h 14"/>
                  <a:gd name="T12" fmla="*/ 0 w 29"/>
                  <a:gd name="T13" fmla="*/ 8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4 h 14"/>
                  <a:gd name="T20" fmla="*/ 29 w 29"/>
                  <a:gd name="T21" fmla="*/ 12 h 14"/>
                  <a:gd name="T22" fmla="*/ 29 w 29"/>
                  <a:gd name="T23" fmla="*/ 11 h 14"/>
                  <a:gd name="T24" fmla="*/ 26 w 29"/>
                  <a:gd name="T25" fmla="*/ 7 h 14"/>
                  <a:gd name="T26" fmla="*/ 23 w 29"/>
                  <a:gd name="T27" fmla="*/ 6 h 14"/>
                  <a:gd name="T28" fmla="*/ 8 w 29"/>
                  <a:gd name="T29" fmla="*/ 2 h 14"/>
                  <a:gd name="T30" fmla="*/ 3 w 29"/>
                  <a:gd name="T31" fmla="*/ 1 h 14"/>
                  <a:gd name="T32" fmla="*/ 2 w 29"/>
                  <a:gd name="T3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9" y="10"/>
                    </a:cubicBezTo>
                    <a:cubicBezTo>
                      <a:pt x="28" y="9"/>
                      <a:pt x="28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4" y="14"/>
                      <a:pt x="25" y="14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8" y="13"/>
                      <a:pt x="28" y="13"/>
                      <a:pt x="29" y="12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29" y="9"/>
                      <a:pt x="27" y="7"/>
                      <a:pt x="26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7" name="Freeform 165">
                <a:extLst>
                  <a:ext uri="{FF2B5EF4-FFF2-40B4-BE49-F238E27FC236}">
                    <a16:creationId xmlns:a16="http://schemas.microsoft.com/office/drawing/2014/main" id="{1809A618-FA26-4719-9D0A-9DFA53CEE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386"/>
                <a:ext cx="15" cy="6"/>
              </a:xfrm>
              <a:custGeom>
                <a:avLst/>
                <a:gdLst>
                  <a:gd name="T0" fmla="*/ 1 w 28"/>
                  <a:gd name="T1" fmla="*/ 0 h 10"/>
                  <a:gd name="T2" fmla="*/ 0 w 28"/>
                  <a:gd name="T3" fmla="*/ 2 h 10"/>
                  <a:gd name="T4" fmla="*/ 26 w 28"/>
                  <a:gd name="T5" fmla="*/ 9 h 10"/>
                  <a:gd name="T6" fmla="*/ 28 w 28"/>
                  <a:gd name="T7" fmla="*/ 10 h 10"/>
                  <a:gd name="T8" fmla="*/ 25 w 28"/>
                  <a:gd name="T9" fmla="*/ 7 h 10"/>
                  <a:gd name="T10" fmla="*/ 1 w 28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7" y="9"/>
                      <a:pt x="27" y="9"/>
                      <a:pt x="28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8" name="Freeform 166">
                <a:extLst>
                  <a:ext uri="{FF2B5EF4-FFF2-40B4-BE49-F238E27FC236}">
                    <a16:creationId xmlns:a16="http://schemas.microsoft.com/office/drawing/2014/main" id="{23982B3B-1B3D-4412-8750-F73C1A69C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0" y="2422"/>
                <a:ext cx="32" cy="12"/>
              </a:xfrm>
              <a:custGeom>
                <a:avLst/>
                <a:gdLst>
                  <a:gd name="T0" fmla="*/ 56 w 57"/>
                  <a:gd name="T1" fmla="*/ 18 h 21"/>
                  <a:gd name="T2" fmla="*/ 54 w 57"/>
                  <a:gd name="T3" fmla="*/ 20 h 21"/>
                  <a:gd name="T4" fmla="*/ 51 w 57"/>
                  <a:gd name="T5" fmla="*/ 21 h 21"/>
                  <a:gd name="T6" fmla="*/ 4 w 57"/>
                  <a:gd name="T7" fmla="*/ 8 h 21"/>
                  <a:gd name="T8" fmla="*/ 1 w 57"/>
                  <a:gd name="T9" fmla="*/ 3 h 21"/>
                  <a:gd name="T10" fmla="*/ 3 w 57"/>
                  <a:gd name="T11" fmla="*/ 1 h 21"/>
                  <a:gd name="T12" fmla="*/ 6 w 57"/>
                  <a:gd name="T13" fmla="*/ 1 h 21"/>
                  <a:gd name="T14" fmla="*/ 53 w 57"/>
                  <a:gd name="T15" fmla="*/ 13 h 21"/>
                  <a:gd name="T16" fmla="*/ 56 w 57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21">
                    <a:moveTo>
                      <a:pt x="56" y="18"/>
                    </a:moveTo>
                    <a:cubicBezTo>
                      <a:pt x="56" y="19"/>
                      <a:pt x="55" y="20"/>
                      <a:pt x="54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4" y="0"/>
                      <a:pt x="5" y="0"/>
                      <a:pt x="6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7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9" name="Freeform 167">
                <a:extLst>
                  <a:ext uri="{FF2B5EF4-FFF2-40B4-BE49-F238E27FC236}">
                    <a16:creationId xmlns:a16="http://schemas.microsoft.com/office/drawing/2014/main" id="{E7343D37-7A14-4E9D-855E-2D443C1780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1" y="2422"/>
                <a:ext cx="30" cy="9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3 w 55"/>
                  <a:gd name="T5" fmla="*/ 15 h 16"/>
                  <a:gd name="T6" fmla="*/ 55 w 55"/>
                  <a:gd name="T7" fmla="*/ 16 h 16"/>
                  <a:gd name="T8" fmla="*/ 52 w 55"/>
                  <a:gd name="T9" fmla="*/ 13 h 16"/>
                  <a:gd name="T10" fmla="*/ 5 w 55"/>
                  <a:gd name="T11" fmla="*/ 1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2"/>
                      <a:pt x="6" y="2"/>
                    </a:cubicBezTo>
                    <a:cubicBezTo>
                      <a:pt x="53" y="15"/>
                      <a:pt x="53" y="15"/>
                      <a:pt x="53" y="15"/>
                    </a:cubicBezTo>
                    <a:cubicBezTo>
                      <a:pt x="54" y="15"/>
                      <a:pt x="55" y="16"/>
                      <a:pt x="55" y="16"/>
                    </a:cubicBezTo>
                    <a:cubicBezTo>
                      <a:pt x="55" y="15"/>
                      <a:pt x="54" y="14"/>
                      <a:pt x="52" y="1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5"/>
                      <a:pt x="0" y="6"/>
                      <a:pt x="1" y="7"/>
                    </a:cubicBezTo>
                    <a:cubicBezTo>
                      <a:pt x="1" y="6"/>
                      <a:pt x="1" y="6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0" name="Freeform 168">
                <a:extLst>
                  <a:ext uri="{FF2B5EF4-FFF2-40B4-BE49-F238E27FC236}">
                    <a16:creationId xmlns:a16="http://schemas.microsoft.com/office/drawing/2014/main" id="{316F303C-645D-4CEE-A5C6-6661B5FB2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7" y="2426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0 w 3"/>
                  <a:gd name="T3" fmla="*/ 0 h 1"/>
                  <a:gd name="T4" fmla="*/ 3 w 3"/>
                  <a:gd name="T5" fmla="*/ 1 h 1"/>
                  <a:gd name="T6" fmla="*/ 3 w 3"/>
                  <a:gd name="T7" fmla="*/ 1 h 1"/>
                  <a:gd name="T8" fmla="*/ 0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1" name="Freeform 169">
                <a:extLst>
                  <a:ext uri="{FF2B5EF4-FFF2-40B4-BE49-F238E27FC236}">
                    <a16:creationId xmlns:a16="http://schemas.microsoft.com/office/drawing/2014/main" id="{31FC8C7F-961A-47EB-AA9C-4B8ECF3042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7" y="2426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0 w 3"/>
                  <a:gd name="T3" fmla="*/ 0 h 1"/>
                  <a:gd name="T4" fmla="*/ 3 w 3"/>
                  <a:gd name="T5" fmla="*/ 1 h 1"/>
                  <a:gd name="T6" fmla="*/ 3 w 3"/>
                  <a:gd name="T7" fmla="*/ 1 h 1"/>
                  <a:gd name="T8" fmla="*/ 0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2" name="Rectangle 170">
                <a:extLst>
                  <a:ext uri="{FF2B5EF4-FFF2-40B4-BE49-F238E27FC236}">
                    <a16:creationId xmlns:a16="http://schemas.microsoft.com/office/drawing/2014/main" id="{23066A20-55C9-43C7-920C-CADE039018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26"/>
                <a:ext cx="1" cy="1"/>
              </a:xfrm>
              <a:prstGeom prst="rect">
                <a:avLst/>
              </a:pr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3" name="Rectangle 171">
                <a:extLst>
                  <a:ext uri="{FF2B5EF4-FFF2-40B4-BE49-F238E27FC236}">
                    <a16:creationId xmlns:a16="http://schemas.microsoft.com/office/drawing/2014/main" id="{7B5D0D3B-97EB-4F4C-9DA6-518F0D7B12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26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4" name="Freeform 172">
                <a:extLst>
                  <a:ext uri="{FF2B5EF4-FFF2-40B4-BE49-F238E27FC236}">
                    <a16:creationId xmlns:a16="http://schemas.microsoft.com/office/drawing/2014/main" id="{B4047AE1-C7DF-4872-ADAF-95DEB8E62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0" y="2427"/>
                <a:ext cx="8" cy="3"/>
              </a:xfrm>
              <a:custGeom>
                <a:avLst/>
                <a:gdLst>
                  <a:gd name="T0" fmla="*/ 0 w 8"/>
                  <a:gd name="T1" fmla="*/ 0 h 3"/>
                  <a:gd name="T2" fmla="*/ 0 w 8"/>
                  <a:gd name="T3" fmla="*/ 0 h 3"/>
                  <a:gd name="T4" fmla="*/ 8 w 8"/>
                  <a:gd name="T5" fmla="*/ 3 h 3"/>
                  <a:gd name="T6" fmla="*/ 8 w 8"/>
                  <a:gd name="T7" fmla="*/ 3 h 3"/>
                  <a:gd name="T8" fmla="*/ 0 w 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0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5" name="Freeform 173">
                <a:extLst>
                  <a:ext uri="{FF2B5EF4-FFF2-40B4-BE49-F238E27FC236}">
                    <a16:creationId xmlns:a16="http://schemas.microsoft.com/office/drawing/2014/main" id="{B28F1AA0-22EE-401E-A8B5-4DFC0D6D9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0" y="2427"/>
                <a:ext cx="8" cy="3"/>
              </a:xfrm>
              <a:custGeom>
                <a:avLst/>
                <a:gdLst>
                  <a:gd name="T0" fmla="*/ 0 w 8"/>
                  <a:gd name="T1" fmla="*/ 0 h 3"/>
                  <a:gd name="T2" fmla="*/ 0 w 8"/>
                  <a:gd name="T3" fmla="*/ 0 h 3"/>
                  <a:gd name="T4" fmla="*/ 8 w 8"/>
                  <a:gd name="T5" fmla="*/ 3 h 3"/>
                  <a:gd name="T6" fmla="*/ 8 w 8"/>
                  <a:gd name="T7" fmla="*/ 3 h 3"/>
                  <a:gd name="T8" fmla="*/ 0 w 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0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6" name="Freeform 174">
                <a:extLst>
                  <a:ext uri="{FF2B5EF4-FFF2-40B4-BE49-F238E27FC236}">
                    <a16:creationId xmlns:a16="http://schemas.microsoft.com/office/drawing/2014/main" id="{867118F8-407F-4A06-B3EF-CBAFBD95B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8" y="2430"/>
                <a:ext cx="3" cy="2"/>
              </a:xfrm>
              <a:custGeom>
                <a:avLst/>
                <a:gdLst>
                  <a:gd name="T0" fmla="*/ 0 w 5"/>
                  <a:gd name="T1" fmla="*/ 0 h 4"/>
                  <a:gd name="T2" fmla="*/ 0 w 5"/>
                  <a:gd name="T3" fmla="*/ 0 h 4"/>
                  <a:gd name="T4" fmla="*/ 2 w 5"/>
                  <a:gd name="T5" fmla="*/ 0 h 4"/>
                  <a:gd name="T6" fmla="*/ 5 w 5"/>
                  <a:gd name="T7" fmla="*/ 4 h 4"/>
                  <a:gd name="T8" fmla="*/ 2 w 5"/>
                  <a:gd name="T9" fmla="*/ 0 h 4"/>
                  <a:gd name="T10" fmla="*/ 0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4" y="1"/>
                      <a:pt x="5" y="2"/>
                      <a:pt x="5" y="4"/>
                    </a:cubicBezTo>
                    <a:cubicBezTo>
                      <a:pt x="5" y="2"/>
                      <a:pt x="4" y="1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7" name="Rectangle 175">
                <a:extLst>
                  <a:ext uri="{FF2B5EF4-FFF2-40B4-BE49-F238E27FC236}">
                    <a16:creationId xmlns:a16="http://schemas.microsoft.com/office/drawing/2014/main" id="{3FC1DF01-18E7-4481-9EEA-5F78628D7B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31"/>
                <a:ext cx="3" cy="1"/>
              </a:xfrm>
              <a:prstGeom prst="rect">
                <a:avLst/>
              </a:pr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8" name="Rectangle 176">
                <a:extLst>
                  <a:ext uri="{FF2B5EF4-FFF2-40B4-BE49-F238E27FC236}">
                    <a16:creationId xmlns:a16="http://schemas.microsoft.com/office/drawing/2014/main" id="{617C6F6D-305F-430D-B04F-8AF59DFB2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31"/>
                <a:ext cx="3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9" name="Freeform 177">
                <a:extLst>
                  <a:ext uri="{FF2B5EF4-FFF2-40B4-BE49-F238E27FC236}">
                    <a16:creationId xmlns:a16="http://schemas.microsoft.com/office/drawing/2014/main" id="{E9312015-5D1A-4B6E-A2A4-819DB9D14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30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1 w 1"/>
                  <a:gd name="T7" fmla="*/ 1 h 1"/>
                  <a:gd name="T8" fmla="*/ 0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0" name="Freeform 178">
                <a:extLst>
                  <a:ext uri="{FF2B5EF4-FFF2-40B4-BE49-F238E27FC236}">
                    <a16:creationId xmlns:a16="http://schemas.microsoft.com/office/drawing/2014/main" id="{F3098728-8FAC-4346-89D8-56E5EB3AA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30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1 w 1"/>
                  <a:gd name="T7" fmla="*/ 1 h 1"/>
                  <a:gd name="T8" fmla="*/ 0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1" name="Freeform 179">
                <a:extLst>
                  <a:ext uri="{FF2B5EF4-FFF2-40B4-BE49-F238E27FC236}">
                    <a16:creationId xmlns:a16="http://schemas.microsoft.com/office/drawing/2014/main" id="{D0522D0F-ACCC-4D6F-B1F3-FAB35CD83E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9" y="2431"/>
                <a:ext cx="8" cy="2"/>
              </a:xfrm>
              <a:custGeom>
                <a:avLst/>
                <a:gdLst>
                  <a:gd name="T0" fmla="*/ 0 w 8"/>
                  <a:gd name="T1" fmla="*/ 0 h 2"/>
                  <a:gd name="T2" fmla="*/ 0 w 8"/>
                  <a:gd name="T3" fmla="*/ 0 h 2"/>
                  <a:gd name="T4" fmla="*/ 8 w 8"/>
                  <a:gd name="T5" fmla="*/ 2 h 2"/>
                  <a:gd name="T6" fmla="*/ 8 w 8"/>
                  <a:gd name="T7" fmla="*/ 2 h 2"/>
                  <a:gd name="T8" fmla="*/ 0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2" name="Freeform 180">
                <a:extLst>
                  <a:ext uri="{FF2B5EF4-FFF2-40B4-BE49-F238E27FC236}">
                    <a16:creationId xmlns:a16="http://schemas.microsoft.com/office/drawing/2014/main" id="{4A447CD6-9986-4BD0-A919-97073D05F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9" y="2431"/>
                <a:ext cx="8" cy="2"/>
              </a:xfrm>
              <a:custGeom>
                <a:avLst/>
                <a:gdLst>
                  <a:gd name="T0" fmla="*/ 0 w 8"/>
                  <a:gd name="T1" fmla="*/ 0 h 2"/>
                  <a:gd name="T2" fmla="*/ 0 w 8"/>
                  <a:gd name="T3" fmla="*/ 0 h 2"/>
                  <a:gd name="T4" fmla="*/ 8 w 8"/>
                  <a:gd name="T5" fmla="*/ 2 h 2"/>
                  <a:gd name="T6" fmla="*/ 8 w 8"/>
                  <a:gd name="T7" fmla="*/ 2 h 2"/>
                  <a:gd name="T8" fmla="*/ 0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3" name="Freeform 181">
                <a:extLst>
                  <a:ext uri="{FF2B5EF4-FFF2-40B4-BE49-F238E27FC236}">
                    <a16:creationId xmlns:a16="http://schemas.microsoft.com/office/drawing/2014/main" id="{80A35623-76FD-4FFA-95FE-67F7A90C7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33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4" name="Freeform 182">
                <a:extLst>
                  <a:ext uri="{FF2B5EF4-FFF2-40B4-BE49-F238E27FC236}">
                    <a16:creationId xmlns:a16="http://schemas.microsoft.com/office/drawing/2014/main" id="{5D31CC78-95CE-4EE2-9124-3313730A82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33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5" name="Freeform 183">
                <a:extLst>
                  <a:ext uri="{FF2B5EF4-FFF2-40B4-BE49-F238E27FC236}">
                    <a16:creationId xmlns:a16="http://schemas.microsoft.com/office/drawing/2014/main" id="{1CBDB465-0962-4CC8-B6E1-8682E3C955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26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6 h 14"/>
                  <a:gd name="T6" fmla="*/ 29 w 29"/>
                  <a:gd name="T7" fmla="*/ 9 h 14"/>
                  <a:gd name="T8" fmla="*/ 27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1 w 29"/>
                  <a:gd name="T15" fmla="*/ 8 h 14"/>
                  <a:gd name="T16" fmla="*/ 7 w 29"/>
                  <a:gd name="T17" fmla="*/ 9 h 14"/>
                  <a:gd name="T18" fmla="*/ 22 w 29"/>
                  <a:gd name="T19" fmla="*/ 13 h 14"/>
                  <a:gd name="T20" fmla="*/ 24 w 29"/>
                  <a:gd name="T21" fmla="*/ 14 h 14"/>
                  <a:gd name="T22" fmla="*/ 25 w 29"/>
                  <a:gd name="T23" fmla="*/ 14 h 14"/>
                  <a:gd name="T24" fmla="*/ 27 w 29"/>
                  <a:gd name="T25" fmla="*/ 13 h 14"/>
                  <a:gd name="T26" fmla="*/ 29 w 29"/>
                  <a:gd name="T27" fmla="*/ 11 h 14"/>
                  <a:gd name="T28" fmla="*/ 29 w 29"/>
                  <a:gd name="T29" fmla="*/ 10 h 14"/>
                  <a:gd name="T30" fmla="*/ 26 w 29"/>
                  <a:gd name="T31" fmla="*/ 6 h 14"/>
                  <a:gd name="T32" fmla="*/ 24 w 29"/>
                  <a:gd name="T33" fmla="*/ 6 h 14"/>
                  <a:gd name="T34" fmla="*/ 9 w 29"/>
                  <a:gd name="T35" fmla="*/ 2 h 14"/>
                  <a:gd name="T36" fmla="*/ 3 w 29"/>
                  <a:gd name="T37" fmla="*/ 0 h 14"/>
                  <a:gd name="T38" fmla="*/ 2 w 29"/>
                  <a:gd name="T3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9" y="9"/>
                      <a:pt x="28" y="8"/>
                      <a:pt x="27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6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6" name="Freeform 184">
                <a:extLst>
                  <a:ext uri="{FF2B5EF4-FFF2-40B4-BE49-F238E27FC236}">
                    <a16:creationId xmlns:a16="http://schemas.microsoft.com/office/drawing/2014/main" id="{EF13A941-8D7E-42BF-A9D7-47B026796F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" y="2426"/>
                <a:ext cx="15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5 w 27"/>
                  <a:gd name="T5" fmla="*/ 8 h 9"/>
                  <a:gd name="T6" fmla="*/ 27 w 27"/>
                  <a:gd name="T7" fmla="*/ 9 h 9"/>
                  <a:gd name="T8" fmla="*/ 24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6" y="8"/>
                      <a:pt x="27" y="9"/>
                      <a:pt x="27" y="9"/>
                    </a:cubicBezTo>
                    <a:cubicBezTo>
                      <a:pt x="27" y="8"/>
                      <a:pt x="26" y="7"/>
                      <a:pt x="24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7" name="Freeform 185">
                <a:extLst>
                  <a:ext uri="{FF2B5EF4-FFF2-40B4-BE49-F238E27FC236}">
                    <a16:creationId xmlns:a16="http://schemas.microsoft.com/office/drawing/2014/main" id="{37C08602-DE69-44C1-8266-AD4B46677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0" y="2462"/>
                <a:ext cx="31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1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5" y="19"/>
                      <a:pt x="55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8" name="Freeform 186">
                <a:extLst>
                  <a:ext uri="{FF2B5EF4-FFF2-40B4-BE49-F238E27FC236}">
                    <a16:creationId xmlns:a16="http://schemas.microsoft.com/office/drawing/2014/main" id="{44D72623-B546-4F70-B3AD-64351C4B4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0" y="2462"/>
                <a:ext cx="31" cy="9"/>
              </a:xfrm>
              <a:custGeom>
                <a:avLst/>
                <a:gdLst>
                  <a:gd name="T0" fmla="*/ 2 w 56"/>
                  <a:gd name="T1" fmla="*/ 5 h 16"/>
                  <a:gd name="T2" fmla="*/ 6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5 w 56"/>
                  <a:gd name="T11" fmla="*/ 0 h 16"/>
                  <a:gd name="T12" fmla="*/ 1 w 56"/>
                  <a:gd name="T13" fmla="*/ 3 h 16"/>
                  <a:gd name="T14" fmla="*/ 2 w 56"/>
                  <a:gd name="T15" fmla="*/ 7 h 16"/>
                  <a:gd name="T16" fmla="*/ 2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2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5"/>
                      <a:pt x="56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1" y="3"/>
                    </a:cubicBezTo>
                    <a:cubicBezTo>
                      <a:pt x="0" y="4"/>
                      <a:pt x="1" y="6"/>
                      <a:pt x="2" y="7"/>
                    </a:cubicBezTo>
                    <a:cubicBezTo>
                      <a:pt x="1" y="6"/>
                      <a:pt x="1" y="5"/>
                      <a:pt x="2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9" name="Freeform 187">
                <a:extLst>
                  <a:ext uri="{FF2B5EF4-FFF2-40B4-BE49-F238E27FC236}">
                    <a16:creationId xmlns:a16="http://schemas.microsoft.com/office/drawing/2014/main" id="{3EC875B0-F179-48A2-9CEF-7726801476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466"/>
                <a:ext cx="16" cy="7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7 h 14"/>
                  <a:gd name="T6" fmla="*/ 29 w 29"/>
                  <a:gd name="T7" fmla="*/ 10 h 14"/>
                  <a:gd name="T8" fmla="*/ 27 w 29"/>
                  <a:gd name="T9" fmla="*/ 9 h 14"/>
                  <a:gd name="T10" fmla="*/ 1 w 29"/>
                  <a:gd name="T11" fmla="*/ 2 h 14"/>
                  <a:gd name="T12" fmla="*/ 0 w 29"/>
                  <a:gd name="T13" fmla="*/ 8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4 h 14"/>
                  <a:gd name="T20" fmla="*/ 29 w 29"/>
                  <a:gd name="T21" fmla="*/ 12 h 14"/>
                  <a:gd name="T22" fmla="*/ 29 w 29"/>
                  <a:gd name="T23" fmla="*/ 11 h 14"/>
                  <a:gd name="T24" fmla="*/ 26 w 29"/>
                  <a:gd name="T25" fmla="*/ 7 h 14"/>
                  <a:gd name="T26" fmla="*/ 26 w 29"/>
                  <a:gd name="T27" fmla="*/ 7 h 14"/>
                  <a:gd name="T28" fmla="*/ 2 w 29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9" y="10"/>
                    </a:cubicBezTo>
                    <a:cubicBezTo>
                      <a:pt x="28" y="9"/>
                      <a:pt x="28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5" y="14"/>
                      <a:pt x="25" y="14"/>
                    </a:cubicBezTo>
                    <a:cubicBezTo>
                      <a:pt x="26" y="14"/>
                      <a:pt x="26" y="14"/>
                      <a:pt x="27" y="14"/>
                    </a:cubicBezTo>
                    <a:cubicBezTo>
                      <a:pt x="28" y="13"/>
                      <a:pt x="28" y="13"/>
                      <a:pt x="29" y="12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29" y="9"/>
                      <a:pt x="28" y="7"/>
                      <a:pt x="26" y="7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0" name="Freeform 188">
                <a:extLst>
                  <a:ext uri="{FF2B5EF4-FFF2-40B4-BE49-F238E27FC236}">
                    <a16:creationId xmlns:a16="http://schemas.microsoft.com/office/drawing/2014/main" id="{D7B93DA0-EC89-44A1-BCBB-162569C69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466"/>
                <a:ext cx="16" cy="5"/>
              </a:xfrm>
              <a:custGeom>
                <a:avLst/>
                <a:gdLst>
                  <a:gd name="T0" fmla="*/ 1 w 28"/>
                  <a:gd name="T1" fmla="*/ 0 h 10"/>
                  <a:gd name="T2" fmla="*/ 0 w 28"/>
                  <a:gd name="T3" fmla="*/ 2 h 10"/>
                  <a:gd name="T4" fmla="*/ 26 w 28"/>
                  <a:gd name="T5" fmla="*/ 9 h 10"/>
                  <a:gd name="T6" fmla="*/ 28 w 28"/>
                  <a:gd name="T7" fmla="*/ 10 h 10"/>
                  <a:gd name="T8" fmla="*/ 25 w 28"/>
                  <a:gd name="T9" fmla="*/ 7 h 10"/>
                  <a:gd name="T10" fmla="*/ 1 w 28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7" y="9"/>
                      <a:pt x="27" y="9"/>
                      <a:pt x="28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1" name="Freeform 189">
                <a:extLst>
                  <a:ext uri="{FF2B5EF4-FFF2-40B4-BE49-F238E27FC236}">
                    <a16:creationId xmlns:a16="http://schemas.microsoft.com/office/drawing/2014/main" id="{7FFBEA9A-5CED-41B9-9113-30219B5A4F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" y="2502"/>
                <a:ext cx="30" cy="11"/>
              </a:xfrm>
              <a:custGeom>
                <a:avLst/>
                <a:gdLst>
                  <a:gd name="T0" fmla="*/ 55 w 56"/>
                  <a:gd name="T1" fmla="*/ 18 h 21"/>
                  <a:gd name="T2" fmla="*/ 53 w 56"/>
                  <a:gd name="T3" fmla="*/ 20 h 21"/>
                  <a:gd name="T4" fmla="*/ 51 w 56"/>
                  <a:gd name="T5" fmla="*/ 21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1 h 21"/>
                  <a:gd name="T12" fmla="*/ 5 w 56"/>
                  <a:gd name="T13" fmla="*/ 1 h 21"/>
                  <a:gd name="T14" fmla="*/ 53 w 56"/>
                  <a:gd name="T15" fmla="*/ 13 h 21"/>
                  <a:gd name="T16" fmla="*/ 55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5" y="18"/>
                    </a:moveTo>
                    <a:cubicBezTo>
                      <a:pt x="55" y="19"/>
                      <a:pt x="54" y="20"/>
                      <a:pt x="53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2"/>
                      <a:pt x="1" y="1"/>
                      <a:pt x="2" y="1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6" y="16"/>
                      <a:pt x="55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2" name="Freeform 190">
                <a:extLst>
                  <a:ext uri="{FF2B5EF4-FFF2-40B4-BE49-F238E27FC236}">
                    <a16:creationId xmlns:a16="http://schemas.microsoft.com/office/drawing/2014/main" id="{9C1D49C4-082D-4B81-A8FF-3DCF987A6E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" y="2502"/>
                <a:ext cx="30" cy="8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4 w 55"/>
                  <a:gd name="T5" fmla="*/ 15 h 16"/>
                  <a:gd name="T6" fmla="*/ 55 w 55"/>
                  <a:gd name="T7" fmla="*/ 16 h 16"/>
                  <a:gd name="T8" fmla="*/ 53 w 55"/>
                  <a:gd name="T9" fmla="*/ 13 h 16"/>
                  <a:gd name="T10" fmla="*/ 5 w 55"/>
                  <a:gd name="T11" fmla="*/ 1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2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4" y="15"/>
                      <a:pt x="55" y="16"/>
                      <a:pt x="55" y="16"/>
                    </a:cubicBezTo>
                    <a:cubicBezTo>
                      <a:pt x="55" y="15"/>
                      <a:pt x="54" y="14"/>
                      <a:pt x="53" y="1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5"/>
                      <a:pt x="0" y="6"/>
                      <a:pt x="1" y="7"/>
                    </a:cubicBezTo>
                    <a:cubicBezTo>
                      <a:pt x="1" y="6"/>
                      <a:pt x="1" y="6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3" name="Freeform 191">
                <a:extLst>
                  <a:ext uri="{FF2B5EF4-FFF2-40B4-BE49-F238E27FC236}">
                    <a16:creationId xmlns:a16="http://schemas.microsoft.com/office/drawing/2014/main" id="{49629C6D-DD11-4CDB-B4CB-D5AE74EF47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4" y="2505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7 w 29"/>
                  <a:gd name="T5" fmla="*/ 6 h 14"/>
                  <a:gd name="T6" fmla="*/ 29 w 29"/>
                  <a:gd name="T7" fmla="*/ 9 h 14"/>
                  <a:gd name="T8" fmla="*/ 28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25 w 29"/>
                  <a:gd name="T15" fmla="*/ 14 h 14"/>
                  <a:gd name="T16" fmla="*/ 26 w 29"/>
                  <a:gd name="T17" fmla="*/ 14 h 14"/>
                  <a:gd name="T18" fmla="*/ 27 w 29"/>
                  <a:gd name="T19" fmla="*/ 13 h 14"/>
                  <a:gd name="T20" fmla="*/ 29 w 29"/>
                  <a:gd name="T21" fmla="*/ 11 h 14"/>
                  <a:gd name="T22" fmla="*/ 29 w 29"/>
                  <a:gd name="T23" fmla="*/ 10 h 14"/>
                  <a:gd name="T24" fmla="*/ 27 w 29"/>
                  <a:gd name="T25" fmla="*/ 6 h 14"/>
                  <a:gd name="T26" fmla="*/ 24 w 29"/>
                  <a:gd name="T27" fmla="*/ 6 h 14"/>
                  <a:gd name="T28" fmla="*/ 9 w 29"/>
                  <a:gd name="T29" fmla="*/ 2 h 14"/>
                  <a:gd name="T30" fmla="*/ 3 w 29"/>
                  <a:gd name="T31" fmla="*/ 0 h 14"/>
                  <a:gd name="T32" fmla="*/ 2 w 29"/>
                  <a:gd name="T3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9" y="9"/>
                      <a:pt x="28" y="8"/>
                      <a:pt x="28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5" y="14"/>
                      <a:pt x="25" y="14"/>
                      <a:pt x="26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7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4" name="Freeform 192">
                <a:extLst>
                  <a:ext uri="{FF2B5EF4-FFF2-40B4-BE49-F238E27FC236}">
                    <a16:creationId xmlns:a16="http://schemas.microsoft.com/office/drawing/2014/main" id="{0F1F4AFA-E954-4505-A904-BD5A49F1F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5" y="2505"/>
                <a:ext cx="15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6 w 27"/>
                  <a:gd name="T5" fmla="*/ 8 h 9"/>
                  <a:gd name="T6" fmla="*/ 27 w 27"/>
                  <a:gd name="T7" fmla="*/ 9 h 9"/>
                  <a:gd name="T8" fmla="*/ 25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6" y="8"/>
                      <a:pt x="27" y="9"/>
                      <a:pt x="27" y="9"/>
                    </a:cubicBezTo>
                    <a:cubicBezTo>
                      <a:pt x="27" y="8"/>
                      <a:pt x="26" y="7"/>
                      <a:pt x="25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5" name="Freeform 193">
                <a:extLst>
                  <a:ext uri="{FF2B5EF4-FFF2-40B4-BE49-F238E27FC236}">
                    <a16:creationId xmlns:a16="http://schemas.microsoft.com/office/drawing/2014/main" id="{C94BCCFC-6E1E-42B6-AA08-634FC5DE0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0" y="2362"/>
                <a:ext cx="20" cy="32"/>
              </a:xfrm>
              <a:custGeom>
                <a:avLst/>
                <a:gdLst>
                  <a:gd name="T0" fmla="*/ 13 w 20"/>
                  <a:gd name="T1" fmla="*/ 32 h 32"/>
                  <a:gd name="T2" fmla="*/ 0 w 20"/>
                  <a:gd name="T3" fmla="*/ 28 h 32"/>
                  <a:gd name="T4" fmla="*/ 7 w 20"/>
                  <a:gd name="T5" fmla="*/ 0 h 32"/>
                  <a:gd name="T6" fmla="*/ 20 w 20"/>
                  <a:gd name="T7" fmla="*/ 4 h 32"/>
                  <a:gd name="T8" fmla="*/ 13 w 20"/>
                  <a:gd name="T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2">
                    <a:moveTo>
                      <a:pt x="13" y="32"/>
                    </a:moveTo>
                    <a:lnTo>
                      <a:pt x="0" y="28"/>
                    </a:lnTo>
                    <a:lnTo>
                      <a:pt x="7" y="0"/>
                    </a:lnTo>
                    <a:lnTo>
                      <a:pt x="20" y="4"/>
                    </a:lnTo>
                    <a:lnTo>
                      <a:pt x="13" y="32"/>
                    </a:lnTo>
                    <a:close/>
                  </a:path>
                </a:pathLst>
              </a:custGeom>
              <a:solidFill>
                <a:srgbClr val="EF53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6" name="Freeform 194">
                <a:extLst>
                  <a:ext uri="{FF2B5EF4-FFF2-40B4-BE49-F238E27FC236}">
                    <a16:creationId xmlns:a16="http://schemas.microsoft.com/office/drawing/2014/main" id="{A4201B50-FE4A-4494-9B00-A0ADE304C2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9" y="2404"/>
                <a:ext cx="20" cy="32"/>
              </a:xfrm>
              <a:custGeom>
                <a:avLst/>
                <a:gdLst>
                  <a:gd name="T0" fmla="*/ 12 w 20"/>
                  <a:gd name="T1" fmla="*/ 32 h 32"/>
                  <a:gd name="T2" fmla="*/ 0 w 20"/>
                  <a:gd name="T3" fmla="*/ 28 h 32"/>
                  <a:gd name="T4" fmla="*/ 7 w 20"/>
                  <a:gd name="T5" fmla="*/ 0 h 32"/>
                  <a:gd name="T6" fmla="*/ 20 w 20"/>
                  <a:gd name="T7" fmla="*/ 3 h 32"/>
                  <a:gd name="T8" fmla="*/ 12 w 20"/>
                  <a:gd name="T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2">
                    <a:moveTo>
                      <a:pt x="12" y="32"/>
                    </a:moveTo>
                    <a:lnTo>
                      <a:pt x="0" y="28"/>
                    </a:lnTo>
                    <a:lnTo>
                      <a:pt x="7" y="0"/>
                    </a:lnTo>
                    <a:lnTo>
                      <a:pt x="20" y="3"/>
                    </a:lnTo>
                    <a:lnTo>
                      <a:pt x="12" y="32"/>
                    </a:lnTo>
                    <a:close/>
                  </a:path>
                </a:pathLst>
              </a:custGeom>
              <a:solidFill>
                <a:srgbClr val="8FDC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7" name="Freeform 195">
                <a:extLst>
                  <a:ext uri="{FF2B5EF4-FFF2-40B4-BE49-F238E27FC236}">
                    <a16:creationId xmlns:a16="http://schemas.microsoft.com/office/drawing/2014/main" id="{040EC471-B18B-4524-856E-E917E25575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" y="2387"/>
                <a:ext cx="25" cy="33"/>
              </a:xfrm>
              <a:custGeom>
                <a:avLst/>
                <a:gdLst>
                  <a:gd name="T0" fmla="*/ 17 w 25"/>
                  <a:gd name="T1" fmla="*/ 33 h 33"/>
                  <a:gd name="T2" fmla="*/ 0 w 25"/>
                  <a:gd name="T3" fmla="*/ 28 h 33"/>
                  <a:gd name="T4" fmla="*/ 8 w 25"/>
                  <a:gd name="T5" fmla="*/ 0 h 33"/>
                  <a:gd name="T6" fmla="*/ 25 w 25"/>
                  <a:gd name="T7" fmla="*/ 5 h 33"/>
                  <a:gd name="T8" fmla="*/ 17 w 25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33">
                    <a:moveTo>
                      <a:pt x="17" y="33"/>
                    </a:moveTo>
                    <a:lnTo>
                      <a:pt x="0" y="28"/>
                    </a:lnTo>
                    <a:lnTo>
                      <a:pt x="8" y="0"/>
                    </a:lnTo>
                    <a:lnTo>
                      <a:pt x="25" y="5"/>
                    </a:lnTo>
                    <a:lnTo>
                      <a:pt x="17" y="33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8" name="Freeform 196">
                <a:extLst>
                  <a:ext uri="{FF2B5EF4-FFF2-40B4-BE49-F238E27FC236}">
                    <a16:creationId xmlns:a16="http://schemas.microsoft.com/office/drawing/2014/main" id="{760A5B0F-2515-4410-8688-3BBF8312B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" y="2263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9" name="Freeform 197">
                <a:extLst>
                  <a:ext uri="{FF2B5EF4-FFF2-40B4-BE49-F238E27FC236}">
                    <a16:creationId xmlns:a16="http://schemas.microsoft.com/office/drawing/2014/main" id="{136B7A02-33E1-42E4-8FAE-B8B576DAF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" y="2276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0" name="Freeform 198">
                <a:extLst>
                  <a:ext uri="{FF2B5EF4-FFF2-40B4-BE49-F238E27FC236}">
                    <a16:creationId xmlns:a16="http://schemas.microsoft.com/office/drawing/2014/main" id="{A038D938-5D4E-4058-A4E1-504C0D303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5" y="2288"/>
                <a:ext cx="138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1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1" name="Freeform 199">
                <a:extLst>
                  <a:ext uri="{FF2B5EF4-FFF2-40B4-BE49-F238E27FC236}">
                    <a16:creationId xmlns:a16="http://schemas.microsoft.com/office/drawing/2014/main" id="{1B9D715A-EC9F-4B8A-A0B6-B52A154E0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2" y="2301"/>
                <a:ext cx="138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8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2" name="Freeform 200">
                <a:extLst>
                  <a:ext uri="{FF2B5EF4-FFF2-40B4-BE49-F238E27FC236}">
                    <a16:creationId xmlns:a16="http://schemas.microsoft.com/office/drawing/2014/main" id="{C42C2F4D-5A74-4676-AF9F-674E374861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313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8"/>
                      <a:pt x="253" y="68"/>
                      <a:pt x="253" y="68"/>
                    </a:cubicBezTo>
                    <a:cubicBezTo>
                      <a:pt x="252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3" name="Freeform 201">
                <a:extLst>
                  <a:ext uri="{FF2B5EF4-FFF2-40B4-BE49-F238E27FC236}">
                    <a16:creationId xmlns:a16="http://schemas.microsoft.com/office/drawing/2014/main" id="{86647506-B47B-4A12-93DA-D479FB3C2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5" y="2326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8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4" name="Freeform 202">
                <a:extLst>
                  <a:ext uri="{FF2B5EF4-FFF2-40B4-BE49-F238E27FC236}">
                    <a16:creationId xmlns:a16="http://schemas.microsoft.com/office/drawing/2014/main" id="{60B9C95F-56D4-4BDB-A109-729A91631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2" y="2338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8 h 69"/>
                  <a:gd name="T10" fmla="*/ 252 w 252"/>
                  <a:gd name="T11" fmla="*/ 69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2" y="68"/>
                      <a:pt x="252" y="69"/>
                    </a:cubicBezTo>
                    <a:cubicBezTo>
                      <a:pt x="252" y="69"/>
                      <a:pt x="252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5" name="Freeform 203">
                <a:extLst>
                  <a:ext uri="{FF2B5EF4-FFF2-40B4-BE49-F238E27FC236}">
                    <a16:creationId xmlns:a16="http://schemas.microsoft.com/office/drawing/2014/main" id="{72742FF2-CC75-48D5-A901-04594EB81E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51"/>
                <a:ext cx="137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1 w 252"/>
                  <a:gd name="T9" fmla="*/ 68 h 69"/>
                  <a:gd name="T10" fmla="*/ 252 w 252"/>
                  <a:gd name="T11" fmla="*/ 69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51" y="68"/>
                      <a:pt x="251" y="68"/>
                      <a:pt x="251" y="68"/>
                    </a:cubicBezTo>
                    <a:cubicBezTo>
                      <a:pt x="252" y="68"/>
                      <a:pt x="252" y="68"/>
                      <a:pt x="252" y="69"/>
                    </a:cubicBezTo>
                    <a:cubicBezTo>
                      <a:pt x="252" y="69"/>
                      <a:pt x="251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6" name="Freeform 204">
                <a:extLst>
                  <a:ext uri="{FF2B5EF4-FFF2-40B4-BE49-F238E27FC236}">
                    <a16:creationId xmlns:a16="http://schemas.microsoft.com/office/drawing/2014/main" id="{A1917ECF-7CD9-45B8-B9AC-361BBE00F3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5" y="2363"/>
                <a:ext cx="138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1 w 253"/>
                  <a:gd name="T5" fmla="*/ 1 h 69"/>
                  <a:gd name="T6" fmla="*/ 1 w 253"/>
                  <a:gd name="T7" fmla="*/ 1 h 69"/>
                  <a:gd name="T8" fmla="*/ 252 w 253"/>
                  <a:gd name="T9" fmla="*/ 68 h 69"/>
                  <a:gd name="T10" fmla="*/ 253 w 253"/>
                  <a:gd name="T11" fmla="*/ 69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1"/>
                      <a:pt x="1" y="0"/>
                      <a:pt x="1" y="1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3" y="68"/>
                      <a:pt x="253" y="68"/>
                      <a:pt x="253" y="69"/>
                    </a:cubicBezTo>
                    <a:cubicBezTo>
                      <a:pt x="253" y="69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" name="Group 406">
              <a:extLst>
                <a:ext uri="{FF2B5EF4-FFF2-40B4-BE49-F238E27FC236}">
                  <a16:creationId xmlns:a16="http://schemas.microsoft.com/office/drawing/2014/main" id="{53EA9CB8-50DC-473C-99CE-8AFCCA8D6E4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08950" y="1360488"/>
              <a:ext cx="2019300" cy="2759075"/>
              <a:chOff x="5108" y="857"/>
              <a:chExt cx="1272" cy="1738"/>
            </a:xfrm>
          </p:grpSpPr>
          <p:sp>
            <p:nvSpPr>
              <p:cNvPr id="367" name="Freeform 206">
                <a:extLst>
                  <a:ext uri="{FF2B5EF4-FFF2-40B4-BE49-F238E27FC236}">
                    <a16:creationId xmlns:a16="http://schemas.microsoft.com/office/drawing/2014/main" id="{4798BC5C-9BB4-4BEF-B74B-D74DC9D7C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1" y="2376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1 h 69"/>
                  <a:gd name="T8" fmla="*/ 252 w 253"/>
                  <a:gd name="T9" fmla="*/ 68 h 69"/>
                  <a:gd name="T10" fmla="*/ 253 w 253"/>
                  <a:gd name="T11" fmla="*/ 69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3" y="68"/>
                      <a:pt x="253" y="69"/>
                    </a:cubicBezTo>
                    <a:cubicBezTo>
                      <a:pt x="253" y="69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207">
                <a:extLst>
                  <a:ext uri="{FF2B5EF4-FFF2-40B4-BE49-F238E27FC236}">
                    <a16:creationId xmlns:a16="http://schemas.microsoft.com/office/drawing/2014/main" id="{A0EB452C-429D-43A4-BF61-139972950A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8" y="2389"/>
                <a:ext cx="139" cy="37"/>
              </a:xfrm>
              <a:custGeom>
                <a:avLst/>
                <a:gdLst>
                  <a:gd name="T0" fmla="*/ 252 w 253"/>
                  <a:gd name="T1" fmla="*/ 68 h 68"/>
                  <a:gd name="T2" fmla="*/ 1 w 253"/>
                  <a:gd name="T3" fmla="*/ 1 h 68"/>
                  <a:gd name="T4" fmla="*/ 0 w 253"/>
                  <a:gd name="T5" fmla="*/ 0 h 68"/>
                  <a:gd name="T6" fmla="*/ 1 w 253"/>
                  <a:gd name="T7" fmla="*/ 0 h 68"/>
                  <a:gd name="T8" fmla="*/ 252 w 253"/>
                  <a:gd name="T9" fmla="*/ 67 h 68"/>
                  <a:gd name="T10" fmla="*/ 252 w 253"/>
                  <a:gd name="T11" fmla="*/ 68 h 68"/>
                  <a:gd name="T12" fmla="*/ 252 w 253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8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7"/>
                      <a:pt x="252" y="68"/>
                    </a:cubicBezTo>
                    <a:cubicBezTo>
                      <a:pt x="252" y="68"/>
                      <a:pt x="252" y="68"/>
                      <a:pt x="252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208">
                <a:extLst>
                  <a:ext uri="{FF2B5EF4-FFF2-40B4-BE49-F238E27FC236}">
                    <a16:creationId xmlns:a16="http://schemas.microsoft.com/office/drawing/2014/main" id="{2ABE8BC9-3174-430E-89B0-0F09902AA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5" y="2402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1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2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8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209">
                <a:extLst>
                  <a:ext uri="{FF2B5EF4-FFF2-40B4-BE49-F238E27FC236}">
                    <a16:creationId xmlns:a16="http://schemas.microsoft.com/office/drawing/2014/main" id="{8C8B4ACF-C1DB-4164-9EF5-BA6B276939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2" y="2414"/>
                <a:ext cx="138" cy="38"/>
              </a:xfrm>
              <a:custGeom>
                <a:avLst/>
                <a:gdLst>
                  <a:gd name="T0" fmla="*/ 251 w 252"/>
                  <a:gd name="T1" fmla="*/ 68 h 69"/>
                  <a:gd name="T2" fmla="*/ 0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9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210">
                <a:extLst>
                  <a:ext uri="{FF2B5EF4-FFF2-40B4-BE49-F238E27FC236}">
                    <a16:creationId xmlns:a16="http://schemas.microsoft.com/office/drawing/2014/main" id="{95729F69-4135-42E8-84F4-D115D9BD5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8" y="2427"/>
                <a:ext cx="138" cy="37"/>
              </a:xfrm>
              <a:custGeom>
                <a:avLst/>
                <a:gdLst>
                  <a:gd name="T0" fmla="*/ 251 w 252"/>
                  <a:gd name="T1" fmla="*/ 68 h 69"/>
                  <a:gd name="T2" fmla="*/ 0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1 w 252"/>
                  <a:gd name="T9" fmla="*/ 67 h 69"/>
                  <a:gd name="T10" fmla="*/ 252 w 252"/>
                  <a:gd name="T11" fmla="*/ 68 h 69"/>
                  <a:gd name="T12" fmla="*/ 251 w 252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8"/>
                      <a:pt x="251" y="69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211">
                <a:extLst>
                  <a:ext uri="{FF2B5EF4-FFF2-40B4-BE49-F238E27FC236}">
                    <a16:creationId xmlns:a16="http://schemas.microsoft.com/office/drawing/2014/main" id="{B35A6572-A9D5-42F2-B142-EB51E9581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" y="2439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8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212">
                <a:extLst>
                  <a:ext uri="{FF2B5EF4-FFF2-40B4-BE49-F238E27FC236}">
                    <a16:creationId xmlns:a16="http://schemas.microsoft.com/office/drawing/2014/main" id="{724AF34D-A7CA-4631-A3DE-D64054DA3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1" y="2452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3" y="68"/>
                    </a:cubicBezTo>
                    <a:cubicBezTo>
                      <a:pt x="252" y="68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213">
                <a:extLst>
                  <a:ext uri="{FF2B5EF4-FFF2-40B4-BE49-F238E27FC236}">
                    <a16:creationId xmlns:a16="http://schemas.microsoft.com/office/drawing/2014/main" id="{929E761E-EEA1-43E0-8A22-F8E3A7D36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8" y="2464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1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214">
                <a:extLst>
                  <a:ext uri="{FF2B5EF4-FFF2-40B4-BE49-F238E27FC236}">
                    <a16:creationId xmlns:a16="http://schemas.microsoft.com/office/drawing/2014/main" id="{961B78A1-2549-45D1-8A96-69A74B297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8" y="2339"/>
                <a:ext cx="47" cy="14"/>
              </a:xfrm>
              <a:custGeom>
                <a:avLst/>
                <a:gdLst>
                  <a:gd name="T0" fmla="*/ 83 w 85"/>
                  <a:gd name="T1" fmla="*/ 24 h 24"/>
                  <a:gd name="T2" fmla="*/ 0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2 h 24"/>
                  <a:gd name="T10" fmla="*/ 84 w 85"/>
                  <a:gd name="T11" fmla="*/ 23 h 24"/>
                  <a:gd name="T12" fmla="*/ 83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3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84" y="22"/>
                      <a:pt x="84" y="22"/>
                      <a:pt x="84" y="22"/>
                    </a:cubicBezTo>
                    <a:cubicBezTo>
                      <a:pt x="84" y="23"/>
                      <a:pt x="85" y="23"/>
                      <a:pt x="84" y="23"/>
                    </a:cubicBezTo>
                    <a:cubicBezTo>
                      <a:pt x="84" y="24"/>
                      <a:pt x="84" y="24"/>
                      <a:pt x="83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Freeform 215">
                <a:extLst>
                  <a:ext uri="{FF2B5EF4-FFF2-40B4-BE49-F238E27FC236}">
                    <a16:creationId xmlns:a16="http://schemas.microsoft.com/office/drawing/2014/main" id="{F71F5D83-F820-4831-971A-332CBD4782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" y="2352"/>
                <a:ext cx="46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1 w 85"/>
                  <a:gd name="T5" fmla="*/ 1 h 24"/>
                  <a:gd name="T6" fmla="*/ 1 w 85"/>
                  <a:gd name="T7" fmla="*/ 0 h 24"/>
                  <a:gd name="T8" fmla="*/ 85 w 85"/>
                  <a:gd name="T9" fmla="*/ 22 h 24"/>
                  <a:gd name="T10" fmla="*/ 85 w 85"/>
                  <a:gd name="T11" fmla="*/ 23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85" y="22"/>
                      <a:pt x="85" y="22"/>
                      <a:pt x="85" y="22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4"/>
                      <a:pt x="85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Freeform 216">
                <a:extLst>
                  <a:ext uri="{FF2B5EF4-FFF2-40B4-BE49-F238E27FC236}">
                    <a16:creationId xmlns:a16="http://schemas.microsoft.com/office/drawing/2014/main" id="{D85BCA8D-A4C0-45BE-8163-CD5B7F2CCD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" y="2365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5 w 85"/>
                  <a:gd name="T9" fmla="*/ 23 h 24"/>
                  <a:gd name="T10" fmla="*/ 85 w 85"/>
                  <a:gd name="T11" fmla="*/ 23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4"/>
                      <a:pt x="85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8" name="Freeform 217">
                <a:extLst>
                  <a:ext uri="{FF2B5EF4-FFF2-40B4-BE49-F238E27FC236}">
                    <a16:creationId xmlns:a16="http://schemas.microsoft.com/office/drawing/2014/main" id="{B6A3291E-0158-4ED9-9B71-A1C0A37DC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8" y="2377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5" y="23"/>
                      <a:pt x="85" y="23"/>
                      <a:pt x="85" y="24"/>
                    </a:cubicBezTo>
                    <a:cubicBezTo>
                      <a:pt x="85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Freeform 218">
                <a:extLst>
                  <a:ext uri="{FF2B5EF4-FFF2-40B4-BE49-F238E27FC236}">
                    <a16:creationId xmlns:a16="http://schemas.microsoft.com/office/drawing/2014/main" id="{1E7A9B52-08CC-4676-BC25-BED9AA389F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" y="2390"/>
                <a:ext cx="46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5" y="23"/>
                      <a:pt x="85" y="23"/>
                      <a:pt x="85" y="24"/>
                    </a:cubicBezTo>
                    <a:cubicBezTo>
                      <a:pt x="85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Freeform 219">
                <a:extLst>
                  <a:ext uri="{FF2B5EF4-FFF2-40B4-BE49-F238E27FC236}">
                    <a16:creationId xmlns:a16="http://schemas.microsoft.com/office/drawing/2014/main" id="{7A375989-39E0-48AF-98E8-BD16A064E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1" y="2402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0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4" y="23"/>
                      <a:pt x="85" y="23"/>
                      <a:pt x="85" y="24"/>
                    </a:cubicBezTo>
                    <a:cubicBezTo>
                      <a:pt x="84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Freeform 220">
                <a:extLst>
                  <a:ext uri="{FF2B5EF4-FFF2-40B4-BE49-F238E27FC236}">
                    <a16:creationId xmlns:a16="http://schemas.microsoft.com/office/drawing/2014/main" id="{4D436458-25E7-4C60-B0D1-74FC0A19F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15"/>
                <a:ext cx="46" cy="13"/>
              </a:xfrm>
              <a:custGeom>
                <a:avLst/>
                <a:gdLst>
                  <a:gd name="T0" fmla="*/ 83 w 84"/>
                  <a:gd name="T1" fmla="*/ 24 h 24"/>
                  <a:gd name="T2" fmla="*/ 0 w 84"/>
                  <a:gd name="T3" fmla="*/ 2 h 24"/>
                  <a:gd name="T4" fmla="*/ 0 w 84"/>
                  <a:gd name="T5" fmla="*/ 1 h 24"/>
                  <a:gd name="T6" fmla="*/ 1 w 84"/>
                  <a:gd name="T7" fmla="*/ 0 h 24"/>
                  <a:gd name="T8" fmla="*/ 84 w 84"/>
                  <a:gd name="T9" fmla="*/ 23 h 24"/>
                  <a:gd name="T10" fmla="*/ 84 w 84"/>
                  <a:gd name="T11" fmla="*/ 24 h 24"/>
                  <a:gd name="T12" fmla="*/ 83 w 84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24">
                    <a:moveTo>
                      <a:pt x="83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4" y="23"/>
                      <a:pt x="84" y="23"/>
                      <a:pt x="84" y="24"/>
                    </a:cubicBezTo>
                    <a:cubicBezTo>
                      <a:pt x="84" y="24"/>
                      <a:pt x="84" y="24"/>
                      <a:pt x="83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Freeform 221">
                <a:extLst>
                  <a:ext uri="{FF2B5EF4-FFF2-40B4-BE49-F238E27FC236}">
                    <a16:creationId xmlns:a16="http://schemas.microsoft.com/office/drawing/2014/main" id="{2E21A502-C4FF-4D97-8827-90BAF8BCC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3" y="2403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0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2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8"/>
                      <a:pt x="251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Freeform 222">
                <a:extLst>
                  <a:ext uri="{FF2B5EF4-FFF2-40B4-BE49-F238E27FC236}">
                    <a16:creationId xmlns:a16="http://schemas.microsoft.com/office/drawing/2014/main" id="{A4140B52-F92F-4B4A-8EFE-AF18F4E24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0" y="2416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0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1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1" y="68"/>
                      <a:pt x="251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Freeform 223">
                <a:extLst>
                  <a:ext uri="{FF2B5EF4-FFF2-40B4-BE49-F238E27FC236}">
                    <a16:creationId xmlns:a16="http://schemas.microsoft.com/office/drawing/2014/main" id="{3138074F-679D-4718-A5C3-37FFE83E42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6" y="2428"/>
                <a:ext cx="138" cy="38"/>
              </a:xfrm>
              <a:custGeom>
                <a:avLst/>
                <a:gdLst>
                  <a:gd name="T0" fmla="*/ 252 w 253"/>
                  <a:gd name="T1" fmla="*/ 68 h 69"/>
                  <a:gd name="T2" fmla="*/ 1 w 253"/>
                  <a:gd name="T3" fmla="*/ 1 h 69"/>
                  <a:gd name="T4" fmla="*/ 1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7"/>
                      <a:pt x="253" y="68"/>
                    </a:cubicBezTo>
                    <a:cubicBezTo>
                      <a:pt x="253" y="68"/>
                      <a:pt x="252" y="69"/>
                      <a:pt x="252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Freeform 224">
                <a:extLst>
                  <a:ext uri="{FF2B5EF4-FFF2-40B4-BE49-F238E27FC236}">
                    <a16:creationId xmlns:a16="http://schemas.microsoft.com/office/drawing/2014/main" id="{52A93AF8-AC8B-4347-97FD-C2D1A5EAB7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2" y="2441"/>
                <a:ext cx="139" cy="38"/>
              </a:xfrm>
              <a:custGeom>
                <a:avLst/>
                <a:gdLst>
                  <a:gd name="T0" fmla="*/ 252 w 253"/>
                  <a:gd name="T1" fmla="*/ 68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8"/>
                      <a:pt x="252" y="69"/>
                      <a:pt x="252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Freeform 225">
                <a:extLst>
                  <a:ext uri="{FF2B5EF4-FFF2-40B4-BE49-F238E27FC236}">
                    <a16:creationId xmlns:a16="http://schemas.microsoft.com/office/drawing/2014/main" id="{4D9DEC18-B19B-4FAF-B9F3-3383055F13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9" y="2454"/>
                <a:ext cx="139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2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2" y="68"/>
                    </a:cubicBezTo>
                    <a:cubicBezTo>
                      <a:pt x="252" y="68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Freeform 226">
                <a:extLst>
                  <a:ext uri="{FF2B5EF4-FFF2-40B4-BE49-F238E27FC236}">
                    <a16:creationId xmlns:a16="http://schemas.microsoft.com/office/drawing/2014/main" id="{971BE79F-923D-4A4D-A416-053168D78A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6" y="2466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8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Freeform 227">
                <a:extLst>
                  <a:ext uri="{FF2B5EF4-FFF2-40B4-BE49-F238E27FC236}">
                    <a16:creationId xmlns:a16="http://schemas.microsoft.com/office/drawing/2014/main" id="{494E53A7-3C3F-4CDC-BD0B-DA2147628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479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1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Freeform 228">
                <a:extLst>
                  <a:ext uri="{FF2B5EF4-FFF2-40B4-BE49-F238E27FC236}">
                    <a16:creationId xmlns:a16="http://schemas.microsoft.com/office/drawing/2014/main" id="{78080B31-D1DB-46E4-883D-13E1FA5F22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9" y="2491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1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1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Freeform 229">
                <a:extLst>
                  <a:ext uri="{FF2B5EF4-FFF2-40B4-BE49-F238E27FC236}">
                    <a16:creationId xmlns:a16="http://schemas.microsoft.com/office/drawing/2014/main" id="{C6491041-D199-46E5-82B5-55AF5BABF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2504"/>
                <a:ext cx="138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Freeform 230">
                <a:extLst>
                  <a:ext uri="{FF2B5EF4-FFF2-40B4-BE49-F238E27FC236}">
                    <a16:creationId xmlns:a16="http://schemas.microsoft.com/office/drawing/2014/main" id="{5ADE6041-EDAB-41C0-B9E2-699796B8C0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516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3" y="68"/>
                    </a:cubicBezTo>
                    <a:cubicBezTo>
                      <a:pt x="252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Freeform 231">
                <a:extLst>
                  <a:ext uri="{FF2B5EF4-FFF2-40B4-BE49-F238E27FC236}">
                    <a16:creationId xmlns:a16="http://schemas.microsoft.com/office/drawing/2014/main" id="{89D26C9E-77DB-439C-A41A-D935B7734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9" y="2314"/>
                <a:ext cx="22" cy="79"/>
              </a:xfrm>
              <a:custGeom>
                <a:avLst/>
                <a:gdLst>
                  <a:gd name="T0" fmla="*/ 1 w 41"/>
                  <a:gd name="T1" fmla="*/ 146 h 146"/>
                  <a:gd name="T2" fmla="*/ 1 w 41"/>
                  <a:gd name="T3" fmla="*/ 145 h 146"/>
                  <a:gd name="T4" fmla="*/ 39 w 41"/>
                  <a:gd name="T5" fmla="*/ 0 h 146"/>
                  <a:gd name="T6" fmla="*/ 40 w 41"/>
                  <a:gd name="T7" fmla="*/ 0 h 146"/>
                  <a:gd name="T8" fmla="*/ 41 w 41"/>
                  <a:gd name="T9" fmla="*/ 1 h 146"/>
                  <a:gd name="T10" fmla="*/ 2 w 41"/>
                  <a:gd name="T11" fmla="*/ 146 h 146"/>
                  <a:gd name="T12" fmla="*/ 1 w 41"/>
                  <a:gd name="T13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146">
                    <a:moveTo>
                      <a:pt x="1" y="146"/>
                    </a:moveTo>
                    <a:cubicBezTo>
                      <a:pt x="1" y="146"/>
                      <a:pt x="0" y="146"/>
                      <a:pt x="1" y="14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40" y="0"/>
                      <a:pt x="40" y="0"/>
                    </a:cubicBezTo>
                    <a:cubicBezTo>
                      <a:pt x="41" y="0"/>
                      <a:pt x="41" y="0"/>
                      <a:pt x="41" y="1"/>
                    </a:cubicBezTo>
                    <a:cubicBezTo>
                      <a:pt x="2" y="146"/>
                      <a:pt x="2" y="146"/>
                      <a:pt x="2" y="146"/>
                    </a:cubicBezTo>
                    <a:cubicBezTo>
                      <a:pt x="2" y="146"/>
                      <a:pt x="1" y="146"/>
                      <a:pt x="1" y="146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Freeform 232">
                <a:extLst>
                  <a:ext uri="{FF2B5EF4-FFF2-40B4-BE49-F238E27FC236}">
                    <a16:creationId xmlns:a16="http://schemas.microsoft.com/office/drawing/2014/main" id="{14C0270B-D41F-4ACE-8E23-9E39D785C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6" y="2387"/>
                <a:ext cx="81" cy="23"/>
              </a:xfrm>
              <a:custGeom>
                <a:avLst/>
                <a:gdLst>
                  <a:gd name="T0" fmla="*/ 146 w 148"/>
                  <a:gd name="T1" fmla="*/ 41 h 41"/>
                  <a:gd name="T2" fmla="*/ 1 w 148"/>
                  <a:gd name="T3" fmla="*/ 2 h 41"/>
                  <a:gd name="T4" fmla="*/ 0 w 148"/>
                  <a:gd name="T5" fmla="*/ 1 h 41"/>
                  <a:gd name="T6" fmla="*/ 1 w 148"/>
                  <a:gd name="T7" fmla="*/ 0 h 41"/>
                  <a:gd name="T8" fmla="*/ 147 w 148"/>
                  <a:gd name="T9" fmla="*/ 39 h 41"/>
                  <a:gd name="T10" fmla="*/ 147 w 148"/>
                  <a:gd name="T11" fmla="*/ 40 h 41"/>
                  <a:gd name="T12" fmla="*/ 146 w 148"/>
                  <a:gd name="T13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" h="41">
                    <a:moveTo>
                      <a:pt x="146" y="41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47" y="39"/>
                      <a:pt x="147" y="39"/>
                      <a:pt x="147" y="39"/>
                    </a:cubicBezTo>
                    <a:cubicBezTo>
                      <a:pt x="147" y="39"/>
                      <a:pt x="148" y="40"/>
                      <a:pt x="147" y="40"/>
                    </a:cubicBezTo>
                    <a:cubicBezTo>
                      <a:pt x="147" y="41"/>
                      <a:pt x="147" y="41"/>
                      <a:pt x="146" y="41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Freeform 233">
                <a:extLst>
                  <a:ext uri="{FF2B5EF4-FFF2-40B4-BE49-F238E27FC236}">
                    <a16:creationId xmlns:a16="http://schemas.microsoft.com/office/drawing/2014/main" id="{B3A106E9-D298-477B-9D94-C48936C46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0" y="2334"/>
                <a:ext cx="87" cy="52"/>
              </a:xfrm>
              <a:custGeom>
                <a:avLst/>
                <a:gdLst>
                  <a:gd name="T0" fmla="*/ 0 w 87"/>
                  <a:gd name="T1" fmla="*/ 47 h 52"/>
                  <a:gd name="T2" fmla="*/ 0 w 87"/>
                  <a:gd name="T3" fmla="*/ 47 h 52"/>
                  <a:gd name="T4" fmla="*/ 0 w 87"/>
                  <a:gd name="T5" fmla="*/ 47 h 52"/>
                  <a:gd name="T6" fmla="*/ 21 w 87"/>
                  <a:gd name="T7" fmla="*/ 27 h 52"/>
                  <a:gd name="T8" fmla="*/ 21 w 87"/>
                  <a:gd name="T9" fmla="*/ 27 h 52"/>
                  <a:gd name="T10" fmla="*/ 22 w 87"/>
                  <a:gd name="T11" fmla="*/ 27 h 52"/>
                  <a:gd name="T12" fmla="*/ 28 w 87"/>
                  <a:gd name="T13" fmla="*/ 35 h 52"/>
                  <a:gd name="T14" fmla="*/ 43 w 87"/>
                  <a:gd name="T15" fmla="*/ 15 h 52"/>
                  <a:gd name="T16" fmla="*/ 43 w 87"/>
                  <a:gd name="T17" fmla="*/ 15 h 52"/>
                  <a:gd name="T18" fmla="*/ 43 w 87"/>
                  <a:gd name="T19" fmla="*/ 15 h 52"/>
                  <a:gd name="T20" fmla="*/ 43 w 87"/>
                  <a:gd name="T21" fmla="*/ 15 h 52"/>
                  <a:gd name="T22" fmla="*/ 46 w 87"/>
                  <a:gd name="T23" fmla="*/ 50 h 52"/>
                  <a:gd name="T24" fmla="*/ 56 w 87"/>
                  <a:gd name="T25" fmla="*/ 31 h 52"/>
                  <a:gd name="T26" fmla="*/ 57 w 87"/>
                  <a:gd name="T27" fmla="*/ 30 h 52"/>
                  <a:gd name="T28" fmla="*/ 57 w 87"/>
                  <a:gd name="T29" fmla="*/ 31 h 52"/>
                  <a:gd name="T30" fmla="*/ 60 w 87"/>
                  <a:gd name="T31" fmla="*/ 39 h 52"/>
                  <a:gd name="T32" fmla="*/ 70 w 87"/>
                  <a:gd name="T33" fmla="*/ 17 h 52"/>
                  <a:gd name="T34" fmla="*/ 70 w 87"/>
                  <a:gd name="T35" fmla="*/ 17 h 52"/>
                  <a:gd name="T36" fmla="*/ 70 w 87"/>
                  <a:gd name="T37" fmla="*/ 17 h 52"/>
                  <a:gd name="T38" fmla="*/ 73 w 87"/>
                  <a:gd name="T39" fmla="*/ 22 h 52"/>
                  <a:gd name="T40" fmla="*/ 86 w 87"/>
                  <a:gd name="T41" fmla="*/ 0 h 52"/>
                  <a:gd name="T42" fmla="*/ 87 w 87"/>
                  <a:gd name="T43" fmla="*/ 0 h 52"/>
                  <a:gd name="T44" fmla="*/ 87 w 87"/>
                  <a:gd name="T45" fmla="*/ 1 h 52"/>
                  <a:gd name="T46" fmla="*/ 73 w 87"/>
                  <a:gd name="T47" fmla="*/ 23 h 52"/>
                  <a:gd name="T48" fmla="*/ 73 w 87"/>
                  <a:gd name="T49" fmla="*/ 23 h 52"/>
                  <a:gd name="T50" fmla="*/ 72 w 87"/>
                  <a:gd name="T51" fmla="*/ 23 h 52"/>
                  <a:gd name="T52" fmla="*/ 70 w 87"/>
                  <a:gd name="T53" fmla="*/ 19 h 52"/>
                  <a:gd name="T54" fmla="*/ 60 w 87"/>
                  <a:gd name="T55" fmla="*/ 40 h 52"/>
                  <a:gd name="T56" fmla="*/ 60 w 87"/>
                  <a:gd name="T57" fmla="*/ 40 h 52"/>
                  <a:gd name="T58" fmla="*/ 60 w 87"/>
                  <a:gd name="T59" fmla="*/ 40 h 52"/>
                  <a:gd name="T60" fmla="*/ 57 w 87"/>
                  <a:gd name="T61" fmla="*/ 32 h 52"/>
                  <a:gd name="T62" fmla="*/ 46 w 87"/>
                  <a:gd name="T63" fmla="*/ 52 h 52"/>
                  <a:gd name="T64" fmla="*/ 45 w 87"/>
                  <a:gd name="T65" fmla="*/ 52 h 52"/>
                  <a:gd name="T66" fmla="*/ 45 w 87"/>
                  <a:gd name="T67" fmla="*/ 52 h 52"/>
                  <a:gd name="T68" fmla="*/ 43 w 87"/>
                  <a:gd name="T69" fmla="*/ 16 h 52"/>
                  <a:gd name="T70" fmla="*/ 28 w 87"/>
                  <a:gd name="T71" fmla="*/ 36 h 52"/>
                  <a:gd name="T72" fmla="*/ 28 w 87"/>
                  <a:gd name="T73" fmla="*/ 36 h 52"/>
                  <a:gd name="T74" fmla="*/ 28 w 87"/>
                  <a:gd name="T75" fmla="*/ 36 h 52"/>
                  <a:gd name="T76" fmla="*/ 21 w 87"/>
                  <a:gd name="T77" fmla="*/ 28 h 52"/>
                  <a:gd name="T78" fmla="*/ 0 w 87"/>
                  <a:gd name="T79" fmla="*/ 47 h 52"/>
                  <a:gd name="T80" fmla="*/ 0 w 87"/>
                  <a:gd name="T81" fmla="*/ 47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7" h="52">
                    <a:moveTo>
                      <a:pt x="0" y="47"/>
                    </a:moveTo>
                    <a:lnTo>
                      <a:pt x="0" y="47"/>
                    </a:lnTo>
                    <a:lnTo>
                      <a:pt x="0" y="47"/>
                    </a:lnTo>
                    <a:lnTo>
                      <a:pt x="21" y="27"/>
                    </a:lnTo>
                    <a:lnTo>
                      <a:pt x="21" y="27"/>
                    </a:lnTo>
                    <a:lnTo>
                      <a:pt x="22" y="27"/>
                    </a:lnTo>
                    <a:lnTo>
                      <a:pt x="28" y="3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6" y="50"/>
                    </a:lnTo>
                    <a:lnTo>
                      <a:pt x="56" y="31"/>
                    </a:lnTo>
                    <a:lnTo>
                      <a:pt x="57" y="30"/>
                    </a:lnTo>
                    <a:lnTo>
                      <a:pt x="57" y="31"/>
                    </a:lnTo>
                    <a:lnTo>
                      <a:pt x="60" y="39"/>
                    </a:lnTo>
                    <a:lnTo>
                      <a:pt x="70" y="17"/>
                    </a:lnTo>
                    <a:lnTo>
                      <a:pt x="70" y="17"/>
                    </a:lnTo>
                    <a:lnTo>
                      <a:pt x="70" y="17"/>
                    </a:lnTo>
                    <a:lnTo>
                      <a:pt x="73" y="22"/>
                    </a:lnTo>
                    <a:lnTo>
                      <a:pt x="86" y="0"/>
                    </a:lnTo>
                    <a:lnTo>
                      <a:pt x="87" y="0"/>
                    </a:lnTo>
                    <a:lnTo>
                      <a:pt x="87" y="1"/>
                    </a:lnTo>
                    <a:lnTo>
                      <a:pt x="73" y="23"/>
                    </a:lnTo>
                    <a:lnTo>
                      <a:pt x="73" y="23"/>
                    </a:lnTo>
                    <a:lnTo>
                      <a:pt x="72" y="23"/>
                    </a:lnTo>
                    <a:lnTo>
                      <a:pt x="70" y="19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57" y="32"/>
                    </a:lnTo>
                    <a:lnTo>
                      <a:pt x="46" y="52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43" y="1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1" y="28"/>
                    </a:lnTo>
                    <a:lnTo>
                      <a:pt x="0" y="47"/>
                    </a:lnTo>
                    <a:lnTo>
                      <a:pt x="0" y="47"/>
                    </a:ln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Freeform 234">
                <a:extLst>
                  <a:ext uri="{FF2B5EF4-FFF2-40B4-BE49-F238E27FC236}">
                    <a16:creationId xmlns:a16="http://schemas.microsoft.com/office/drawing/2014/main" id="{4D1DCA91-FFF0-4EFE-986A-F086172B8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2" y="2334"/>
                <a:ext cx="5" cy="7"/>
              </a:xfrm>
              <a:custGeom>
                <a:avLst/>
                <a:gdLst>
                  <a:gd name="T0" fmla="*/ 6 w 9"/>
                  <a:gd name="T1" fmla="*/ 12 h 12"/>
                  <a:gd name="T2" fmla="*/ 5 w 9"/>
                  <a:gd name="T3" fmla="*/ 11 h 12"/>
                  <a:gd name="T4" fmla="*/ 7 w 9"/>
                  <a:gd name="T5" fmla="*/ 3 h 12"/>
                  <a:gd name="T6" fmla="*/ 1 w 9"/>
                  <a:gd name="T7" fmla="*/ 8 h 12"/>
                  <a:gd name="T8" fmla="*/ 0 w 9"/>
                  <a:gd name="T9" fmla="*/ 8 h 12"/>
                  <a:gd name="T10" fmla="*/ 0 w 9"/>
                  <a:gd name="T11" fmla="*/ 7 h 12"/>
                  <a:gd name="T12" fmla="*/ 8 w 9"/>
                  <a:gd name="T13" fmla="*/ 0 h 12"/>
                  <a:gd name="T14" fmla="*/ 9 w 9"/>
                  <a:gd name="T15" fmla="*/ 0 h 12"/>
                  <a:gd name="T16" fmla="*/ 9 w 9"/>
                  <a:gd name="T17" fmla="*/ 1 h 12"/>
                  <a:gd name="T18" fmla="*/ 7 w 9"/>
                  <a:gd name="T19" fmla="*/ 11 h 12"/>
                  <a:gd name="T20" fmla="*/ 6 w 9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12">
                    <a:moveTo>
                      <a:pt x="6" y="12"/>
                    </a:moveTo>
                    <a:cubicBezTo>
                      <a:pt x="5" y="11"/>
                      <a:pt x="5" y="11"/>
                      <a:pt x="5" y="1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11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Freeform 235">
                <a:extLst>
                  <a:ext uri="{FF2B5EF4-FFF2-40B4-BE49-F238E27FC236}">
                    <a16:creationId xmlns:a16="http://schemas.microsoft.com/office/drawing/2014/main" id="{6732AD72-9403-4264-A93A-E3AE94C5E0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8" y="2307"/>
                <a:ext cx="85" cy="288"/>
              </a:xfrm>
              <a:custGeom>
                <a:avLst/>
                <a:gdLst>
                  <a:gd name="T0" fmla="*/ 8 w 85"/>
                  <a:gd name="T1" fmla="*/ 288 h 288"/>
                  <a:gd name="T2" fmla="*/ 0 w 85"/>
                  <a:gd name="T3" fmla="*/ 286 h 288"/>
                  <a:gd name="T4" fmla="*/ 77 w 85"/>
                  <a:gd name="T5" fmla="*/ 0 h 288"/>
                  <a:gd name="T6" fmla="*/ 85 w 85"/>
                  <a:gd name="T7" fmla="*/ 2 h 288"/>
                  <a:gd name="T8" fmla="*/ 8 w 85"/>
                  <a:gd name="T9" fmla="*/ 288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288">
                    <a:moveTo>
                      <a:pt x="8" y="288"/>
                    </a:moveTo>
                    <a:lnTo>
                      <a:pt x="0" y="286"/>
                    </a:lnTo>
                    <a:lnTo>
                      <a:pt x="77" y="0"/>
                    </a:lnTo>
                    <a:lnTo>
                      <a:pt x="85" y="2"/>
                    </a:lnTo>
                    <a:lnTo>
                      <a:pt x="8" y="288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Freeform 236">
                <a:extLst>
                  <a:ext uri="{FF2B5EF4-FFF2-40B4-BE49-F238E27FC236}">
                    <a16:creationId xmlns:a16="http://schemas.microsoft.com/office/drawing/2014/main" id="{BA9D7340-C884-488F-B991-4DAEE78E1D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4" y="2159"/>
                <a:ext cx="13" cy="30"/>
              </a:xfrm>
              <a:custGeom>
                <a:avLst/>
                <a:gdLst>
                  <a:gd name="T0" fmla="*/ 1 w 24"/>
                  <a:gd name="T1" fmla="*/ 40 h 55"/>
                  <a:gd name="T2" fmla="*/ 8 w 24"/>
                  <a:gd name="T3" fmla="*/ 11 h 55"/>
                  <a:gd name="T4" fmla="*/ 23 w 24"/>
                  <a:gd name="T5" fmla="*/ 2 h 55"/>
                  <a:gd name="T6" fmla="*/ 24 w 24"/>
                  <a:gd name="T7" fmla="*/ 2 h 55"/>
                  <a:gd name="T8" fmla="*/ 12 w 24"/>
                  <a:gd name="T9" fmla="*/ 55 h 55"/>
                  <a:gd name="T10" fmla="*/ 10 w 24"/>
                  <a:gd name="T11" fmla="*/ 54 h 55"/>
                  <a:gd name="T12" fmla="*/ 1 w 24"/>
                  <a:gd name="T13" fmla="*/ 4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55">
                    <a:moveTo>
                      <a:pt x="1" y="40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10" y="4"/>
                      <a:pt x="16" y="0"/>
                      <a:pt x="23" y="2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0" y="54"/>
                      <a:pt x="10" y="54"/>
                      <a:pt x="10" y="54"/>
                    </a:cubicBezTo>
                    <a:cubicBezTo>
                      <a:pt x="4" y="53"/>
                      <a:pt x="0" y="46"/>
                      <a:pt x="1" y="4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Freeform 237">
                <a:extLst>
                  <a:ext uri="{FF2B5EF4-FFF2-40B4-BE49-F238E27FC236}">
                    <a16:creationId xmlns:a16="http://schemas.microsoft.com/office/drawing/2014/main" id="{99F5156E-9E47-4592-807E-FD36680F7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7" y="2154"/>
                <a:ext cx="132" cy="66"/>
              </a:xfrm>
              <a:custGeom>
                <a:avLst/>
                <a:gdLst>
                  <a:gd name="T0" fmla="*/ 196 w 240"/>
                  <a:gd name="T1" fmla="*/ 120 h 121"/>
                  <a:gd name="T2" fmla="*/ 17 w 240"/>
                  <a:gd name="T3" fmla="*/ 79 h 121"/>
                  <a:gd name="T4" fmla="*/ 2 w 240"/>
                  <a:gd name="T5" fmla="*/ 61 h 121"/>
                  <a:gd name="T6" fmla="*/ 13 w 240"/>
                  <a:gd name="T7" fmla="*/ 12 h 121"/>
                  <a:gd name="T8" fmla="*/ 35 w 240"/>
                  <a:gd name="T9" fmla="*/ 2 h 121"/>
                  <a:gd name="T10" fmla="*/ 214 w 240"/>
                  <a:gd name="T11" fmla="*/ 43 h 121"/>
                  <a:gd name="T12" fmla="*/ 216 w 240"/>
                  <a:gd name="T13" fmla="*/ 44 h 121"/>
                  <a:gd name="T14" fmla="*/ 229 w 240"/>
                  <a:gd name="T15" fmla="*/ 74 h 121"/>
                  <a:gd name="T16" fmla="*/ 229 w 240"/>
                  <a:gd name="T17" fmla="*/ 73 h 121"/>
                  <a:gd name="T18" fmla="*/ 240 w 240"/>
                  <a:gd name="T19" fmla="*/ 76 h 121"/>
                  <a:gd name="T20" fmla="*/ 234 w 240"/>
                  <a:gd name="T21" fmla="*/ 102 h 121"/>
                  <a:gd name="T22" fmla="*/ 223 w 240"/>
                  <a:gd name="T23" fmla="*/ 100 h 121"/>
                  <a:gd name="T24" fmla="*/ 223 w 240"/>
                  <a:gd name="T25" fmla="*/ 100 h 121"/>
                  <a:gd name="T26" fmla="*/ 198 w 240"/>
                  <a:gd name="T27" fmla="*/ 121 h 121"/>
                  <a:gd name="T28" fmla="*/ 196 w 240"/>
                  <a:gd name="T29" fmla="*/ 12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0" h="121">
                    <a:moveTo>
                      <a:pt x="196" y="120"/>
                    </a:moveTo>
                    <a:cubicBezTo>
                      <a:pt x="17" y="79"/>
                      <a:pt x="17" y="79"/>
                      <a:pt x="17" y="79"/>
                    </a:cubicBezTo>
                    <a:cubicBezTo>
                      <a:pt x="7" y="77"/>
                      <a:pt x="0" y="69"/>
                      <a:pt x="2" y="61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5" y="4"/>
                      <a:pt x="25" y="0"/>
                      <a:pt x="35" y="2"/>
                    </a:cubicBezTo>
                    <a:cubicBezTo>
                      <a:pt x="214" y="43"/>
                      <a:pt x="214" y="43"/>
                      <a:pt x="214" y="43"/>
                    </a:cubicBezTo>
                    <a:cubicBezTo>
                      <a:pt x="215" y="43"/>
                      <a:pt x="215" y="43"/>
                      <a:pt x="216" y="44"/>
                    </a:cubicBezTo>
                    <a:cubicBezTo>
                      <a:pt x="225" y="49"/>
                      <a:pt x="229" y="74"/>
                      <a:pt x="229" y="74"/>
                    </a:cubicBezTo>
                    <a:cubicBezTo>
                      <a:pt x="229" y="73"/>
                      <a:pt x="229" y="73"/>
                      <a:pt x="229" y="73"/>
                    </a:cubicBezTo>
                    <a:cubicBezTo>
                      <a:pt x="240" y="76"/>
                      <a:pt x="240" y="76"/>
                      <a:pt x="240" y="76"/>
                    </a:cubicBezTo>
                    <a:cubicBezTo>
                      <a:pt x="234" y="102"/>
                      <a:pt x="234" y="102"/>
                      <a:pt x="234" y="102"/>
                    </a:cubicBezTo>
                    <a:cubicBezTo>
                      <a:pt x="223" y="100"/>
                      <a:pt x="223" y="100"/>
                      <a:pt x="223" y="100"/>
                    </a:cubicBezTo>
                    <a:cubicBezTo>
                      <a:pt x="223" y="100"/>
                      <a:pt x="223" y="100"/>
                      <a:pt x="223" y="100"/>
                    </a:cubicBezTo>
                    <a:cubicBezTo>
                      <a:pt x="223" y="100"/>
                      <a:pt x="208" y="120"/>
                      <a:pt x="198" y="121"/>
                    </a:cubicBezTo>
                    <a:cubicBezTo>
                      <a:pt x="197" y="121"/>
                      <a:pt x="197" y="121"/>
                      <a:pt x="196" y="12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Freeform 238">
                <a:extLst>
                  <a:ext uri="{FF2B5EF4-FFF2-40B4-BE49-F238E27FC236}">
                    <a16:creationId xmlns:a16="http://schemas.microsoft.com/office/drawing/2014/main" id="{D7EAC1EA-79E6-4716-AF50-A81473C58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6" y="2178"/>
                <a:ext cx="23" cy="42"/>
              </a:xfrm>
              <a:custGeom>
                <a:avLst/>
                <a:gdLst>
                  <a:gd name="T0" fmla="*/ 0 w 42"/>
                  <a:gd name="T1" fmla="*/ 77 h 77"/>
                  <a:gd name="T2" fmla="*/ 18 w 42"/>
                  <a:gd name="T3" fmla="*/ 0 h 77"/>
                  <a:gd name="T4" fmla="*/ 31 w 42"/>
                  <a:gd name="T5" fmla="*/ 30 h 77"/>
                  <a:gd name="T6" fmla="*/ 31 w 42"/>
                  <a:gd name="T7" fmla="*/ 29 h 77"/>
                  <a:gd name="T8" fmla="*/ 42 w 42"/>
                  <a:gd name="T9" fmla="*/ 32 h 77"/>
                  <a:gd name="T10" fmla="*/ 36 w 42"/>
                  <a:gd name="T11" fmla="*/ 58 h 77"/>
                  <a:gd name="T12" fmla="*/ 25 w 42"/>
                  <a:gd name="T13" fmla="*/ 56 h 77"/>
                  <a:gd name="T14" fmla="*/ 25 w 42"/>
                  <a:gd name="T15" fmla="*/ 56 h 77"/>
                  <a:gd name="T16" fmla="*/ 0 w 42"/>
                  <a:gd name="T17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77">
                    <a:moveTo>
                      <a:pt x="0" y="77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27" y="5"/>
                      <a:pt x="31" y="30"/>
                      <a:pt x="31" y="30"/>
                    </a:cubicBezTo>
                    <a:cubicBezTo>
                      <a:pt x="31" y="29"/>
                      <a:pt x="31" y="29"/>
                      <a:pt x="31" y="29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25" y="56"/>
                      <a:pt x="25" y="56"/>
                      <a:pt x="25" y="56"/>
                    </a:cubicBezTo>
                    <a:cubicBezTo>
                      <a:pt x="25" y="56"/>
                      <a:pt x="25" y="56"/>
                      <a:pt x="25" y="56"/>
                    </a:cubicBezTo>
                    <a:cubicBezTo>
                      <a:pt x="25" y="56"/>
                      <a:pt x="10" y="76"/>
                      <a:pt x="0" y="77"/>
                    </a:cubicBezTo>
                  </a:path>
                </a:pathLst>
              </a:custGeom>
              <a:solidFill>
                <a:srgbClr val="C9B6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0" name="Freeform 239">
                <a:extLst>
                  <a:ext uri="{FF2B5EF4-FFF2-40B4-BE49-F238E27FC236}">
                    <a16:creationId xmlns:a16="http://schemas.microsoft.com/office/drawing/2014/main" id="{5BD6F254-7E97-4564-AEA1-6414D5897D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5" y="2197"/>
                <a:ext cx="14" cy="12"/>
              </a:xfrm>
              <a:custGeom>
                <a:avLst/>
                <a:gdLst>
                  <a:gd name="T0" fmla="*/ 0 w 24"/>
                  <a:gd name="T1" fmla="*/ 20 h 22"/>
                  <a:gd name="T2" fmla="*/ 5 w 24"/>
                  <a:gd name="T3" fmla="*/ 0 h 22"/>
                  <a:gd name="T4" fmla="*/ 23 w 24"/>
                  <a:gd name="T5" fmla="*/ 7 h 22"/>
                  <a:gd name="T6" fmla="*/ 24 w 24"/>
                  <a:gd name="T7" fmla="*/ 7 h 22"/>
                  <a:gd name="T8" fmla="*/ 24 w 24"/>
                  <a:gd name="T9" fmla="*/ 8 h 22"/>
                  <a:gd name="T10" fmla="*/ 21 w 24"/>
                  <a:gd name="T11" fmla="*/ 21 h 22"/>
                  <a:gd name="T12" fmla="*/ 20 w 24"/>
                  <a:gd name="T13" fmla="*/ 22 h 22"/>
                  <a:gd name="T14" fmla="*/ 19 w 24"/>
                  <a:gd name="T15" fmla="*/ 22 h 22"/>
                  <a:gd name="T16" fmla="*/ 0 w 24"/>
                  <a:gd name="T17" fmla="*/ 2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2">
                    <a:moveTo>
                      <a:pt x="0" y="2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7"/>
                      <a:pt x="24" y="8"/>
                      <a:pt x="24" y="8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1" y="21"/>
                      <a:pt x="21" y="22"/>
                      <a:pt x="20" y="22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0" y="20"/>
                      <a:pt x="0" y="20"/>
                      <a:pt x="0" y="2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1" name="Freeform 240">
                <a:extLst>
                  <a:ext uri="{FF2B5EF4-FFF2-40B4-BE49-F238E27FC236}">
                    <a16:creationId xmlns:a16="http://schemas.microsoft.com/office/drawing/2014/main" id="{DED403AA-BD71-4D1A-9A26-3218B38871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6" y="2201"/>
                <a:ext cx="3" cy="8"/>
              </a:xfrm>
              <a:custGeom>
                <a:avLst/>
                <a:gdLst>
                  <a:gd name="T0" fmla="*/ 0 w 5"/>
                  <a:gd name="T1" fmla="*/ 15 h 15"/>
                  <a:gd name="T2" fmla="*/ 4 w 5"/>
                  <a:gd name="T3" fmla="*/ 0 h 15"/>
                  <a:gd name="T4" fmla="*/ 5 w 5"/>
                  <a:gd name="T5" fmla="*/ 0 h 15"/>
                  <a:gd name="T6" fmla="*/ 5 w 5"/>
                  <a:gd name="T7" fmla="*/ 1 h 15"/>
                  <a:gd name="T8" fmla="*/ 2 w 5"/>
                  <a:gd name="T9" fmla="*/ 14 h 15"/>
                  <a:gd name="T10" fmla="*/ 1 w 5"/>
                  <a:gd name="T11" fmla="*/ 15 h 15"/>
                  <a:gd name="T12" fmla="*/ 0 w 5"/>
                  <a:gd name="T13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15">
                    <a:moveTo>
                      <a:pt x="0" y="15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2" y="14"/>
                      <a:pt x="2" y="15"/>
                      <a:pt x="1" y="15"/>
                    </a:cubicBez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30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2" name="Freeform 241">
                <a:extLst>
                  <a:ext uri="{FF2B5EF4-FFF2-40B4-BE49-F238E27FC236}">
                    <a16:creationId xmlns:a16="http://schemas.microsoft.com/office/drawing/2014/main" id="{6178053C-5132-4CEA-BFC7-65AB89BED1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54" y="2180"/>
                <a:ext cx="112" cy="40"/>
              </a:xfrm>
              <a:custGeom>
                <a:avLst/>
                <a:gdLst>
                  <a:gd name="T0" fmla="*/ 204 w 204"/>
                  <a:gd name="T1" fmla="*/ 74 h 74"/>
                  <a:gd name="T2" fmla="*/ 204 w 204"/>
                  <a:gd name="T3" fmla="*/ 74 h 74"/>
                  <a:gd name="T4" fmla="*/ 204 w 204"/>
                  <a:gd name="T5" fmla="*/ 74 h 74"/>
                  <a:gd name="T6" fmla="*/ 204 w 204"/>
                  <a:gd name="T7" fmla="*/ 74 h 74"/>
                  <a:gd name="T8" fmla="*/ 204 w 204"/>
                  <a:gd name="T9" fmla="*/ 74 h 74"/>
                  <a:gd name="T10" fmla="*/ 204 w 204"/>
                  <a:gd name="T11" fmla="*/ 74 h 74"/>
                  <a:gd name="T12" fmla="*/ 204 w 204"/>
                  <a:gd name="T13" fmla="*/ 74 h 74"/>
                  <a:gd name="T14" fmla="*/ 23 w 204"/>
                  <a:gd name="T15" fmla="*/ 32 h 74"/>
                  <a:gd name="T16" fmla="*/ 23 w 204"/>
                  <a:gd name="T17" fmla="*/ 32 h 74"/>
                  <a:gd name="T18" fmla="*/ 23 w 204"/>
                  <a:gd name="T19" fmla="*/ 32 h 74"/>
                  <a:gd name="T20" fmla="*/ 23 w 204"/>
                  <a:gd name="T21" fmla="*/ 32 h 74"/>
                  <a:gd name="T22" fmla="*/ 23 w 204"/>
                  <a:gd name="T23" fmla="*/ 32 h 74"/>
                  <a:gd name="T24" fmla="*/ 23 w 204"/>
                  <a:gd name="T25" fmla="*/ 32 h 74"/>
                  <a:gd name="T26" fmla="*/ 23 w 204"/>
                  <a:gd name="T27" fmla="*/ 32 h 74"/>
                  <a:gd name="T28" fmla="*/ 23 w 204"/>
                  <a:gd name="T29" fmla="*/ 32 h 74"/>
                  <a:gd name="T30" fmla="*/ 23 w 204"/>
                  <a:gd name="T31" fmla="*/ 32 h 74"/>
                  <a:gd name="T32" fmla="*/ 23 w 204"/>
                  <a:gd name="T33" fmla="*/ 32 h 74"/>
                  <a:gd name="T34" fmla="*/ 23 w 204"/>
                  <a:gd name="T35" fmla="*/ 32 h 74"/>
                  <a:gd name="T36" fmla="*/ 23 w 204"/>
                  <a:gd name="T37" fmla="*/ 32 h 74"/>
                  <a:gd name="T38" fmla="*/ 18 w 204"/>
                  <a:gd name="T39" fmla="*/ 30 h 74"/>
                  <a:gd name="T40" fmla="*/ 23 w 204"/>
                  <a:gd name="T41" fmla="*/ 32 h 74"/>
                  <a:gd name="T42" fmla="*/ 18 w 204"/>
                  <a:gd name="T43" fmla="*/ 30 h 74"/>
                  <a:gd name="T44" fmla="*/ 18 w 204"/>
                  <a:gd name="T45" fmla="*/ 30 h 74"/>
                  <a:gd name="T46" fmla="*/ 18 w 204"/>
                  <a:gd name="T47" fmla="*/ 30 h 74"/>
                  <a:gd name="T48" fmla="*/ 18 w 204"/>
                  <a:gd name="T49" fmla="*/ 30 h 74"/>
                  <a:gd name="T50" fmla="*/ 18 w 204"/>
                  <a:gd name="T51" fmla="*/ 30 h 74"/>
                  <a:gd name="T52" fmla="*/ 18 w 204"/>
                  <a:gd name="T53" fmla="*/ 30 h 74"/>
                  <a:gd name="T54" fmla="*/ 18 w 204"/>
                  <a:gd name="T55" fmla="*/ 30 h 74"/>
                  <a:gd name="T56" fmla="*/ 1 w 204"/>
                  <a:gd name="T57" fmla="*/ 0 h 74"/>
                  <a:gd name="T58" fmla="*/ 0 w 204"/>
                  <a:gd name="T59" fmla="*/ 3 h 74"/>
                  <a:gd name="T60" fmla="*/ 2 w 204"/>
                  <a:gd name="T61" fmla="*/ 11 h 74"/>
                  <a:gd name="T62" fmla="*/ 0 w 204"/>
                  <a:gd name="T63" fmla="*/ 2 h 74"/>
                  <a:gd name="T64" fmla="*/ 1 w 204"/>
                  <a:gd name="T6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4" h="74">
                    <a:moveTo>
                      <a:pt x="204" y="74"/>
                    </a:move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moveTo>
                      <a:pt x="204" y="74"/>
                    </a:move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18" y="30"/>
                    </a:moveTo>
                    <a:cubicBezTo>
                      <a:pt x="19" y="31"/>
                      <a:pt x="21" y="32"/>
                      <a:pt x="23" y="32"/>
                    </a:cubicBezTo>
                    <a:cubicBezTo>
                      <a:pt x="21" y="32"/>
                      <a:pt x="19" y="31"/>
                      <a:pt x="18" y="30"/>
                    </a:cubicBezTo>
                    <a:moveTo>
                      <a:pt x="18" y="30"/>
                    </a:moveTo>
                    <a:cubicBezTo>
                      <a:pt x="18" y="30"/>
                      <a:pt x="18" y="30"/>
                      <a:pt x="18" y="30"/>
                    </a:cubicBezTo>
                    <a:cubicBezTo>
                      <a:pt x="18" y="30"/>
                      <a:pt x="18" y="30"/>
                      <a:pt x="18" y="30"/>
                    </a:cubicBezTo>
                    <a:moveTo>
                      <a:pt x="18" y="30"/>
                    </a:moveTo>
                    <a:cubicBezTo>
                      <a:pt x="18" y="30"/>
                      <a:pt x="18" y="30"/>
                      <a:pt x="18" y="30"/>
                    </a:cubicBezTo>
                    <a:cubicBezTo>
                      <a:pt x="18" y="30"/>
                      <a:pt x="18" y="30"/>
                      <a:pt x="18" y="30"/>
                    </a:cubicBezTo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6"/>
                      <a:pt x="0" y="9"/>
                      <a:pt x="2" y="11"/>
                    </a:cubicBezTo>
                    <a:cubicBezTo>
                      <a:pt x="0" y="8"/>
                      <a:pt x="0" y="5"/>
                      <a:pt x="0" y="2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3" name="Freeform 242">
                <a:extLst>
                  <a:ext uri="{FF2B5EF4-FFF2-40B4-BE49-F238E27FC236}">
                    <a16:creationId xmlns:a16="http://schemas.microsoft.com/office/drawing/2014/main" id="{8449E19B-FD82-4876-ACCA-CAA9E3B42F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4" y="2178"/>
                <a:ext cx="5" cy="10"/>
              </a:xfrm>
              <a:custGeom>
                <a:avLst/>
                <a:gdLst>
                  <a:gd name="T0" fmla="*/ 2 w 9"/>
                  <a:gd name="T1" fmla="*/ 0 h 18"/>
                  <a:gd name="T2" fmla="*/ 1 w 9"/>
                  <a:gd name="T3" fmla="*/ 3 h 18"/>
                  <a:gd name="T4" fmla="*/ 0 w 9"/>
                  <a:gd name="T5" fmla="*/ 5 h 18"/>
                  <a:gd name="T6" fmla="*/ 2 w 9"/>
                  <a:gd name="T7" fmla="*/ 14 h 18"/>
                  <a:gd name="T8" fmla="*/ 8 w 9"/>
                  <a:gd name="T9" fmla="*/ 18 h 18"/>
                  <a:gd name="T10" fmla="*/ 8 w 9"/>
                  <a:gd name="T11" fmla="*/ 17 h 18"/>
                  <a:gd name="T12" fmla="*/ 9 w 9"/>
                  <a:gd name="T13" fmla="*/ 12 h 18"/>
                  <a:gd name="T14" fmla="*/ 2 w 9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8">
                    <a:moveTo>
                      <a:pt x="2" y="0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8"/>
                      <a:pt x="0" y="11"/>
                      <a:pt x="2" y="14"/>
                    </a:cubicBezTo>
                    <a:cubicBezTo>
                      <a:pt x="3" y="16"/>
                      <a:pt x="5" y="17"/>
                      <a:pt x="8" y="18"/>
                    </a:cubicBezTo>
                    <a:cubicBezTo>
                      <a:pt x="8" y="18"/>
                      <a:pt x="8" y="17"/>
                      <a:pt x="8" y="17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4" y="9"/>
                      <a:pt x="1" y="4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4" name="Freeform 243">
                <a:extLst>
                  <a:ext uri="{FF2B5EF4-FFF2-40B4-BE49-F238E27FC236}">
                    <a16:creationId xmlns:a16="http://schemas.microsoft.com/office/drawing/2014/main" id="{264C59A7-6688-4C1A-810A-A22053853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8" y="2185"/>
                <a:ext cx="109" cy="35"/>
              </a:xfrm>
              <a:custGeom>
                <a:avLst/>
                <a:gdLst>
                  <a:gd name="T0" fmla="*/ 2 w 199"/>
                  <a:gd name="T1" fmla="*/ 0 h 65"/>
                  <a:gd name="T2" fmla="*/ 1 w 199"/>
                  <a:gd name="T3" fmla="*/ 5 h 65"/>
                  <a:gd name="T4" fmla="*/ 1 w 199"/>
                  <a:gd name="T5" fmla="*/ 6 h 65"/>
                  <a:gd name="T6" fmla="*/ 1 w 199"/>
                  <a:gd name="T7" fmla="*/ 6 h 65"/>
                  <a:gd name="T8" fmla="*/ 11 w 199"/>
                  <a:gd name="T9" fmla="*/ 21 h 65"/>
                  <a:gd name="T10" fmla="*/ 11 w 199"/>
                  <a:gd name="T11" fmla="*/ 21 h 65"/>
                  <a:gd name="T12" fmla="*/ 11 w 199"/>
                  <a:gd name="T13" fmla="*/ 21 h 65"/>
                  <a:gd name="T14" fmla="*/ 11 w 199"/>
                  <a:gd name="T15" fmla="*/ 21 h 65"/>
                  <a:gd name="T16" fmla="*/ 11 w 199"/>
                  <a:gd name="T17" fmla="*/ 21 h 65"/>
                  <a:gd name="T18" fmla="*/ 16 w 199"/>
                  <a:gd name="T19" fmla="*/ 23 h 65"/>
                  <a:gd name="T20" fmla="*/ 16 w 199"/>
                  <a:gd name="T21" fmla="*/ 23 h 65"/>
                  <a:gd name="T22" fmla="*/ 16 w 199"/>
                  <a:gd name="T23" fmla="*/ 23 h 65"/>
                  <a:gd name="T24" fmla="*/ 16 w 199"/>
                  <a:gd name="T25" fmla="*/ 23 h 65"/>
                  <a:gd name="T26" fmla="*/ 16 w 199"/>
                  <a:gd name="T27" fmla="*/ 23 h 65"/>
                  <a:gd name="T28" fmla="*/ 16 w 199"/>
                  <a:gd name="T29" fmla="*/ 23 h 65"/>
                  <a:gd name="T30" fmla="*/ 16 w 199"/>
                  <a:gd name="T31" fmla="*/ 23 h 65"/>
                  <a:gd name="T32" fmla="*/ 16 w 199"/>
                  <a:gd name="T33" fmla="*/ 23 h 65"/>
                  <a:gd name="T34" fmla="*/ 16 w 199"/>
                  <a:gd name="T35" fmla="*/ 23 h 65"/>
                  <a:gd name="T36" fmla="*/ 16 w 199"/>
                  <a:gd name="T37" fmla="*/ 23 h 65"/>
                  <a:gd name="T38" fmla="*/ 195 w 199"/>
                  <a:gd name="T39" fmla="*/ 64 h 65"/>
                  <a:gd name="T40" fmla="*/ 197 w 199"/>
                  <a:gd name="T41" fmla="*/ 65 h 65"/>
                  <a:gd name="T42" fmla="*/ 197 w 199"/>
                  <a:gd name="T43" fmla="*/ 65 h 65"/>
                  <a:gd name="T44" fmla="*/ 197 w 199"/>
                  <a:gd name="T45" fmla="*/ 65 h 65"/>
                  <a:gd name="T46" fmla="*/ 197 w 199"/>
                  <a:gd name="T47" fmla="*/ 65 h 65"/>
                  <a:gd name="T48" fmla="*/ 197 w 199"/>
                  <a:gd name="T49" fmla="*/ 65 h 65"/>
                  <a:gd name="T50" fmla="*/ 197 w 199"/>
                  <a:gd name="T51" fmla="*/ 65 h 65"/>
                  <a:gd name="T52" fmla="*/ 199 w 199"/>
                  <a:gd name="T53" fmla="*/ 58 h 65"/>
                  <a:gd name="T54" fmla="*/ 198 w 199"/>
                  <a:gd name="T55" fmla="*/ 58 h 65"/>
                  <a:gd name="T56" fmla="*/ 197 w 199"/>
                  <a:gd name="T57" fmla="*/ 58 h 65"/>
                  <a:gd name="T58" fmla="*/ 18 w 199"/>
                  <a:gd name="T59" fmla="*/ 17 h 65"/>
                  <a:gd name="T60" fmla="*/ 2 w 199"/>
                  <a:gd name="T61" fmla="*/ 0 h 65"/>
                  <a:gd name="T62" fmla="*/ 2 w 199"/>
                  <a:gd name="T6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9" h="65">
                    <a:moveTo>
                      <a:pt x="2" y="0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12"/>
                      <a:pt x="4" y="18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2" y="22"/>
                      <a:pt x="14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95" y="64"/>
                      <a:pt x="195" y="64"/>
                      <a:pt x="195" y="64"/>
                    </a:cubicBezTo>
                    <a:cubicBezTo>
                      <a:pt x="196" y="65"/>
                      <a:pt x="196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9" y="58"/>
                      <a:pt x="199" y="58"/>
                      <a:pt x="199" y="58"/>
                    </a:cubicBezTo>
                    <a:cubicBezTo>
                      <a:pt x="198" y="58"/>
                      <a:pt x="198" y="58"/>
                      <a:pt x="198" y="58"/>
                    </a:cubicBezTo>
                    <a:cubicBezTo>
                      <a:pt x="198" y="58"/>
                      <a:pt x="197" y="58"/>
                      <a:pt x="197" y="58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8" y="15"/>
                      <a:pt x="2" y="7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5" name="Freeform 244">
                <a:extLst>
                  <a:ext uri="{FF2B5EF4-FFF2-40B4-BE49-F238E27FC236}">
                    <a16:creationId xmlns:a16="http://schemas.microsoft.com/office/drawing/2014/main" id="{DDC6264D-08B0-406A-82C6-5B73EEE51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6" y="2205"/>
                <a:ext cx="20" cy="15"/>
              </a:xfrm>
              <a:custGeom>
                <a:avLst/>
                <a:gdLst>
                  <a:gd name="T0" fmla="*/ 27 w 37"/>
                  <a:gd name="T1" fmla="*/ 0 h 28"/>
                  <a:gd name="T2" fmla="*/ 2 w 37"/>
                  <a:gd name="T3" fmla="*/ 21 h 28"/>
                  <a:gd name="T4" fmla="*/ 2 w 37"/>
                  <a:gd name="T5" fmla="*/ 21 h 28"/>
                  <a:gd name="T6" fmla="*/ 0 w 37"/>
                  <a:gd name="T7" fmla="*/ 28 h 28"/>
                  <a:gd name="T8" fmla="*/ 25 w 37"/>
                  <a:gd name="T9" fmla="*/ 7 h 28"/>
                  <a:gd name="T10" fmla="*/ 25 w 37"/>
                  <a:gd name="T11" fmla="*/ 7 h 28"/>
                  <a:gd name="T12" fmla="*/ 25 w 37"/>
                  <a:gd name="T13" fmla="*/ 7 h 28"/>
                  <a:gd name="T14" fmla="*/ 25 w 37"/>
                  <a:gd name="T15" fmla="*/ 7 h 28"/>
                  <a:gd name="T16" fmla="*/ 36 w 37"/>
                  <a:gd name="T17" fmla="*/ 9 h 28"/>
                  <a:gd name="T18" fmla="*/ 37 w 37"/>
                  <a:gd name="T19" fmla="*/ 3 h 28"/>
                  <a:gd name="T20" fmla="*/ 27 w 37"/>
                  <a:gd name="T21" fmla="*/ 0 h 28"/>
                  <a:gd name="T22" fmla="*/ 27 w 37"/>
                  <a:gd name="T2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28">
                    <a:moveTo>
                      <a:pt x="27" y="0"/>
                    </a:moveTo>
                    <a:cubicBezTo>
                      <a:pt x="27" y="0"/>
                      <a:pt x="12" y="21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10" y="2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0"/>
                      <a:pt x="27" y="0"/>
                      <a:pt x="27" y="0"/>
                    </a:cubicBezTo>
                  </a:path>
                </a:pathLst>
              </a:custGeom>
              <a:solidFill>
                <a:srgbClr val="9F9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6" name="Freeform 245">
                <a:extLst>
                  <a:ext uri="{FF2B5EF4-FFF2-40B4-BE49-F238E27FC236}">
                    <a16:creationId xmlns:a16="http://schemas.microsoft.com/office/drawing/2014/main" id="{A0E5697D-D1C9-4DFE-BB7E-7BD917635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3" y="2177"/>
                <a:ext cx="67" cy="19"/>
              </a:xfrm>
              <a:custGeom>
                <a:avLst/>
                <a:gdLst>
                  <a:gd name="T0" fmla="*/ 0 w 124"/>
                  <a:gd name="T1" fmla="*/ 3 h 35"/>
                  <a:gd name="T2" fmla="*/ 0 w 124"/>
                  <a:gd name="T3" fmla="*/ 3 h 35"/>
                  <a:gd name="T4" fmla="*/ 5 w 124"/>
                  <a:gd name="T5" fmla="*/ 0 h 35"/>
                  <a:gd name="T6" fmla="*/ 121 w 124"/>
                  <a:gd name="T7" fmla="*/ 27 h 35"/>
                  <a:gd name="T8" fmla="*/ 124 w 124"/>
                  <a:gd name="T9" fmla="*/ 32 h 35"/>
                  <a:gd name="T10" fmla="*/ 119 w 124"/>
                  <a:gd name="T11" fmla="*/ 34 h 35"/>
                  <a:gd name="T12" fmla="*/ 3 w 124"/>
                  <a:gd name="T13" fmla="*/ 8 h 35"/>
                  <a:gd name="T14" fmla="*/ 0 w 124"/>
                  <a:gd name="T15" fmla="*/ 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4" h="35">
                    <a:moveTo>
                      <a:pt x="0" y="3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121" y="27"/>
                      <a:pt x="121" y="27"/>
                      <a:pt x="121" y="27"/>
                    </a:cubicBezTo>
                    <a:cubicBezTo>
                      <a:pt x="123" y="28"/>
                      <a:pt x="124" y="30"/>
                      <a:pt x="124" y="32"/>
                    </a:cubicBezTo>
                    <a:cubicBezTo>
                      <a:pt x="123" y="34"/>
                      <a:pt x="121" y="35"/>
                      <a:pt x="119" y="34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lose/>
                  </a:path>
                </a:pathLst>
              </a:custGeom>
              <a:solidFill>
                <a:srgbClr val="C9B6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7" name="Freeform 246">
                <a:extLst>
                  <a:ext uri="{FF2B5EF4-FFF2-40B4-BE49-F238E27FC236}">
                    <a16:creationId xmlns:a16="http://schemas.microsoft.com/office/drawing/2014/main" id="{FE8B05E2-E65A-4E4F-9AFA-216D5FC52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3" y="1025"/>
                <a:ext cx="30" cy="7"/>
              </a:xfrm>
              <a:custGeom>
                <a:avLst/>
                <a:gdLst>
                  <a:gd name="T0" fmla="*/ 42 w 54"/>
                  <a:gd name="T1" fmla="*/ 0 h 14"/>
                  <a:gd name="T2" fmla="*/ 12 w 54"/>
                  <a:gd name="T3" fmla="*/ 0 h 14"/>
                  <a:gd name="T4" fmla="*/ 0 w 54"/>
                  <a:gd name="T5" fmla="*/ 12 h 14"/>
                  <a:gd name="T6" fmla="*/ 0 w 54"/>
                  <a:gd name="T7" fmla="*/ 14 h 14"/>
                  <a:gd name="T8" fmla="*/ 54 w 54"/>
                  <a:gd name="T9" fmla="*/ 14 h 14"/>
                  <a:gd name="T10" fmla="*/ 54 w 54"/>
                  <a:gd name="T11" fmla="*/ 12 h 14"/>
                  <a:gd name="T12" fmla="*/ 42 w 54"/>
                  <a:gd name="T1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14">
                    <a:moveTo>
                      <a:pt x="42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6"/>
                      <a:pt x="0" y="1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54" y="14"/>
                      <a:pt x="54" y="14"/>
                      <a:pt x="54" y="14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54" y="6"/>
                      <a:pt x="49" y="0"/>
                      <a:pt x="42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8" name="Freeform 247">
                <a:extLst>
                  <a:ext uri="{FF2B5EF4-FFF2-40B4-BE49-F238E27FC236}">
                    <a16:creationId xmlns:a16="http://schemas.microsoft.com/office/drawing/2014/main" id="{40C5B921-85EC-4D97-B1CB-6B01CA33D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1030"/>
                <a:ext cx="44" cy="159"/>
              </a:xfrm>
              <a:custGeom>
                <a:avLst/>
                <a:gdLst>
                  <a:gd name="T0" fmla="*/ 63 w 80"/>
                  <a:gd name="T1" fmla="*/ 0 h 291"/>
                  <a:gd name="T2" fmla="*/ 17 w 80"/>
                  <a:gd name="T3" fmla="*/ 0 h 291"/>
                  <a:gd name="T4" fmla="*/ 0 w 80"/>
                  <a:gd name="T5" fmla="*/ 17 h 291"/>
                  <a:gd name="T6" fmla="*/ 0 w 80"/>
                  <a:gd name="T7" fmla="*/ 275 h 291"/>
                  <a:gd name="T8" fmla="*/ 17 w 80"/>
                  <a:gd name="T9" fmla="*/ 291 h 291"/>
                  <a:gd name="T10" fmla="*/ 63 w 80"/>
                  <a:gd name="T11" fmla="*/ 291 h 291"/>
                  <a:gd name="T12" fmla="*/ 80 w 80"/>
                  <a:gd name="T13" fmla="*/ 275 h 291"/>
                  <a:gd name="T14" fmla="*/ 80 w 80"/>
                  <a:gd name="T15" fmla="*/ 17 h 291"/>
                  <a:gd name="T16" fmla="*/ 63 w 80"/>
                  <a:gd name="T17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291">
                    <a:moveTo>
                      <a:pt x="63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275"/>
                      <a:pt x="0" y="275"/>
                      <a:pt x="0" y="275"/>
                    </a:cubicBezTo>
                    <a:cubicBezTo>
                      <a:pt x="0" y="284"/>
                      <a:pt x="8" y="291"/>
                      <a:pt x="17" y="291"/>
                    </a:cubicBezTo>
                    <a:cubicBezTo>
                      <a:pt x="63" y="291"/>
                      <a:pt x="63" y="291"/>
                      <a:pt x="63" y="291"/>
                    </a:cubicBezTo>
                    <a:cubicBezTo>
                      <a:pt x="72" y="291"/>
                      <a:pt x="80" y="284"/>
                      <a:pt x="80" y="275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80" y="8"/>
                      <a:pt x="72" y="0"/>
                      <a:pt x="63" y="0"/>
                    </a:cubicBezTo>
                  </a:path>
                </a:pathLst>
              </a:custGeom>
              <a:solidFill>
                <a:srgbClr val="6550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9" name="Freeform 248">
                <a:extLst>
                  <a:ext uri="{FF2B5EF4-FFF2-40B4-BE49-F238E27FC236}">
                    <a16:creationId xmlns:a16="http://schemas.microsoft.com/office/drawing/2014/main" id="{655172B2-48DE-4394-A3EB-70C3F8E6B5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1141"/>
                <a:ext cx="44" cy="48"/>
              </a:xfrm>
              <a:custGeom>
                <a:avLst/>
                <a:gdLst>
                  <a:gd name="T0" fmla="*/ 80 w 80"/>
                  <a:gd name="T1" fmla="*/ 0 h 88"/>
                  <a:gd name="T2" fmla="*/ 80 w 80"/>
                  <a:gd name="T3" fmla="*/ 69 h 88"/>
                  <a:gd name="T4" fmla="*/ 65 w 80"/>
                  <a:gd name="T5" fmla="*/ 88 h 88"/>
                  <a:gd name="T6" fmla="*/ 15 w 80"/>
                  <a:gd name="T7" fmla="*/ 88 h 88"/>
                  <a:gd name="T8" fmla="*/ 0 w 80"/>
                  <a:gd name="T9" fmla="*/ 69 h 88"/>
                  <a:gd name="T10" fmla="*/ 0 w 80"/>
                  <a:gd name="T11" fmla="*/ 0 h 88"/>
                  <a:gd name="T12" fmla="*/ 80 w 80"/>
                  <a:gd name="T13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" h="88">
                    <a:moveTo>
                      <a:pt x="80" y="0"/>
                    </a:moveTo>
                    <a:cubicBezTo>
                      <a:pt x="80" y="69"/>
                      <a:pt x="80" y="69"/>
                      <a:pt x="80" y="69"/>
                    </a:cubicBezTo>
                    <a:cubicBezTo>
                      <a:pt x="80" y="80"/>
                      <a:pt x="73" y="88"/>
                      <a:pt x="65" y="88"/>
                    </a:cubicBezTo>
                    <a:cubicBezTo>
                      <a:pt x="15" y="88"/>
                      <a:pt x="15" y="88"/>
                      <a:pt x="15" y="88"/>
                    </a:cubicBezTo>
                    <a:cubicBezTo>
                      <a:pt x="7" y="88"/>
                      <a:pt x="0" y="80"/>
                      <a:pt x="0" y="6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0" y="0"/>
                      <a:pt x="80" y="0"/>
                      <a:pt x="80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0" name="Rectangle 249">
                <a:extLst>
                  <a:ext uri="{FF2B5EF4-FFF2-40B4-BE49-F238E27FC236}">
                    <a16:creationId xmlns:a16="http://schemas.microsoft.com/office/drawing/2014/main" id="{3091854D-1B18-4313-A1D8-42500ABA98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74"/>
                <a:ext cx="44" cy="4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1" name="Rectangle 250">
                <a:extLst>
                  <a:ext uri="{FF2B5EF4-FFF2-40B4-BE49-F238E27FC236}">
                    <a16:creationId xmlns:a16="http://schemas.microsoft.com/office/drawing/2014/main" id="{8DAD6FC0-0AA0-48A1-9D35-B1068558E2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74"/>
                <a:ext cx="44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2" name="Rectangle 251">
                <a:extLst>
                  <a:ext uri="{FF2B5EF4-FFF2-40B4-BE49-F238E27FC236}">
                    <a16:creationId xmlns:a16="http://schemas.microsoft.com/office/drawing/2014/main" id="{634E3984-85B7-43CE-9614-1B4FE2FC1D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9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3" name="Rectangle 252">
                <a:extLst>
                  <a:ext uri="{FF2B5EF4-FFF2-40B4-BE49-F238E27FC236}">
                    <a16:creationId xmlns:a16="http://schemas.microsoft.com/office/drawing/2014/main" id="{95DA32BD-DD37-4FB2-923E-367A8F69D9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9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4" name="Rectangle 253">
                <a:extLst>
                  <a:ext uri="{FF2B5EF4-FFF2-40B4-BE49-F238E27FC236}">
                    <a16:creationId xmlns:a16="http://schemas.microsoft.com/office/drawing/2014/main" id="{D168FD2D-C5E7-4C2D-98F7-88D25F7AB4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3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5" name="Rectangle 254">
                <a:extLst>
                  <a:ext uri="{FF2B5EF4-FFF2-40B4-BE49-F238E27FC236}">
                    <a16:creationId xmlns:a16="http://schemas.microsoft.com/office/drawing/2014/main" id="{F4E935A2-D583-43B9-9369-71B06A247D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3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6" name="Rectangle 255">
                <a:extLst>
                  <a:ext uri="{FF2B5EF4-FFF2-40B4-BE49-F238E27FC236}">
                    <a16:creationId xmlns:a16="http://schemas.microsoft.com/office/drawing/2014/main" id="{2F3219AB-F644-465D-A817-096816C80F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7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7" name="Rectangle 256">
                <a:extLst>
                  <a:ext uri="{FF2B5EF4-FFF2-40B4-BE49-F238E27FC236}">
                    <a16:creationId xmlns:a16="http://schemas.microsoft.com/office/drawing/2014/main" id="{B6C7A092-5083-49F0-B2DA-E660375B36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7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8" name="Rectangle 257">
                <a:extLst>
                  <a:ext uri="{FF2B5EF4-FFF2-40B4-BE49-F238E27FC236}">
                    <a16:creationId xmlns:a16="http://schemas.microsoft.com/office/drawing/2014/main" id="{C00B78D8-FE7E-43B5-8A11-09451E29D9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1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9" name="Rectangle 258">
                <a:extLst>
                  <a:ext uri="{FF2B5EF4-FFF2-40B4-BE49-F238E27FC236}">
                    <a16:creationId xmlns:a16="http://schemas.microsoft.com/office/drawing/2014/main" id="{E905F2BF-0198-4693-AC8D-E085EDA042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1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0" name="Rectangle 259">
                <a:extLst>
                  <a:ext uri="{FF2B5EF4-FFF2-40B4-BE49-F238E27FC236}">
                    <a16:creationId xmlns:a16="http://schemas.microsoft.com/office/drawing/2014/main" id="{42559889-AE7B-4CAE-B2D9-16ECDF2D3C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45"/>
                <a:ext cx="44" cy="4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1" name="Rectangle 260">
                <a:extLst>
                  <a:ext uri="{FF2B5EF4-FFF2-40B4-BE49-F238E27FC236}">
                    <a16:creationId xmlns:a16="http://schemas.microsoft.com/office/drawing/2014/main" id="{F716DB4A-6603-44C4-B6A5-5B961D5725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45"/>
                <a:ext cx="44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2" name="Freeform 261">
                <a:extLst>
                  <a:ext uri="{FF2B5EF4-FFF2-40B4-BE49-F238E27FC236}">
                    <a16:creationId xmlns:a16="http://schemas.microsoft.com/office/drawing/2014/main" id="{89B3A667-F707-4D14-8899-78F04E834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8" y="1123"/>
                <a:ext cx="23" cy="18"/>
              </a:xfrm>
              <a:custGeom>
                <a:avLst/>
                <a:gdLst>
                  <a:gd name="T0" fmla="*/ 29 w 41"/>
                  <a:gd name="T1" fmla="*/ 0 h 33"/>
                  <a:gd name="T2" fmla="*/ 11 w 41"/>
                  <a:gd name="T3" fmla="*/ 0 h 33"/>
                  <a:gd name="T4" fmla="*/ 0 w 41"/>
                  <a:gd name="T5" fmla="*/ 7 h 33"/>
                  <a:gd name="T6" fmla="*/ 8 w 41"/>
                  <a:gd name="T7" fmla="*/ 4 h 33"/>
                  <a:gd name="T8" fmla="*/ 26 w 41"/>
                  <a:gd name="T9" fmla="*/ 4 h 33"/>
                  <a:gd name="T10" fmla="*/ 38 w 41"/>
                  <a:gd name="T11" fmla="*/ 16 h 33"/>
                  <a:gd name="T12" fmla="*/ 38 w 41"/>
                  <a:gd name="T13" fmla="*/ 33 h 33"/>
                  <a:gd name="T14" fmla="*/ 41 w 41"/>
                  <a:gd name="T15" fmla="*/ 33 h 33"/>
                  <a:gd name="T16" fmla="*/ 41 w 41"/>
                  <a:gd name="T17" fmla="*/ 13 h 33"/>
                  <a:gd name="T18" fmla="*/ 29 w 41"/>
                  <a:gd name="T1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33">
                    <a:moveTo>
                      <a:pt x="29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6" y="0"/>
                      <a:pt x="2" y="3"/>
                      <a:pt x="0" y="7"/>
                    </a:cubicBezTo>
                    <a:cubicBezTo>
                      <a:pt x="2" y="5"/>
                      <a:pt x="5" y="4"/>
                      <a:pt x="8" y="4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32" y="4"/>
                      <a:pt x="38" y="9"/>
                      <a:pt x="38" y="16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41" y="6"/>
                      <a:pt x="35" y="0"/>
                      <a:pt x="29" y="0"/>
                    </a:cubicBezTo>
                  </a:path>
                </a:pathLst>
              </a:custGeom>
              <a:solidFill>
                <a:srgbClr val="503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3" name="Freeform 262">
                <a:extLst>
                  <a:ext uri="{FF2B5EF4-FFF2-40B4-BE49-F238E27FC236}">
                    <a16:creationId xmlns:a16="http://schemas.microsoft.com/office/drawing/2014/main" id="{FCA69BE7-CE15-473A-9C12-3BEAA70EB9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9" y="1141"/>
                <a:ext cx="2" cy="48"/>
              </a:xfrm>
              <a:custGeom>
                <a:avLst/>
                <a:gdLst>
                  <a:gd name="T0" fmla="*/ 3 w 3"/>
                  <a:gd name="T1" fmla="*/ 67 h 87"/>
                  <a:gd name="T2" fmla="*/ 0 w 3"/>
                  <a:gd name="T3" fmla="*/ 67 h 87"/>
                  <a:gd name="T4" fmla="*/ 0 w 3"/>
                  <a:gd name="T5" fmla="*/ 87 h 87"/>
                  <a:gd name="T6" fmla="*/ 3 w 3"/>
                  <a:gd name="T7" fmla="*/ 86 h 87"/>
                  <a:gd name="T8" fmla="*/ 3 w 3"/>
                  <a:gd name="T9" fmla="*/ 67 h 87"/>
                  <a:gd name="T10" fmla="*/ 3 w 3"/>
                  <a:gd name="T11" fmla="*/ 56 h 87"/>
                  <a:gd name="T12" fmla="*/ 0 w 3"/>
                  <a:gd name="T13" fmla="*/ 56 h 87"/>
                  <a:gd name="T14" fmla="*/ 0 w 3"/>
                  <a:gd name="T15" fmla="*/ 61 h 87"/>
                  <a:gd name="T16" fmla="*/ 3 w 3"/>
                  <a:gd name="T17" fmla="*/ 61 h 87"/>
                  <a:gd name="T18" fmla="*/ 3 w 3"/>
                  <a:gd name="T19" fmla="*/ 56 h 87"/>
                  <a:gd name="T20" fmla="*/ 3 w 3"/>
                  <a:gd name="T21" fmla="*/ 46 h 87"/>
                  <a:gd name="T22" fmla="*/ 0 w 3"/>
                  <a:gd name="T23" fmla="*/ 46 h 87"/>
                  <a:gd name="T24" fmla="*/ 0 w 3"/>
                  <a:gd name="T25" fmla="*/ 51 h 87"/>
                  <a:gd name="T26" fmla="*/ 3 w 3"/>
                  <a:gd name="T27" fmla="*/ 51 h 87"/>
                  <a:gd name="T28" fmla="*/ 3 w 3"/>
                  <a:gd name="T29" fmla="*/ 46 h 87"/>
                  <a:gd name="T30" fmla="*/ 3 w 3"/>
                  <a:gd name="T31" fmla="*/ 35 h 87"/>
                  <a:gd name="T32" fmla="*/ 0 w 3"/>
                  <a:gd name="T33" fmla="*/ 35 h 87"/>
                  <a:gd name="T34" fmla="*/ 0 w 3"/>
                  <a:gd name="T35" fmla="*/ 40 h 87"/>
                  <a:gd name="T36" fmla="*/ 3 w 3"/>
                  <a:gd name="T37" fmla="*/ 40 h 87"/>
                  <a:gd name="T38" fmla="*/ 3 w 3"/>
                  <a:gd name="T39" fmla="*/ 35 h 87"/>
                  <a:gd name="T40" fmla="*/ 3 w 3"/>
                  <a:gd name="T41" fmla="*/ 24 h 87"/>
                  <a:gd name="T42" fmla="*/ 0 w 3"/>
                  <a:gd name="T43" fmla="*/ 24 h 87"/>
                  <a:gd name="T44" fmla="*/ 0 w 3"/>
                  <a:gd name="T45" fmla="*/ 29 h 87"/>
                  <a:gd name="T46" fmla="*/ 3 w 3"/>
                  <a:gd name="T47" fmla="*/ 29 h 87"/>
                  <a:gd name="T48" fmla="*/ 3 w 3"/>
                  <a:gd name="T49" fmla="*/ 24 h 87"/>
                  <a:gd name="T50" fmla="*/ 3 w 3"/>
                  <a:gd name="T51" fmla="*/ 14 h 87"/>
                  <a:gd name="T52" fmla="*/ 0 w 3"/>
                  <a:gd name="T53" fmla="*/ 14 h 87"/>
                  <a:gd name="T54" fmla="*/ 0 w 3"/>
                  <a:gd name="T55" fmla="*/ 19 h 87"/>
                  <a:gd name="T56" fmla="*/ 3 w 3"/>
                  <a:gd name="T57" fmla="*/ 19 h 87"/>
                  <a:gd name="T58" fmla="*/ 3 w 3"/>
                  <a:gd name="T59" fmla="*/ 14 h 87"/>
                  <a:gd name="T60" fmla="*/ 3 w 3"/>
                  <a:gd name="T61" fmla="*/ 0 h 87"/>
                  <a:gd name="T62" fmla="*/ 0 w 3"/>
                  <a:gd name="T63" fmla="*/ 0 h 87"/>
                  <a:gd name="T64" fmla="*/ 0 w 3"/>
                  <a:gd name="T65" fmla="*/ 8 h 87"/>
                  <a:gd name="T66" fmla="*/ 3 w 3"/>
                  <a:gd name="T67" fmla="*/ 8 h 87"/>
                  <a:gd name="T68" fmla="*/ 3 w 3"/>
                  <a:gd name="T6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" h="87">
                    <a:moveTo>
                      <a:pt x="3" y="67"/>
                    </a:moveTo>
                    <a:cubicBezTo>
                      <a:pt x="0" y="67"/>
                      <a:pt x="0" y="67"/>
                      <a:pt x="0" y="67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1" y="87"/>
                      <a:pt x="2" y="86"/>
                      <a:pt x="3" y="86"/>
                    </a:cubicBezTo>
                    <a:cubicBezTo>
                      <a:pt x="3" y="67"/>
                      <a:pt x="3" y="67"/>
                      <a:pt x="3" y="67"/>
                    </a:cubicBezTo>
                    <a:moveTo>
                      <a:pt x="3" y="56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3" y="56"/>
                      <a:pt x="3" y="56"/>
                      <a:pt x="3" y="56"/>
                    </a:cubicBezTo>
                    <a:moveTo>
                      <a:pt x="3" y="46"/>
                    </a:moveTo>
                    <a:cubicBezTo>
                      <a:pt x="0" y="46"/>
                      <a:pt x="0" y="46"/>
                      <a:pt x="0" y="46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3" y="46"/>
                      <a:pt x="3" y="46"/>
                      <a:pt x="3" y="46"/>
                    </a:cubicBezTo>
                    <a:moveTo>
                      <a:pt x="3" y="35"/>
                    </a:moveTo>
                    <a:cubicBezTo>
                      <a:pt x="0" y="35"/>
                      <a:pt x="0" y="35"/>
                      <a:pt x="0" y="35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35"/>
                      <a:pt x="3" y="35"/>
                      <a:pt x="3" y="35"/>
                    </a:cubicBezTo>
                    <a:moveTo>
                      <a:pt x="3" y="24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24"/>
                      <a:pt x="3" y="24"/>
                      <a:pt x="3" y="24"/>
                    </a:cubicBezTo>
                    <a:moveTo>
                      <a:pt x="3" y="14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4"/>
                      <a:pt x="3" y="14"/>
                      <a:pt x="3" y="14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4" name="Rectangle 263">
                <a:extLst>
                  <a:ext uri="{FF2B5EF4-FFF2-40B4-BE49-F238E27FC236}">
                    <a16:creationId xmlns:a16="http://schemas.microsoft.com/office/drawing/2014/main" id="{B42DA2AE-55A1-41DC-958B-EAC0B85B07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74"/>
                <a:ext cx="2" cy="4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5" name="Rectangle 264">
                <a:extLst>
                  <a:ext uri="{FF2B5EF4-FFF2-40B4-BE49-F238E27FC236}">
                    <a16:creationId xmlns:a16="http://schemas.microsoft.com/office/drawing/2014/main" id="{B787B2DA-7C09-4B87-AC9E-E40B533173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74"/>
                <a:ext cx="2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6" name="Rectangle 265">
                <a:extLst>
                  <a:ext uri="{FF2B5EF4-FFF2-40B4-BE49-F238E27FC236}">
                    <a16:creationId xmlns:a16="http://schemas.microsoft.com/office/drawing/2014/main" id="{2D80265E-C8C5-47DE-BD66-729FEBE53E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9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7" name="Rectangle 266">
                <a:extLst>
                  <a:ext uri="{FF2B5EF4-FFF2-40B4-BE49-F238E27FC236}">
                    <a16:creationId xmlns:a16="http://schemas.microsoft.com/office/drawing/2014/main" id="{A863F956-6273-4925-9F5C-3F70B0571F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9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8" name="Rectangle 267">
                <a:extLst>
                  <a:ext uri="{FF2B5EF4-FFF2-40B4-BE49-F238E27FC236}">
                    <a16:creationId xmlns:a16="http://schemas.microsoft.com/office/drawing/2014/main" id="{759AEB5A-524C-4B0E-B4E0-AA8CB0F190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3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9" name="Rectangle 268">
                <a:extLst>
                  <a:ext uri="{FF2B5EF4-FFF2-40B4-BE49-F238E27FC236}">
                    <a16:creationId xmlns:a16="http://schemas.microsoft.com/office/drawing/2014/main" id="{6F6E782A-0381-43A6-867E-A7AAED6723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3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0" name="Rectangle 269">
                <a:extLst>
                  <a:ext uri="{FF2B5EF4-FFF2-40B4-BE49-F238E27FC236}">
                    <a16:creationId xmlns:a16="http://schemas.microsoft.com/office/drawing/2014/main" id="{CA3056B0-6482-4AD9-91A5-04C12019C9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7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1" name="Rectangle 270">
                <a:extLst>
                  <a:ext uri="{FF2B5EF4-FFF2-40B4-BE49-F238E27FC236}">
                    <a16:creationId xmlns:a16="http://schemas.microsoft.com/office/drawing/2014/main" id="{3DA2B673-739A-4FF9-A41E-A245EDB8A0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7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2" name="Rectangle 271">
                <a:extLst>
                  <a:ext uri="{FF2B5EF4-FFF2-40B4-BE49-F238E27FC236}">
                    <a16:creationId xmlns:a16="http://schemas.microsoft.com/office/drawing/2014/main" id="{22AEC0A4-FBA6-4428-AFE9-C18D3EBA04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1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3" name="Rectangle 272">
                <a:extLst>
                  <a:ext uri="{FF2B5EF4-FFF2-40B4-BE49-F238E27FC236}">
                    <a16:creationId xmlns:a16="http://schemas.microsoft.com/office/drawing/2014/main" id="{E72B4B22-E1B3-4D55-AAC3-A3464D176F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1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4" name="Rectangle 273">
                <a:extLst>
                  <a:ext uri="{FF2B5EF4-FFF2-40B4-BE49-F238E27FC236}">
                    <a16:creationId xmlns:a16="http://schemas.microsoft.com/office/drawing/2014/main" id="{29F5F830-D260-4DD1-8BF5-6403171634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45"/>
                <a:ext cx="2" cy="4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5" name="Rectangle 274">
                <a:extLst>
                  <a:ext uri="{FF2B5EF4-FFF2-40B4-BE49-F238E27FC236}">
                    <a16:creationId xmlns:a16="http://schemas.microsoft.com/office/drawing/2014/main" id="{CCED615F-7B5B-4F65-AD62-2E2A9CEDB9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45"/>
                <a:ext cx="2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6" name="Freeform 275">
                <a:extLst>
                  <a:ext uri="{FF2B5EF4-FFF2-40B4-BE49-F238E27FC236}">
                    <a16:creationId xmlns:a16="http://schemas.microsoft.com/office/drawing/2014/main" id="{82C17471-658F-4D79-86A8-6B7C1E3058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6" y="1125"/>
                <a:ext cx="23" cy="66"/>
              </a:xfrm>
              <a:custGeom>
                <a:avLst/>
                <a:gdLst>
                  <a:gd name="T0" fmla="*/ 30 w 42"/>
                  <a:gd name="T1" fmla="*/ 0 h 121"/>
                  <a:gd name="T2" fmla="*/ 12 w 42"/>
                  <a:gd name="T3" fmla="*/ 0 h 121"/>
                  <a:gd name="T4" fmla="*/ 0 w 42"/>
                  <a:gd name="T5" fmla="*/ 12 h 121"/>
                  <a:gd name="T6" fmla="*/ 0 w 42"/>
                  <a:gd name="T7" fmla="*/ 121 h 121"/>
                  <a:gd name="T8" fmla="*/ 42 w 42"/>
                  <a:gd name="T9" fmla="*/ 121 h 121"/>
                  <a:gd name="T10" fmla="*/ 42 w 42"/>
                  <a:gd name="T11" fmla="*/ 12 h 121"/>
                  <a:gd name="T12" fmla="*/ 30 w 42"/>
                  <a:gd name="T1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121">
                    <a:moveTo>
                      <a:pt x="30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5"/>
                      <a:pt x="0" y="12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42" y="121"/>
                      <a:pt x="42" y="121"/>
                      <a:pt x="42" y="121"/>
                    </a:cubicBezTo>
                    <a:cubicBezTo>
                      <a:pt x="42" y="12"/>
                      <a:pt x="42" y="12"/>
                      <a:pt x="42" y="12"/>
                    </a:cubicBezTo>
                    <a:cubicBezTo>
                      <a:pt x="42" y="5"/>
                      <a:pt x="36" y="0"/>
                      <a:pt x="30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7" name="Freeform 276">
                <a:extLst>
                  <a:ext uri="{FF2B5EF4-FFF2-40B4-BE49-F238E27FC236}">
                    <a16:creationId xmlns:a16="http://schemas.microsoft.com/office/drawing/2014/main" id="{2E44F01F-A831-45EE-83F9-BA19891841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2" y="1025"/>
                <a:ext cx="15" cy="8"/>
              </a:xfrm>
              <a:custGeom>
                <a:avLst/>
                <a:gdLst>
                  <a:gd name="T0" fmla="*/ 19 w 27"/>
                  <a:gd name="T1" fmla="*/ 11 h 16"/>
                  <a:gd name="T2" fmla="*/ 19 w 27"/>
                  <a:gd name="T3" fmla="*/ 11 h 16"/>
                  <a:gd name="T4" fmla="*/ 27 w 27"/>
                  <a:gd name="T5" fmla="*/ 16 h 16"/>
                  <a:gd name="T6" fmla="*/ 19 w 27"/>
                  <a:gd name="T7" fmla="*/ 11 h 16"/>
                  <a:gd name="T8" fmla="*/ 8 w 27"/>
                  <a:gd name="T9" fmla="*/ 0 h 16"/>
                  <a:gd name="T10" fmla="*/ 0 w 27"/>
                  <a:gd name="T11" fmla="*/ 0 h 16"/>
                  <a:gd name="T12" fmla="*/ 0 w 27"/>
                  <a:gd name="T13" fmla="*/ 0 h 16"/>
                  <a:gd name="T14" fmla="*/ 7 w 27"/>
                  <a:gd name="T15" fmla="*/ 0 h 16"/>
                  <a:gd name="T16" fmla="*/ 16 w 27"/>
                  <a:gd name="T17" fmla="*/ 4 h 16"/>
                  <a:gd name="T18" fmla="*/ 8 w 27"/>
                  <a:gd name="T1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16">
                    <a:moveTo>
                      <a:pt x="19" y="11"/>
                    </a:moveTo>
                    <a:cubicBezTo>
                      <a:pt x="19" y="11"/>
                      <a:pt x="19" y="11"/>
                      <a:pt x="19" y="11"/>
                    </a:cubicBezTo>
                    <a:cubicBezTo>
                      <a:pt x="22" y="12"/>
                      <a:pt x="25" y="13"/>
                      <a:pt x="27" y="16"/>
                    </a:cubicBezTo>
                    <a:cubicBezTo>
                      <a:pt x="25" y="13"/>
                      <a:pt x="22" y="11"/>
                      <a:pt x="19" y="11"/>
                    </a:cubicBezTo>
                    <a:moveTo>
                      <a:pt x="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0" y="0"/>
                      <a:pt x="13" y="2"/>
                      <a:pt x="16" y="4"/>
                    </a:cubicBezTo>
                    <a:cubicBezTo>
                      <a:pt x="14" y="2"/>
                      <a:pt x="11" y="0"/>
                      <a:pt x="8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8" name="Freeform 277">
                <a:extLst>
                  <a:ext uri="{FF2B5EF4-FFF2-40B4-BE49-F238E27FC236}">
                    <a16:creationId xmlns:a16="http://schemas.microsoft.com/office/drawing/2014/main" id="{69CFBF8E-5DC4-4762-9DBA-577BD6D609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" y="1025"/>
                <a:ext cx="11" cy="6"/>
              </a:xfrm>
              <a:custGeom>
                <a:avLst/>
                <a:gdLst>
                  <a:gd name="T0" fmla="*/ 7 w 19"/>
                  <a:gd name="T1" fmla="*/ 0 h 11"/>
                  <a:gd name="T2" fmla="*/ 0 w 19"/>
                  <a:gd name="T3" fmla="*/ 0 h 11"/>
                  <a:gd name="T4" fmla="*/ 10 w 19"/>
                  <a:gd name="T5" fmla="*/ 10 h 11"/>
                  <a:gd name="T6" fmla="*/ 15 w 19"/>
                  <a:gd name="T7" fmla="*/ 10 h 11"/>
                  <a:gd name="T8" fmla="*/ 19 w 19"/>
                  <a:gd name="T9" fmla="*/ 11 h 11"/>
                  <a:gd name="T10" fmla="*/ 19 w 19"/>
                  <a:gd name="T11" fmla="*/ 11 h 11"/>
                  <a:gd name="T12" fmla="*/ 19 w 19"/>
                  <a:gd name="T13" fmla="*/ 11 h 11"/>
                  <a:gd name="T14" fmla="*/ 16 w 19"/>
                  <a:gd name="T15" fmla="*/ 4 h 11"/>
                  <a:gd name="T16" fmla="*/ 7 w 19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1">
                    <a:moveTo>
                      <a:pt x="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0"/>
                      <a:pt x="9" y="5"/>
                      <a:pt x="10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6" y="10"/>
                      <a:pt x="18" y="11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8" y="8"/>
                      <a:pt x="17" y="6"/>
                      <a:pt x="16" y="4"/>
                    </a:cubicBezTo>
                    <a:cubicBezTo>
                      <a:pt x="13" y="2"/>
                      <a:pt x="10" y="0"/>
                      <a:pt x="7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9" name="Freeform 278">
                <a:extLst>
                  <a:ext uri="{FF2B5EF4-FFF2-40B4-BE49-F238E27FC236}">
                    <a16:creationId xmlns:a16="http://schemas.microsoft.com/office/drawing/2014/main" id="{1EE55227-8407-4DBC-9D2E-99CE025A8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8" y="1030"/>
                <a:ext cx="12" cy="111"/>
              </a:xfrm>
              <a:custGeom>
                <a:avLst/>
                <a:gdLst>
                  <a:gd name="T0" fmla="*/ 5 w 22"/>
                  <a:gd name="T1" fmla="*/ 0 h 203"/>
                  <a:gd name="T2" fmla="*/ 0 w 22"/>
                  <a:gd name="T3" fmla="*/ 0 h 203"/>
                  <a:gd name="T4" fmla="*/ 0 w 22"/>
                  <a:gd name="T5" fmla="*/ 1 h 203"/>
                  <a:gd name="T6" fmla="*/ 13 w 22"/>
                  <a:gd name="T7" fmla="*/ 20 h 203"/>
                  <a:gd name="T8" fmla="*/ 13 w 22"/>
                  <a:gd name="T9" fmla="*/ 203 h 203"/>
                  <a:gd name="T10" fmla="*/ 22 w 22"/>
                  <a:gd name="T11" fmla="*/ 203 h 203"/>
                  <a:gd name="T12" fmla="*/ 22 w 22"/>
                  <a:gd name="T13" fmla="*/ 20 h 203"/>
                  <a:gd name="T14" fmla="*/ 17 w 22"/>
                  <a:gd name="T15" fmla="*/ 6 h 203"/>
                  <a:gd name="T16" fmla="*/ 9 w 22"/>
                  <a:gd name="T17" fmla="*/ 1 h 203"/>
                  <a:gd name="T18" fmla="*/ 5 w 22"/>
                  <a:gd name="T19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03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7" y="2"/>
                      <a:pt x="13" y="10"/>
                      <a:pt x="13" y="20"/>
                    </a:cubicBezTo>
                    <a:cubicBezTo>
                      <a:pt x="13" y="203"/>
                      <a:pt x="13" y="203"/>
                      <a:pt x="13" y="203"/>
                    </a:cubicBezTo>
                    <a:cubicBezTo>
                      <a:pt x="22" y="203"/>
                      <a:pt x="22" y="203"/>
                      <a:pt x="22" y="203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2" y="14"/>
                      <a:pt x="20" y="9"/>
                      <a:pt x="17" y="6"/>
                    </a:cubicBezTo>
                    <a:cubicBezTo>
                      <a:pt x="15" y="3"/>
                      <a:pt x="12" y="2"/>
                      <a:pt x="9" y="1"/>
                    </a:cubicBezTo>
                    <a:cubicBezTo>
                      <a:pt x="8" y="1"/>
                      <a:pt x="6" y="0"/>
                      <a:pt x="5" y="0"/>
                    </a:cubicBezTo>
                  </a:path>
                </a:pathLst>
              </a:custGeom>
              <a:solidFill>
                <a:srgbClr val="503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0" name="Freeform 279">
                <a:extLst>
                  <a:ext uri="{FF2B5EF4-FFF2-40B4-BE49-F238E27FC236}">
                    <a16:creationId xmlns:a16="http://schemas.microsoft.com/office/drawing/2014/main" id="{714F2CF0-A580-4F7B-B7E0-C32E076A34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1" y="1141"/>
                <a:ext cx="9" cy="48"/>
              </a:xfrm>
              <a:custGeom>
                <a:avLst/>
                <a:gdLst>
                  <a:gd name="T0" fmla="*/ 16 w 16"/>
                  <a:gd name="T1" fmla="*/ 67 h 88"/>
                  <a:gd name="T2" fmla="*/ 7 w 16"/>
                  <a:gd name="T3" fmla="*/ 67 h 88"/>
                  <a:gd name="T4" fmla="*/ 7 w 16"/>
                  <a:gd name="T5" fmla="*/ 69 h 88"/>
                  <a:gd name="T6" fmla="*/ 0 w 16"/>
                  <a:gd name="T7" fmla="*/ 86 h 88"/>
                  <a:gd name="T8" fmla="*/ 0 w 16"/>
                  <a:gd name="T9" fmla="*/ 88 h 88"/>
                  <a:gd name="T10" fmla="*/ 1 w 16"/>
                  <a:gd name="T11" fmla="*/ 88 h 88"/>
                  <a:gd name="T12" fmla="*/ 16 w 16"/>
                  <a:gd name="T13" fmla="*/ 69 h 88"/>
                  <a:gd name="T14" fmla="*/ 16 w 16"/>
                  <a:gd name="T15" fmla="*/ 67 h 88"/>
                  <a:gd name="T16" fmla="*/ 16 w 16"/>
                  <a:gd name="T17" fmla="*/ 56 h 88"/>
                  <a:gd name="T18" fmla="*/ 7 w 16"/>
                  <a:gd name="T19" fmla="*/ 56 h 88"/>
                  <a:gd name="T20" fmla="*/ 7 w 16"/>
                  <a:gd name="T21" fmla="*/ 61 h 88"/>
                  <a:gd name="T22" fmla="*/ 16 w 16"/>
                  <a:gd name="T23" fmla="*/ 61 h 88"/>
                  <a:gd name="T24" fmla="*/ 16 w 16"/>
                  <a:gd name="T25" fmla="*/ 56 h 88"/>
                  <a:gd name="T26" fmla="*/ 16 w 16"/>
                  <a:gd name="T27" fmla="*/ 46 h 88"/>
                  <a:gd name="T28" fmla="*/ 7 w 16"/>
                  <a:gd name="T29" fmla="*/ 46 h 88"/>
                  <a:gd name="T30" fmla="*/ 7 w 16"/>
                  <a:gd name="T31" fmla="*/ 51 h 88"/>
                  <a:gd name="T32" fmla="*/ 16 w 16"/>
                  <a:gd name="T33" fmla="*/ 51 h 88"/>
                  <a:gd name="T34" fmla="*/ 16 w 16"/>
                  <a:gd name="T35" fmla="*/ 46 h 88"/>
                  <a:gd name="T36" fmla="*/ 16 w 16"/>
                  <a:gd name="T37" fmla="*/ 35 h 88"/>
                  <a:gd name="T38" fmla="*/ 7 w 16"/>
                  <a:gd name="T39" fmla="*/ 35 h 88"/>
                  <a:gd name="T40" fmla="*/ 7 w 16"/>
                  <a:gd name="T41" fmla="*/ 40 h 88"/>
                  <a:gd name="T42" fmla="*/ 16 w 16"/>
                  <a:gd name="T43" fmla="*/ 40 h 88"/>
                  <a:gd name="T44" fmla="*/ 16 w 16"/>
                  <a:gd name="T45" fmla="*/ 35 h 88"/>
                  <a:gd name="T46" fmla="*/ 16 w 16"/>
                  <a:gd name="T47" fmla="*/ 24 h 88"/>
                  <a:gd name="T48" fmla="*/ 7 w 16"/>
                  <a:gd name="T49" fmla="*/ 24 h 88"/>
                  <a:gd name="T50" fmla="*/ 7 w 16"/>
                  <a:gd name="T51" fmla="*/ 29 h 88"/>
                  <a:gd name="T52" fmla="*/ 16 w 16"/>
                  <a:gd name="T53" fmla="*/ 29 h 88"/>
                  <a:gd name="T54" fmla="*/ 16 w 16"/>
                  <a:gd name="T55" fmla="*/ 24 h 88"/>
                  <a:gd name="T56" fmla="*/ 16 w 16"/>
                  <a:gd name="T57" fmla="*/ 14 h 88"/>
                  <a:gd name="T58" fmla="*/ 7 w 16"/>
                  <a:gd name="T59" fmla="*/ 14 h 88"/>
                  <a:gd name="T60" fmla="*/ 7 w 16"/>
                  <a:gd name="T61" fmla="*/ 19 h 88"/>
                  <a:gd name="T62" fmla="*/ 16 w 16"/>
                  <a:gd name="T63" fmla="*/ 19 h 88"/>
                  <a:gd name="T64" fmla="*/ 16 w 16"/>
                  <a:gd name="T65" fmla="*/ 14 h 88"/>
                  <a:gd name="T66" fmla="*/ 16 w 16"/>
                  <a:gd name="T67" fmla="*/ 0 h 88"/>
                  <a:gd name="T68" fmla="*/ 16 w 16"/>
                  <a:gd name="T69" fmla="*/ 0 h 88"/>
                  <a:gd name="T70" fmla="*/ 7 w 16"/>
                  <a:gd name="T71" fmla="*/ 0 h 88"/>
                  <a:gd name="T72" fmla="*/ 7 w 16"/>
                  <a:gd name="T73" fmla="*/ 8 h 88"/>
                  <a:gd name="T74" fmla="*/ 16 w 16"/>
                  <a:gd name="T75" fmla="*/ 8 h 88"/>
                  <a:gd name="T76" fmla="*/ 16 w 16"/>
                  <a:gd name="T77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6" h="88">
                    <a:moveTo>
                      <a:pt x="16" y="67"/>
                    </a:moveTo>
                    <a:cubicBezTo>
                      <a:pt x="7" y="67"/>
                      <a:pt x="7" y="67"/>
                      <a:pt x="7" y="67"/>
                    </a:cubicBezTo>
                    <a:cubicBezTo>
                      <a:pt x="7" y="69"/>
                      <a:pt x="7" y="69"/>
                      <a:pt x="7" y="69"/>
                    </a:cubicBezTo>
                    <a:cubicBezTo>
                      <a:pt x="7" y="76"/>
                      <a:pt x="4" y="82"/>
                      <a:pt x="0" y="86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1" y="88"/>
                      <a:pt x="1" y="88"/>
                      <a:pt x="1" y="88"/>
                    </a:cubicBezTo>
                    <a:cubicBezTo>
                      <a:pt x="9" y="88"/>
                      <a:pt x="16" y="80"/>
                      <a:pt x="16" y="69"/>
                    </a:cubicBezTo>
                    <a:cubicBezTo>
                      <a:pt x="16" y="67"/>
                      <a:pt x="16" y="67"/>
                      <a:pt x="16" y="67"/>
                    </a:cubicBezTo>
                    <a:moveTo>
                      <a:pt x="16" y="56"/>
                    </a:moveTo>
                    <a:cubicBezTo>
                      <a:pt x="7" y="56"/>
                      <a:pt x="7" y="56"/>
                      <a:pt x="7" y="56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16" y="61"/>
                      <a:pt x="16" y="61"/>
                      <a:pt x="16" y="61"/>
                    </a:cubicBezTo>
                    <a:cubicBezTo>
                      <a:pt x="16" y="56"/>
                      <a:pt x="16" y="56"/>
                      <a:pt x="16" y="56"/>
                    </a:cubicBezTo>
                    <a:moveTo>
                      <a:pt x="16" y="4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7" y="51"/>
                      <a:pt x="7" y="51"/>
                      <a:pt x="7" y="51"/>
                    </a:cubicBezTo>
                    <a:cubicBezTo>
                      <a:pt x="16" y="51"/>
                      <a:pt x="16" y="51"/>
                      <a:pt x="16" y="51"/>
                    </a:cubicBezTo>
                    <a:cubicBezTo>
                      <a:pt x="16" y="46"/>
                      <a:pt x="16" y="46"/>
                      <a:pt x="16" y="46"/>
                    </a:cubicBezTo>
                    <a:moveTo>
                      <a:pt x="16" y="35"/>
                    </a:moveTo>
                    <a:cubicBezTo>
                      <a:pt x="7" y="35"/>
                      <a:pt x="7" y="35"/>
                      <a:pt x="7" y="35"/>
                    </a:cubicBezTo>
                    <a:cubicBezTo>
                      <a:pt x="7" y="40"/>
                      <a:pt x="7" y="40"/>
                      <a:pt x="7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35"/>
                      <a:pt x="16" y="35"/>
                      <a:pt x="16" y="35"/>
                    </a:cubicBezTo>
                    <a:moveTo>
                      <a:pt x="16" y="24"/>
                    </a:moveTo>
                    <a:cubicBezTo>
                      <a:pt x="7" y="24"/>
                      <a:pt x="7" y="24"/>
                      <a:pt x="7" y="24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16" y="29"/>
                      <a:pt x="16" y="29"/>
                      <a:pt x="16" y="29"/>
                    </a:cubicBezTo>
                    <a:cubicBezTo>
                      <a:pt x="16" y="24"/>
                      <a:pt x="16" y="24"/>
                      <a:pt x="16" y="24"/>
                    </a:cubicBezTo>
                    <a:moveTo>
                      <a:pt x="16" y="14"/>
                    </a:moveTo>
                    <a:cubicBezTo>
                      <a:pt x="7" y="14"/>
                      <a:pt x="7" y="14"/>
                      <a:pt x="7" y="14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6" y="14"/>
                      <a:pt x="16" y="14"/>
                      <a:pt x="16" y="14"/>
                    </a:cubicBezTo>
                    <a:moveTo>
                      <a:pt x="16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1" name="Freeform 280">
                <a:extLst>
                  <a:ext uri="{FF2B5EF4-FFF2-40B4-BE49-F238E27FC236}">
                    <a16:creationId xmlns:a16="http://schemas.microsoft.com/office/drawing/2014/main" id="{2270E81A-102E-4936-91D0-812548463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74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2" name="Freeform 281">
                <a:extLst>
                  <a:ext uri="{FF2B5EF4-FFF2-40B4-BE49-F238E27FC236}">
                    <a16:creationId xmlns:a16="http://schemas.microsoft.com/office/drawing/2014/main" id="{09F69975-325F-42CF-B807-6624B0AE9F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74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3" name="Freeform 282">
                <a:extLst>
                  <a:ext uri="{FF2B5EF4-FFF2-40B4-BE49-F238E27FC236}">
                    <a16:creationId xmlns:a16="http://schemas.microsoft.com/office/drawing/2014/main" id="{951B4EB7-E605-4E02-BA09-2F95858BA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9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4" name="Freeform 283">
                <a:extLst>
                  <a:ext uri="{FF2B5EF4-FFF2-40B4-BE49-F238E27FC236}">
                    <a16:creationId xmlns:a16="http://schemas.microsoft.com/office/drawing/2014/main" id="{EF6D7A92-7B17-483F-B642-C4C7A47B3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9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5" name="Freeform 284">
                <a:extLst>
                  <a:ext uri="{FF2B5EF4-FFF2-40B4-BE49-F238E27FC236}">
                    <a16:creationId xmlns:a16="http://schemas.microsoft.com/office/drawing/2014/main" id="{5D07A1D8-3975-43F5-A598-66C824FB90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3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6" name="Freeform 285">
                <a:extLst>
                  <a:ext uri="{FF2B5EF4-FFF2-40B4-BE49-F238E27FC236}">
                    <a16:creationId xmlns:a16="http://schemas.microsoft.com/office/drawing/2014/main" id="{CD701FCA-D437-40C4-9D03-97B7CE0E7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3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7" name="Freeform 286">
                <a:extLst>
                  <a:ext uri="{FF2B5EF4-FFF2-40B4-BE49-F238E27FC236}">
                    <a16:creationId xmlns:a16="http://schemas.microsoft.com/office/drawing/2014/main" id="{545F19E8-1BB1-447E-9442-D0B41BDC52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7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8" name="Freeform 287">
                <a:extLst>
                  <a:ext uri="{FF2B5EF4-FFF2-40B4-BE49-F238E27FC236}">
                    <a16:creationId xmlns:a16="http://schemas.microsoft.com/office/drawing/2014/main" id="{695DDBBF-D411-4075-A805-B01D419E5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7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9" name="Freeform 288">
                <a:extLst>
                  <a:ext uri="{FF2B5EF4-FFF2-40B4-BE49-F238E27FC236}">
                    <a16:creationId xmlns:a16="http://schemas.microsoft.com/office/drawing/2014/main" id="{BC93D625-0429-4893-B576-AB87808907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1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0" name="Freeform 289">
                <a:extLst>
                  <a:ext uri="{FF2B5EF4-FFF2-40B4-BE49-F238E27FC236}">
                    <a16:creationId xmlns:a16="http://schemas.microsoft.com/office/drawing/2014/main" id="{B8CD1789-9C34-4B88-BBF4-A567CFCC6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1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1" name="Freeform 290">
                <a:extLst>
                  <a:ext uri="{FF2B5EF4-FFF2-40B4-BE49-F238E27FC236}">
                    <a16:creationId xmlns:a16="http://schemas.microsoft.com/office/drawing/2014/main" id="{531DA057-D7F8-4ACA-9BEF-744E5D69AA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45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2" name="Freeform 291">
                <a:extLst>
                  <a:ext uri="{FF2B5EF4-FFF2-40B4-BE49-F238E27FC236}">
                    <a16:creationId xmlns:a16="http://schemas.microsoft.com/office/drawing/2014/main" id="{52BEA705-55B3-46D9-B40E-16B1BE0DE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45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292">
                <a:extLst>
                  <a:ext uri="{FF2B5EF4-FFF2-40B4-BE49-F238E27FC236}">
                    <a16:creationId xmlns:a16="http://schemas.microsoft.com/office/drawing/2014/main" id="{1EAD208A-8B4A-41A9-BC14-22C2B722E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9" y="1188"/>
                <a:ext cx="2" cy="1"/>
              </a:xfrm>
              <a:custGeom>
                <a:avLst/>
                <a:gdLst>
                  <a:gd name="T0" fmla="*/ 3 w 3"/>
                  <a:gd name="T1" fmla="*/ 0 h 2"/>
                  <a:gd name="T2" fmla="*/ 0 w 3"/>
                  <a:gd name="T3" fmla="*/ 1 h 2"/>
                  <a:gd name="T4" fmla="*/ 0 w 3"/>
                  <a:gd name="T5" fmla="*/ 2 h 2"/>
                  <a:gd name="T6" fmla="*/ 3 w 3"/>
                  <a:gd name="T7" fmla="*/ 2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cubicBezTo>
                      <a:pt x="2" y="0"/>
                      <a:pt x="1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2826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4" name="Freeform 293">
                <a:extLst>
                  <a:ext uri="{FF2B5EF4-FFF2-40B4-BE49-F238E27FC236}">
                    <a16:creationId xmlns:a16="http://schemas.microsoft.com/office/drawing/2014/main" id="{5B2A0D1D-51F1-4C0F-9A4C-52E6962CB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7" y="1189"/>
                <a:ext cx="2" cy="0"/>
              </a:xfrm>
              <a:custGeom>
                <a:avLst/>
                <a:gdLst>
                  <a:gd name="T0" fmla="*/ 5 w 5"/>
                  <a:gd name="T1" fmla="*/ 0 h 1"/>
                  <a:gd name="T2" fmla="*/ 0 w 5"/>
                  <a:gd name="T3" fmla="*/ 1 h 1"/>
                  <a:gd name="T4" fmla="*/ 5 w 5"/>
                  <a:gd name="T5" fmla="*/ 1 h 1"/>
                  <a:gd name="T6" fmla="*/ 5 w 5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cubicBezTo>
                      <a:pt x="3" y="1"/>
                      <a:pt x="2" y="1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5" name="Freeform 294">
                <a:extLst>
                  <a:ext uri="{FF2B5EF4-FFF2-40B4-BE49-F238E27FC236}">
                    <a16:creationId xmlns:a16="http://schemas.microsoft.com/office/drawing/2014/main" id="{0E474AF7-E52C-4349-9F8A-83BDC08518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1052"/>
                <a:ext cx="4" cy="69"/>
              </a:xfrm>
              <a:custGeom>
                <a:avLst/>
                <a:gdLst>
                  <a:gd name="T0" fmla="*/ 4 w 8"/>
                  <a:gd name="T1" fmla="*/ 0 h 127"/>
                  <a:gd name="T2" fmla="*/ 4 w 8"/>
                  <a:gd name="T3" fmla="*/ 0 h 127"/>
                  <a:gd name="T4" fmla="*/ 0 w 8"/>
                  <a:gd name="T5" fmla="*/ 4 h 127"/>
                  <a:gd name="T6" fmla="*/ 0 w 8"/>
                  <a:gd name="T7" fmla="*/ 123 h 127"/>
                  <a:gd name="T8" fmla="*/ 4 w 8"/>
                  <a:gd name="T9" fmla="*/ 127 h 127"/>
                  <a:gd name="T10" fmla="*/ 8 w 8"/>
                  <a:gd name="T11" fmla="*/ 123 h 127"/>
                  <a:gd name="T12" fmla="*/ 8 w 8"/>
                  <a:gd name="T13" fmla="*/ 4 h 127"/>
                  <a:gd name="T14" fmla="*/ 4 w 8"/>
                  <a:gd name="T15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27">
                    <a:moveTo>
                      <a:pt x="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23"/>
                      <a:pt x="0" y="123"/>
                      <a:pt x="0" y="123"/>
                    </a:cubicBezTo>
                    <a:cubicBezTo>
                      <a:pt x="0" y="125"/>
                      <a:pt x="2" y="127"/>
                      <a:pt x="4" y="127"/>
                    </a:cubicBezTo>
                    <a:cubicBezTo>
                      <a:pt x="6" y="127"/>
                      <a:pt x="8" y="125"/>
                      <a:pt x="8" y="12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solidFill>
                <a:srgbClr val="2C40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6" name="Freeform 295">
                <a:extLst>
                  <a:ext uri="{FF2B5EF4-FFF2-40B4-BE49-F238E27FC236}">
                    <a16:creationId xmlns:a16="http://schemas.microsoft.com/office/drawing/2014/main" id="{28EF8B93-35D6-4089-942A-986DA9C0FB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2" y="2184"/>
                <a:ext cx="57" cy="53"/>
              </a:xfrm>
              <a:custGeom>
                <a:avLst/>
                <a:gdLst>
                  <a:gd name="T0" fmla="*/ 0 w 103"/>
                  <a:gd name="T1" fmla="*/ 78 h 96"/>
                  <a:gd name="T2" fmla="*/ 68 w 103"/>
                  <a:gd name="T3" fmla="*/ 93 h 96"/>
                  <a:gd name="T4" fmla="*/ 90 w 103"/>
                  <a:gd name="T5" fmla="*/ 83 h 96"/>
                  <a:gd name="T6" fmla="*/ 101 w 103"/>
                  <a:gd name="T7" fmla="*/ 35 h 96"/>
                  <a:gd name="T8" fmla="*/ 85 w 103"/>
                  <a:gd name="T9" fmla="*/ 16 h 96"/>
                  <a:gd name="T10" fmla="*/ 18 w 103"/>
                  <a:gd name="T11" fmla="*/ 0 h 96"/>
                  <a:gd name="T12" fmla="*/ 0 w 103"/>
                  <a:gd name="T13" fmla="*/ 7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96">
                    <a:moveTo>
                      <a:pt x="0" y="78"/>
                    </a:moveTo>
                    <a:cubicBezTo>
                      <a:pt x="68" y="93"/>
                      <a:pt x="68" y="93"/>
                      <a:pt x="68" y="93"/>
                    </a:cubicBezTo>
                    <a:cubicBezTo>
                      <a:pt x="78" y="96"/>
                      <a:pt x="88" y="91"/>
                      <a:pt x="90" y="8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3" y="27"/>
                      <a:pt x="96" y="18"/>
                      <a:pt x="85" y="16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78"/>
                      <a:pt x="0" y="78"/>
                      <a:pt x="0" y="78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7" name="Freeform 296">
                <a:extLst>
                  <a:ext uri="{FF2B5EF4-FFF2-40B4-BE49-F238E27FC236}">
                    <a16:creationId xmlns:a16="http://schemas.microsoft.com/office/drawing/2014/main" id="{886F9BDC-91E4-4B2C-9794-425A0303F5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192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8" name="Freeform 297">
                <a:extLst>
                  <a:ext uri="{FF2B5EF4-FFF2-40B4-BE49-F238E27FC236}">
                    <a16:creationId xmlns:a16="http://schemas.microsoft.com/office/drawing/2014/main" id="{84AB0C22-5AE4-4D9E-9B55-0BB9821442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192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9" name="Freeform 298">
                <a:extLst>
                  <a:ext uri="{FF2B5EF4-FFF2-40B4-BE49-F238E27FC236}">
                    <a16:creationId xmlns:a16="http://schemas.microsoft.com/office/drawing/2014/main" id="{ED5D00F5-4E26-4B35-A14B-7F5A5B9345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191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0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0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0" name="Freeform 299">
                <a:extLst>
                  <a:ext uri="{FF2B5EF4-FFF2-40B4-BE49-F238E27FC236}">
                    <a16:creationId xmlns:a16="http://schemas.microsoft.com/office/drawing/2014/main" id="{7096A632-5CF5-4EC3-A707-026562DC84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191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0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0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" name="Freeform 300">
                <a:extLst>
                  <a:ext uri="{FF2B5EF4-FFF2-40B4-BE49-F238E27FC236}">
                    <a16:creationId xmlns:a16="http://schemas.microsoft.com/office/drawing/2014/main" id="{5985318C-571B-4BB7-9851-8A3BDCADE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189"/>
                <a:ext cx="12" cy="43"/>
              </a:xfrm>
              <a:custGeom>
                <a:avLst/>
                <a:gdLst>
                  <a:gd name="T0" fmla="*/ 0 w 12"/>
                  <a:gd name="T1" fmla="*/ 43 h 43"/>
                  <a:gd name="T2" fmla="*/ 10 w 12"/>
                  <a:gd name="T3" fmla="*/ 0 h 43"/>
                  <a:gd name="T4" fmla="*/ 12 w 12"/>
                  <a:gd name="T5" fmla="*/ 1 h 43"/>
                  <a:gd name="T6" fmla="*/ 3 w 12"/>
                  <a:gd name="T7" fmla="*/ 43 h 43"/>
                  <a:gd name="T8" fmla="*/ 0 w 12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2" name="Freeform 301">
                <a:extLst>
                  <a:ext uri="{FF2B5EF4-FFF2-40B4-BE49-F238E27FC236}">
                    <a16:creationId xmlns:a16="http://schemas.microsoft.com/office/drawing/2014/main" id="{4C03E55F-8F0E-4589-AB32-970271AD48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189"/>
                <a:ext cx="12" cy="43"/>
              </a:xfrm>
              <a:custGeom>
                <a:avLst/>
                <a:gdLst>
                  <a:gd name="T0" fmla="*/ 0 w 12"/>
                  <a:gd name="T1" fmla="*/ 43 h 43"/>
                  <a:gd name="T2" fmla="*/ 10 w 12"/>
                  <a:gd name="T3" fmla="*/ 0 h 43"/>
                  <a:gd name="T4" fmla="*/ 12 w 12"/>
                  <a:gd name="T5" fmla="*/ 1 h 43"/>
                  <a:gd name="T6" fmla="*/ 3 w 12"/>
                  <a:gd name="T7" fmla="*/ 43 h 43"/>
                  <a:gd name="T8" fmla="*/ 0 w 12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3" y="43"/>
                    </a:lnTo>
                    <a:lnTo>
                      <a:pt x="0" y="4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3" name="Freeform 302">
                <a:extLst>
                  <a:ext uri="{FF2B5EF4-FFF2-40B4-BE49-F238E27FC236}">
                    <a16:creationId xmlns:a16="http://schemas.microsoft.com/office/drawing/2014/main" id="{40E01002-F6F9-409B-82B6-2E3AD920C3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188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4" name="Freeform 303">
                <a:extLst>
                  <a:ext uri="{FF2B5EF4-FFF2-40B4-BE49-F238E27FC236}">
                    <a16:creationId xmlns:a16="http://schemas.microsoft.com/office/drawing/2014/main" id="{514269D5-5AE2-43F1-8CD5-D19B0031A6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188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Freeform 304">
                <a:extLst>
                  <a:ext uri="{FF2B5EF4-FFF2-40B4-BE49-F238E27FC236}">
                    <a16:creationId xmlns:a16="http://schemas.microsoft.com/office/drawing/2014/main" id="{D88CB003-30F5-44C9-91F2-8F929AC05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187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4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4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6" name="Freeform 305">
                <a:extLst>
                  <a:ext uri="{FF2B5EF4-FFF2-40B4-BE49-F238E27FC236}">
                    <a16:creationId xmlns:a16="http://schemas.microsoft.com/office/drawing/2014/main" id="{18128655-92FE-4A39-B224-A22A65942B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187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4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4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7" name="Freeform 306">
                <a:extLst>
                  <a:ext uri="{FF2B5EF4-FFF2-40B4-BE49-F238E27FC236}">
                    <a16:creationId xmlns:a16="http://schemas.microsoft.com/office/drawing/2014/main" id="{DF894BD8-8009-4004-8AD7-98B880818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185"/>
                <a:ext cx="12" cy="44"/>
              </a:xfrm>
              <a:custGeom>
                <a:avLst/>
                <a:gdLst>
                  <a:gd name="T0" fmla="*/ 0 w 12"/>
                  <a:gd name="T1" fmla="*/ 43 h 44"/>
                  <a:gd name="T2" fmla="*/ 10 w 12"/>
                  <a:gd name="T3" fmla="*/ 0 h 44"/>
                  <a:gd name="T4" fmla="*/ 12 w 12"/>
                  <a:gd name="T5" fmla="*/ 1 h 44"/>
                  <a:gd name="T6" fmla="*/ 2 w 12"/>
                  <a:gd name="T7" fmla="*/ 44 h 44"/>
                  <a:gd name="T8" fmla="*/ 0 w 12"/>
                  <a:gd name="T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4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2" y="44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Freeform 307">
                <a:extLst>
                  <a:ext uri="{FF2B5EF4-FFF2-40B4-BE49-F238E27FC236}">
                    <a16:creationId xmlns:a16="http://schemas.microsoft.com/office/drawing/2014/main" id="{0E3E2912-A20B-4CB7-BF00-981DE897C7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185"/>
                <a:ext cx="12" cy="44"/>
              </a:xfrm>
              <a:custGeom>
                <a:avLst/>
                <a:gdLst>
                  <a:gd name="T0" fmla="*/ 0 w 12"/>
                  <a:gd name="T1" fmla="*/ 43 h 44"/>
                  <a:gd name="T2" fmla="*/ 10 w 12"/>
                  <a:gd name="T3" fmla="*/ 0 h 44"/>
                  <a:gd name="T4" fmla="*/ 12 w 12"/>
                  <a:gd name="T5" fmla="*/ 1 h 44"/>
                  <a:gd name="T6" fmla="*/ 2 w 12"/>
                  <a:gd name="T7" fmla="*/ 44 h 44"/>
                  <a:gd name="T8" fmla="*/ 0 w 12"/>
                  <a:gd name="T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4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2" y="44"/>
                    </a:lnTo>
                    <a:lnTo>
                      <a:pt x="0" y="4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9" name="Freeform 308">
                <a:extLst>
                  <a:ext uri="{FF2B5EF4-FFF2-40B4-BE49-F238E27FC236}">
                    <a16:creationId xmlns:a16="http://schemas.microsoft.com/office/drawing/2014/main" id="{EBD39137-F98F-4BF3-8DEA-DBF39B935F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194"/>
                <a:ext cx="17" cy="24"/>
              </a:xfrm>
              <a:custGeom>
                <a:avLst/>
                <a:gdLst>
                  <a:gd name="T0" fmla="*/ 14 w 31"/>
                  <a:gd name="T1" fmla="*/ 0 h 45"/>
                  <a:gd name="T2" fmla="*/ 5 w 31"/>
                  <a:gd name="T3" fmla="*/ 9 h 45"/>
                  <a:gd name="T4" fmla="*/ 2 w 31"/>
                  <a:gd name="T5" fmla="*/ 26 h 45"/>
                  <a:gd name="T6" fmla="*/ 11 w 31"/>
                  <a:gd name="T7" fmla="*/ 41 h 45"/>
                  <a:gd name="T8" fmla="*/ 31 w 31"/>
                  <a:gd name="T9" fmla="*/ 45 h 45"/>
                  <a:gd name="T10" fmla="*/ 31 w 31"/>
                  <a:gd name="T11" fmla="*/ 43 h 45"/>
                  <a:gd name="T12" fmla="*/ 15 w 31"/>
                  <a:gd name="T13" fmla="*/ 39 h 45"/>
                  <a:gd name="T14" fmla="*/ 6 w 31"/>
                  <a:gd name="T15" fmla="*/ 24 h 45"/>
                  <a:gd name="T16" fmla="*/ 10 w 31"/>
                  <a:gd name="T17" fmla="*/ 7 h 45"/>
                  <a:gd name="T18" fmla="*/ 14 w 31"/>
                  <a:gd name="T1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14" y="0"/>
                    </a:moveTo>
                    <a:cubicBezTo>
                      <a:pt x="10" y="1"/>
                      <a:pt x="7" y="4"/>
                      <a:pt x="5" y="9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0" y="33"/>
                      <a:pt x="4" y="39"/>
                      <a:pt x="11" y="41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8" y="37"/>
                      <a:pt x="4" y="31"/>
                      <a:pt x="6" y="24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4"/>
                      <a:pt x="12" y="1"/>
                      <a:pt x="14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0" name="Freeform 309">
                <a:extLst>
                  <a:ext uri="{FF2B5EF4-FFF2-40B4-BE49-F238E27FC236}">
                    <a16:creationId xmlns:a16="http://schemas.microsoft.com/office/drawing/2014/main" id="{6D0CC0B9-E9A3-402A-99CC-8B0F579216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5" y="2217"/>
                <a:ext cx="27" cy="8"/>
              </a:xfrm>
              <a:custGeom>
                <a:avLst/>
                <a:gdLst>
                  <a:gd name="T0" fmla="*/ 24 w 27"/>
                  <a:gd name="T1" fmla="*/ 6 h 8"/>
                  <a:gd name="T2" fmla="*/ 24 w 27"/>
                  <a:gd name="T3" fmla="*/ 7 h 8"/>
                  <a:gd name="T4" fmla="*/ 26 w 27"/>
                  <a:gd name="T5" fmla="*/ 8 h 8"/>
                  <a:gd name="T6" fmla="*/ 27 w 27"/>
                  <a:gd name="T7" fmla="*/ 6 h 8"/>
                  <a:gd name="T8" fmla="*/ 24 w 27"/>
                  <a:gd name="T9" fmla="*/ 6 h 8"/>
                  <a:gd name="T10" fmla="*/ 18 w 27"/>
                  <a:gd name="T11" fmla="*/ 4 h 8"/>
                  <a:gd name="T12" fmla="*/ 18 w 27"/>
                  <a:gd name="T13" fmla="*/ 6 h 8"/>
                  <a:gd name="T14" fmla="*/ 21 w 27"/>
                  <a:gd name="T15" fmla="*/ 6 h 8"/>
                  <a:gd name="T16" fmla="*/ 21 w 27"/>
                  <a:gd name="T17" fmla="*/ 5 h 8"/>
                  <a:gd name="T18" fmla="*/ 18 w 27"/>
                  <a:gd name="T19" fmla="*/ 4 h 8"/>
                  <a:gd name="T20" fmla="*/ 13 w 27"/>
                  <a:gd name="T21" fmla="*/ 3 h 8"/>
                  <a:gd name="T22" fmla="*/ 12 w 27"/>
                  <a:gd name="T23" fmla="*/ 4 h 8"/>
                  <a:gd name="T24" fmla="*/ 15 w 27"/>
                  <a:gd name="T25" fmla="*/ 5 h 8"/>
                  <a:gd name="T26" fmla="*/ 15 w 27"/>
                  <a:gd name="T27" fmla="*/ 3 h 8"/>
                  <a:gd name="T28" fmla="*/ 13 w 27"/>
                  <a:gd name="T29" fmla="*/ 3 h 8"/>
                  <a:gd name="T30" fmla="*/ 7 w 27"/>
                  <a:gd name="T31" fmla="*/ 2 h 8"/>
                  <a:gd name="T32" fmla="*/ 7 w 27"/>
                  <a:gd name="T33" fmla="*/ 3 h 8"/>
                  <a:gd name="T34" fmla="*/ 9 w 27"/>
                  <a:gd name="T35" fmla="*/ 4 h 8"/>
                  <a:gd name="T36" fmla="*/ 10 w 27"/>
                  <a:gd name="T37" fmla="*/ 2 h 8"/>
                  <a:gd name="T38" fmla="*/ 7 w 27"/>
                  <a:gd name="T39" fmla="*/ 2 h 8"/>
                  <a:gd name="T40" fmla="*/ 0 w 27"/>
                  <a:gd name="T41" fmla="*/ 0 h 8"/>
                  <a:gd name="T42" fmla="*/ 0 w 27"/>
                  <a:gd name="T43" fmla="*/ 1 h 8"/>
                  <a:gd name="T44" fmla="*/ 4 w 27"/>
                  <a:gd name="T45" fmla="*/ 2 h 8"/>
                  <a:gd name="T46" fmla="*/ 4 w 27"/>
                  <a:gd name="T47" fmla="*/ 1 h 8"/>
                  <a:gd name="T48" fmla="*/ 0 w 27"/>
                  <a:gd name="T4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" h="8">
                    <a:moveTo>
                      <a:pt x="24" y="6"/>
                    </a:moveTo>
                    <a:lnTo>
                      <a:pt x="24" y="7"/>
                    </a:lnTo>
                    <a:lnTo>
                      <a:pt x="26" y="8"/>
                    </a:lnTo>
                    <a:lnTo>
                      <a:pt x="27" y="6"/>
                    </a:lnTo>
                    <a:lnTo>
                      <a:pt x="24" y="6"/>
                    </a:lnTo>
                    <a:close/>
                    <a:moveTo>
                      <a:pt x="18" y="4"/>
                    </a:moveTo>
                    <a:lnTo>
                      <a:pt x="18" y="6"/>
                    </a:lnTo>
                    <a:lnTo>
                      <a:pt x="21" y="6"/>
                    </a:lnTo>
                    <a:lnTo>
                      <a:pt x="21" y="5"/>
                    </a:lnTo>
                    <a:lnTo>
                      <a:pt x="18" y="4"/>
                    </a:lnTo>
                    <a:close/>
                    <a:moveTo>
                      <a:pt x="13" y="3"/>
                    </a:moveTo>
                    <a:lnTo>
                      <a:pt x="12" y="4"/>
                    </a:lnTo>
                    <a:lnTo>
                      <a:pt x="15" y="5"/>
                    </a:lnTo>
                    <a:lnTo>
                      <a:pt x="15" y="3"/>
                    </a:lnTo>
                    <a:lnTo>
                      <a:pt x="13" y="3"/>
                    </a:lnTo>
                    <a:close/>
                    <a:moveTo>
                      <a:pt x="7" y="2"/>
                    </a:moveTo>
                    <a:lnTo>
                      <a:pt x="7" y="3"/>
                    </a:lnTo>
                    <a:lnTo>
                      <a:pt x="9" y="4"/>
                    </a:lnTo>
                    <a:lnTo>
                      <a:pt x="10" y="2"/>
                    </a:lnTo>
                    <a:lnTo>
                      <a:pt x="7" y="2"/>
                    </a:lnTo>
                    <a:close/>
                    <a:moveTo>
                      <a:pt x="0" y="0"/>
                    </a:moveTo>
                    <a:lnTo>
                      <a:pt x="0" y="1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1" name="Freeform 310">
                <a:extLst>
                  <a:ext uri="{FF2B5EF4-FFF2-40B4-BE49-F238E27FC236}">
                    <a16:creationId xmlns:a16="http://schemas.microsoft.com/office/drawing/2014/main" id="{5E59173D-37ED-4261-A904-5F33C8416A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5" y="2217"/>
                <a:ext cx="27" cy="8"/>
              </a:xfrm>
              <a:custGeom>
                <a:avLst/>
                <a:gdLst>
                  <a:gd name="T0" fmla="*/ 24 w 27"/>
                  <a:gd name="T1" fmla="*/ 6 h 8"/>
                  <a:gd name="T2" fmla="*/ 24 w 27"/>
                  <a:gd name="T3" fmla="*/ 7 h 8"/>
                  <a:gd name="T4" fmla="*/ 26 w 27"/>
                  <a:gd name="T5" fmla="*/ 8 h 8"/>
                  <a:gd name="T6" fmla="*/ 27 w 27"/>
                  <a:gd name="T7" fmla="*/ 6 h 8"/>
                  <a:gd name="T8" fmla="*/ 24 w 27"/>
                  <a:gd name="T9" fmla="*/ 6 h 8"/>
                  <a:gd name="T10" fmla="*/ 18 w 27"/>
                  <a:gd name="T11" fmla="*/ 4 h 8"/>
                  <a:gd name="T12" fmla="*/ 18 w 27"/>
                  <a:gd name="T13" fmla="*/ 6 h 8"/>
                  <a:gd name="T14" fmla="*/ 21 w 27"/>
                  <a:gd name="T15" fmla="*/ 6 h 8"/>
                  <a:gd name="T16" fmla="*/ 21 w 27"/>
                  <a:gd name="T17" fmla="*/ 5 h 8"/>
                  <a:gd name="T18" fmla="*/ 18 w 27"/>
                  <a:gd name="T19" fmla="*/ 4 h 8"/>
                  <a:gd name="T20" fmla="*/ 13 w 27"/>
                  <a:gd name="T21" fmla="*/ 3 h 8"/>
                  <a:gd name="T22" fmla="*/ 12 w 27"/>
                  <a:gd name="T23" fmla="*/ 4 h 8"/>
                  <a:gd name="T24" fmla="*/ 15 w 27"/>
                  <a:gd name="T25" fmla="*/ 5 h 8"/>
                  <a:gd name="T26" fmla="*/ 15 w 27"/>
                  <a:gd name="T27" fmla="*/ 3 h 8"/>
                  <a:gd name="T28" fmla="*/ 13 w 27"/>
                  <a:gd name="T29" fmla="*/ 3 h 8"/>
                  <a:gd name="T30" fmla="*/ 7 w 27"/>
                  <a:gd name="T31" fmla="*/ 2 h 8"/>
                  <a:gd name="T32" fmla="*/ 7 w 27"/>
                  <a:gd name="T33" fmla="*/ 3 h 8"/>
                  <a:gd name="T34" fmla="*/ 9 w 27"/>
                  <a:gd name="T35" fmla="*/ 4 h 8"/>
                  <a:gd name="T36" fmla="*/ 10 w 27"/>
                  <a:gd name="T37" fmla="*/ 2 h 8"/>
                  <a:gd name="T38" fmla="*/ 7 w 27"/>
                  <a:gd name="T39" fmla="*/ 2 h 8"/>
                  <a:gd name="T40" fmla="*/ 0 w 27"/>
                  <a:gd name="T41" fmla="*/ 0 h 8"/>
                  <a:gd name="T42" fmla="*/ 0 w 27"/>
                  <a:gd name="T43" fmla="*/ 1 h 8"/>
                  <a:gd name="T44" fmla="*/ 4 w 27"/>
                  <a:gd name="T45" fmla="*/ 2 h 8"/>
                  <a:gd name="T46" fmla="*/ 4 w 27"/>
                  <a:gd name="T47" fmla="*/ 1 h 8"/>
                  <a:gd name="T48" fmla="*/ 0 w 27"/>
                  <a:gd name="T4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" h="8">
                    <a:moveTo>
                      <a:pt x="24" y="6"/>
                    </a:moveTo>
                    <a:lnTo>
                      <a:pt x="24" y="7"/>
                    </a:lnTo>
                    <a:lnTo>
                      <a:pt x="26" y="8"/>
                    </a:lnTo>
                    <a:lnTo>
                      <a:pt x="27" y="6"/>
                    </a:lnTo>
                    <a:lnTo>
                      <a:pt x="24" y="6"/>
                    </a:lnTo>
                    <a:moveTo>
                      <a:pt x="18" y="4"/>
                    </a:moveTo>
                    <a:lnTo>
                      <a:pt x="18" y="6"/>
                    </a:lnTo>
                    <a:lnTo>
                      <a:pt x="21" y="6"/>
                    </a:lnTo>
                    <a:lnTo>
                      <a:pt x="21" y="5"/>
                    </a:lnTo>
                    <a:lnTo>
                      <a:pt x="18" y="4"/>
                    </a:lnTo>
                    <a:moveTo>
                      <a:pt x="13" y="3"/>
                    </a:moveTo>
                    <a:lnTo>
                      <a:pt x="12" y="4"/>
                    </a:lnTo>
                    <a:lnTo>
                      <a:pt x="15" y="5"/>
                    </a:lnTo>
                    <a:lnTo>
                      <a:pt x="15" y="3"/>
                    </a:lnTo>
                    <a:lnTo>
                      <a:pt x="13" y="3"/>
                    </a:lnTo>
                    <a:moveTo>
                      <a:pt x="7" y="2"/>
                    </a:moveTo>
                    <a:lnTo>
                      <a:pt x="7" y="3"/>
                    </a:lnTo>
                    <a:lnTo>
                      <a:pt x="9" y="4"/>
                    </a:lnTo>
                    <a:lnTo>
                      <a:pt x="10" y="2"/>
                    </a:lnTo>
                    <a:lnTo>
                      <a:pt x="7" y="2"/>
                    </a:lnTo>
                    <a:moveTo>
                      <a:pt x="0" y="0"/>
                    </a:moveTo>
                    <a:lnTo>
                      <a:pt x="0" y="1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2" name="Rectangle 311">
                <a:extLst>
                  <a:ext uri="{FF2B5EF4-FFF2-40B4-BE49-F238E27FC236}">
                    <a16:creationId xmlns:a16="http://schemas.microsoft.com/office/drawing/2014/main" id="{9AD7DE13-AAFE-4369-97FD-05FE5D5484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3" name="Rectangle 312">
                <a:extLst>
                  <a:ext uri="{FF2B5EF4-FFF2-40B4-BE49-F238E27FC236}">
                    <a16:creationId xmlns:a16="http://schemas.microsoft.com/office/drawing/2014/main" id="{E16D78B7-27DA-4CF0-AB57-CE645A0478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4" name="Freeform 313">
                <a:extLst>
                  <a:ext uri="{FF2B5EF4-FFF2-40B4-BE49-F238E27FC236}">
                    <a16:creationId xmlns:a16="http://schemas.microsoft.com/office/drawing/2014/main" id="{0E19076A-7656-4EE8-B50C-E5DC6D5129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4" y="2224"/>
                <a:ext cx="18" cy="5"/>
              </a:xfrm>
              <a:custGeom>
                <a:avLst/>
                <a:gdLst>
                  <a:gd name="T0" fmla="*/ 11 w 32"/>
                  <a:gd name="T1" fmla="*/ 3 h 10"/>
                  <a:gd name="T2" fmla="*/ 11 w 32"/>
                  <a:gd name="T3" fmla="*/ 5 h 10"/>
                  <a:gd name="T4" fmla="*/ 29 w 32"/>
                  <a:gd name="T5" fmla="*/ 10 h 10"/>
                  <a:gd name="T6" fmla="*/ 32 w 32"/>
                  <a:gd name="T7" fmla="*/ 7 h 10"/>
                  <a:gd name="T8" fmla="*/ 11 w 32"/>
                  <a:gd name="T9" fmla="*/ 3 h 10"/>
                  <a:gd name="T10" fmla="*/ 1 w 32"/>
                  <a:gd name="T11" fmla="*/ 0 h 10"/>
                  <a:gd name="T12" fmla="*/ 0 w 32"/>
                  <a:gd name="T13" fmla="*/ 3 h 10"/>
                  <a:gd name="T14" fmla="*/ 5 w 32"/>
                  <a:gd name="T15" fmla="*/ 4 h 10"/>
                  <a:gd name="T16" fmla="*/ 6 w 32"/>
                  <a:gd name="T17" fmla="*/ 1 h 10"/>
                  <a:gd name="T18" fmla="*/ 1 w 32"/>
                  <a:gd name="T1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10">
                    <a:moveTo>
                      <a:pt x="11" y="3"/>
                    </a:moveTo>
                    <a:cubicBezTo>
                      <a:pt x="11" y="5"/>
                      <a:pt x="11" y="5"/>
                      <a:pt x="11" y="5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9"/>
                      <a:pt x="31" y="8"/>
                      <a:pt x="32" y="7"/>
                    </a:cubicBezTo>
                    <a:cubicBezTo>
                      <a:pt x="11" y="3"/>
                      <a:pt x="11" y="3"/>
                      <a:pt x="11" y="3"/>
                    </a:cubicBezTo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5" name="Freeform 314">
                <a:extLst>
                  <a:ext uri="{FF2B5EF4-FFF2-40B4-BE49-F238E27FC236}">
                    <a16:creationId xmlns:a16="http://schemas.microsoft.com/office/drawing/2014/main" id="{0F5D374D-8AC1-4BE4-A086-993889EA1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2224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6" name="Freeform 315">
                <a:extLst>
                  <a:ext uri="{FF2B5EF4-FFF2-40B4-BE49-F238E27FC236}">
                    <a16:creationId xmlns:a16="http://schemas.microsoft.com/office/drawing/2014/main" id="{81F23A47-CC08-48D4-9BA2-AD20C80D5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2224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7" name="Freeform 316">
                <a:extLst>
                  <a:ext uri="{FF2B5EF4-FFF2-40B4-BE49-F238E27FC236}">
                    <a16:creationId xmlns:a16="http://schemas.microsoft.com/office/drawing/2014/main" id="{D46FC136-779D-41A1-9D55-5FDB87B0D5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1" y="2223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8" name="Freeform 317">
                <a:extLst>
                  <a:ext uri="{FF2B5EF4-FFF2-40B4-BE49-F238E27FC236}">
                    <a16:creationId xmlns:a16="http://schemas.microsoft.com/office/drawing/2014/main" id="{B5AA8F1A-8521-4D58-BC9C-E09B9EDDF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1" y="2223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9" name="Freeform 318">
                <a:extLst>
                  <a:ext uri="{FF2B5EF4-FFF2-40B4-BE49-F238E27FC236}">
                    <a16:creationId xmlns:a16="http://schemas.microsoft.com/office/drawing/2014/main" id="{76BE28C4-C918-4584-8495-E44E006D75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222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0" name="Freeform 319">
                <a:extLst>
                  <a:ext uri="{FF2B5EF4-FFF2-40B4-BE49-F238E27FC236}">
                    <a16:creationId xmlns:a16="http://schemas.microsoft.com/office/drawing/2014/main" id="{6548F4B1-5804-4316-9AE1-6E0A09DD6C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222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1" name="Freeform 320">
                <a:extLst>
                  <a:ext uri="{FF2B5EF4-FFF2-40B4-BE49-F238E27FC236}">
                    <a16:creationId xmlns:a16="http://schemas.microsoft.com/office/drawing/2014/main" id="{6697C27F-E433-44EC-9B30-1E9A525F7E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220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2 h 3"/>
                  <a:gd name="T4" fmla="*/ 3 w 3"/>
                  <a:gd name="T5" fmla="*/ 3 h 3"/>
                  <a:gd name="T6" fmla="*/ 3 w 3"/>
                  <a:gd name="T7" fmla="*/ 1 h 3"/>
                  <a:gd name="T8" fmla="*/ 0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2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2" name="Freeform 321">
                <a:extLst>
                  <a:ext uri="{FF2B5EF4-FFF2-40B4-BE49-F238E27FC236}">
                    <a16:creationId xmlns:a16="http://schemas.microsoft.com/office/drawing/2014/main" id="{F57788D8-1228-4FC8-9AB3-9CAB96A401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220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2 h 3"/>
                  <a:gd name="T4" fmla="*/ 3 w 3"/>
                  <a:gd name="T5" fmla="*/ 3 h 3"/>
                  <a:gd name="T6" fmla="*/ 3 w 3"/>
                  <a:gd name="T7" fmla="*/ 1 h 3"/>
                  <a:gd name="T8" fmla="*/ 0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2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3" name="Freeform 322">
                <a:extLst>
                  <a:ext uri="{FF2B5EF4-FFF2-40B4-BE49-F238E27FC236}">
                    <a16:creationId xmlns:a16="http://schemas.microsoft.com/office/drawing/2014/main" id="{D9B31C0A-69E9-43C9-ACA5-51FA9C524A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" y="2219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4" name="Freeform 323">
                <a:extLst>
                  <a:ext uri="{FF2B5EF4-FFF2-40B4-BE49-F238E27FC236}">
                    <a16:creationId xmlns:a16="http://schemas.microsoft.com/office/drawing/2014/main" id="{3691F7EC-B6B3-459C-AB5B-594B9A6C9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" y="2219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5" name="Freeform 324">
                <a:extLst>
                  <a:ext uri="{FF2B5EF4-FFF2-40B4-BE49-F238E27FC236}">
                    <a16:creationId xmlns:a16="http://schemas.microsoft.com/office/drawing/2014/main" id="{EFEBAD90-2B2E-489A-AA49-07C0D7568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9" y="2218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6" name="Freeform 325">
                <a:extLst>
                  <a:ext uri="{FF2B5EF4-FFF2-40B4-BE49-F238E27FC236}">
                    <a16:creationId xmlns:a16="http://schemas.microsoft.com/office/drawing/2014/main" id="{06A543B3-7B01-41BE-B670-A93CF0D15C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9" y="2218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7" name="Freeform 326">
                <a:extLst>
                  <a:ext uri="{FF2B5EF4-FFF2-40B4-BE49-F238E27FC236}">
                    <a16:creationId xmlns:a16="http://schemas.microsoft.com/office/drawing/2014/main" id="{DC857BAD-B7EF-4914-A165-A6D9BF742B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0" y="2191"/>
                <a:ext cx="69" cy="37"/>
              </a:xfrm>
              <a:custGeom>
                <a:avLst/>
                <a:gdLst>
                  <a:gd name="T0" fmla="*/ 2 w 127"/>
                  <a:gd name="T1" fmla="*/ 28 h 67"/>
                  <a:gd name="T2" fmla="*/ 6 w 127"/>
                  <a:gd name="T3" fmla="*/ 11 h 67"/>
                  <a:gd name="T4" fmla="*/ 20 w 127"/>
                  <a:gd name="T5" fmla="*/ 2 h 67"/>
                  <a:gd name="T6" fmla="*/ 127 w 127"/>
                  <a:gd name="T7" fmla="*/ 26 h 67"/>
                  <a:gd name="T8" fmla="*/ 117 w 127"/>
                  <a:gd name="T9" fmla="*/ 67 h 67"/>
                  <a:gd name="T10" fmla="*/ 11 w 127"/>
                  <a:gd name="T11" fmla="*/ 43 h 67"/>
                  <a:gd name="T12" fmla="*/ 2 w 127"/>
                  <a:gd name="T13" fmla="*/ 2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67">
                    <a:moveTo>
                      <a:pt x="2" y="28"/>
                    </a:moveTo>
                    <a:cubicBezTo>
                      <a:pt x="6" y="11"/>
                      <a:pt x="6" y="11"/>
                      <a:pt x="6" y="11"/>
                    </a:cubicBezTo>
                    <a:cubicBezTo>
                      <a:pt x="7" y="4"/>
                      <a:pt x="14" y="0"/>
                      <a:pt x="20" y="2"/>
                    </a:cubicBezTo>
                    <a:cubicBezTo>
                      <a:pt x="127" y="26"/>
                      <a:pt x="127" y="26"/>
                      <a:pt x="127" y="26"/>
                    </a:cubicBezTo>
                    <a:cubicBezTo>
                      <a:pt x="117" y="67"/>
                      <a:pt x="117" y="67"/>
                      <a:pt x="117" y="67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4" y="41"/>
                      <a:pt x="0" y="35"/>
                      <a:pt x="2" y="28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8" name="Freeform 327">
                <a:extLst>
                  <a:ext uri="{FF2B5EF4-FFF2-40B4-BE49-F238E27FC236}">
                    <a16:creationId xmlns:a16="http://schemas.microsoft.com/office/drawing/2014/main" id="{46CC2F71-F3D1-4BA3-8BB9-D25AA38881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1" y="2229"/>
                <a:ext cx="1" cy="3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0 w 2"/>
                  <a:gd name="T5" fmla="*/ 5 h 5"/>
                  <a:gd name="T6" fmla="*/ 0 w 2"/>
                  <a:gd name="T7" fmla="*/ 5 h 5"/>
                  <a:gd name="T8" fmla="*/ 0 w 2"/>
                  <a:gd name="T9" fmla="*/ 5 h 5"/>
                  <a:gd name="T10" fmla="*/ 0 w 2"/>
                  <a:gd name="T11" fmla="*/ 5 h 5"/>
                  <a:gd name="T12" fmla="*/ 0 w 2"/>
                  <a:gd name="T13" fmla="*/ 5 h 5"/>
                  <a:gd name="T14" fmla="*/ 0 w 2"/>
                  <a:gd name="T15" fmla="*/ 5 h 5"/>
                  <a:gd name="T16" fmla="*/ 0 w 2"/>
                  <a:gd name="T17" fmla="*/ 5 h 5"/>
                  <a:gd name="T18" fmla="*/ 0 w 2"/>
                  <a:gd name="T19" fmla="*/ 5 h 5"/>
                  <a:gd name="T20" fmla="*/ 0 w 2"/>
                  <a:gd name="T21" fmla="*/ 5 h 5"/>
                  <a:gd name="T22" fmla="*/ 0 w 2"/>
                  <a:gd name="T23" fmla="*/ 5 h 5"/>
                  <a:gd name="T24" fmla="*/ 1 w 2"/>
                  <a:gd name="T25" fmla="*/ 4 h 5"/>
                  <a:gd name="T26" fmla="*/ 0 w 2"/>
                  <a:gd name="T27" fmla="*/ 4 h 5"/>
                  <a:gd name="T28" fmla="*/ 1 w 2"/>
                  <a:gd name="T29" fmla="*/ 4 h 5"/>
                  <a:gd name="T30" fmla="*/ 1 w 2"/>
                  <a:gd name="T31" fmla="*/ 4 h 5"/>
                  <a:gd name="T32" fmla="*/ 1 w 2"/>
                  <a:gd name="T33" fmla="*/ 4 h 5"/>
                  <a:gd name="T34" fmla="*/ 1 w 2"/>
                  <a:gd name="T35" fmla="*/ 4 h 5"/>
                  <a:gd name="T36" fmla="*/ 1 w 2"/>
                  <a:gd name="T37" fmla="*/ 4 h 5"/>
                  <a:gd name="T38" fmla="*/ 1 w 2"/>
                  <a:gd name="T39" fmla="*/ 4 h 5"/>
                  <a:gd name="T40" fmla="*/ 1 w 2"/>
                  <a:gd name="T41" fmla="*/ 4 h 5"/>
                  <a:gd name="T42" fmla="*/ 1 w 2"/>
                  <a:gd name="T43" fmla="*/ 4 h 5"/>
                  <a:gd name="T44" fmla="*/ 1 w 2"/>
                  <a:gd name="T45" fmla="*/ 4 h 5"/>
                  <a:gd name="T46" fmla="*/ 1 w 2"/>
                  <a:gd name="T47" fmla="*/ 4 h 5"/>
                  <a:gd name="T48" fmla="*/ 1 w 2"/>
                  <a:gd name="T49" fmla="*/ 4 h 5"/>
                  <a:gd name="T50" fmla="*/ 1 w 2"/>
                  <a:gd name="T51" fmla="*/ 4 h 5"/>
                  <a:gd name="T52" fmla="*/ 1 w 2"/>
                  <a:gd name="T53" fmla="*/ 4 h 5"/>
                  <a:gd name="T54" fmla="*/ 1 w 2"/>
                  <a:gd name="T55" fmla="*/ 4 h 5"/>
                  <a:gd name="T56" fmla="*/ 1 w 2"/>
                  <a:gd name="T57" fmla="*/ 4 h 5"/>
                  <a:gd name="T58" fmla="*/ 1 w 2"/>
                  <a:gd name="T59" fmla="*/ 4 h 5"/>
                  <a:gd name="T60" fmla="*/ 1 w 2"/>
                  <a:gd name="T61" fmla="*/ 3 h 5"/>
                  <a:gd name="T62" fmla="*/ 1 w 2"/>
                  <a:gd name="T63" fmla="*/ 4 h 5"/>
                  <a:gd name="T64" fmla="*/ 1 w 2"/>
                  <a:gd name="T65" fmla="*/ 3 h 5"/>
                  <a:gd name="T66" fmla="*/ 1 w 2"/>
                  <a:gd name="T67" fmla="*/ 3 h 5"/>
                  <a:gd name="T68" fmla="*/ 1 w 2"/>
                  <a:gd name="T69" fmla="*/ 3 h 5"/>
                  <a:gd name="T70" fmla="*/ 1 w 2"/>
                  <a:gd name="T71" fmla="*/ 3 h 5"/>
                  <a:gd name="T72" fmla="*/ 1 w 2"/>
                  <a:gd name="T73" fmla="*/ 3 h 5"/>
                  <a:gd name="T74" fmla="*/ 1 w 2"/>
                  <a:gd name="T75" fmla="*/ 3 h 5"/>
                  <a:gd name="T76" fmla="*/ 1 w 2"/>
                  <a:gd name="T77" fmla="*/ 3 h 5"/>
                  <a:gd name="T78" fmla="*/ 1 w 2"/>
                  <a:gd name="T79" fmla="*/ 2 h 5"/>
                  <a:gd name="T80" fmla="*/ 1 w 2"/>
                  <a:gd name="T81" fmla="*/ 3 h 5"/>
                  <a:gd name="T82" fmla="*/ 1 w 2"/>
                  <a:gd name="T83" fmla="*/ 2 h 5"/>
                  <a:gd name="T84" fmla="*/ 1 w 2"/>
                  <a:gd name="T85" fmla="*/ 2 h 5"/>
                  <a:gd name="T86" fmla="*/ 1 w 2"/>
                  <a:gd name="T87" fmla="*/ 2 h 5"/>
                  <a:gd name="T88" fmla="*/ 1 w 2"/>
                  <a:gd name="T89" fmla="*/ 2 h 5"/>
                  <a:gd name="T90" fmla="*/ 2 w 2"/>
                  <a:gd name="T91" fmla="*/ 2 h 5"/>
                  <a:gd name="T92" fmla="*/ 2 w 2"/>
                  <a:gd name="T93" fmla="*/ 2 h 5"/>
                  <a:gd name="T94" fmla="*/ 2 w 2"/>
                  <a:gd name="T95" fmla="*/ 2 h 5"/>
                  <a:gd name="T96" fmla="*/ 2 w 2"/>
                  <a:gd name="T97" fmla="*/ 1 h 5"/>
                  <a:gd name="T98" fmla="*/ 2 w 2"/>
                  <a:gd name="T99" fmla="*/ 1 h 5"/>
                  <a:gd name="T100" fmla="*/ 2 w 2"/>
                  <a:gd name="T101" fmla="*/ 1 h 5"/>
                  <a:gd name="T102" fmla="*/ 2 w 2"/>
                  <a:gd name="T103" fmla="*/ 1 h 5"/>
                  <a:gd name="T104" fmla="*/ 2 w 2"/>
                  <a:gd name="T105" fmla="*/ 1 h 5"/>
                  <a:gd name="T106" fmla="*/ 2 w 2"/>
                  <a:gd name="T107" fmla="*/ 1 h 5"/>
                  <a:gd name="T108" fmla="*/ 2 w 2"/>
                  <a:gd name="T109" fmla="*/ 0 h 5"/>
                  <a:gd name="T110" fmla="*/ 2 w 2"/>
                  <a:gd name="T111" fmla="*/ 1 h 5"/>
                  <a:gd name="T112" fmla="*/ 2 w 2"/>
                  <a:gd name="T113" fmla="*/ 0 h 5"/>
                  <a:gd name="T114" fmla="*/ 2 w 2"/>
                  <a:gd name="T1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1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3"/>
                    </a:moveTo>
                    <a:cubicBezTo>
                      <a:pt x="1" y="3"/>
                      <a:pt x="1" y="4"/>
                      <a:pt x="1" y="4"/>
                    </a:cubicBezTo>
                    <a:cubicBezTo>
                      <a:pt x="1" y="4"/>
                      <a:pt x="1" y="3"/>
                      <a:pt x="1" y="3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2"/>
                      <a:pt x="1" y="2"/>
                    </a:cubicBezTo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moveTo>
                      <a:pt x="2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moveTo>
                      <a:pt x="2" y="0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9" name="Freeform 328">
                <a:extLst>
                  <a:ext uri="{FF2B5EF4-FFF2-40B4-BE49-F238E27FC236}">
                    <a16:creationId xmlns:a16="http://schemas.microsoft.com/office/drawing/2014/main" id="{FDE0045B-5F4A-41EC-8206-2957640CB2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2" y="2222"/>
                <a:ext cx="50" cy="14"/>
              </a:xfrm>
              <a:custGeom>
                <a:avLst/>
                <a:gdLst>
                  <a:gd name="T0" fmla="*/ 55 w 90"/>
                  <a:gd name="T1" fmla="*/ 21 h 25"/>
                  <a:gd name="T2" fmla="*/ 62 w 90"/>
                  <a:gd name="T3" fmla="*/ 14 h 25"/>
                  <a:gd name="T4" fmla="*/ 87 w 90"/>
                  <a:gd name="T5" fmla="*/ 13 h 25"/>
                  <a:gd name="T6" fmla="*/ 70 w 90"/>
                  <a:gd name="T7" fmla="*/ 16 h 25"/>
                  <a:gd name="T8" fmla="*/ 65 w 90"/>
                  <a:gd name="T9" fmla="*/ 24 h 25"/>
                  <a:gd name="T10" fmla="*/ 73 w 90"/>
                  <a:gd name="T11" fmla="*/ 25 h 25"/>
                  <a:gd name="T12" fmla="*/ 88 w 90"/>
                  <a:gd name="T13" fmla="*/ 18 h 25"/>
                  <a:gd name="T14" fmla="*/ 88 w 90"/>
                  <a:gd name="T15" fmla="*/ 18 h 25"/>
                  <a:gd name="T16" fmla="*/ 88 w 90"/>
                  <a:gd name="T17" fmla="*/ 18 h 25"/>
                  <a:gd name="T18" fmla="*/ 88 w 90"/>
                  <a:gd name="T19" fmla="*/ 18 h 25"/>
                  <a:gd name="T20" fmla="*/ 89 w 90"/>
                  <a:gd name="T21" fmla="*/ 17 h 25"/>
                  <a:gd name="T22" fmla="*/ 89 w 90"/>
                  <a:gd name="T23" fmla="*/ 17 h 25"/>
                  <a:gd name="T24" fmla="*/ 89 w 90"/>
                  <a:gd name="T25" fmla="*/ 17 h 25"/>
                  <a:gd name="T26" fmla="*/ 89 w 90"/>
                  <a:gd name="T27" fmla="*/ 17 h 25"/>
                  <a:gd name="T28" fmla="*/ 89 w 90"/>
                  <a:gd name="T29" fmla="*/ 17 h 25"/>
                  <a:gd name="T30" fmla="*/ 89 w 90"/>
                  <a:gd name="T31" fmla="*/ 17 h 25"/>
                  <a:gd name="T32" fmla="*/ 89 w 90"/>
                  <a:gd name="T33" fmla="*/ 16 h 25"/>
                  <a:gd name="T34" fmla="*/ 89 w 90"/>
                  <a:gd name="T35" fmla="*/ 16 h 25"/>
                  <a:gd name="T36" fmla="*/ 89 w 90"/>
                  <a:gd name="T37" fmla="*/ 16 h 25"/>
                  <a:gd name="T38" fmla="*/ 89 w 90"/>
                  <a:gd name="T39" fmla="*/ 15 h 25"/>
                  <a:gd name="T40" fmla="*/ 89 w 90"/>
                  <a:gd name="T41" fmla="*/ 15 h 25"/>
                  <a:gd name="T42" fmla="*/ 90 w 90"/>
                  <a:gd name="T43" fmla="*/ 15 h 25"/>
                  <a:gd name="T44" fmla="*/ 90 w 90"/>
                  <a:gd name="T45" fmla="*/ 14 h 25"/>
                  <a:gd name="T46" fmla="*/ 90 w 90"/>
                  <a:gd name="T47" fmla="*/ 14 h 25"/>
                  <a:gd name="T48" fmla="*/ 90 w 90"/>
                  <a:gd name="T49" fmla="*/ 13 h 25"/>
                  <a:gd name="T50" fmla="*/ 46 w 90"/>
                  <a:gd name="T51" fmla="*/ 11 h 25"/>
                  <a:gd name="T52" fmla="*/ 49 w 90"/>
                  <a:gd name="T53" fmla="*/ 20 h 25"/>
                  <a:gd name="T54" fmla="*/ 46 w 90"/>
                  <a:gd name="T55" fmla="*/ 11 h 25"/>
                  <a:gd name="T56" fmla="*/ 34 w 90"/>
                  <a:gd name="T57" fmla="*/ 17 h 25"/>
                  <a:gd name="T58" fmla="*/ 39 w 90"/>
                  <a:gd name="T59" fmla="*/ 18 h 25"/>
                  <a:gd name="T60" fmla="*/ 36 w 90"/>
                  <a:gd name="T61" fmla="*/ 8 h 25"/>
                  <a:gd name="T62" fmla="*/ 24 w 90"/>
                  <a:gd name="T63" fmla="*/ 14 h 25"/>
                  <a:gd name="T64" fmla="*/ 31 w 90"/>
                  <a:gd name="T65" fmla="*/ 7 h 25"/>
                  <a:gd name="T66" fmla="*/ 15 w 90"/>
                  <a:gd name="T67" fmla="*/ 3 h 25"/>
                  <a:gd name="T68" fmla="*/ 18 w 90"/>
                  <a:gd name="T69" fmla="*/ 13 h 25"/>
                  <a:gd name="T70" fmla="*/ 15 w 90"/>
                  <a:gd name="T71" fmla="*/ 3 h 25"/>
                  <a:gd name="T72" fmla="*/ 0 w 90"/>
                  <a:gd name="T73" fmla="*/ 9 h 25"/>
                  <a:gd name="T74" fmla="*/ 8 w 90"/>
                  <a:gd name="T75" fmla="*/ 11 h 25"/>
                  <a:gd name="T76" fmla="*/ 2 w 90"/>
                  <a:gd name="T7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0" h="25">
                    <a:moveTo>
                      <a:pt x="57" y="13"/>
                    </a:moveTo>
                    <a:cubicBezTo>
                      <a:pt x="55" y="21"/>
                      <a:pt x="55" y="21"/>
                      <a:pt x="55" y="21"/>
                    </a:cubicBezTo>
                    <a:cubicBezTo>
                      <a:pt x="60" y="22"/>
                      <a:pt x="60" y="22"/>
                      <a:pt x="60" y="22"/>
                    </a:cubicBezTo>
                    <a:cubicBezTo>
                      <a:pt x="62" y="14"/>
                      <a:pt x="62" y="14"/>
                      <a:pt x="62" y="14"/>
                    </a:cubicBezTo>
                    <a:cubicBezTo>
                      <a:pt x="57" y="13"/>
                      <a:pt x="57" y="13"/>
                      <a:pt x="57" y="13"/>
                    </a:cubicBezTo>
                    <a:moveTo>
                      <a:pt x="87" y="13"/>
                    </a:moveTo>
                    <a:cubicBezTo>
                      <a:pt x="84" y="15"/>
                      <a:pt x="80" y="17"/>
                      <a:pt x="75" y="17"/>
                    </a:cubicBezTo>
                    <a:cubicBezTo>
                      <a:pt x="73" y="17"/>
                      <a:pt x="72" y="16"/>
                      <a:pt x="70" y="16"/>
                    </a:cubicBezTo>
                    <a:cubicBezTo>
                      <a:pt x="67" y="15"/>
                      <a:pt x="67" y="15"/>
                      <a:pt x="67" y="15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70" y="25"/>
                      <a:pt x="71" y="25"/>
                      <a:pt x="73" y="25"/>
                    </a:cubicBezTo>
                    <a:cubicBezTo>
                      <a:pt x="80" y="25"/>
                      <a:pt x="85" y="22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7"/>
                      <a:pt x="88" y="17"/>
                      <a:pt x="88" y="17"/>
                    </a:cubicBezTo>
                    <a:cubicBezTo>
                      <a:pt x="88" y="17"/>
                      <a:pt x="88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90" y="15"/>
                    </a:cubicBezTo>
                    <a:cubicBezTo>
                      <a:pt x="90" y="15"/>
                      <a:pt x="90" y="15"/>
                      <a:pt x="90" y="15"/>
                    </a:cubicBezTo>
                    <a:cubicBezTo>
                      <a:pt x="90" y="15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3"/>
                      <a:pt x="90" y="13"/>
                      <a:pt x="90" y="13"/>
                    </a:cubicBezTo>
                    <a:cubicBezTo>
                      <a:pt x="87" y="13"/>
                      <a:pt x="87" y="13"/>
                      <a:pt x="87" y="13"/>
                    </a:cubicBezTo>
                    <a:moveTo>
                      <a:pt x="46" y="11"/>
                    </a:moveTo>
                    <a:cubicBezTo>
                      <a:pt x="45" y="19"/>
                      <a:pt x="45" y="19"/>
                      <a:pt x="45" y="19"/>
                    </a:cubicBezTo>
                    <a:cubicBezTo>
                      <a:pt x="49" y="20"/>
                      <a:pt x="49" y="20"/>
                      <a:pt x="49" y="20"/>
                    </a:cubicBezTo>
                    <a:cubicBezTo>
                      <a:pt x="51" y="12"/>
                      <a:pt x="51" y="12"/>
                      <a:pt x="51" y="12"/>
                    </a:cubicBezTo>
                    <a:cubicBezTo>
                      <a:pt x="46" y="11"/>
                      <a:pt x="46" y="11"/>
                      <a:pt x="46" y="11"/>
                    </a:cubicBezTo>
                    <a:moveTo>
                      <a:pt x="36" y="8"/>
                    </a:moveTo>
                    <a:cubicBezTo>
                      <a:pt x="34" y="17"/>
                      <a:pt x="34" y="17"/>
                      <a:pt x="34" y="17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36" y="8"/>
                      <a:pt x="36" y="8"/>
                      <a:pt x="36" y="8"/>
                    </a:cubicBezTo>
                    <a:moveTo>
                      <a:pt x="26" y="6"/>
                    </a:moveTo>
                    <a:cubicBezTo>
                      <a:pt x="24" y="14"/>
                      <a:pt x="24" y="14"/>
                      <a:pt x="24" y="14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6" y="6"/>
                      <a:pt x="26" y="6"/>
                      <a:pt x="26" y="6"/>
                    </a:cubicBezTo>
                    <a:moveTo>
                      <a:pt x="15" y="3"/>
                    </a:moveTo>
                    <a:cubicBezTo>
                      <a:pt x="13" y="12"/>
                      <a:pt x="13" y="12"/>
                      <a:pt x="13" y="12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15" y="3"/>
                      <a:pt x="15" y="3"/>
                      <a:pt x="15" y="3"/>
                    </a:cubicBezTo>
                    <a:moveTo>
                      <a:pt x="2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0" name="Freeform 329">
                <a:extLst>
                  <a:ext uri="{FF2B5EF4-FFF2-40B4-BE49-F238E27FC236}">
                    <a16:creationId xmlns:a16="http://schemas.microsoft.com/office/drawing/2014/main" id="{21C40211-3DF2-4900-B294-5FC56038D0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230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3 w 4"/>
                  <a:gd name="T5" fmla="*/ 5 h 5"/>
                  <a:gd name="T6" fmla="*/ 4 w 4"/>
                  <a:gd name="T7" fmla="*/ 0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1" name="Freeform 330">
                <a:extLst>
                  <a:ext uri="{FF2B5EF4-FFF2-40B4-BE49-F238E27FC236}">
                    <a16:creationId xmlns:a16="http://schemas.microsoft.com/office/drawing/2014/main" id="{84EF45CB-FA20-423D-90C9-6D206FB469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230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3 w 4"/>
                  <a:gd name="T5" fmla="*/ 5 h 5"/>
                  <a:gd name="T6" fmla="*/ 4 w 4"/>
                  <a:gd name="T7" fmla="*/ 0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2" name="Freeform 331">
                <a:extLst>
                  <a:ext uri="{FF2B5EF4-FFF2-40B4-BE49-F238E27FC236}">
                    <a16:creationId xmlns:a16="http://schemas.microsoft.com/office/drawing/2014/main" id="{03FC9952-746E-49A8-B733-CF602BB6E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229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3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3" name="Freeform 332">
                <a:extLst>
                  <a:ext uri="{FF2B5EF4-FFF2-40B4-BE49-F238E27FC236}">
                    <a16:creationId xmlns:a16="http://schemas.microsoft.com/office/drawing/2014/main" id="{3D573F7C-4178-4BF1-8E36-14411A4291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229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3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5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4" name="Freeform 333">
                <a:extLst>
                  <a:ext uri="{FF2B5EF4-FFF2-40B4-BE49-F238E27FC236}">
                    <a16:creationId xmlns:a16="http://schemas.microsoft.com/office/drawing/2014/main" id="{F5765AE4-2359-4CFF-A084-003A85E242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227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5 h 5"/>
                  <a:gd name="T4" fmla="*/ 3 w 4"/>
                  <a:gd name="T5" fmla="*/ 5 h 5"/>
                  <a:gd name="T6" fmla="*/ 4 w 4"/>
                  <a:gd name="T7" fmla="*/ 1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5"/>
                    </a:lnTo>
                    <a:lnTo>
                      <a:pt x="3" y="5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5" name="Freeform 334">
                <a:extLst>
                  <a:ext uri="{FF2B5EF4-FFF2-40B4-BE49-F238E27FC236}">
                    <a16:creationId xmlns:a16="http://schemas.microsoft.com/office/drawing/2014/main" id="{99A1B14B-E957-4900-AA63-4B65096A4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227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5 h 5"/>
                  <a:gd name="T4" fmla="*/ 3 w 4"/>
                  <a:gd name="T5" fmla="*/ 5 h 5"/>
                  <a:gd name="T6" fmla="*/ 4 w 4"/>
                  <a:gd name="T7" fmla="*/ 1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5"/>
                    </a:lnTo>
                    <a:lnTo>
                      <a:pt x="3" y="5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6" name="Freeform 335">
                <a:extLst>
                  <a:ext uri="{FF2B5EF4-FFF2-40B4-BE49-F238E27FC236}">
                    <a16:creationId xmlns:a16="http://schemas.microsoft.com/office/drawing/2014/main" id="{0FF797DB-6F86-476D-8B85-9EB86E6F0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226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1 w 4"/>
                  <a:gd name="T5" fmla="*/ 5 h 5"/>
                  <a:gd name="T6" fmla="*/ 3 w 4"/>
                  <a:gd name="T7" fmla="*/ 5 h 5"/>
                  <a:gd name="T8" fmla="*/ 4 w 4"/>
                  <a:gd name="T9" fmla="*/ 0 h 5"/>
                  <a:gd name="T10" fmla="*/ 1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7" name="Freeform 336">
                <a:extLst>
                  <a:ext uri="{FF2B5EF4-FFF2-40B4-BE49-F238E27FC236}">
                    <a16:creationId xmlns:a16="http://schemas.microsoft.com/office/drawing/2014/main" id="{26FB6D40-410D-4E60-AB29-3E9A9A367E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226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1 w 4"/>
                  <a:gd name="T5" fmla="*/ 5 h 5"/>
                  <a:gd name="T6" fmla="*/ 3 w 4"/>
                  <a:gd name="T7" fmla="*/ 5 h 5"/>
                  <a:gd name="T8" fmla="*/ 4 w 4"/>
                  <a:gd name="T9" fmla="*/ 0 h 5"/>
                  <a:gd name="T10" fmla="*/ 1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8" name="Freeform 337">
                <a:extLst>
                  <a:ext uri="{FF2B5EF4-FFF2-40B4-BE49-F238E27FC236}">
                    <a16:creationId xmlns:a16="http://schemas.microsoft.com/office/drawing/2014/main" id="{FACBE5FC-1D07-48C0-9EDC-2DBE50E98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225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4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4" y="5"/>
                    </a:lnTo>
                    <a:lnTo>
                      <a:pt x="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9" name="Freeform 338">
                <a:extLst>
                  <a:ext uri="{FF2B5EF4-FFF2-40B4-BE49-F238E27FC236}">
                    <a16:creationId xmlns:a16="http://schemas.microsoft.com/office/drawing/2014/main" id="{CF4A6D40-44DF-4F96-B013-6513621F0B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225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4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4" y="5"/>
                    </a:lnTo>
                    <a:lnTo>
                      <a:pt x="5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0" name="Freeform 339">
                <a:extLst>
                  <a:ext uri="{FF2B5EF4-FFF2-40B4-BE49-F238E27FC236}">
                    <a16:creationId xmlns:a16="http://schemas.microsoft.com/office/drawing/2014/main" id="{757DF09E-3DD4-4BEF-813D-995F0C97DE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223"/>
                <a:ext cx="4" cy="6"/>
              </a:xfrm>
              <a:custGeom>
                <a:avLst/>
                <a:gdLst>
                  <a:gd name="T0" fmla="*/ 1 w 4"/>
                  <a:gd name="T1" fmla="*/ 0 h 6"/>
                  <a:gd name="T2" fmla="*/ 0 w 4"/>
                  <a:gd name="T3" fmla="*/ 5 h 6"/>
                  <a:gd name="T4" fmla="*/ 0 w 4"/>
                  <a:gd name="T5" fmla="*/ 5 h 6"/>
                  <a:gd name="T6" fmla="*/ 2 w 4"/>
                  <a:gd name="T7" fmla="*/ 6 h 6"/>
                  <a:gd name="T8" fmla="*/ 4 w 4"/>
                  <a:gd name="T9" fmla="*/ 1 h 6"/>
                  <a:gd name="T10" fmla="*/ 1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2" y="6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1" name="Freeform 340">
                <a:extLst>
                  <a:ext uri="{FF2B5EF4-FFF2-40B4-BE49-F238E27FC236}">
                    <a16:creationId xmlns:a16="http://schemas.microsoft.com/office/drawing/2014/main" id="{871A3B9E-3D28-4AEE-A16C-0B3B09715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223"/>
                <a:ext cx="4" cy="6"/>
              </a:xfrm>
              <a:custGeom>
                <a:avLst/>
                <a:gdLst>
                  <a:gd name="T0" fmla="*/ 1 w 4"/>
                  <a:gd name="T1" fmla="*/ 0 h 6"/>
                  <a:gd name="T2" fmla="*/ 0 w 4"/>
                  <a:gd name="T3" fmla="*/ 5 h 6"/>
                  <a:gd name="T4" fmla="*/ 0 w 4"/>
                  <a:gd name="T5" fmla="*/ 5 h 6"/>
                  <a:gd name="T6" fmla="*/ 2 w 4"/>
                  <a:gd name="T7" fmla="*/ 6 h 6"/>
                  <a:gd name="T8" fmla="*/ 4 w 4"/>
                  <a:gd name="T9" fmla="*/ 1 h 6"/>
                  <a:gd name="T10" fmla="*/ 1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2" y="6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2" name="Rectangle 341">
                <a:extLst>
                  <a:ext uri="{FF2B5EF4-FFF2-40B4-BE49-F238E27FC236}">
                    <a16:creationId xmlns:a16="http://schemas.microsoft.com/office/drawing/2014/main" id="{60536545-BC3E-4D2A-9F3A-1BEEF422CF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solidFill>
                <a:srgbClr val="7862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3" name="Rectangle 342">
                <a:extLst>
                  <a:ext uri="{FF2B5EF4-FFF2-40B4-BE49-F238E27FC236}">
                    <a16:creationId xmlns:a16="http://schemas.microsoft.com/office/drawing/2014/main" id="{EB03FCEA-5C19-4BDE-B21B-1511E3A3E3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4" name="Freeform 343">
                <a:extLst>
                  <a:ext uri="{FF2B5EF4-FFF2-40B4-BE49-F238E27FC236}">
                    <a16:creationId xmlns:a16="http://schemas.microsoft.com/office/drawing/2014/main" id="{17ED124B-52DC-4AC7-8ECE-D64F1DA15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228"/>
                <a:ext cx="2" cy="1"/>
              </a:xfrm>
              <a:custGeom>
                <a:avLst/>
                <a:gdLst>
                  <a:gd name="T0" fmla="*/ 3 w 4"/>
                  <a:gd name="T1" fmla="*/ 0 h 3"/>
                  <a:gd name="T2" fmla="*/ 0 w 4"/>
                  <a:gd name="T3" fmla="*/ 3 h 3"/>
                  <a:gd name="T4" fmla="*/ 3 w 4"/>
                  <a:gd name="T5" fmla="*/ 3 h 3"/>
                  <a:gd name="T6" fmla="*/ 4 w 4"/>
                  <a:gd name="T7" fmla="*/ 0 h 3"/>
                  <a:gd name="T8" fmla="*/ 3 w 4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3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2826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5" name="Freeform 344">
                <a:extLst>
                  <a:ext uri="{FF2B5EF4-FFF2-40B4-BE49-F238E27FC236}">
                    <a16:creationId xmlns:a16="http://schemas.microsoft.com/office/drawing/2014/main" id="{1B1A09E1-7067-4370-9829-7EDFBAD324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" y="2225"/>
                <a:ext cx="1" cy="3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4 h 4"/>
                  <a:gd name="T4" fmla="*/ 1 w 2"/>
                  <a:gd name="T5" fmla="*/ 4 h 4"/>
                  <a:gd name="T6" fmla="*/ 1 w 2"/>
                  <a:gd name="T7" fmla="*/ 4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cubicBezTo>
                      <a:pt x="1" y="1"/>
                      <a:pt x="1" y="3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6" name="Freeform 345">
                <a:extLst>
                  <a:ext uri="{FF2B5EF4-FFF2-40B4-BE49-F238E27FC236}">
                    <a16:creationId xmlns:a16="http://schemas.microsoft.com/office/drawing/2014/main" id="{05E34CA3-275D-4C3F-9CCA-E4345264F8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8" y="863"/>
                <a:ext cx="397" cy="316"/>
              </a:xfrm>
              <a:custGeom>
                <a:avLst/>
                <a:gdLst>
                  <a:gd name="T0" fmla="*/ 205 w 397"/>
                  <a:gd name="T1" fmla="*/ 285 h 316"/>
                  <a:gd name="T2" fmla="*/ 164 w 397"/>
                  <a:gd name="T3" fmla="*/ 285 h 316"/>
                  <a:gd name="T4" fmla="*/ 0 w 397"/>
                  <a:gd name="T5" fmla="*/ 310 h 316"/>
                  <a:gd name="T6" fmla="*/ 1 w 397"/>
                  <a:gd name="T7" fmla="*/ 316 h 316"/>
                  <a:gd name="T8" fmla="*/ 205 w 397"/>
                  <a:gd name="T9" fmla="*/ 285 h 316"/>
                  <a:gd name="T10" fmla="*/ 379 w 397"/>
                  <a:gd name="T11" fmla="*/ 142 h 316"/>
                  <a:gd name="T12" fmla="*/ 379 w 397"/>
                  <a:gd name="T13" fmla="*/ 181 h 316"/>
                  <a:gd name="T14" fmla="*/ 390 w 397"/>
                  <a:gd name="T15" fmla="*/ 251 h 316"/>
                  <a:gd name="T16" fmla="*/ 379 w 397"/>
                  <a:gd name="T17" fmla="*/ 253 h 316"/>
                  <a:gd name="T18" fmla="*/ 379 w 397"/>
                  <a:gd name="T19" fmla="*/ 259 h 316"/>
                  <a:gd name="T20" fmla="*/ 397 w 397"/>
                  <a:gd name="T21" fmla="*/ 256 h 316"/>
                  <a:gd name="T22" fmla="*/ 379 w 397"/>
                  <a:gd name="T23" fmla="*/ 142 h 316"/>
                  <a:gd name="T24" fmla="*/ 358 w 397"/>
                  <a:gd name="T25" fmla="*/ 0 h 316"/>
                  <a:gd name="T26" fmla="*/ 352 w 397"/>
                  <a:gd name="T27" fmla="*/ 0 h 316"/>
                  <a:gd name="T28" fmla="*/ 356 w 397"/>
                  <a:gd name="T29" fmla="*/ 25 h 316"/>
                  <a:gd name="T30" fmla="*/ 362 w 397"/>
                  <a:gd name="T31" fmla="*/ 25 h 316"/>
                  <a:gd name="T32" fmla="*/ 358 w 397"/>
                  <a:gd name="T33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7" h="316">
                    <a:moveTo>
                      <a:pt x="205" y="285"/>
                    </a:moveTo>
                    <a:lnTo>
                      <a:pt x="164" y="285"/>
                    </a:lnTo>
                    <a:lnTo>
                      <a:pt x="0" y="310"/>
                    </a:lnTo>
                    <a:lnTo>
                      <a:pt x="1" y="316"/>
                    </a:lnTo>
                    <a:lnTo>
                      <a:pt x="205" y="285"/>
                    </a:lnTo>
                    <a:close/>
                    <a:moveTo>
                      <a:pt x="379" y="142"/>
                    </a:moveTo>
                    <a:lnTo>
                      <a:pt x="379" y="181"/>
                    </a:lnTo>
                    <a:lnTo>
                      <a:pt x="390" y="251"/>
                    </a:lnTo>
                    <a:lnTo>
                      <a:pt x="379" y="253"/>
                    </a:lnTo>
                    <a:lnTo>
                      <a:pt x="379" y="259"/>
                    </a:lnTo>
                    <a:lnTo>
                      <a:pt x="397" y="256"/>
                    </a:lnTo>
                    <a:lnTo>
                      <a:pt x="379" y="142"/>
                    </a:lnTo>
                    <a:close/>
                    <a:moveTo>
                      <a:pt x="358" y="0"/>
                    </a:moveTo>
                    <a:lnTo>
                      <a:pt x="352" y="0"/>
                    </a:lnTo>
                    <a:lnTo>
                      <a:pt x="356" y="25"/>
                    </a:lnTo>
                    <a:lnTo>
                      <a:pt x="362" y="25"/>
                    </a:lnTo>
                    <a:lnTo>
                      <a:pt x="358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7" name="Freeform 346">
                <a:extLst>
                  <a:ext uri="{FF2B5EF4-FFF2-40B4-BE49-F238E27FC236}">
                    <a16:creationId xmlns:a16="http://schemas.microsoft.com/office/drawing/2014/main" id="{211DC401-82E8-464C-8C3E-10BD8D2690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8" y="863"/>
                <a:ext cx="397" cy="316"/>
              </a:xfrm>
              <a:custGeom>
                <a:avLst/>
                <a:gdLst>
                  <a:gd name="T0" fmla="*/ 205 w 397"/>
                  <a:gd name="T1" fmla="*/ 285 h 316"/>
                  <a:gd name="T2" fmla="*/ 164 w 397"/>
                  <a:gd name="T3" fmla="*/ 285 h 316"/>
                  <a:gd name="T4" fmla="*/ 0 w 397"/>
                  <a:gd name="T5" fmla="*/ 310 h 316"/>
                  <a:gd name="T6" fmla="*/ 1 w 397"/>
                  <a:gd name="T7" fmla="*/ 316 h 316"/>
                  <a:gd name="T8" fmla="*/ 205 w 397"/>
                  <a:gd name="T9" fmla="*/ 285 h 316"/>
                  <a:gd name="T10" fmla="*/ 379 w 397"/>
                  <a:gd name="T11" fmla="*/ 142 h 316"/>
                  <a:gd name="T12" fmla="*/ 379 w 397"/>
                  <a:gd name="T13" fmla="*/ 181 h 316"/>
                  <a:gd name="T14" fmla="*/ 390 w 397"/>
                  <a:gd name="T15" fmla="*/ 251 h 316"/>
                  <a:gd name="T16" fmla="*/ 379 w 397"/>
                  <a:gd name="T17" fmla="*/ 253 h 316"/>
                  <a:gd name="T18" fmla="*/ 379 w 397"/>
                  <a:gd name="T19" fmla="*/ 259 h 316"/>
                  <a:gd name="T20" fmla="*/ 397 w 397"/>
                  <a:gd name="T21" fmla="*/ 256 h 316"/>
                  <a:gd name="T22" fmla="*/ 379 w 397"/>
                  <a:gd name="T23" fmla="*/ 142 h 316"/>
                  <a:gd name="T24" fmla="*/ 358 w 397"/>
                  <a:gd name="T25" fmla="*/ 0 h 316"/>
                  <a:gd name="T26" fmla="*/ 352 w 397"/>
                  <a:gd name="T27" fmla="*/ 0 h 316"/>
                  <a:gd name="T28" fmla="*/ 356 w 397"/>
                  <a:gd name="T29" fmla="*/ 25 h 316"/>
                  <a:gd name="T30" fmla="*/ 362 w 397"/>
                  <a:gd name="T31" fmla="*/ 25 h 316"/>
                  <a:gd name="T32" fmla="*/ 358 w 397"/>
                  <a:gd name="T33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7" h="316">
                    <a:moveTo>
                      <a:pt x="205" y="285"/>
                    </a:moveTo>
                    <a:lnTo>
                      <a:pt x="164" y="285"/>
                    </a:lnTo>
                    <a:lnTo>
                      <a:pt x="0" y="310"/>
                    </a:lnTo>
                    <a:lnTo>
                      <a:pt x="1" y="316"/>
                    </a:lnTo>
                    <a:lnTo>
                      <a:pt x="205" y="285"/>
                    </a:lnTo>
                    <a:moveTo>
                      <a:pt x="379" y="142"/>
                    </a:moveTo>
                    <a:lnTo>
                      <a:pt x="379" y="181"/>
                    </a:lnTo>
                    <a:lnTo>
                      <a:pt x="390" y="251"/>
                    </a:lnTo>
                    <a:lnTo>
                      <a:pt x="379" y="253"/>
                    </a:lnTo>
                    <a:lnTo>
                      <a:pt x="379" y="259"/>
                    </a:lnTo>
                    <a:lnTo>
                      <a:pt x="397" y="256"/>
                    </a:lnTo>
                    <a:lnTo>
                      <a:pt x="379" y="142"/>
                    </a:lnTo>
                    <a:moveTo>
                      <a:pt x="358" y="0"/>
                    </a:moveTo>
                    <a:lnTo>
                      <a:pt x="352" y="0"/>
                    </a:lnTo>
                    <a:lnTo>
                      <a:pt x="356" y="25"/>
                    </a:lnTo>
                    <a:lnTo>
                      <a:pt x="362" y="25"/>
                    </a:lnTo>
                    <a:lnTo>
                      <a:pt x="3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8" name="Freeform 347">
                <a:extLst>
                  <a:ext uri="{FF2B5EF4-FFF2-40B4-BE49-F238E27FC236}">
                    <a16:creationId xmlns:a16="http://schemas.microsoft.com/office/drawing/2014/main" id="{B43D8D5F-F283-4466-90DA-E186C0D946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3" y="857"/>
                <a:ext cx="435" cy="317"/>
              </a:xfrm>
              <a:custGeom>
                <a:avLst/>
                <a:gdLst>
                  <a:gd name="T0" fmla="*/ 435 w 435"/>
                  <a:gd name="T1" fmla="*/ 257 h 317"/>
                  <a:gd name="T2" fmla="*/ 39 w 435"/>
                  <a:gd name="T3" fmla="*/ 317 h 317"/>
                  <a:gd name="T4" fmla="*/ 0 w 435"/>
                  <a:gd name="T5" fmla="*/ 60 h 317"/>
                  <a:gd name="T6" fmla="*/ 396 w 435"/>
                  <a:gd name="T7" fmla="*/ 0 h 317"/>
                  <a:gd name="T8" fmla="*/ 435 w 435"/>
                  <a:gd name="T9" fmla="*/ 25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5" h="317">
                    <a:moveTo>
                      <a:pt x="435" y="257"/>
                    </a:moveTo>
                    <a:lnTo>
                      <a:pt x="39" y="317"/>
                    </a:lnTo>
                    <a:lnTo>
                      <a:pt x="0" y="60"/>
                    </a:lnTo>
                    <a:lnTo>
                      <a:pt x="396" y="0"/>
                    </a:lnTo>
                    <a:lnTo>
                      <a:pt x="435" y="257"/>
                    </a:lnTo>
                    <a:close/>
                  </a:path>
                </a:pathLst>
              </a:custGeom>
              <a:solidFill>
                <a:srgbClr val="E2DD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9" name="Freeform 348">
                <a:extLst>
                  <a:ext uri="{FF2B5EF4-FFF2-40B4-BE49-F238E27FC236}">
                    <a16:creationId xmlns:a16="http://schemas.microsoft.com/office/drawing/2014/main" id="{ADE9F6AA-1DF4-4685-9D61-5DA0738AB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3" y="857"/>
                <a:ext cx="435" cy="317"/>
              </a:xfrm>
              <a:custGeom>
                <a:avLst/>
                <a:gdLst>
                  <a:gd name="T0" fmla="*/ 435 w 435"/>
                  <a:gd name="T1" fmla="*/ 257 h 317"/>
                  <a:gd name="T2" fmla="*/ 39 w 435"/>
                  <a:gd name="T3" fmla="*/ 317 h 317"/>
                  <a:gd name="T4" fmla="*/ 0 w 435"/>
                  <a:gd name="T5" fmla="*/ 60 h 317"/>
                  <a:gd name="T6" fmla="*/ 396 w 435"/>
                  <a:gd name="T7" fmla="*/ 0 h 317"/>
                  <a:gd name="T8" fmla="*/ 435 w 435"/>
                  <a:gd name="T9" fmla="*/ 25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5" h="317">
                    <a:moveTo>
                      <a:pt x="435" y="257"/>
                    </a:moveTo>
                    <a:lnTo>
                      <a:pt x="39" y="317"/>
                    </a:lnTo>
                    <a:lnTo>
                      <a:pt x="0" y="60"/>
                    </a:lnTo>
                    <a:lnTo>
                      <a:pt x="396" y="0"/>
                    </a:lnTo>
                    <a:lnTo>
                      <a:pt x="435" y="25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0" name="Freeform 349">
                <a:extLst>
                  <a:ext uri="{FF2B5EF4-FFF2-40B4-BE49-F238E27FC236}">
                    <a16:creationId xmlns:a16="http://schemas.microsoft.com/office/drawing/2014/main" id="{EEDA03AD-1B6C-450A-82F1-3E3B1857AE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400 w 400"/>
                  <a:gd name="T1" fmla="*/ 234 h 260"/>
                  <a:gd name="T2" fmla="*/ 226 w 400"/>
                  <a:gd name="T3" fmla="*/ 260 h 260"/>
                  <a:gd name="T4" fmla="*/ 400 w 400"/>
                  <a:gd name="T5" fmla="*/ 260 h 260"/>
                  <a:gd name="T6" fmla="*/ 400 w 400"/>
                  <a:gd name="T7" fmla="*/ 234 h 260"/>
                  <a:gd name="T8" fmla="*/ 0 w 400"/>
                  <a:gd name="T9" fmla="*/ 186 h 260"/>
                  <a:gd name="T10" fmla="*/ 0 w 400"/>
                  <a:gd name="T11" fmla="*/ 260 h 260"/>
                  <a:gd name="T12" fmla="*/ 12 w 400"/>
                  <a:gd name="T13" fmla="*/ 260 h 260"/>
                  <a:gd name="T14" fmla="*/ 0 w 400"/>
                  <a:gd name="T15" fmla="*/ 186 h 260"/>
                  <a:gd name="T16" fmla="*/ 165 w 400"/>
                  <a:gd name="T17" fmla="*/ 0 h 260"/>
                  <a:gd name="T18" fmla="*/ 0 w 400"/>
                  <a:gd name="T19" fmla="*/ 0 h 260"/>
                  <a:gd name="T20" fmla="*/ 0 w 400"/>
                  <a:gd name="T21" fmla="*/ 25 h 260"/>
                  <a:gd name="T22" fmla="*/ 165 w 400"/>
                  <a:gd name="T23" fmla="*/ 0 h 260"/>
                  <a:gd name="T24" fmla="*/ 400 w 400"/>
                  <a:gd name="T25" fmla="*/ 0 h 260"/>
                  <a:gd name="T26" fmla="*/ 383 w 400"/>
                  <a:gd name="T27" fmla="*/ 0 h 260"/>
                  <a:gd name="T28" fmla="*/ 400 w 400"/>
                  <a:gd name="T29" fmla="*/ 117 h 260"/>
                  <a:gd name="T30" fmla="*/ 400 w 400"/>
                  <a:gd name="T3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0" h="260">
                    <a:moveTo>
                      <a:pt x="400" y="234"/>
                    </a:moveTo>
                    <a:lnTo>
                      <a:pt x="226" y="260"/>
                    </a:lnTo>
                    <a:lnTo>
                      <a:pt x="400" y="260"/>
                    </a:lnTo>
                    <a:lnTo>
                      <a:pt x="400" y="234"/>
                    </a:lnTo>
                    <a:close/>
                    <a:moveTo>
                      <a:pt x="0" y="186"/>
                    </a:moveTo>
                    <a:lnTo>
                      <a:pt x="0" y="260"/>
                    </a:lnTo>
                    <a:lnTo>
                      <a:pt x="12" y="260"/>
                    </a:lnTo>
                    <a:lnTo>
                      <a:pt x="0" y="186"/>
                    </a:lnTo>
                    <a:close/>
                    <a:moveTo>
                      <a:pt x="165" y="0"/>
                    </a:moveTo>
                    <a:lnTo>
                      <a:pt x="0" y="0"/>
                    </a:lnTo>
                    <a:lnTo>
                      <a:pt x="0" y="25"/>
                    </a:lnTo>
                    <a:lnTo>
                      <a:pt x="165" y="0"/>
                    </a:lnTo>
                    <a:close/>
                    <a:moveTo>
                      <a:pt x="400" y="0"/>
                    </a:moveTo>
                    <a:lnTo>
                      <a:pt x="383" y="0"/>
                    </a:lnTo>
                    <a:lnTo>
                      <a:pt x="400" y="117"/>
                    </a:lnTo>
                    <a:lnTo>
                      <a:pt x="400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1" name="Freeform 350">
                <a:extLst>
                  <a:ext uri="{FF2B5EF4-FFF2-40B4-BE49-F238E27FC236}">
                    <a16:creationId xmlns:a16="http://schemas.microsoft.com/office/drawing/2014/main" id="{94EA1242-9382-4D61-B59C-E324C0CEF9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400 w 400"/>
                  <a:gd name="T1" fmla="*/ 234 h 260"/>
                  <a:gd name="T2" fmla="*/ 226 w 400"/>
                  <a:gd name="T3" fmla="*/ 260 h 260"/>
                  <a:gd name="T4" fmla="*/ 400 w 400"/>
                  <a:gd name="T5" fmla="*/ 260 h 260"/>
                  <a:gd name="T6" fmla="*/ 400 w 400"/>
                  <a:gd name="T7" fmla="*/ 234 h 260"/>
                  <a:gd name="T8" fmla="*/ 0 w 400"/>
                  <a:gd name="T9" fmla="*/ 186 h 260"/>
                  <a:gd name="T10" fmla="*/ 0 w 400"/>
                  <a:gd name="T11" fmla="*/ 260 h 260"/>
                  <a:gd name="T12" fmla="*/ 12 w 400"/>
                  <a:gd name="T13" fmla="*/ 260 h 260"/>
                  <a:gd name="T14" fmla="*/ 0 w 400"/>
                  <a:gd name="T15" fmla="*/ 186 h 260"/>
                  <a:gd name="T16" fmla="*/ 165 w 400"/>
                  <a:gd name="T17" fmla="*/ 0 h 260"/>
                  <a:gd name="T18" fmla="*/ 0 w 400"/>
                  <a:gd name="T19" fmla="*/ 0 h 260"/>
                  <a:gd name="T20" fmla="*/ 0 w 400"/>
                  <a:gd name="T21" fmla="*/ 25 h 260"/>
                  <a:gd name="T22" fmla="*/ 165 w 400"/>
                  <a:gd name="T23" fmla="*/ 0 h 260"/>
                  <a:gd name="T24" fmla="*/ 400 w 400"/>
                  <a:gd name="T25" fmla="*/ 0 h 260"/>
                  <a:gd name="T26" fmla="*/ 383 w 400"/>
                  <a:gd name="T27" fmla="*/ 0 h 260"/>
                  <a:gd name="T28" fmla="*/ 400 w 400"/>
                  <a:gd name="T29" fmla="*/ 117 h 260"/>
                  <a:gd name="T30" fmla="*/ 400 w 400"/>
                  <a:gd name="T3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0" h="260">
                    <a:moveTo>
                      <a:pt x="400" y="234"/>
                    </a:moveTo>
                    <a:lnTo>
                      <a:pt x="226" y="260"/>
                    </a:lnTo>
                    <a:lnTo>
                      <a:pt x="400" y="260"/>
                    </a:lnTo>
                    <a:lnTo>
                      <a:pt x="400" y="234"/>
                    </a:lnTo>
                    <a:moveTo>
                      <a:pt x="0" y="186"/>
                    </a:moveTo>
                    <a:lnTo>
                      <a:pt x="0" y="260"/>
                    </a:lnTo>
                    <a:lnTo>
                      <a:pt x="12" y="260"/>
                    </a:lnTo>
                    <a:lnTo>
                      <a:pt x="0" y="186"/>
                    </a:lnTo>
                    <a:moveTo>
                      <a:pt x="165" y="0"/>
                    </a:moveTo>
                    <a:lnTo>
                      <a:pt x="0" y="0"/>
                    </a:lnTo>
                    <a:lnTo>
                      <a:pt x="0" y="25"/>
                    </a:lnTo>
                    <a:lnTo>
                      <a:pt x="165" y="0"/>
                    </a:lnTo>
                    <a:moveTo>
                      <a:pt x="400" y="0"/>
                    </a:moveTo>
                    <a:lnTo>
                      <a:pt x="383" y="0"/>
                    </a:lnTo>
                    <a:lnTo>
                      <a:pt x="400" y="117"/>
                    </a:lnTo>
                    <a:lnTo>
                      <a:pt x="40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2" name="Freeform 351">
                <a:extLst>
                  <a:ext uri="{FF2B5EF4-FFF2-40B4-BE49-F238E27FC236}">
                    <a16:creationId xmlns:a16="http://schemas.microsoft.com/office/drawing/2014/main" id="{50A2B9DA-02EA-4494-ADD1-5E28ED918D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62" y="888"/>
                <a:ext cx="215" cy="260"/>
              </a:xfrm>
              <a:custGeom>
                <a:avLst/>
                <a:gdLst>
                  <a:gd name="T0" fmla="*/ 215 w 215"/>
                  <a:gd name="T1" fmla="*/ 228 h 260"/>
                  <a:gd name="T2" fmla="*/ 0 w 215"/>
                  <a:gd name="T3" fmla="*/ 260 h 260"/>
                  <a:gd name="T4" fmla="*/ 41 w 215"/>
                  <a:gd name="T5" fmla="*/ 260 h 260"/>
                  <a:gd name="T6" fmla="*/ 215 w 215"/>
                  <a:gd name="T7" fmla="*/ 234 h 260"/>
                  <a:gd name="T8" fmla="*/ 215 w 215"/>
                  <a:gd name="T9" fmla="*/ 228 h 260"/>
                  <a:gd name="T10" fmla="*/ 198 w 215"/>
                  <a:gd name="T11" fmla="*/ 0 h 260"/>
                  <a:gd name="T12" fmla="*/ 192 w 215"/>
                  <a:gd name="T13" fmla="*/ 0 h 260"/>
                  <a:gd name="T14" fmla="*/ 215 w 215"/>
                  <a:gd name="T15" fmla="*/ 156 h 260"/>
                  <a:gd name="T16" fmla="*/ 215 w 215"/>
                  <a:gd name="T17" fmla="*/ 117 h 260"/>
                  <a:gd name="T18" fmla="*/ 198 w 215"/>
                  <a:gd name="T1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5" h="260">
                    <a:moveTo>
                      <a:pt x="215" y="228"/>
                    </a:moveTo>
                    <a:lnTo>
                      <a:pt x="0" y="260"/>
                    </a:lnTo>
                    <a:lnTo>
                      <a:pt x="41" y="260"/>
                    </a:lnTo>
                    <a:lnTo>
                      <a:pt x="215" y="234"/>
                    </a:lnTo>
                    <a:lnTo>
                      <a:pt x="215" y="228"/>
                    </a:lnTo>
                    <a:close/>
                    <a:moveTo>
                      <a:pt x="198" y="0"/>
                    </a:moveTo>
                    <a:lnTo>
                      <a:pt x="192" y="0"/>
                    </a:lnTo>
                    <a:lnTo>
                      <a:pt x="215" y="156"/>
                    </a:lnTo>
                    <a:lnTo>
                      <a:pt x="215" y="117"/>
                    </a:lnTo>
                    <a:lnTo>
                      <a:pt x="198" y="0"/>
                    </a:lnTo>
                    <a:close/>
                  </a:path>
                </a:pathLst>
              </a:custGeom>
              <a:solidFill>
                <a:srgbClr val="7862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3" name="Freeform 352">
                <a:extLst>
                  <a:ext uri="{FF2B5EF4-FFF2-40B4-BE49-F238E27FC236}">
                    <a16:creationId xmlns:a16="http://schemas.microsoft.com/office/drawing/2014/main" id="{FE8C425A-8CEB-4F94-988E-EC904B03D0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62" y="888"/>
                <a:ext cx="215" cy="260"/>
              </a:xfrm>
              <a:custGeom>
                <a:avLst/>
                <a:gdLst>
                  <a:gd name="T0" fmla="*/ 215 w 215"/>
                  <a:gd name="T1" fmla="*/ 228 h 260"/>
                  <a:gd name="T2" fmla="*/ 0 w 215"/>
                  <a:gd name="T3" fmla="*/ 260 h 260"/>
                  <a:gd name="T4" fmla="*/ 41 w 215"/>
                  <a:gd name="T5" fmla="*/ 260 h 260"/>
                  <a:gd name="T6" fmla="*/ 215 w 215"/>
                  <a:gd name="T7" fmla="*/ 234 h 260"/>
                  <a:gd name="T8" fmla="*/ 215 w 215"/>
                  <a:gd name="T9" fmla="*/ 228 h 260"/>
                  <a:gd name="T10" fmla="*/ 198 w 215"/>
                  <a:gd name="T11" fmla="*/ 0 h 260"/>
                  <a:gd name="T12" fmla="*/ 192 w 215"/>
                  <a:gd name="T13" fmla="*/ 0 h 260"/>
                  <a:gd name="T14" fmla="*/ 215 w 215"/>
                  <a:gd name="T15" fmla="*/ 156 h 260"/>
                  <a:gd name="T16" fmla="*/ 215 w 215"/>
                  <a:gd name="T17" fmla="*/ 117 h 260"/>
                  <a:gd name="T18" fmla="*/ 198 w 215"/>
                  <a:gd name="T1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5" h="260">
                    <a:moveTo>
                      <a:pt x="215" y="228"/>
                    </a:moveTo>
                    <a:lnTo>
                      <a:pt x="0" y="260"/>
                    </a:lnTo>
                    <a:lnTo>
                      <a:pt x="41" y="260"/>
                    </a:lnTo>
                    <a:lnTo>
                      <a:pt x="215" y="234"/>
                    </a:lnTo>
                    <a:lnTo>
                      <a:pt x="215" y="228"/>
                    </a:lnTo>
                    <a:moveTo>
                      <a:pt x="198" y="0"/>
                    </a:moveTo>
                    <a:lnTo>
                      <a:pt x="192" y="0"/>
                    </a:lnTo>
                    <a:lnTo>
                      <a:pt x="215" y="156"/>
                    </a:lnTo>
                    <a:lnTo>
                      <a:pt x="215" y="117"/>
                    </a:lnTo>
                    <a:lnTo>
                      <a:pt x="19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4" name="Freeform 353">
                <a:extLst>
                  <a:ext uri="{FF2B5EF4-FFF2-40B4-BE49-F238E27FC236}">
                    <a16:creationId xmlns:a16="http://schemas.microsoft.com/office/drawing/2014/main" id="{CE36DA48-5493-42CA-A086-D0F41E39A2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377 w 400"/>
                  <a:gd name="T1" fmla="*/ 0 h 260"/>
                  <a:gd name="T2" fmla="*/ 165 w 400"/>
                  <a:gd name="T3" fmla="*/ 0 h 260"/>
                  <a:gd name="T4" fmla="*/ 0 w 400"/>
                  <a:gd name="T5" fmla="*/ 25 h 260"/>
                  <a:gd name="T6" fmla="*/ 0 w 400"/>
                  <a:gd name="T7" fmla="*/ 186 h 260"/>
                  <a:gd name="T8" fmla="*/ 12 w 400"/>
                  <a:gd name="T9" fmla="*/ 260 h 260"/>
                  <a:gd name="T10" fmla="*/ 185 w 400"/>
                  <a:gd name="T11" fmla="*/ 260 h 260"/>
                  <a:gd name="T12" fmla="*/ 400 w 400"/>
                  <a:gd name="T13" fmla="*/ 228 h 260"/>
                  <a:gd name="T14" fmla="*/ 400 w 400"/>
                  <a:gd name="T15" fmla="*/ 156 h 260"/>
                  <a:gd name="T16" fmla="*/ 377 w 400"/>
                  <a:gd name="T17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0" h="260">
                    <a:moveTo>
                      <a:pt x="377" y="0"/>
                    </a:moveTo>
                    <a:lnTo>
                      <a:pt x="165" y="0"/>
                    </a:lnTo>
                    <a:lnTo>
                      <a:pt x="0" y="25"/>
                    </a:lnTo>
                    <a:lnTo>
                      <a:pt x="0" y="186"/>
                    </a:lnTo>
                    <a:lnTo>
                      <a:pt x="12" y="260"/>
                    </a:lnTo>
                    <a:lnTo>
                      <a:pt x="185" y="260"/>
                    </a:lnTo>
                    <a:lnTo>
                      <a:pt x="400" y="228"/>
                    </a:lnTo>
                    <a:lnTo>
                      <a:pt x="400" y="156"/>
                    </a:lnTo>
                    <a:lnTo>
                      <a:pt x="377" y="0"/>
                    </a:lnTo>
                    <a:close/>
                  </a:path>
                </a:pathLst>
              </a:custGeom>
              <a:solidFill>
                <a:srgbClr val="B3AF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5" name="Freeform 354">
                <a:extLst>
                  <a:ext uri="{FF2B5EF4-FFF2-40B4-BE49-F238E27FC236}">
                    <a16:creationId xmlns:a16="http://schemas.microsoft.com/office/drawing/2014/main" id="{65256C17-12CD-499C-9879-5224FE64A9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377 w 400"/>
                  <a:gd name="T1" fmla="*/ 0 h 260"/>
                  <a:gd name="T2" fmla="*/ 165 w 400"/>
                  <a:gd name="T3" fmla="*/ 0 h 260"/>
                  <a:gd name="T4" fmla="*/ 0 w 400"/>
                  <a:gd name="T5" fmla="*/ 25 h 260"/>
                  <a:gd name="T6" fmla="*/ 0 w 400"/>
                  <a:gd name="T7" fmla="*/ 186 h 260"/>
                  <a:gd name="T8" fmla="*/ 12 w 400"/>
                  <a:gd name="T9" fmla="*/ 260 h 260"/>
                  <a:gd name="T10" fmla="*/ 185 w 400"/>
                  <a:gd name="T11" fmla="*/ 260 h 260"/>
                  <a:gd name="T12" fmla="*/ 400 w 400"/>
                  <a:gd name="T13" fmla="*/ 228 h 260"/>
                  <a:gd name="T14" fmla="*/ 400 w 400"/>
                  <a:gd name="T15" fmla="*/ 156 h 260"/>
                  <a:gd name="T16" fmla="*/ 377 w 400"/>
                  <a:gd name="T17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0" h="260">
                    <a:moveTo>
                      <a:pt x="377" y="0"/>
                    </a:moveTo>
                    <a:lnTo>
                      <a:pt x="165" y="0"/>
                    </a:lnTo>
                    <a:lnTo>
                      <a:pt x="0" y="25"/>
                    </a:lnTo>
                    <a:lnTo>
                      <a:pt x="0" y="186"/>
                    </a:lnTo>
                    <a:lnTo>
                      <a:pt x="12" y="260"/>
                    </a:lnTo>
                    <a:lnTo>
                      <a:pt x="185" y="260"/>
                    </a:lnTo>
                    <a:lnTo>
                      <a:pt x="400" y="228"/>
                    </a:lnTo>
                    <a:lnTo>
                      <a:pt x="400" y="156"/>
                    </a:lnTo>
                    <a:lnTo>
                      <a:pt x="37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6" name="Rectangle 355">
                <a:extLst>
                  <a:ext uri="{FF2B5EF4-FFF2-40B4-BE49-F238E27FC236}">
                    <a16:creationId xmlns:a16="http://schemas.microsoft.com/office/drawing/2014/main" id="{5D9088E9-EE67-4A3E-BF04-C976C2EF6B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2" y="882"/>
                <a:ext cx="400" cy="26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7" name="Freeform 356">
                <a:extLst>
                  <a:ext uri="{FF2B5EF4-FFF2-40B4-BE49-F238E27FC236}">
                    <a16:creationId xmlns:a16="http://schemas.microsoft.com/office/drawing/2014/main" id="{00D702F8-A621-4BA8-BEC2-7F5C99C23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4" y="1270"/>
                <a:ext cx="166" cy="100"/>
              </a:xfrm>
              <a:custGeom>
                <a:avLst/>
                <a:gdLst>
                  <a:gd name="T0" fmla="*/ 304 w 304"/>
                  <a:gd name="T1" fmla="*/ 172 h 183"/>
                  <a:gd name="T2" fmla="*/ 98 w 304"/>
                  <a:gd name="T3" fmla="*/ 4 h 183"/>
                  <a:gd name="T4" fmla="*/ 8 w 304"/>
                  <a:gd name="T5" fmla="*/ 0 h 183"/>
                  <a:gd name="T6" fmla="*/ 0 w 304"/>
                  <a:gd name="T7" fmla="*/ 7 h 183"/>
                  <a:gd name="T8" fmla="*/ 0 w 304"/>
                  <a:gd name="T9" fmla="*/ 9 h 183"/>
                  <a:gd name="T10" fmla="*/ 44 w 304"/>
                  <a:gd name="T11" fmla="*/ 17 h 183"/>
                  <a:gd name="T12" fmla="*/ 95 w 304"/>
                  <a:gd name="T13" fmla="*/ 14 h 183"/>
                  <a:gd name="T14" fmla="*/ 302 w 304"/>
                  <a:gd name="T15" fmla="*/ 183 h 183"/>
                  <a:gd name="T16" fmla="*/ 304 w 304"/>
                  <a:gd name="T17" fmla="*/ 172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4" h="183">
                    <a:moveTo>
                      <a:pt x="304" y="172"/>
                    </a:moveTo>
                    <a:cubicBezTo>
                      <a:pt x="304" y="172"/>
                      <a:pt x="123" y="13"/>
                      <a:pt x="98" y="4"/>
                    </a:cubicBezTo>
                    <a:cubicBezTo>
                      <a:pt x="76" y="2"/>
                      <a:pt x="25" y="0"/>
                      <a:pt x="8" y="0"/>
                    </a:cubicBezTo>
                    <a:cubicBezTo>
                      <a:pt x="4" y="0"/>
                      <a:pt x="0" y="3"/>
                      <a:pt x="0" y="7"/>
                    </a:cubicBezTo>
                    <a:cubicBezTo>
                      <a:pt x="0" y="8"/>
                      <a:pt x="0" y="8"/>
                      <a:pt x="0" y="9"/>
                    </a:cubicBezTo>
                    <a:cubicBezTo>
                      <a:pt x="6" y="18"/>
                      <a:pt x="33" y="17"/>
                      <a:pt x="44" y="17"/>
                    </a:cubicBezTo>
                    <a:cubicBezTo>
                      <a:pt x="56" y="16"/>
                      <a:pt x="83" y="11"/>
                      <a:pt x="95" y="14"/>
                    </a:cubicBezTo>
                    <a:cubicBezTo>
                      <a:pt x="147" y="43"/>
                      <a:pt x="302" y="183"/>
                      <a:pt x="302" y="183"/>
                    </a:cubicBezTo>
                    <a:cubicBezTo>
                      <a:pt x="304" y="172"/>
                      <a:pt x="304" y="172"/>
                      <a:pt x="304" y="172"/>
                    </a:cubicBezTo>
                  </a:path>
                </a:pathLst>
              </a:custGeom>
              <a:solidFill>
                <a:srgbClr val="19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8" name="Freeform 357">
                <a:extLst>
                  <a:ext uri="{FF2B5EF4-FFF2-40B4-BE49-F238E27FC236}">
                    <a16:creationId xmlns:a16="http://schemas.microsoft.com/office/drawing/2014/main" id="{3F852924-712C-458F-8648-8A2C247DBA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4" y="1234"/>
                <a:ext cx="101" cy="166"/>
              </a:xfrm>
              <a:custGeom>
                <a:avLst/>
                <a:gdLst>
                  <a:gd name="T0" fmla="*/ 11 w 184"/>
                  <a:gd name="T1" fmla="*/ 0 h 304"/>
                  <a:gd name="T2" fmla="*/ 179 w 184"/>
                  <a:gd name="T3" fmla="*/ 205 h 304"/>
                  <a:gd name="T4" fmla="*/ 184 w 184"/>
                  <a:gd name="T5" fmla="*/ 295 h 304"/>
                  <a:gd name="T6" fmla="*/ 176 w 184"/>
                  <a:gd name="T7" fmla="*/ 304 h 304"/>
                  <a:gd name="T8" fmla="*/ 175 w 184"/>
                  <a:gd name="T9" fmla="*/ 304 h 304"/>
                  <a:gd name="T10" fmla="*/ 167 w 184"/>
                  <a:gd name="T11" fmla="*/ 259 h 304"/>
                  <a:gd name="T12" fmla="*/ 169 w 184"/>
                  <a:gd name="T13" fmla="*/ 209 h 304"/>
                  <a:gd name="T14" fmla="*/ 0 w 184"/>
                  <a:gd name="T15" fmla="*/ 2 h 304"/>
                  <a:gd name="T16" fmla="*/ 11 w 184"/>
                  <a:gd name="T17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4" h="304">
                    <a:moveTo>
                      <a:pt x="11" y="0"/>
                    </a:moveTo>
                    <a:cubicBezTo>
                      <a:pt x="11" y="0"/>
                      <a:pt x="170" y="180"/>
                      <a:pt x="179" y="205"/>
                    </a:cubicBezTo>
                    <a:cubicBezTo>
                      <a:pt x="181" y="228"/>
                      <a:pt x="183" y="278"/>
                      <a:pt x="184" y="295"/>
                    </a:cubicBezTo>
                    <a:cubicBezTo>
                      <a:pt x="184" y="300"/>
                      <a:pt x="181" y="304"/>
                      <a:pt x="176" y="304"/>
                    </a:cubicBezTo>
                    <a:cubicBezTo>
                      <a:pt x="176" y="304"/>
                      <a:pt x="175" y="304"/>
                      <a:pt x="175" y="304"/>
                    </a:cubicBezTo>
                    <a:cubicBezTo>
                      <a:pt x="165" y="298"/>
                      <a:pt x="166" y="271"/>
                      <a:pt x="167" y="259"/>
                    </a:cubicBezTo>
                    <a:cubicBezTo>
                      <a:pt x="168" y="247"/>
                      <a:pt x="172" y="220"/>
                      <a:pt x="169" y="209"/>
                    </a:cubicBezTo>
                    <a:cubicBezTo>
                      <a:pt x="140" y="156"/>
                      <a:pt x="0" y="2"/>
                      <a:pt x="0" y="2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19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9" name="Freeform 358">
                <a:extLst>
                  <a:ext uri="{FF2B5EF4-FFF2-40B4-BE49-F238E27FC236}">
                    <a16:creationId xmlns:a16="http://schemas.microsoft.com/office/drawing/2014/main" id="{5E5CC89C-BE8D-4F18-9042-5B9C3B1F75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0" y="1305"/>
                <a:ext cx="86" cy="91"/>
              </a:xfrm>
              <a:custGeom>
                <a:avLst/>
                <a:gdLst>
                  <a:gd name="T0" fmla="*/ 148 w 156"/>
                  <a:gd name="T1" fmla="*/ 104 h 167"/>
                  <a:gd name="T2" fmla="*/ 48 w 156"/>
                  <a:gd name="T3" fmla="*/ 3 h 167"/>
                  <a:gd name="T4" fmla="*/ 36 w 156"/>
                  <a:gd name="T5" fmla="*/ 3 h 167"/>
                  <a:gd name="T6" fmla="*/ 30 w 156"/>
                  <a:gd name="T7" fmla="*/ 10 h 167"/>
                  <a:gd name="T8" fmla="*/ 0 w 156"/>
                  <a:gd name="T9" fmla="*/ 76 h 167"/>
                  <a:gd name="T10" fmla="*/ 16 w 156"/>
                  <a:gd name="T11" fmla="*/ 121 h 167"/>
                  <a:gd name="T12" fmla="*/ 53 w 156"/>
                  <a:gd name="T13" fmla="*/ 154 h 167"/>
                  <a:gd name="T14" fmla="*/ 129 w 156"/>
                  <a:gd name="T15" fmla="*/ 138 h 167"/>
                  <a:gd name="T16" fmla="*/ 148 w 156"/>
                  <a:gd name="T17" fmla="*/ 104 h 167"/>
                  <a:gd name="T18" fmla="*/ 124 w 156"/>
                  <a:gd name="T19" fmla="*/ 130 h 167"/>
                  <a:gd name="T20" fmla="*/ 57 w 156"/>
                  <a:gd name="T21" fmla="*/ 146 h 167"/>
                  <a:gd name="T22" fmla="*/ 34 w 156"/>
                  <a:gd name="T23" fmla="*/ 129 h 167"/>
                  <a:gd name="T24" fmla="*/ 23 w 156"/>
                  <a:gd name="T25" fmla="*/ 116 h 167"/>
                  <a:gd name="T26" fmla="*/ 8 w 156"/>
                  <a:gd name="T27" fmla="*/ 76 h 167"/>
                  <a:gd name="T28" fmla="*/ 36 w 156"/>
                  <a:gd name="T29" fmla="*/ 16 h 167"/>
                  <a:gd name="T30" fmla="*/ 41 w 156"/>
                  <a:gd name="T31" fmla="*/ 10 h 167"/>
                  <a:gd name="T32" fmla="*/ 43 w 156"/>
                  <a:gd name="T33" fmla="*/ 11 h 167"/>
                  <a:gd name="T34" fmla="*/ 94 w 156"/>
                  <a:gd name="T35" fmla="*/ 53 h 167"/>
                  <a:gd name="T36" fmla="*/ 141 w 156"/>
                  <a:gd name="T37" fmla="*/ 108 h 167"/>
                  <a:gd name="T38" fmla="*/ 124 w 156"/>
                  <a:gd name="T39" fmla="*/ 13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6" h="167">
                    <a:moveTo>
                      <a:pt x="148" y="104"/>
                    </a:moveTo>
                    <a:cubicBezTo>
                      <a:pt x="129" y="74"/>
                      <a:pt x="78" y="22"/>
                      <a:pt x="48" y="3"/>
                    </a:cubicBezTo>
                    <a:cubicBezTo>
                      <a:pt x="45" y="2"/>
                      <a:pt x="39" y="0"/>
                      <a:pt x="36" y="3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12" y="27"/>
                      <a:pt x="0" y="51"/>
                      <a:pt x="0" y="76"/>
                    </a:cubicBezTo>
                    <a:cubicBezTo>
                      <a:pt x="0" y="91"/>
                      <a:pt x="6" y="107"/>
                      <a:pt x="16" y="121"/>
                    </a:cubicBezTo>
                    <a:cubicBezTo>
                      <a:pt x="26" y="135"/>
                      <a:pt x="39" y="147"/>
                      <a:pt x="53" y="154"/>
                    </a:cubicBezTo>
                    <a:cubicBezTo>
                      <a:pt x="79" y="167"/>
                      <a:pt x="113" y="149"/>
                      <a:pt x="129" y="138"/>
                    </a:cubicBezTo>
                    <a:cubicBezTo>
                      <a:pt x="136" y="132"/>
                      <a:pt x="156" y="115"/>
                      <a:pt x="148" y="104"/>
                    </a:cubicBezTo>
                    <a:moveTo>
                      <a:pt x="124" y="130"/>
                    </a:moveTo>
                    <a:cubicBezTo>
                      <a:pt x="112" y="139"/>
                      <a:pt x="80" y="158"/>
                      <a:pt x="57" y="146"/>
                    </a:cubicBezTo>
                    <a:cubicBezTo>
                      <a:pt x="49" y="142"/>
                      <a:pt x="41" y="136"/>
                      <a:pt x="34" y="129"/>
                    </a:cubicBezTo>
                    <a:cubicBezTo>
                      <a:pt x="30" y="125"/>
                      <a:pt x="26" y="120"/>
                      <a:pt x="23" y="116"/>
                    </a:cubicBezTo>
                    <a:cubicBezTo>
                      <a:pt x="13" y="102"/>
                      <a:pt x="8" y="88"/>
                      <a:pt x="8" y="76"/>
                    </a:cubicBezTo>
                    <a:cubicBezTo>
                      <a:pt x="8" y="55"/>
                      <a:pt x="18" y="33"/>
                      <a:pt x="36" y="16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2" y="10"/>
                      <a:pt x="43" y="11"/>
                      <a:pt x="43" y="11"/>
                    </a:cubicBezTo>
                    <a:cubicBezTo>
                      <a:pt x="56" y="19"/>
                      <a:pt x="75" y="34"/>
                      <a:pt x="94" y="53"/>
                    </a:cubicBezTo>
                    <a:cubicBezTo>
                      <a:pt x="113" y="73"/>
                      <a:pt x="131" y="94"/>
                      <a:pt x="141" y="108"/>
                    </a:cubicBezTo>
                    <a:cubicBezTo>
                      <a:pt x="143" y="112"/>
                      <a:pt x="133" y="124"/>
                      <a:pt x="124" y="13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0" name="Freeform 359">
                <a:extLst>
                  <a:ext uri="{FF2B5EF4-FFF2-40B4-BE49-F238E27FC236}">
                    <a16:creationId xmlns:a16="http://schemas.microsoft.com/office/drawing/2014/main" id="{62940D13-D518-489A-B1ED-431F94A1F9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0" y="1310"/>
                <a:ext cx="56" cy="76"/>
              </a:xfrm>
              <a:custGeom>
                <a:avLst/>
                <a:gdLst>
                  <a:gd name="T0" fmla="*/ 10 w 102"/>
                  <a:gd name="T1" fmla="*/ 24 h 139"/>
                  <a:gd name="T2" fmla="*/ 39 w 102"/>
                  <a:gd name="T3" fmla="*/ 66 h 139"/>
                  <a:gd name="T4" fmla="*/ 43 w 102"/>
                  <a:gd name="T5" fmla="*/ 139 h 139"/>
                  <a:gd name="T6" fmla="*/ 86 w 102"/>
                  <a:gd name="T7" fmla="*/ 121 h 139"/>
                  <a:gd name="T8" fmla="*/ 86 w 102"/>
                  <a:gd name="T9" fmla="*/ 121 h 139"/>
                  <a:gd name="T10" fmla="*/ 87 w 102"/>
                  <a:gd name="T11" fmla="*/ 121 h 139"/>
                  <a:gd name="T12" fmla="*/ 87 w 102"/>
                  <a:gd name="T13" fmla="*/ 121 h 139"/>
                  <a:gd name="T14" fmla="*/ 87 w 102"/>
                  <a:gd name="T15" fmla="*/ 120 h 139"/>
                  <a:gd name="T16" fmla="*/ 87 w 102"/>
                  <a:gd name="T17" fmla="*/ 120 h 139"/>
                  <a:gd name="T18" fmla="*/ 102 w 102"/>
                  <a:gd name="T19" fmla="*/ 105 h 139"/>
                  <a:gd name="T20" fmla="*/ 10 w 102"/>
                  <a:gd name="T21" fmla="*/ 24 h 139"/>
                  <a:gd name="T22" fmla="*/ 4 w 102"/>
                  <a:gd name="T23" fmla="*/ 0 h 139"/>
                  <a:gd name="T24" fmla="*/ 0 w 102"/>
                  <a:gd name="T25" fmla="*/ 5 h 139"/>
                  <a:gd name="T26" fmla="*/ 95 w 102"/>
                  <a:gd name="T27" fmla="*/ 86 h 139"/>
                  <a:gd name="T28" fmla="*/ 57 w 102"/>
                  <a:gd name="T29" fmla="*/ 43 h 139"/>
                  <a:gd name="T30" fmla="*/ 6 w 102"/>
                  <a:gd name="T31" fmla="*/ 1 h 139"/>
                  <a:gd name="T32" fmla="*/ 4 w 102"/>
                  <a:gd name="T33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2" h="139">
                    <a:moveTo>
                      <a:pt x="10" y="24"/>
                    </a:moveTo>
                    <a:cubicBezTo>
                      <a:pt x="26" y="44"/>
                      <a:pt x="37" y="60"/>
                      <a:pt x="39" y="66"/>
                    </a:cubicBezTo>
                    <a:cubicBezTo>
                      <a:pt x="41" y="83"/>
                      <a:pt x="42" y="117"/>
                      <a:pt x="43" y="139"/>
                    </a:cubicBezTo>
                    <a:cubicBezTo>
                      <a:pt x="60" y="137"/>
                      <a:pt x="77" y="127"/>
                      <a:pt x="86" y="121"/>
                    </a:cubicBezTo>
                    <a:cubicBezTo>
                      <a:pt x="86" y="121"/>
                      <a:pt x="86" y="121"/>
                      <a:pt x="86" y="121"/>
                    </a:cubicBezTo>
                    <a:cubicBezTo>
                      <a:pt x="86" y="121"/>
                      <a:pt x="86" y="121"/>
                      <a:pt x="87" y="121"/>
                    </a:cubicBezTo>
                    <a:cubicBezTo>
                      <a:pt x="87" y="121"/>
                      <a:pt x="87" y="121"/>
                      <a:pt x="87" y="121"/>
                    </a:cubicBezTo>
                    <a:cubicBezTo>
                      <a:pt x="87" y="121"/>
                      <a:pt x="87" y="120"/>
                      <a:pt x="87" y="120"/>
                    </a:cubicBezTo>
                    <a:cubicBezTo>
                      <a:pt x="87" y="120"/>
                      <a:pt x="87" y="120"/>
                      <a:pt x="87" y="120"/>
                    </a:cubicBezTo>
                    <a:cubicBezTo>
                      <a:pt x="93" y="116"/>
                      <a:pt x="99" y="110"/>
                      <a:pt x="102" y="105"/>
                    </a:cubicBezTo>
                    <a:cubicBezTo>
                      <a:pt x="89" y="93"/>
                      <a:pt x="51" y="59"/>
                      <a:pt x="10" y="24"/>
                    </a:cubicBezTo>
                    <a:moveTo>
                      <a:pt x="4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37" y="36"/>
                      <a:pt x="75" y="69"/>
                      <a:pt x="95" y="86"/>
                    </a:cubicBezTo>
                    <a:cubicBezTo>
                      <a:pt x="85" y="73"/>
                      <a:pt x="71" y="58"/>
                      <a:pt x="57" y="43"/>
                    </a:cubicBezTo>
                    <a:cubicBezTo>
                      <a:pt x="38" y="24"/>
                      <a:pt x="19" y="9"/>
                      <a:pt x="6" y="1"/>
                    </a:cubicBezTo>
                    <a:cubicBezTo>
                      <a:pt x="6" y="1"/>
                      <a:pt x="5" y="0"/>
                      <a:pt x="4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1" name="Freeform 360">
                <a:extLst>
                  <a:ext uri="{FF2B5EF4-FFF2-40B4-BE49-F238E27FC236}">
                    <a16:creationId xmlns:a16="http://schemas.microsoft.com/office/drawing/2014/main" id="{B5214982-566F-44C0-88CA-121AF66844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9" y="1313"/>
                <a:ext cx="58" cy="55"/>
              </a:xfrm>
              <a:custGeom>
                <a:avLst/>
                <a:gdLst>
                  <a:gd name="T0" fmla="*/ 3 w 107"/>
                  <a:gd name="T1" fmla="*/ 0 h 100"/>
                  <a:gd name="T2" fmla="*/ 2 w 107"/>
                  <a:gd name="T3" fmla="*/ 1 h 100"/>
                  <a:gd name="T4" fmla="*/ 0 w 107"/>
                  <a:gd name="T5" fmla="*/ 3 h 100"/>
                  <a:gd name="T6" fmla="*/ 13 w 107"/>
                  <a:gd name="T7" fmla="*/ 19 h 100"/>
                  <a:gd name="T8" fmla="*/ 105 w 107"/>
                  <a:gd name="T9" fmla="*/ 100 h 100"/>
                  <a:gd name="T10" fmla="*/ 107 w 107"/>
                  <a:gd name="T11" fmla="*/ 95 h 100"/>
                  <a:gd name="T12" fmla="*/ 107 w 107"/>
                  <a:gd name="T13" fmla="*/ 93 h 100"/>
                  <a:gd name="T14" fmla="*/ 98 w 107"/>
                  <a:gd name="T15" fmla="*/ 81 h 100"/>
                  <a:gd name="T16" fmla="*/ 3 w 107"/>
                  <a:gd name="T17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7" h="100">
                    <a:moveTo>
                      <a:pt x="3" y="0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1" y="2"/>
                      <a:pt x="0" y="2"/>
                      <a:pt x="0" y="3"/>
                    </a:cubicBezTo>
                    <a:cubicBezTo>
                      <a:pt x="4" y="9"/>
                      <a:pt x="9" y="14"/>
                      <a:pt x="13" y="19"/>
                    </a:cubicBezTo>
                    <a:cubicBezTo>
                      <a:pt x="54" y="54"/>
                      <a:pt x="92" y="88"/>
                      <a:pt x="105" y="100"/>
                    </a:cubicBezTo>
                    <a:cubicBezTo>
                      <a:pt x="106" y="98"/>
                      <a:pt x="107" y="96"/>
                      <a:pt x="107" y="95"/>
                    </a:cubicBezTo>
                    <a:cubicBezTo>
                      <a:pt x="107" y="94"/>
                      <a:pt x="107" y="94"/>
                      <a:pt x="107" y="93"/>
                    </a:cubicBezTo>
                    <a:cubicBezTo>
                      <a:pt x="104" y="90"/>
                      <a:pt x="101" y="86"/>
                      <a:pt x="98" y="81"/>
                    </a:cubicBezTo>
                    <a:cubicBezTo>
                      <a:pt x="78" y="64"/>
                      <a:pt x="40" y="31"/>
                      <a:pt x="3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2" name="Freeform 361">
                <a:extLst>
                  <a:ext uri="{FF2B5EF4-FFF2-40B4-BE49-F238E27FC236}">
                    <a16:creationId xmlns:a16="http://schemas.microsoft.com/office/drawing/2014/main" id="{55FDCFF2-EA98-4569-8E96-FBEA99DE9F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1318"/>
                <a:ext cx="33" cy="68"/>
              </a:xfrm>
              <a:custGeom>
                <a:avLst/>
                <a:gdLst>
                  <a:gd name="T0" fmla="*/ 20 w 61"/>
                  <a:gd name="T1" fmla="*/ 0 h 123"/>
                  <a:gd name="T2" fmla="*/ 0 w 61"/>
                  <a:gd name="T3" fmla="*/ 51 h 123"/>
                  <a:gd name="T4" fmla="*/ 0 w 61"/>
                  <a:gd name="T5" fmla="*/ 51 h 123"/>
                  <a:gd name="T6" fmla="*/ 15 w 61"/>
                  <a:gd name="T7" fmla="*/ 91 h 123"/>
                  <a:gd name="T8" fmla="*/ 26 w 61"/>
                  <a:gd name="T9" fmla="*/ 104 h 123"/>
                  <a:gd name="T10" fmla="*/ 49 w 61"/>
                  <a:gd name="T11" fmla="*/ 121 h 123"/>
                  <a:gd name="T12" fmla="*/ 56 w 61"/>
                  <a:gd name="T13" fmla="*/ 123 h 123"/>
                  <a:gd name="T14" fmla="*/ 56 w 61"/>
                  <a:gd name="T15" fmla="*/ 105 h 123"/>
                  <a:gd name="T16" fmla="*/ 58 w 61"/>
                  <a:gd name="T17" fmla="*/ 55 h 123"/>
                  <a:gd name="T18" fmla="*/ 20 w 61"/>
                  <a:gd name="T19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123">
                    <a:moveTo>
                      <a:pt x="20" y="0"/>
                    </a:moveTo>
                    <a:cubicBezTo>
                      <a:pt x="7" y="16"/>
                      <a:pt x="0" y="34"/>
                      <a:pt x="0" y="51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63"/>
                      <a:pt x="5" y="78"/>
                      <a:pt x="15" y="91"/>
                    </a:cubicBezTo>
                    <a:cubicBezTo>
                      <a:pt x="18" y="95"/>
                      <a:pt x="22" y="100"/>
                      <a:pt x="26" y="104"/>
                    </a:cubicBezTo>
                    <a:cubicBezTo>
                      <a:pt x="33" y="111"/>
                      <a:pt x="41" y="117"/>
                      <a:pt x="49" y="121"/>
                    </a:cubicBezTo>
                    <a:cubicBezTo>
                      <a:pt x="51" y="122"/>
                      <a:pt x="53" y="123"/>
                      <a:pt x="56" y="123"/>
                    </a:cubicBezTo>
                    <a:cubicBezTo>
                      <a:pt x="55" y="117"/>
                      <a:pt x="56" y="110"/>
                      <a:pt x="56" y="105"/>
                    </a:cubicBezTo>
                    <a:cubicBezTo>
                      <a:pt x="57" y="93"/>
                      <a:pt x="61" y="66"/>
                      <a:pt x="58" y="55"/>
                    </a:cubicBezTo>
                    <a:cubicBezTo>
                      <a:pt x="51" y="42"/>
                      <a:pt x="37" y="22"/>
                      <a:pt x="20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3" name="Freeform 362">
                <a:extLst>
                  <a:ext uri="{FF2B5EF4-FFF2-40B4-BE49-F238E27FC236}">
                    <a16:creationId xmlns:a16="http://schemas.microsoft.com/office/drawing/2014/main" id="{51BBE0B3-C676-4902-BAD3-0FB9B903F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1315"/>
                <a:ext cx="28" cy="72"/>
              </a:xfrm>
              <a:custGeom>
                <a:avLst/>
                <a:gdLst>
                  <a:gd name="T0" fmla="*/ 6 w 52"/>
                  <a:gd name="T1" fmla="*/ 0 h 132"/>
                  <a:gd name="T2" fmla="*/ 0 w 52"/>
                  <a:gd name="T3" fmla="*/ 7 h 132"/>
                  <a:gd name="T4" fmla="*/ 38 w 52"/>
                  <a:gd name="T5" fmla="*/ 62 h 132"/>
                  <a:gd name="T6" fmla="*/ 36 w 52"/>
                  <a:gd name="T7" fmla="*/ 112 h 132"/>
                  <a:gd name="T8" fmla="*/ 36 w 52"/>
                  <a:gd name="T9" fmla="*/ 130 h 132"/>
                  <a:gd name="T10" fmla="*/ 46 w 52"/>
                  <a:gd name="T11" fmla="*/ 132 h 132"/>
                  <a:gd name="T12" fmla="*/ 46 w 52"/>
                  <a:gd name="T13" fmla="*/ 132 h 132"/>
                  <a:gd name="T14" fmla="*/ 46 w 52"/>
                  <a:gd name="T15" fmla="*/ 132 h 132"/>
                  <a:gd name="T16" fmla="*/ 52 w 52"/>
                  <a:gd name="T17" fmla="*/ 131 h 132"/>
                  <a:gd name="T18" fmla="*/ 48 w 52"/>
                  <a:gd name="T19" fmla="*/ 58 h 132"/>
                  <a:gd name="T20" fmla="*/ 19 w 52"/>
                  <a:gd name="T21" fmla="*/ 16 h 132"/>
                  <a:gd name="T22" fmla="*/ 6 w 52"/>
                  <a:gd name="T23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2" h="132">
                    <a:moveTo>
                      <a:pt x="6" y="0"/>
                    </a:moveTo>
                    <a:cubicBezTo>
                      <a:pt x="4" y="2"/>
                      <a:pt x="2" y="5"/>
                      <a:pt x="0" y="7"/>
                    </a:cubicBezTo>
                    <a:cubicBezTo>
                      <a:pt x="17" y="29"/>
                      <a:pt x="31" y="49"/>
                      <a:pt x="38" y="62"/>
                    </a:cubicBezTo>
                    <a:cubicBezTo>
                      <a:pt x="41" y="73"/>
                      <a:pt x="37" y="100"/>
                      <a:pt x="36" y="112"/>
                    </a:cubicBezTo>
                    <a:cubicBezTo>
                      <a:pt x="36" y="117"/>
                      <a:pt x="35" y="124"/>
                      <a:pt x="36" y="130"/>
                    </a:cubicBezTo>
                    <a:cubicBezTo>
                      <a:pt x="39" y="131"/>
                      <a:pt x="42" y="132"/>
                      <a:pt x="46" y="132"/>
                    </a:cubicBezTo>
                    <a:cubicBezTo>
                      <a:pt x="46" y="132"/>
                      <a:pt x="46" y="132"/>
                      <a:pt x="46" y="132"/>
                    </a:cubicBezTo>
                    <a:cubicBezTo>
                      <a:pt x="46" y="132"/>
                      <a:pt x="46" y="132"/>
                      <a:pt x="46" y="132"/>
                    </a:cubicBezTo>
                    <a:cubicBezTo>
                      <a:pt x="48" y="132"/>
                      <a:pt x="50" y="132"/>
                      <a:pt x="52" y="131"/>
                    </a:cubicBezTo>
                    <a:cubicBezTo>
                      <a:pt x="51" y="109"/>
                      <a:pt x="50" y="75"/>
                      <a:pt x="48" y="58"/>
                    </a:cubicBezTo>
                    <a:cubicBezTo>
                      <a:pt x="46" y="52"/>
                      <a:pt x="35" y="36"/>
                      <a:pt x="19" y="16"/>
                    </a:cubicBezTo>
                    <a:cubicBezTo>
                      <a:pt x="15" y="11"/>
                      <a:pt x="10" y="6"/>
                      <a:pt x="6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4" name="Freeform 363">
                <a:extLst>
                  <a:ext uri="{FF2B5EF4-FFF2-40B4-BE49-F238E27FC236}">
                    <a16:creationId xmlns:a16="http://schemas.microsoft.com/office/drawing/2014/main" id="{0438741C-B16F-46F4-8F6C-3CE534E309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" y="1310"/>
                <a:ext cx="72" cy="77"/>
              </a:xfrm>
              <a:custGeom>
                <a:avLst/>
                <a:gdLst>
                  <a:gd name="T0" fmla="*/ 66 w 133"/>
                  <a:gd name="T1" fmla="*/ 140 h 140"/>
                  <a:gd name="T2" fmla="*/ 66 w 133"/>
                  <a:gd name="T3" fmla="*/ 140 h 140"/>
                  <a:gd name="T4" fmla="*/ 66 w 133"/>
                  <a:gd name="T5" fmla="*/ 140 h 140"/>
                  <a:gd name="T6" fmla="*/ 66 w 133"/>
                  <a:gd name="T7" fmla="*/ 140 h 140"/>
                  <a:gd name="T8" fmla="*/ 115 w 133"/>
                  <a:gd name="T9" fmla="*/ 121 h 140"/>
                  <a:gd name="T10" fmla="*/ 72 w 133"/>
                  <a:gd name="T11" fmla="*/ 139 h 140"/>
                  <a:gd name="T12" fmla="*/ 66 w 133"/>
                  <a:gd name="T13" fmla="*/ 140 h 140"/>
                  <a:gd name="T14" fmla="*/ 115 w 133"/>
                  <a:gd name="T15" fmla="*/ 121 h 140"/>
                  <a:gd name="T16" fmla="*/ 116 w 133"/>
                  <a:gd name="T17" fmla="*/ 121 h 140"/>
                  <a:gd name="T18" fmla="*/ 115 w 133"/>
                  <a:gd name="T19" fmla="*/ 121 h 140"/>
                  <a:gd name="T20" fmla="*/ 116 w 133"/>
                  <a:gd name="T21" fmla="*/ 121 h 140"/>
                  <a:gd name="T22" fmla="*/ 116 w 133"/>
                  <a:gd name="T23" fmla="*/ 120 h 140"/>
                  <a:gd name="T24" fmla="*/ 116 w 133"/>
                  <a:gd name="T25" fmla="*/ 121 h 140"/>
                  <a:gd name="T26" fmla="*/ 116 w 133"/>
                  <a:gd name="T27" fmla="*/ 120 h 140"/>
                  <a:gd name="T28" fmla="*/ 33 w 133"/>
                  <a:gd name="T29" fmla="*/ 0 h 140"/>
                  <a:gd name="T30" fmla="*/ 28 w 133"/>
                  <a:gd name="T31" fmla="*/ 6 h 140"/>
                  <a:gd name="T32" fmla="*/ 0 w 133"/>
                  <a:gd name="T33" fmla="*/ 66 h 140"/>
                  <a:gd name="T34" fmla="*/ 0 w 133"/>
                  <a:gd name="T35" fmla="*/ 66 h 140"/>
                  <a:gd name="T36" fmla="*/ 0 w 133"/>
                  <a:gd name="T37" fmla="*/ 66 h 140"/>
                  <a:gd name="T38" fmla="*/ 20 w 133"/>
                  <a:gd name="T39" fmla="*/ 15 h 140"/>
                  <a:gd name="T40" fmla="*/ 26 w 133"/>
                  <a:gd name="T41" fmla="*/ 8 h 140"/>
                  <a:gd name="T42" fmla="*/ 28 w 133"/>
                  <a:gd name="T43" fmla="*/ 6 h 140"/>
                  <a:gd name="T44" fmla="*/ 29 w 133"/>
                  <a:gd name="T45" fmla="*/ 5 h 140"/>
                  <a:gd name="T46" fmla="*/ 33 w 133"/>
                  <a:gd name="T47" fmla="*/ 0 h 140"/>
                  <a:gd name="T48" fmla="*/ 35 w 133"/>
                  <a:gd name="T49" fmla="*/ 1 h 140"/>
                  <a:gd name="T50" fmla="*/ 86 w 133"/>
                  <a:gd name="T51" fmla="*/ 43 h 140"/>
                  <a:gd name="T52" fmla="*/ 124 w 133"/>
                  <a:gd name="T53" fmla="*/ 86 h 140"/>
                  <a:gd name="T54" fmla="*/ 133 w 133"/>
                  <a:gd name="T55" fmla="*/ 98 h 140"/>
                  <a:gd name="T56" fmla="*/ 133 w 133"/>
                  <a:gd name="T57" fmla="*/ 100 h 140"/>
                  <a:gd name="T58" fmla="*/ 133 w 133"/>
                  <a:gd name="T59" fmla="*/ 98 h 140"/>
                  <a:gd name="T60" fmla="*/ 86 w 133"/>
                  <a:gd name="T61" fmla="*/ 43 h 140"/>
                  <a:gd name="T62" fmla="*/ 35 w 133"/>
                  <a:gd name="T63" fmla="*/ 1 h 140"/>
                  <a:gd name="T64" fmla="*/ 33 w 133"/>
                  <a:gd name="T65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3" h="140">
                    <a:moveTo>
                      <a:pt x="66" y="140"/>
                    </a:moveTo>
                    <a:cubicBezTo>
                      <a:pt x="66" y="140"/>
                      <a:pt x="66" y="140"/>
                      <a:pt x="66" y="140"/>
                    </a:cubicBezTo>
                    <a:cubicBezTo>
                      <a:pt x="66" y="140"/>
                      <a:pt x="66" y="140"/>
                      <a:pt x="66" y="140"/>
                    </a:cubicBezTo>
                    <a:cubicBezTo>
                      <a:pt x="66" y="140"/>
                      <a:pt x="66" y="140"/>
                      <a:pt x="66" y="140"/>
                    </a:cubicBezTo>
                    <a:moveTo>
                      <a:pt x="115" y="121"/>
                    </a:moveTo>
                    <a:cubicBezTo>
                      <a:pt x="106" y="127"/>
                      <a:pt x="89" y="137"/>
                      <a:pt x="72" y="139"/>
                    </a:cubicBezTo>
                    <a:cubicBezTo>
                      <a:pt x="70" y="140"/>
                      <a:pt x="68" y="140"/>
                      <a:pt x="66" y="140"/>
                    </a:cubicBezTo>
                    <a:cubicBezTo>
                      <a:pt x="85" y="140"/>
                      <a:pt x="105" y="128"/>
                      <a:pt x="115" y="121"/>
                    </a:cubicBezTo>
                    <a:moveTo>
                      <a:pt x="116" y="121"/>
                    </a:moveTo>
                    <a:cubicBezTo>
                      <a:pt x="115" y="121"/>
                      <a:pt x="115" y="121"/>
                      <a:pt x="115" y="121"/>
                    </a:cubicBezTo>
                    <a:cubicBezTo>
                      <a:pt x="115" y="121"/>
                      <a:pt x="115" y="121"/>
                      <a:pt x="116" y="121"/>
                    </a:cubicBezTo>
                    <a:moveTo>
                      <a:pt x="116" y="120"/>
                    </a:moveTo>
                    <a:cubicBezTo>
                      <a:pt x="116" y="120"/>
                      <a:pt x="116" y="121"/>
                      <a:pt x="116" y="121"/>
                    </a:cubicBezTo>
                    <a:cubicBezTo>
                      <a:pt x="116" y="121"/>
                      <a:pt x="116" y="120"/>
                      <a:pt x="116" y="120"/>
                    </a:cubicBezTo>
                    <a:moveTo>
                      <a:pt x="33" y="0"/>
                    </a:moveTo>
                    <a:cubicBezTo>
                      <a:pt x="28" y="6"/>
                      <a:pt x="28" y="6"/>
                      <a:pt x="28" y="6"/>
                    </a:cubicBezTo>
                    <a:cubicBezTo>
                      <a:pt x="10" y="23"/>
                      <a:pt x="0" y="45"/>
                      <a:pt x="0" y="66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49"/>
                      <a:pt x="7" y="31"/>
                      <a:pt x="20" y="15"/>
                    </a:cubicBezTo>
                    <a:cubicBezTo>
                      <a:pt x="22" y="13"/>
                      <a:pt x="24" y="10"/>
                      <a:pt x="26" y="8"/>
                    </a:cubicBezTo>
                    <a:cubicBezTo>
                      <a:pt x="26" y="7"/>
                      <a:pt x="27" y="7"/>
                      <a:pt x="28" y="6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4" y="0"/>
                      <a:pt x="35" y="1"/>
                      <a:pt x="35" y="1"/>
                    </a:cubicBezTo>
                    <a:cubicBezTo>
                      <a:pt x="48" y="9"/>
                      <a:pt x="67" y="24"/>
                      <a:pt x="86" y="43"/>
                    </a:cubicBezTo>
                    <a:cubicBezTo>
                      <a:pt x="100" y="58"/>
                      <a:pt x="114" y="73"/>
                      <a:pt x="124" y="86"/>
                    </a:cubicBezTo>
                    <a:cubicBezTo>
                      <a:pt x="127" y="91"/>
                      <a:pt x="130" y="95"/>
                      <a:pt x="133" y="98"/>
                    </a:cubicBezTo>
                    <a:cubicBezTo>
                      <a:pt x="133" y="99"/>
                      <a:pt x="133" y="99"/>
                      <a:pt x="133" y="100"/>
                    </a:cubicBezTo>
                    <a:cubicBezTo>
                      <a:pt x="133" y="99"/>
                      <a:pt x="133" y="99"/>
                      <a:pt x="133" y="98"/>
                    </a:cubicBezTo>
                    <a:cubicBezTo>
                      <a:pt x="123" y="84"/>
                      <a:pt x="105" y="63"/>
                      <a:pt x="86" y="43"/>
                    </a:cubicBezTo>
                    <a:cubicBezTo>
                      <a:pt x="67" y="24"/>
                      <a:pt x="48" y="9"/>
                      <a:pt x="35" y="1"/>
                    </a:cubicBezTo>
                    <a:cubicBezTo>
                      <a:pt x="35" y="1"/>
                      <a:pt x="34" y="0"/>
                      <a:pt x="33" y="0"/>
                    </a:cubicBezTo>
                  </a:path>
                </a:pathLst>
              </a:custGeom>
              <a:solidFill>
                <a:srgbClr val="48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5" name="Freeform 364">
                <a:extLst>
                  <a:ext uri="{FF2B5EF4-FFF2-40B4-BE49-F238E27FC236}">
                    <a16:creationId xmlns:a16="http://schemas.microsoft.com/office/drawing/2014/main" id="{495BA7B8-2B4A-4EB9-AF60-41D9BAC3B2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8" y="1229"/>
                <a:ext cx="91" cy="85"/>
              </a:xfrm>
              <a:custGeom>
                <a:avLst/>
                <a:gdLst>
                  <a:gd name="T0" fmla="*/ 163 w 167"/>
                  <a:gd name="T1" fmla="*/ 108 h 156"/>
                  <a:gd name="T2" fmla="*/ 63 w 167"/>
                  <a:gd name="T3" fmla="*/ 8 h 156"/>
                  <a:gd name="T4" fmla="*/ 29 w 167"/>
                  <a:gd name="T5" fmla="*/ 27 h 156"/>
                  <a:gd name="T6" fmla="*/ 13 w 167"/>
                  <a:gd name="T7" fmla="*/ 103 h 156"/>
                  <a:gd name="T8" fmla="*/ 46 w 167"/>
                  <a:gd name="T9" fmla="*/ 140 h 156"/>
                  <a:gd name="T10" fmla="*/ 91 w 167"/>
                  <a:gd name="T11" fmla="*/ 156 h 156"/>
                  <a:gd name="T12" fmla="*/ 157 w 167"/>
                  <a:gd name="T13" fmla="*/ 126 h 156"/>
                  <a:gd name="T14" fmla="*/ 163 w 167"/>
                  <a:gd name="T15" fmla="*/ 120 h 156"/>
                  <a:gd name="T16" fmla="*/ 163 w 167"/>
                  <a:gd name="T17" fmla="*/ 108 h 156"/>
                  <a:gd name="T18" fmla="*/ 151 w 167"/>
                  <a:gd name="T19" fmla="*/ 120 h 156"/>
                  <a:gd name="T20" fmla="*/ 91 w 167"/>
                  <a:gd name="T21" fmla="*/ 147 h 156"/>
                  <a:gd name="T22" fmla="*/ 51 w 167"/>
                  <a:gd name="T23" fmla="*/ 133 h 156"/>
                  <a:gd name="T24" fmla="*/ 38 w 167"/>
                  <a:gd name="T25" fmla="*/ 122 h 156"/>
                  <a:gd name="T26" fmla="*/ 21 w 167"/>
                  <a:gd name="T27" fmla="*/ 99 h 156"/>
                  <a:gd name="T28" fmla="*/ 36 w 167"/>
                  <a:gd name="T29" fmla="*/ 32 h 156"/>
                  <a:gd name="T30" fmla="*/ 58 w 167"/>
                  <a:gd name="T31" fmla="*/ 15 h 156"/>
                  <a:gd name="T32" fmla="*/ 114 w 167"/>
                  <a:gd name="T33" fmla="*/ 62 h 156"/>
                  <a:gd name="T34" fmla="*/ 156 w 167"/>
                  <a:gd name="T35" fmla="*/ 113 h 156"/>
                  <a:gd name="T36" fmla="*/ 157 w 167"/>
                  <a:gd name="T37" fmla="*/ 114 h 156"/>
                  <a:gd name="T38" fmla="*/ 151 w 167"/>
                  <a:gd name="T39" fmla="*/ 12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7" h="156">
                    <a:moveTo>
                      <a:pt x="163" y="108"/>
                    </a:moveTo>
                    <a:cubicBezTo>
                      <a:pt x="145" y="78"/>
                      <a:pt x="93" y="27"/>
                      <a:pt x="63" y="8"/>
                    </a:cubicBezTo>
                    <a:cubicBezTo>
                      <a:pt x="51" y="0"/>
                      <a:pt x="34" y="19"/>
                      <a:pt x="29" y="27"/>
                    </a:cubicBezTo>
                    <a:cubicBezTo>
                      <a:pt x="18" y="43"/>
                      <a:pt x="0" y="76"/>
                      <a:pt x="13" y="103"/>
                    </a:cubicBezTo>
                    <a:cubicBezTo>
                      <a:pt x="20" y="117"/>
                      <a:pt x="32" y="130"/>
                      <a:pt x="46" y="140"/>
                    </a:cubicBezTo>
                    <a:cubicBezTo>
                      <a:pt x="60" y="150"/>
                      <a:pt x="76" y="156"/>
                      <a:pt x="91" y="156"/>
                    </a:cubicBezTo>
                    <a:cubicBezTo>
                      <a:pt x="116" y="156"/>
                      <a:pt x="139" y="144"/>
                      <a:pt x="157" y="126"/>
                    </a:cubicBezTo>
                    <a:cubicBezTo>
                      <a:pt x="163" y="120"/>
                      <a:pt x="163" y="120"/>
                      <a:pt x="163" y="120"/>
                    </a:cubicBezTo>
                    <a:cubicBezTo>
                      <a:pt x="167" y="117"/>
                      <a:pt x="165" y="111"/>
                      <a:pt x="163" y="108"/>
                    </a:cubicBezTo>
                    <a:moveTo>
                      <a:pt x="151" y="120"/>
                    </a:moveTo>
                    <a:cubicBezTo>
                      <a:pt x="133" y="137"/>
                      <a:pt x="112" y="147"/>
                      <a:pt x="91" y="147"/>
                    </a:cubicBezTo>
                    <a:cubicBezTo>
                      <a:pt x="79" y="148"/>
                      <a:pt x="64" y="142"/>
                      <a:pt x="51" y="133"/>
                    </a:cubicBezTo>
                    <a:cubicBezTo>
                      <a:pt x="46" y="130"/>
                      <a:pt x="42" y="126"/>
                      <a:pt x="38" y="122"/>
                    </a:cubicBezTo>
                    <a:cubicBezTo>
                      <a:pt x="31" y="115"/>
                      <a:pt x="25" y="107"/>
                      <a:pt x="21" y="99"/>
                    </a:cubicBezTo>
                    <a:cubicBezTo>
                      <a:pt x="9" y="76"/>
                      <a:pt x="28" y="44"/>
                      <a:pt x="36" y="32"/>
                    </a:cubicBezTo>
                    <a:cubicBezTo>
                      <a:pt x="43" y="22"/>
                      <a:pt x="55" y="13"/>
                      <a:pt x="58" y="15"/>
                    </a:cubicBezTo>
                    <a:cubicBezTo>
                      <a:pt x="73" y="24"/>
                      <a:pt x="94" y="42"/>
                      <a:pt x="114" y="62"/>
                    </a:cubicBezTo>
                    <a:cubicBezTo>
                      <a:pt x="133" y="81"/>
                      <a:pt x="148" y="100"/>
                      <a:pt x="156" y="113"/>
                    </a:cubicBezTo>
                    <a:cubicBezTo>
                      <a:pt x="156" y="113"/>
                      <a:pt x="156" y="114"/>
                      <a:pt x="157" y="114"/>
                    </a:cubicBezTo>
                    <a:cubicBezTo>
                      <a:pt x="151" y="120"/>
                      <a:pt x="151" y="120"/>
                      <a:pt x="151" y="12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6" name="Freeform 365">
                <a:extLst>
                  <a:ext uri="{FF2B5EF4-FFF2-40B4-BE49-F238E27FC236}">
                    <a16:creationId xmlns:a16="http://schemas.microsoft.com/office/drawing/2014/main" id="{CACDA52B-611F-4AF0-99C4-8B0470C53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9" y="1294"/>
                <a:ext cx="21" cy="21"/>
              </a:xfrm>
              <a:custGeom>
                <a:avLst/>
                <a:gdLst>
                  <a:gd name="T0" fmla="*/ 39 w 39"/>
                  <a:gd name="T1" fmla="*/ 29 h 38"/>
                  <a:gd name="T2" fmla="*/ 8 w 39"/>
                  <a:gd name="T3" fmla="*/ 0 h 38"/>
                  <a:gd name="T4" fmla="*/ 0 w 39"/>
                  <a:gd name="T5" fmla="*/ 9 h 38"/>
                  <a:gd name="T6" fmla="*/ 31 w 39"/>
                  <a:gd name="T7" fmla="*/ 38 h 38"/>
                  <a:gd name="T8" fmla="*/ 39 w 39"/>
                  <a:gd name="T9" fmla="*/ 2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8">
                    <a:moveTo>
                      <a:pt x="39" y="29"/>
                    </a:moveTo>
                    <a:cubicBezTo>
                      <a:pt x="31" y="17"/>
                      <a:pt x="21" y="7"/>
                      <a:pt x="8" y="0"/>
                    </a:cubicBezTo>
                    <a:cubicBezTo>
                      <a:pt x="6" y="3"/>
                      <a:pt x="3" y="6"/>
                      <a:pt x="0" y="9"/>
                    </a:cubicBezTo>
                    <a:cubicBezTo>
                      <a:pt x="12" y="16"/>
                      <a:pt x="23" y="26"/>
                      <a:pt x="31" y="38"/>
                    </a:cubicBezTo>
                    <a:cubicBezTo>
                      <a:pt x="33" y="35"/>
                      <a:pt x="36" y="32"/>
                      <a:pt x="39" y="29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7" name="Freeform 366">
                <a:extLst>
                  <a:ext uri="{FF2B5EF4-FFF2-40B4-BE49-F238E27FC236}">
                    <a16:creationId xmlns:a16="http://schemas.microsoft.com/office/drawing/2014/main" id="{BD44EC43-DBC3-48DB-8578-B56C5C6CC9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18" y="1238"/>
                <a:ext cx="68" cy="71"/>
              </a:xfrm>
              <a:custGeom>
                <a:avLst/>
                <a:gdLst>
                  <a:gd name="T0" fmla="*/ 58 w 124"/>
                  <a:gd name="T1" fmla="*/ 71 h 130"/>
                  <a:gd name="T2" fmla="*/ 18 w 124"/>
                  <a:gd name="T3" fmla="*/ 75 h 130"/>
                  <a:gd name="T4" fmla="*/ 5 w 124"/>
                  <a:gd name="T5" fmla="*/ 75 h 130"/>
                  <a:gd name="T6" fmla="*/ 0 w 124"/>
                  <a:gd name="T7" fmla="*/ 75 h 130"/>
                  <a:gd name="T8" fmla="*/ 3 w 124"/>
                  <a:gd name="T9" fmla="*/ 82 h 130"/>
                  <a:gd name="T10" fmla="*/ 20 w 124"/>
                  <a:gd name="T11" fmla="*/ 105 h 130"/>
                  <a:gd name="T12" fmla="*/ 33 w 124"/>
                  <a:gd name="T13" fmla="*/ 116 h 130"/>
                  <a:gd name="T14" fmla="*/ 73 w 124"/>
                  <a:gd name="T15" fmla="*/ 130 h 130"/>
                  <a:gd name="T16" fmla="*/ 73 w 124"/>
                  <a:gd name="T17" fmla="*/ 130 h 130"/>
                  <a:gd name="T18" fmla="*/ 124 w 124"/>
                  <a:gd name="T19" fmla="*/ 111 h 130"/>
                  <a:gd name="T20" fmla="*/ 69 w 124"/>
                  <a:gd name="T21" fmla="*/ 72 h 130"/>
                  <a:gd name="T22" fmla="*/ 58 w 124"/>
                  <a:gd name="T23" fmla="*/ 71 h 130"/>
                  <a:gd name="T24" fmla="*/ 34 w 124"/>
                  <a:gd name="T25" fmla="*/ 0 h 130"/>
                  <a:gd name="T26" fmla="*/ 18 w 124"/>
                  <a:gd name="T27" fmla="*/ 15 h 130"/>
                  <a:gd name="T28" fmla="*/ 0 w 124"/>
                  <a:gd name="T29" fmla="*/ 58 h 130"/>
                  <a:gd name="T30" fmla="*/ 72 w 124"/>
                  <a:gd name="T31" fmla="*/ 62 h 130"/>
                  <a:gd name="T32" fmla="*/ 114 w 124"/>
                  <a:gd name="T33" fmla="*/ 92 h 130"/>
                  <a:gd name="T34" fmla="*/ 34 w 124"/>
                  <a:gd name="T35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4" h="130">
                    <a:moveTo>
                      <a:pt x="58" y="71"/>
                    </a:moveTo>
                    <a:cubicBezTo>
                      <a:pt x="45" y="71"/>
                      <a:pt x="27" y="74"/>
                      <a:pt x="18" y="75"/>
                    </a:cubicBezTo>
                    <a:cubicBezTo>
                      <a:pt x="15" y="75"/>
                      <a:pt x="10" y="75"/>
                      <a:pt x="5" y="75"/>
                    </a:cubicBezTo>
                    <a:cubicBezTo>
                      <a:pt x="4" y="75"/>
                      <a:pt x="2" y="75"/>
                      <a:pt x="0" y="75"/>
                    </a:cubicBezTo>
                    <a:cubicBezTo>
                      <a:pt x="1" y="77"/>
                      <a:pt x="2" y="80"/>
                      <a:pt x="3" y="82"/>
                    </a:cubicBezTo>
                    <a:cubicBezTo>
                      <a:pt x="7" y="90"/>
                      <a:pt x="13" y="98"/>
                      <a:pt x="20" y="105"/>
                    </a:cubicBezTo>
                    <a:cubicBezTo>
                      <a:pt x="24" y="109"/>
                      <a:pt x="28" y="113"/>
                      <a:pt x="33" y="116"/>
                    </a:cubicBezTo>
                    <a:cubicBezTo>
                      <a:pt x="46" y="125"/>
                      <a:pt x="60" y="130"/>
                      <a:pt x="73" y="130"/>
                    </a:cubicBezTo>
                    <a:cubicBezTo>
                      <a:pt x="73" y="130"/>
                      <a:pt x="73" y="130"/>
                      <a:pt x="73" y="130"/>
                    </a:cubicBezTo>
                    <a:cubicBezTo>
                      <a:pt x="90" y="130"/>
                      <a:pt x="108" y="124"/>
                      <a:pt x="124" y="111"/>
                    </a:cubicBezTo>
                    <a:cubicBezTo>
                      <a:pt x="102" y="94"/>
                      <a:pt x="82" y="79"/>
                      <a:pt x="69" y="72"/>
                    </a:cubicBezTo>
                    <a:cubicBezTo>
                      <a:pt x="66" y="72"/>
                      <a:pt x="62" y="71"/>
                      <a:pt x="58" y="71"/>
                    </a:cubicBezTo>
                    <a:moveTo>
                      <a:pt x="34" y="0"/>
                    </a:moveTo>
                    <a:cubicBezTo>
                      <a:pt x="29" y="3"/>
                      <a:pt x="23" y="9"/>
                      <a:pt x="18" y="15"/>
                    </a:cubicBezTo>
                    <a:cubicBezTo>
                      <a:pt x="13" y="23"/>
                      <a:pt x="2" y="41"/>
                      <a:pt x="0" y="58"/>
                    </a:cubicBezTo>
                    <a:cubicBezTo>
                      <a:pt x="22" y="59"/>
                      <a:pt x="55" y="61"/>
                      <a:pt x="72" y="62"/>
                    </a:cubicBezTo>
                    <a:cubicBezTo>
                      <a:pt x="79" y="64"/>
                      <a:pt x="94" y="76"/>
                      <a:pt x="114" y="92"/>
                    </a:cubicBezTo>
                    <a:cubicBezTo>
                      <a:pt x="80" y="51"/>
                      <a:pt x="46" y="13"/>
                      <a:pt x="34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8" name="Freeform 367">
                <a:extLst>
                  <a:ext uri="{FF2B5EF4-FFF2-40B4-BE49-F238E27FC236}">
                    <a16:creationId xmlns:a16="http://schemas.microsoft.com/office/drawing/2014/main" id="{620DCD07-A940-42F3-BCA2-B54A631486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270"/>
                <a:ext cx="71" cy="29"/>
              </a:xfrm>
              <a:custGeom>
                <a:avLst/>
                <a:gdLst>
                  <a:gd name="T0" fmla="*/ 1 w 129"/>
                  <a:gd name="T1" fmla="*/ 0 h 53"/>
                  <a:gd name="T2" fmla="*/ 0 w 129"/>
                  <a:gd name="T3" fmla="*/ 7 h 53"/>
                  <a:gd name="T4" fmla="*/ 1 w 129"/>
                  <a:gd name="T5" fmla="*/ 17 h 53"/>
                  <a:gd name="T6" fmla="*/ 6 w 129"/>
                  <a:gd name="T7" fmla="*/ 17 h 53"/>
                  <a:gd name="T8" fmla="*/ 19 w 129"/>
                  <a:gd name="T9" fmla="*/ 17 h 53"/>
                  <a:gd name="T10" fmla="*/ 59 w 129"/>
                  <a:gd name="T11" fmla="*/ 13 h 53"/>
                  <a:gd name="T12" fmla="*/ 70 w 129"/>
                  <a:gd name="T13" fmla="*/ 14 h 53"/>
                  <a:gd name="T14" fmla="*/ 125 w 129"/>
                  <a:gd name="T15" fmla="*/ 53 h 53"/>
                  <a:gd name="T16" fmla="*/ 129 w 129"/>
                  <a:gd name="T17" fmla="*/ 50 h 53"/>
                  <a:gd name="T18" fmla="*/ 115 w 129"/>
                  <a:gd name="T19" fmla="*/ 34 h 53"/>
                  <a:gd name="T20" fmla="*/ 73 w 129"/>
                  <a:gd name="T21" fmla="*/ 4 h 53"/>
                  <a:gd name="T22" fmla="*/ 1 w 129"/>
                  <a:gd name="T23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9" h="53">
                    <a:moveTo>
                      <a:pt x="1" y="0"/>
                    </a:moveTo>
                    <a:cubicBezTo>
                      <a:pt x="0" y="3"/>
                      <a:pt x="0" y="5"/>
                      <a:pt x="0" y="7"/>
                    </a:cubicBezTo>
                    <a:cubicBezTo>
                      <a:pt x="0" y="11"/>
                      <a:pt x="1" y="14"/>
                      <a:pt x="1" y="17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11" y="17"/>
                      <a:pt x="16" y="17"/>
                      <a:pt x="19" y="17"/>
                    </a:cubicBezTo>
                    <a:cubicBezTo>
                      <a:pt x="28" y="16"/>
                      <a:pt x="46" y="13"/>
                      <a:pt x="59" y="13"/>
                    </a:cubicBezTo>
                    <a:cubicBezTo>
                      <a:pt x="63" y="13"/>
                      <a:pt x="67" y="14"/>
                      <a:pt x="70" y="14"/>
                    </a:cubicBezTo>
                    <a:cubicBezTo>
                      <a:pt x="83" y="21"/>
                      <a:pt x="103" y="36"/>
                      <a:pt x="125" y="53"/>
                    </a:cubicBezTo>
                    <a:cubicBezTo>
                      <a:pt x="126" y="52"/>
                      <a:pt x="127" y="51"/>
                      <a:pt x="129" y="50"/>
                    </a:cubicBezTo>
                    <a:cubicBezTo>
                      <a:pt x="124" y="44"/>
                      <a:pt x="120" y="39"/>
                      <a:pt x="115" y="34"/>
                    </a:cubicBezTo>
                    <a:cubicBezTo>
                      <a:pt x="95" y="18"/>
                      <a:pt x="80" y="6"/>
                      <a:pt x="73" y="4"/>
                    </a:cubicBezTo>
                    <a:cubicBezTo>
                      <a:pt x="56" y="3"/>
                      <a:pt x="23" y="1"/>
                      <a:pt x="1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9" name="Freeform 368">
                <a:extLst>
                  <a:ext uri="{FF2B5EF4-FFF2-40B4-BE49-F238E27FC236}">
                    <a16:creationId xmlns:a16="http://schemas.microsoft.com/office/drawing/2014/main" id="{7BE2DF5E-8710-4894-8955-1D8FCC9B1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7" y="1242"/>
                <a:ext cx="47" cy="52"/>
              </a:xfrm>
              <a:custGeom>
                <a:avLst/>
                <a:gdLst>
                  <a:gd name="T0" fmla="*/ 0 w 86"/>
                  <a:gd name="T1" fmla="*/ 0 h 95"/>
                  <a:gd name="T2" fmla="*/ 81 w 86"/>
                  <a:gd name="T3" fmla="*/ 95 h 95"/>
                  <a:gd name="T4" fmla="*/ 86 w 86"/>
                  <a:gd name="T5" fmla="*/ 90 h 95"/>
                  <a:gd name="T6" fmla="*/ 85 w 86"/>
                  <a:gd name="T7" fmla="*/ 89 h 95"/>
                  <a:gd name="T8" fmla="*/ 43 w 86"/>
                  <a:gd name="T9" fmla="*/ 38 h 95"/>
                  <a:gd name="T10" fmla="*/ 0 w 86"/>
                  <a:gd name="T11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6" h="95">
                    <a:moveTo>
                      <a:pt x="0" y="0"/>
                    </a:moveTo>
                    <a:cubicBezTo>
                      <a:pt x="17" y="20"/>
                      <a:pt x="50" y="58"/>
                      <a:pt x="81" y="95"/>
                    </a:cubicBezTo>
                    <a:cubicBezTo>
                      <a:pt x="86" y="90"/>
                      <a:pt x="86" y="90"/>
                      <a:pt x="86" y="90"/>
                    </a:cubicBezTo>
                    <a:cubicBezTo>
                      <a:pt x="85" y="90"/>
                      <a:pt x="85" y="89"/>
                      <a:pt x="85" y="89"/>
                    </a:cubicBezTo>
                    <a:cubicBezTo>
                      <a:pt x="77" y="76"/>
                      <a:pt x="62" y="57"/>
                      <a:pt x="43" y="38"/>
                    </a:cubicBezTo>
                    <a:cubicBezTo>
                      <a:pt x="28" y="23"/>
                      <a:pt x="12" y="10"/>
                      <a:pt x="0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0" name="Freeform 369">
                <a:extLst>
                  <a:ext uri="{FF2B5EF4-FFF2-40B4-BE49-F238E27FC236}">
                    <a16:creationId xmlns:a16="http://schemas.microsoft.com/office/drawing/2014/main" id="{37102B75-C423-4133-9187-B00C03598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7" y="1237"/>
                <a:ext cx="54" cy="60"/>
              </a:xfrm>
              <a:custGeom>
                <a:avLst/>
                <a:gdLst>
                  <a:gd name="T0" fmla="*/ 5 w 100"/>
                  <a:gd name="T1" fmla="*/ 0 h 110"/>
                  <a:gd name="T2" fmla="*/ 0 w 100"/>
                  <a:gd name="T3" fmla="*/ 2 h 110"/>
                  <a:gd name="T4" fmla="*/ 80 w 100"/>
                  <a:gd name="T5" fmla="*/ 94 h 110"/>
                  <a:gd name="T6" fmla="*/ 94 w 100"/>
                  <a:gd name="T7" fmla="*/ 110 h 110"/>
                  <a:gd name="T8" fmla="*/ 99 w 100"/>
                  <a:gd name="T9" fmla="*/ 105 h 110"/>
                  <a:gd name="T10" fmla="*/ 100 w 100"/>
                  <a:gd name="T11" fmla="*/ 104 h 110"/>
                  <a:gd name="T12" fmla="*/ 19 w 100"/>
                  <a:gd name="T13" fmla="*/ 9 h 110"/>
                  <a:gd name="T14" fmla="*/ 6 w 100"/>
                  <a:gd name="T15" fmla="*/ 0 h 110"/>
                  <a:gd name="T16" fmla="*/ 5 w 100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110">
                    <a:moveTo>
                      <a:pt x="5" y="0"/>
                    </a:moveTo>
                    <a:cubicBezTo>
                      <a:pt x="4" y="0"/>
                      <a:pt x="2" y="0"/>
                      <a:pt x="0" y="2"/>
                    </a:cubicBezTo>
                    <a:cubicBezTo>
                      <a:pt x="12" y="15"/>
                      <a:pt x="46" y="53"/>
                      <a:pt x="80" y="94"/>
                    </a:cubicBezTo>
                    <a:cubicBezTo>
                      <a:pt x="85" y="99"/>
                      <a:pt x="89" y="104"/>
                      <a:pt x="94" y="110"/>
                    </a:cubicBezTo>
                    <a:cubicBezTo>
                      <a:pt x="95" y="108"/>
                      <a:pt x="97" y="107"/>
                      <a:pt x="99" y="105"/>
                    </a:cubicBezTo>
                    <a:cubicBezTo>
                      <a:pt x="100" y="104"/>
                      <a:pt x="100" y="104"/>
                      <a:pt x="100" y="104"/>
                    </a:cubicBezTo>
                    <a:cubicBezTo>
                      <a:pt x="69" y="67"/>
                      <a:pt x="36" y="29"/>
                      <a:pt x="19" y="9"/>
                    </a:cubicBezTo>
                    <a:cubicBezTo>
                      <a:pt x="14" y="5"/>
                      <a:pt x="10" y="3"/>
                      <a:pt x="6" y="0"/>
                    </a:cubicBezTo>
                    <a:cubicBezTo>
                      <a:pt x="6" y="0"/>
                      <a:pt x="6" y="0"/>
                      <a:pt x="5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1" name="Freeform 370">
                <a:extLst>
                  <a:ext uri="{FF2B5EF4-FFF2-40B4-BE49-F238E27FC236}">
                    <a16:creationId xmlns:a16="http://schemas.microsoft.com/office/drawing/2014/main" id="{82ADC757-9319-48E7-8A35-BC7A3D1D1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237"/>
                <a:ext cx="77" cy="54"/>
              </a:xfrm>
              <a:custGeom>
                <a:avLst/>
                <a:gdLst>
                  <a:gd name="T0" fmla="*/ 40 w 140"/>
                  <a:gd name="T1" fmla="*/ 0 h 99"/>
                  <a:gd name="T2" fmla="*/ 19 w 140"/>
                  <a:gd name="T3" fmla="*/ 17 h 99"/>
                  <a:gd name="T4" fmla="*/ 0 w 140"/>
                  <a:gd name="T5" fmla="*/ 67 h 99"/>
                  <a:gd name="T6" fmla="*/ 1 w 140"/>
                  <a:gd name="T7" fmla="*/ 60 h 99"/>
                  <a:gd name="T8" fmla="*/ 19 w 140"/>
                  <a:gd name="T9" fmla="*/ 17 h 99"/>
                  <a:gd name="T10" fmla="*/ 35 w 140"/>
                  <a:gd name="T11" fmla="*/ 2 h 99"/>
                  <a:gd name="T12" fmla="*/ 40 w 140"/>
                  <a:gd name="T13" fmla="*/ 0 h 99"/>
                  <a:gd name="T14" fmla="*/ 41 w 140"/>
                  <a:gd name="T15" fmla="*/ 0 h 99"/>
                  <a:gd name="T16" fmla="*/ 54 w 140"/>
                  <a:gd name="T17" fmla="*/ 9 h 99"/>
                  <a:gd name="T18" fmla="*/ 97 w 140"/>
                  <a:gd name="T19" fmla="*/ 47 h 99"/>
                  <a:gd name="T20" fmla="*/ 139 w 140"/>
                  <a:gd name="T21" fmla="*/ 98 h 99"/>
                  <a:gd name="T22" fmla="*/ 140 w 140"/>
                  <a:gd name="T23" fmla="*/ 99 h 99"/>
                  <a:gd name="T24" fmla="*/ 140 w 140"/>
                  <a:gd name="T25" fmla="*/ 99 h 99"/>
                  <a:gd name="T26" fmla="*/ 139 w 140"/>
                  <a:gd name="T27" fmla="*/ 98 h 99"/>
                  <a:gd name="T28" fmla="*/ 97 w 140"/>
                  <a:gd name="T29" fmla="*/ 47 h 99"/>
                  <a:gd name="T30" fmla="*/ 41 w 140"/>
                  <a:gd name="T31" fmla="*/ 0 h 99"/>
                  <a:gd name="T32" fmla="*/ 40 w 140"/>
                  <a:gd name="T3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0" h="99">
                    <a:moveTo>
                      <a:pt x="40" y="0"/>
                    </a:moveTo>
                    <a:cubicBezTo>
                      <a:pt x="35" y="0"/>
                      <a:pt x="25" y="8"/>
                      <a:pt x="19" y="17"/>
                    </a:cubicBezTo>
                    <a:cubicBezTo>
                      <a:pt x="13" y="26"/>
                      <a:pt x="0" y="48"/>
                      <a:pt x="0" y="67"/>
                    </a:cubicBezTo>
                    <a:cubicBezTo>
                      <a:pt x="0" y="65"/>
                      <a:pt x="0" y="63"/>
                      <a:pt x="1" y="60"/>
                    </a:cubicBezTo>
                    <a:cubicBezTo>
                      <a:pt x="3" y="43"/>
                      <a:pt x="14" y="25"/>
                      <a:pt x="19" y="17"/>
                    </a:cubicBezTo>
                    <a:cubicBezTo>
                      <a:pt x="24" y="11"/>
                      <a:pt x="30" y="5"/>
                      <a:pt x="35" y="2"/>
                    </a:cubicBezTo>
                    <a:cubicBezTo>
                      <a:pt x="37" y="0"/>
                      <a:pt x="39" y="0"/>
                      <a:pt x="40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5" y="3"/>
                      <a:pt x="49" y="5"/>
                      <a:pt x="54" y="9"/>
                    </a:cubicBezTo>
                    <a:cubicBezTo>
                      <a:pt x="66" y="19"/>
                      <a:pt x="82" y="32"/>
                      <a:pt x="97" y="47"/>
                    </a:cubicBezTo>
                    <a:cubicBezTo>
                      <a:pt x="116" y="66"/>
                      <a:pt x="131" y="85"/>
                      <a:pt x="139" y="98"/>
                    </a:cubicBezTo>
                    <a:cubicBezTo>
                      <a:pt x="139" y="98"/>
                      <a:pt x="139" y="99"/>
                      <a:pt x="140" y="99"/>
                    </a:cubicBezTo>
                    <a:cubicBezTo>
                      <a:pt x="140" y="99"/>
                      <a:pt x="140" y="99"/>
                      <a:pt x="140" y="99"/>
                    </a:cubicBezTo>
                    <a:cubicBezTo>
                      <a:pt x="139" y="99"/>
                      <a:pt x="139" y="98"/>
                      <a:pt x="139" y="98"/>
                    </a:cubicBezTo>
                    <a:cubicBezTo>
                      <a:pt x="131" y="85"/>
                      <a:pt x="116" y="66"/>
                      <a:pt x="97" y="47"/>
                    </a:cubicBezTo>
                    <a:cubicBezTo>
                      <a:pt x="77" y="27"/>
                      <a:pt x="56" y="9"/>
                      <a:pt x="41" y="0"/>
                    </a:cubicBezTo>
                    <a:cubicBezTo>
                      <a:pt x="41" y="0"/>
                      <a:pt x="41" y="0"/>
                      <a:pt x="40" y="0"/>
                    </a:cubicBezTo>
                  </a:path>
                </a:pathLst>
              </a:custGeom>
              <a:solidFill>
                <a:srgbClr val="48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2" name="Freeform 371">
                <a:extLst>
                  <a:ext uri="{FF2B5EF4-FFF2-40B4-BE49-F238E27FC236}">
                    <a16:creationId xmlns:a16="http://schemas.microsoft.com/office/drawing/2014/main" id="{B7909B09-4D75-4109-8EBE-ED2424720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0" y="1904"/>
                <a:ext cx="125" cy="31"/>
              </a:xfrm>
              <a:custGeom>
                <a:avLst/>
                <a:gdLst>
                  <a:gd name="T0" fmla="*/ 2 w 125"/>
                  <a:gd name="T1" fmla="*/ 0 h 31"/>
                  <a:gd name="T2" fmla="*/ 0 w 125"/>
                  <a:gd name="T3" fmla="*/ 10 h 31"/>
                  <a:gd name="T4" fmla="*/ 124 w 125"/>
                  <a:gd name="T5" fmla="*/ 31 h 31"/>
                  <a:gd name="T6" fmla="*/ 125 w 125"/>
                  <a:gd name="T7" fmla="*/ 22 h 31"/>
                  <a:gd name="T8" fmla="*/ 2 w 125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31">
                    <a:moveTo>
                      <a:pt x="2" y="0"/>
                    </a:moveTo>
                    <a:lnTo>
                      <a:pt x="0" y="10"/>
                    </a:lnTo>
                    <a:lnTo>
                      <a:pt x="124" y="31"/>
                    </a:lnTo>
                    <a:lnTo>
                      <a:pt x="125" y="2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3" name="Freeform 372">
                <a:extLst>
                  <a:ext uri="{FF2B5EF4-FFF2-40B4-BE49-F238E27FC236}">
                    <a16:creationId xmlns:a16="http://schemas.microsoft.com/office/drawing/2014/main" id="{D3AB4F54-6CC0-4126-829F-75E5416E5C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0" y="1904"/>
                <a:ext cx="125" cy="31"/>
              </a:xfrm>
              <a:custGeom>
                <a:avLst/>
                <a:gdLst>
                  <a:gd name="T0" fmla="*/ 2 w 125"/>
                  <a:gd name="T1" fmla="*/ 0 h 31"/>
                  <a:gd name="T2" fmla="*/ 0 w 125"/>
                  <a:gd name="T3" fmla="*/ 10 h 31"/>
                  <a:gd name="T4" fmla="*/ 124 w 125"/>
                  <a:gd name="T5" fmla="*/ 31 h 31"/>
                  <a:gd name="T6" fmla="*/ 125 w 125"/>
                  <a:gd name="T7" fmla="*/ 22 h 31"/>
                  <a:gd name="T8" fmla="*/ 2 w 125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31">
                    <a:moveTo>
                      <a:pt x="2" y="0"/>
                    </a:moveTo>
                    <a:lnTo>
                      <a:pt x="0" y="10"/>
                    </a:lnTo>
                    <a:lnTo>
                      <a:pt x="124" y="31"/>
                    </a:lnTo>
                    <a:lnTo>
                      <a:pt x="125" y="2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4" name="Freeform 373">
                <a:extLst>
                  <a:ext uri="{FF2B5EF4-FFF2-40B4-BE49-F238E27FC236}">
                    <a16:creationId xmlns:a16="http://schemas.microsoft.com/office/drawing/2014/main" id="{206A8866-9713-40EC-9FF2-84F59C938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8"/>
                <a:ext cx="124" cy="24"/>
              </a:xfrm>
              <a:custGeom>
                <a:avLst/>
                <a:gdLst>
                  <a:gd name="T0" fmla="*/ 0 w 124"/>
                  <a:gd name="T1" fmla="*/ 0 h 24"/>
                  <a:gd name="T2" fmla="*/ 0 w 124"/>
                  <a:gd name="T3" fmla="*/ 3 h 24"/>
                  <a:gd name="T4" fmla="*/ 123 w 124"/>
                  <a:gd name="T5" fmla="*/ 24 h 24"/>
                  <a:gd name="T6" fmla="*/ 124 w 124"/>
                  <a:gd name="T7" fmla="*/ 21 h 24"/>
                  <a:gd name="T8" fmla="*/ 0 w 1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4">
                    <a:moveTo>
                      <a:pt x="0" y="0"/>
                    </a:moveTo>
                    <a:lnTo>
                      <a:pt x="0" y="3"/>
                    </a:lnTo>
                    <a:lnTo>
                      <a:pt x="123" y="24"/>
                    </a:lnTo>
                    <a:lnTo>
                      <a:pt x="124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FD9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5" name="Freeform 374">
                <a:extLst>
                  <a:ext uri="{FF2B5EF4-FFF2-40B4-BE49-F238E27FC236}">
                    <a16:creationId xmlns:a16="http://schemas.microsoft.com/office/drawing/2014/main" id="{50F5B320-CEAB-4C99-AA4E-AA132BF9C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8"/>
                <a:ext cx="124" cy="24"/>
              </a:xfrm>
              <a:custGeom>
                <a:avLst/>
                <a:gdLst>
                  <a:gd name="T0" fmla="*/ 0 w 124"/>
                  <a:gd name="T1" fmla="*/ 0 h 24"/>
                  <a:gd name="T2" fmla="*/ 0 w 124"/>
                  <a:gd name="T3" fmla="*/ 3 h 24"/>
                  <a:gd name="T4" fmla="*/ 123 w 124"/>
                  <a:gd name="T5" fmla="*/ 24 h 24"/>
                  <a:gd name="T6" fmla="*/ 124 w 124"/>
                  <a:gd name="T7" fmla="*/ 21 h 24"/>
                  <a:gd name="T8" fmla="*/ 0 w 1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4">
                    <a:moveTo>
                      <a:pt x="0" y="0"/>
                    </a:moveTo>
                    <a:lnTo>
                      <a:pt x="0" y="3"/>
                    </a:lnTo>
                    <a:lnTo>
                      <a:pt x="123" y="24"/>
                    </a:lnTo>
                    <a:lnTo>
                      <a:pt x="124" y="2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6" name="Freeform 375">
                <a:extLst>
                  <a:ext uri="{FF2B5EF4-FFF2-40B4-BE49-F238E27FC236}">
                    <a16:creationId xmlns:a16="http://schemas.microsoft.com/office/drawing/2014/main" id="{0AFC7B68-01EE-4557-9C7D-F23C34DE6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4"/>
                <a:ext cx="124" cy="25"/>
              </a:xfrm>
              <a:custGeom>
                <a:avLst/>
                <a:gdLst>
                  <a:gd name="T0" fmla="*/ 1 w 124"/>
                  <a:gd name="T1" fmla="*/ 0 h 25"/>
                  <a:gd name="T2" fmla="*/ 0 w 124"/>
                  <a:gd name="T3" fmla="*/ 4 h 25"/>
                  <a:gd name="T4" fmla="*/ 124 w 124"/>
                  <a:gd name="T5" fmla="*/ 25 h 25"/>
                  <a:gd name="T6" fmla="*/ 124 w 124"/>
                  <a:gd name="T7" fmla="*/ 22 h 25"/>
                  <a:gd name="T8" fmla="*/ 1 w 12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5">
                    <a:moveTo>
                      <a:pt x="1" y="0"/>
                    </a:moveTo>
                    <a:lnTo>
                      <a:pt x="0" y="4"/>
                    </a:lnTo>
                    <a:lnTo>
                      <a:pt x="124" y="25"/>
                    </a:lnTo>
                    <a:lnTo>
                      <a:pt x="124" y="2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7" name="Freeform 376">
                <a:extLst>
                  <a:ext uri="{FF2B5EF4-FFF2-40B4-BE49-F238E27FC236}">
                    <a16:creationId xmlns:a16="http://schemas.microsoft.com/office/drawing/2014/main" id="{1299662E-305A-40E1-B984-1F2D961F72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4"/>
                <a:ext cx="124" cy="25"/>
              </a:xfrm>
              <a:custGeom>
                <a:avLst/>
                <a:gdLst>
                  <a:gd name="T0" fmla="*/ 1 w 124"/>
                  <a:gd name="T1" fmla="*/ 0 h 25"/>
                  <a:gd name="T2" fmla="*/ 0 w 124"/>
                  <a:gd name="T3" fmla="*/ 4 h 25"/>
                  <a:gd name="T4" fmla="*/ 124 w 124"/>
                  <a:gd name="T5" fmla="*/ 25 h 25"/>
                  <a:gd name="T6" fmla="*/ 124 w 124"/>
                  <a:gd name="T7" fmla="*/ 22 h 25"/>
                  <a:gd name="T8" fmla="*/ 1 w 12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5">
                    <a:moveTo>
                      <a:pt x="1" y="0"/>
                    </a:moveTo>
                    <a:lnTo>
                      <a:pt x="0" y="4"/>
                    </a:lnTo>
                    <a:lnTo>
                      <a:pt x="124" y="25"/>
                    </a:lnTo>
                    <a:lnTo>
                      <a:pt x="124" y="22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8" name="Freeform 377">
                <a:extLst>
                  <a:ext uri="{FF2B5EF4-FFF2-40B4-BE49-F238E27FC236}">
                    <a16:creationId xmlns:a16="http://schemas.microsoft.com/office/drawing/2014/main" id="{7C639E82-6AE7-440B-8C37-EA257EA9EE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3" y="1926"/>
                <a:ext cx="17" cy="9"/>
              </a:xfrm>
              <a:custGeom>
                <a:avLst/>
                <a:gdLst>
                  <a:gd name="T0" fmla="*/ 4 w 30"/>
                  <a:gd name="T1" fmla="*/ 0 h 18"/>
                  <a:gd name="T2" fmla="*/ 1 w 30"/>
                  <a:gd name="T3" fmla="*/ 9 h 18"/>
                  <a:gd name="T4" fmla="*/ 1 w 30"/>
                  <a:gd name="T5" fmla="*/ 18 h 18"/>
                  <a:gd name="T6" fmla="*/ 29 w 30"/>
                  <a:gd name="T7" fmla="*/ 14 h 18"/>
                  <a:gd name="T8" fmla="*/ 30 w 30"/>
                  <a:gd name="T9" fmla="*/ 14 h 18"/>
                  <a:gd name="T10" fmla="*/ 30 w 30"/>
                  <a:gd name="T11" fmla="*/ 13 h 18"/>
                  <a:gd name="T12" fmla="*/ 4 w 30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8">
                    <a:moveTo>
                      <a:pt x="4" y="0"/>
                    </a:moveTo>
                    <a:cubicBezTo>
                      <a:pt x="4" y="0"/>
                      <a:pt x="2" y="4"/>
                      <a:pt x="1" y="9"/>
                    </a:cubicBezTo>
                    <a:cubicBezTo>
                      <a:pt x="0" y="13"/>
                      <a:pt x="1" y="18"/>
                      <a:pt x="1" y="18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9" name="Freeform 378">
                <a:extLst>
                  <a:ext uri="{FF2B5EF4-FFF2-40B4-BE49-F238E27FC236}">
                    <a16:creationId xmlns:a16="http://schemas.microsoft.com/office/drawing/2014/main" id="{807C67F4-8BC0-44E5-956F-2CBD6556A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1902"/>
                <a:ext cx="17" cy="12"/>
              </a:xfrm>
              <a:custGeom>
                <a:avLst/>
                <a:gdLst>
                  <a:gd name="T0" fmla="*/ 31 w 31"/>
                  <a:gd name="T1" fmla="*/ 4 h 22"/>
                  <a:gd name="T2" fmla="*/ 8 w 31"/>
                  <a:gd name="T3" fmla="*/ 0 h 22"/>
                  <a:gd name="T4" fmla="*/ 2 w 31"/>
                  <a:gd name="T5" fmla="*/ 5 h 22"/>
                  <a:gd name="T6" fmla="*/ 0 w 31"/>
                  <a:gd name="T7" fmla="*/ 12 h 22"/>
                  <a:gd name="T8" fmla="*/ 5 w 31"/>
                  <a:gd name="T9" fmla="*/ 18 h 22"/>
                  <a:gd name="T10" fmla="*/ 28 w 31"/>
                  <a:gd name="T11" fmla="*/ 22 h 22"/>
                  <a:gd name="T12" fmla="*/ 31 w 31"/>
                  <a:gd name="T13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22">
                    <a:moveTo>
                      <a:pt x="31" y="4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5" y="0"/>
                      <a:pt x="2" y="2"/>
                      <a:pt x="2" y="5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5"/>
                      <a:pt x="2" y="18"/>
                      <a:pt x="5" y="18"/>
                    </a:cubicBezTo>
                    <a:cubicBezTo>
                      <a:pt x="28" y="22"/>
                      <a:pt x="28" y="22"/>
                      <a:pt x="28" y="22"/>
                    </a:cubicBezTo>
                    <a:cubicBezTo>
                      <a:pt x="31" y="4"/>
                      <a:pt x="31" y="4"/>
                      <a:pt x="31" y="4"/>
                    </a:cubicBezTo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0" name="Freeform 379">
                <a:extLst>
                  <a:ext uri="{FF2B5EF4-FFF2-40B4-BE49-F238E27FC236}">
                    <a16:creationId xmlns:a16="http://schemas.microsoft.com/office/drawing/2014/main" id="{B2516412-1948-4C95-A96F-92CFAEFCC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1903"/>
                <a:ext cx="9" cy="12"/>
              </a:xfrm>
              <a:custGeom>
                <a:avLst/>
                <a:gdLst>
                  <a:gd name="T0" fmla="*/ 9 w 9"/>
                  <a:gd name="T1" fmla="*/ 1 h 12"/>
                  <a:gd name="T2" fmla="*/ 2 w 9"/>
                  <a:gd name="T3" fmla="*/ 0 h 12"/>
                  <a:gd name="T4" fmla="*/ 0 w 9"/>
                  <a:gd name="T5" fmla="*/ 11 h 12"/>
                  <a:gd name="T6" fmla="*/ 7 w 9"/>
                  <a:gd name="T7" fmla="*/ 12 h 12"/>
                  <a:gd name="T8" fmla="*/ 9 w 9"/>
                  <a:gd name="T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2">
                    <a:moveTo>
                      <a:pt x="9" y="1"/>
                    </a:moveTo>
                    <a:lnTo>
                      <a:pt x="2" y="0"/>
                    </a:lnTo>
                    <a:lnTo>
                      <a:pt x="0" y="11"/>
                    </a:lnTo>
                    <a:lnTo>
                      <a:pt x="7" y="12"/>
                    </a:lnTo>
                    <a:lnTo>
                      <a:pt x="9" y="1"/>
                    </a:lnTo>
                    <a:close/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1" name="Freeform 380">
                <a:extLst>
                  <a:ext uri="{FF2B5EF4-FFF2-40B4-BE49-F238E27FC236}">
                    <a16:creationId xmlns:a16="http://schemas.microsoft.com/office/drawing/2014/main" id="{0105CCF7-99D8-4057-9645-B2FF25547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1903"/>
                <a:ext cx="9" cy="12"/>
              </a:xfrm>
              <a:custGeom>
                <a:avLst/>
                <a:gdLst>
                  <a:gd name="T0" fmla="*/ 9 w 9"/>
                  <a:gd name="T1" fmla="*/ 1 h 12"/>
                  <a:gd name="T2" fmla="*/ 2 w 9"/>
                  <a:gd name="T3" fmla="*/ 0 h 12"/>
                  <a:gd name="T4" fmla="*/ 0 w 9"/>
                  <a:gd name="T5" fmla="*/ 11 h 12"/>
                  <a:gd name="T6" fmla="*/ 7 w 9"/>
                  <a:gd name="T7" fmla="*/ 12 h 12"/>
                  <a:gd name="T8" fmla="*/ 9 w 9"/>
                  <a:gd name="T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2">
                    <a:moveTo>
                      <a:pt x="9" y="1"/>
                    </a:moveTo>
                    <a:lnTo>
                      <a:pt x="2" y="0"/>
                    </a:lnTo>
                    <a:lnTo>
                      <a:pt x="0" y="11"/>
                    </a:lnTo>
                    <a:lnTo>
                      <a:pt x="7" y="12"/>
                    </a:lnTo>
                    <a:lnTo>
                      <a:pt x="9" y="1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2" name="Freeform 381">
                <a:extLst>
                  <a:ext uri="{FF2B5EF4-FFF2-40B4-BE49-F238E27FC236}">
                    <a16:creationId xmlns:a16="http://schemas.microsoft.com/office/drawing/2014/main" id="{1E54C398-CFA7-465C-9B64-86DBB11A31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1930"/>
                <a:ext cx="7" cy="4"/>
              </a:xfrm>
              <a:custGeom>
                <a:avLst/>
                <a:gdLst>
                  <a:gd name="T0" fmla="*/ 2 w 12"/>
                  <a:gd name="T1" fmla="*/ 0 h 7"/>
                  <a:gd name="T2" fmla="*/ 12 w 12"/>
                  <a:gd name="T3" fmla="*/ 4 h 7"/>
                  <a:gd name="T4" fmla="*/ 11 w 12"/>
                  <a:gd name="T5" fmla="*/ 5 h 7"/>
                  <a:gd name="T6" fmla="*/ 1 w 12"/>
                  <a:gd name="T7" fmla="*/ 7 h 7"/>
                  <a:gd name="T8" fmla="*/ 0 w 12"/>
                  <a:gd name="T9" fmla="*/ 3 h 7"/>
                  <a:gd name="T10" fmla="*/ 2 w 12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7">
                    <a:moveTo>
                      <a:pt x="2" y="0"/>
                    </a:moveTo>
                    <a:cubicBezTo>
                      <a:pt x="12" y="4"/>
                      <a:pt x="12" y="4"/>
                      <a:pt x="12" y="4"/>
                    </a:cubicBezTo>
                    <a:cubicBezTo>
                      <a:pt x="12" y="5"/>
                      <a:pt x="12" y="5"/>
                      <a:pt x="11" y="5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2" y="0"/>
                      <a:pt x="2" y="0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3" name="Freeform 382">
                <a:extLst>
                  <a:ext uri="{FF2B5EF4-FFF2-40B4-BE49-F238E27FC236}">
                    <a16:creationId xmlns:a16="http://schemas.microsoft.com/office/drawing/2014/main" id="{896FB7CE-3B6B-42C6-9F7A-4563CB072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4" y="1926"/>
                <a:ext cx="10" cy="6"/>
              </a:xfrm>
              <a:custGeom>
                <a:avLst/>
                <a:gdLst>
                  <a:gd name="T0" fmla="*/ 3 w 19"/>
                  <a:gd name="T1" fmla="*/ 0 h 12"/>
                  <a:gd name="T2" fmla="*/ 3 w 19"/>
                  <a:gd name="T3" fmla="*/ 0 h 12"/>
                  <a:gd name="T4" fmla="*/ 0 w 19"/>
                  <a:gd name="T5" fmla="*/ 6 h 12"/>
                  <a:gd name="T6" fmla="*/ 0 w 19"/>
                  <a:gd name="T7" fmla="*/ 6 h 12"/>
                  <a:gd name="T8" fmla="*/ 0 w 19"/>
                  <a:gd name="T9" fmla="*/ 9 h 12"/>
                  <a:gd name="T10" fmla="*/ 17 w 19"/>
                  <a:gd name="T11" fmla="*/ 12 h 12"/>
                  <a:gd name="T12" fmla="*/ 17 w 19"/>
                  <a:gd name="T13" fmla="*/ 12 h 12"/>
                  <a:gd name="T14" fmla="*/ 19 w 19"/>
                  <a:gd name="T15" fmla="*/ 9 h 12"/>
                  <a:gd name="T16" fmla="*/ 3 w 19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2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1" y="3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8" y="10"/>
                      <a:pt x="19" y="9"/>
                      <a:pt x="19" y="9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4" name="Freeform 383">
                <a:extLst>
                  <a:ext uri="{FF2B5EF4-FFF2-40B4-BE49-F238E27FC236}">
                    <a16:creationId xmlns:a16="http://schemas.microsoft.com/office/drawing/2014/main" id="{05AC44AD-B32D-455B-A728-BC1AFAEC1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1930"/>
                <a:ext cx="7" cy="3"/>
              </a:xfrm>
              <a:custGeom>
                <a:avLst/>
                <a:gdLst>
                  <a:gd name="T0" fmla="*/ 2 w 12"/>
                  <a:gd name="T1" fmla="*/ 0 h 5"/>
                  <a:gd name="T2" fmla="*/ 2 w 12"/>
                  <a:gd name="T3" fmla="*/ 0 h 5"/>
                  <a:gd name="T4" fmla="*/ 0 w 12"/>
                  <a:gd name="T5" fmla="*/ 3 h 5"/>
                  <a:gd name="T6" fmla="*/ 0 w 12"/>
                  <a:gd name="T7" fmla="*/ 3 h 5"/>
                  <a:gd name="T8" fmla="*/ 12 w 12"/>
                  <a:gd name="T9" fmla="*/ 5 h 5"/>
                  <a:gd name="T10" fmla="*/ 12 w 12"/>
                  <a:gd name="T11" fmla="*/ 4 h 5"/>
                  <a:gd name="T12" fmla="*/ 12 w 12"/>
                  <a:gd name="T13" fmla="*/ 4 h 5"/>
                  <a:gd name="T14" fmla="*/ 2 w 12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5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1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5" name="Freeform 384">
                <a:extLst>
                  <a:ext uri="{FF2B5EF4-FFF2-40B4-BE49-F238E27FC236}">
                    <a16:creationId xmlns:a16="http://schemas.microsoft.com/office/drawing/2014/main" id="{6A4423B9-8FAC-403A-A409-FA8EDC1328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6" y="1902"/>
                <a:ext cx="16" cy="3"/>
              </a:xfrm>
              <a:custGeom>
                <a:avLst/>
                <a:gdLst>
                  <a:gd name="T0" fmla="*/ 30 w 30"/>
                  <a:gd name="T1" fmla="*/ 4 h 5"/>
                  <a:gd name="T2" fmla="*/ 29 w 30"/>
                  <a:gd name="T3" fmla="*/ 4 h 5"/>
                  <a:gd name="T4" fmla="*/ 29 w 30"/>
                  <a:gd name="T5" fmla="*/ 4 h 5"/>
                  <a:gd name="T6" fmla="*/ 30 w 30"/>
                  <a:gd name="T7" fmla="*/ 4 h 5"/>
                  <a:gd name="T8" fmla="*/ 5 w 30"/>
                  <a:gd name="T9" fmla="*/ 0 h 5"/>
                  <a:gd name="T10" fmla="*/ 0 w 30"/>
                  <a:gd name="T11" fmla="*/ 5 h 5"/>
                  <a:gd name="T12" fmla="*/ 0 w 30"/>
                  <a:gd name="T13" fmla="*/ 5 h 5"/>
                  <a:gd name="T14" fmla="*/ 5 w 30"/>
                  <a:gd name="T15" fmla="*/ 0 h 5"/>
                  <a:gd name="T16" fmla="*/ 6 w 30"/>
                  <a:gd name="T17" fmla="*/ 0 h 5"/>
                  <a:gd name="T18" fmla="*/ 17 w 30"/>
                  <a:gd name="T19" fmla="*/ 2 h 5"/>
                  <a:gd name="T20" fmla="*/ 17 w 30"/>
                  <a:gd name="T21" fmla="*/ 2 h 5"/>
                  <a:gd name="T22" fmla="*/ 6 w 30"/>
                  <a:gd name="T23" fmla="*/ 0 h 5"/>
                  <a:gd name="T24" fmla="*/ 5 w 30"/>
                  <a:gd name="T2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5">
                    <a:moveTo>
                      <a:pt x="30" y="4"/>
                    </a:moveTo>
                    <a:cubicBezTo>
                      <a:pt x="29" y="4"/>
                      <a:pt x="29" y="4"/>
                      <a:pt x="29" y="4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30" y="4"/>
                      <a:pt x="30" y="4"/>
                      <a:pt x="30" y="4"/>
                    </a:cubicBezTo>
                    <a:moveTo>
                      <a:pt x="5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6" y="0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6" name="Rectangle 385">
                <a:extLst>
                  <a:ext uri="{FF2B5EF4-FFF2-40B4-BE49-F238E27FC236}">
                    <a16:creationId xmlns:a16="http://schemas.microsoft.com/office/drawing/2014/main" id="{68D40DAB-CDA5-423B-96C9-AF66D0C451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1" y="1908"/>
                <a:ext cx="1" cy="1"/>
              </a:xfrm>
              <a:prstGeom prst="rect">
                <a:avLst/>
              </a:prstGeom>
              <a:solidFill>
                <a:srgbClr val="BDAC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7" name="Rectangle 386">
                <a:extLst>
                  <a:ext uri="{FF2B5EF4-FFF2-40B4-BE49-F238E27FC236}">
                    <a16:creationId xmlns:a16="http://schemas.microsoft.com/office/drawing/2014/main" id="{B459FC52-0A21-4E08-A17C-FA6A7353CA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1" y="190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8" name="Freeform 387">
                <a:extLst>
                  <a:ext uri="{FF2B5EF4-FFF2-40B4-BE49-F238E27FC236}">
                    <a16:creationId xmlns:a16="http://schemas.microsoft.com/office/drawing/2014/main" id="{10CE0AD1-52AE-4A55-9742-9BEBF5101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1" y="1904"/>
                <a:ext cx="1" cy="4"/>
              </a:xfrm>
              <a:custGeom>
                <a:avLst/>
                <a:gdLst>
                  <a:gd name="T0" fmla="*/ 1 w 1"/>
                  <a:gd name="T1" fmla="*/ 2 h 4"/>
                  <a:gd name="T2" fmla="*/ 0 w 1"/>
                  <a:gd name="T3" fmla="*/ 4 h 4"/>
                  <a:gd name="T4" fmla="*/ 0 w 1"/>
                  <a:gd name="T5" fmla="*/ 4 h 4"/>
                  <a:gd name="T6" fmla="*/ 1 w 1"/>
                  <a:gd name="T7" fmla="*/ 2 h 4"/>
                  <a:gd name="T8" fmla="*/ 1 w 1"/>
                  <a:gd name="T9" fmla="*/ 0 h 4"/>
                  <a:gd name="T10" fmla="*/ 1 w 1"/>
                  <a:gd name="T11" fmla="*/ 0 h 4"/>
                  <a:gd name="T12" fmla="*/ 1 w 1"/>
                  <a:gd name="T13" fmla="*/ 0 h 4"/>
                  <a:gd name="T14" fmla="*/ 1 w 1"/>
                  <a:gd name="T15" fmla="*/ 0 h 4"/>
                  <a:gd name="T16" fmla="*/ 1 w 1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4">
                    <a:moveTo>
                      <a:pt x="1" y="2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2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9" name="Freeform 388">
                <a:extLst>
                  <a:ext uri="{FF2B5EF4-FFF2-40B4-BE49-F238E27FC236}">
                    <a16:creationId xmlns:a16="http://schemas.microsoft.com/office/drawing/2014/main" id="{30BA4BB7-0EB6-4BE2-BBC8-7826FE917C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1" y="1904"/>
                <a:ext cx="1" cy="4"/>
              </a:xfrm>
              <a:custGeom>
                <a:avLst/>
                <a:gdLst>
                  <a:gd name="T0" fmla="*/ 1 w 1"/>
                  <a:gd name="T1" fmla="*/ 2 h 4"/>
                  <a:gd name="T2" fmla="*/ 0 w 1"/>
                  <a:gd name="T3" fmla="*/ 4 h 4"/>
                  <a:gd name="T4" fmla="*/ 0 w 1"/>
                  <a:gd name="T5" fmla="*/ 4 h 4"/>
                  <a:gd name="T6" fmla="*/ 1 w 1"/>
                  <a:gd name="T7" fmla="*/ 2 h 4"/>
                  <a:gd name="T8" fmla="*/ 1 w 1"/>
                  <a:gd name="T9" fmla="*/ 0 h 4"/>
                  <a:gd name="T10" fmla="*/ 1 w 1"/>
                  <a:gd name="T11" fmla="*/ 0 h 4"/>
                  <a:gd name="T12" fmla="*/ 1 w 1"/>
                  <a:gd name="T13" fmla="*/ 0 h 4"/>
                  <a:gd name="T14" fmla="*/ 1 w 1"/>
                  <a:gd name="T15" fmla="*/ 0 h 4"/>
                  <a:gd name="T16" fmla="*/ 1 w 1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4">
                    <a:moveTo>
                      <a:pt x="1" y="2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2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0" name="Freeform 389">
                <a:extLst>
                  <a:ext uri="{FF2B5EF4-FFF2-40B4-BE49-F238E27FC236}">
                    <a16:creationId xmlns:a16="http://schemas.microsoft.com/office/drawing/2014/main" id="{B47C0A6A-2F2B-4F94-9AC2-25F8CBEA58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5" y="1902"/>
                <a:ext cx="17" cy="7"/>
              </a:xfrm>
              <a:custGeom>
                <a:avLst/>
                <a:gdLst>
                  <a:gd name="T0" fmla="*/ 30 w 30"/>
                  <a:gd name="T1" fmla="*/ 4 h 13"/>
                  <a:gd name="T2" fmla="*/ 29 w 30"/>
                  <a:gd name="T3" fmla="*/ 13 h 13"/>
                  <a:gd name="T4" fmla="*/ 29 w 30"/>
                  <a:gd name="T5" fmla="*/ 13 h 13"/>
                  <a:gd name="T6" fmla="*/ 29 w 30"/>
                  <a:gd name="T7" fmla="*/ 10 h 13"/>
                  <a:gd name="T8" fmla="*/ 30 w 30"/>
                  <a:gd name="T9" fmla="*/ 8 h 13"/>
                  <a:gd name="T10" fmla="*/ 30 w 30"/>
                  <a:gd name="T11" fmla="*/ 4 h 13"/>
                  <a:gd name="T12" fmla="*/ 30 w 30"/>
                  <a:gd name="T13" fmla="*/ 4 h 13"/>
                  <a:gd name="T14" fmla="*/ 6 w 30"/>
                  <a:gd name="T15" fmla="*/ 0 h 13"/>
                  <a:gd name="T16" fmla="*/ 1 w 30"/>
                  <a:gd name="T17" fmla="*/ 5 h 13"/>
                  <a:gd name="T18" fmla="*/ 1 w 30"/>
                  <a:gd name="T19" fmla="*/ 5 h 13"/>
                  <a:gd name="T20" fmla="*/ 0 w 30"/>
                  <a:gd name="T21" fmla="*/ 8 h 13"/>
                  <a:gd name="T22" fmla="*/ 16 w 30"/>
                  <a:gd name="T23" fmla="*/ 11 h 13"/>
                  <a:gd name="T24" fmla="*/ 18 w 30"/>
                  <a:gd name="T25" fmla="*/ 2 h 13"/>
                  <a:gd name="T26" fmla="*/ 7 w 30"/>
                  <a:gd name="T27" fmla="*/ 0 h 13"/>
                  <a:gd name="T28" fmla="*/ 6 w 30"/>
                  <a:gd name="T2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" h="13">
                    <a:moveTo>
                      <a:pt x="30" y="4"/>
                    </a:move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4"/>
                    </a:cubicBezTo>
                    <a:moveTo>
                      <a:pt x="6" y="0"/>
                    </a:moveTo>
                    <a:cubicBezTo>
                      <a:pt x="3" y="0"/>
                      <a:pt x="1" y="2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1" name="Freeform 390">
                <a:extLst>
                  <a:ext uri="{FF2B5EF4-FFF2-40B4-BE49-F238E27FC236}">
                    <a16:creationId xmlns:a16="http://schemas.microsoft.com/office/drawing/2014/main" id="{DE41B888-30F9-4A71-8504-76A54546F1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1903"/>
                <a:ext cx="8" cy="6"/>
              </a:xfrm>
              <a:custGeom>
                <a:avLst/>
                <a:gdLst>
                  <a:gd name="T0" fmla="*/ 1 w 8"/>
                  <a:gd name="T1" fmla="*/ 0 h 6"/>
                  <a:gd name="T2" fmla="*/ 1 w 8"/>
                  <a:gd name="T3" fmla="*/ 0 h 6"/>
                  <a:gd name="T4" fmla="*/ 1 w 8"/>
                  <a:gd name="T5" fmla="*/ 0 h 6"/>
                  <a:gd name="T6" fmla="*/ 1 w 8"/>
                  <a:gd name="T7" fmla="*/ 0 h 6"/>
                  <a:gd name="T8" fmla="*/ 1 w 8"/>
                  <a:gd name="T9" fmla="*/ 0 h 6"/>
                  <a:gd name="T10" fmla="*/ 0 w 8"/>
                  <a:gd name="T11" fmla="*/ 5 h 6"/>
                  <a:gd name="T12" fmla="*/ 7 w 8"/>
                  <a:gd name="T13" fmla="*/ 6 h 6"/>
                  <a:gd name="T14" fmla="*/ 8 w 8"/>
                  <a:gd name="T15" fmla="*/ 1 h 6"/>
                  <a:gd name="T16" fmla="*/ 8 w 8"/>
                  <a:gd name="T17" fmla="*/ 1 h 6"/>
                  <a:gd name="T18" fmla="*/ 8 w 8"/>
                  <a:gd name="T19" fmla="*/ 1 h 6"/>
                  <a:gd name="T20" fmla="*/ 1 w 8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6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5"/>
                    </a:lnTo>
                    <a:lnTo>
                      <a:pt x="7" y="6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2" name="Freeform 391">
                <a:extLst>
                  <a:ext uri="{FF2B5EF4-FFF2-40B4-BE49-F238E27FC236}">
                    <a16:creationId xmlns:a16="http://schemas.microsoft.com/office/drawing/2014/main" id="{EA39F0BE-D5E8-4D02-8D6F-78E82ECE61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1903"/>
                <a:ext cx="8" cy="6"/>
              </a:xfrm>
              <a:custGeom>
                <a:avLst/>
                <a:gdLst>
                  <a:gd name="T0" fmla="*/ 1 w 8"/>
                  <a:gd name="T1" fmla="*/ 0 h 6"/>
                  <a:gd name="T2" fmla="*/ 1 w 8"/>
                  <a:gd name="T3" fmla="*/ 0 h 6"/>
                  <a:gd name="T4" fmla="*/ 1 w 8"/>
                  <a:gd name="T5" fmla="*/ 0 h 6"/>
                  <a:gd name="T6" fmla="*/ 1 w 8"/>
                  <a:gd name="T7" fmla="*/ 0 h 6"/>
                  <a:gd name="T8" fmla="*/ 1 w 8"/>
                  <a:gd name="T9" fmla="*/ 0 h 6"/>
                  <a:gd name="T10" fmla="*/ 0 w 8"/>
                  <a:gd name="T11" fmla="*/ 5 h 6"/>
                  <a:gd name="T12" fmla="*/ 7 w 8"/>
                  <a:gd name="T13" fmla="*/ 6 h 6"/>
                  <a:gd name="T14" fmla="*/ 8 w 8"/>
                  <a:gd name="T15" fmla="*/ 1 h 6"/>
                  <a:gd name="T16" fmla="*/ 8 w 8"/>
                  <a:gd name="T17" fmla="*/ 1 h 6"/>
                  <a:gd name="T18" fmla="*/ 8 w 8"/>
                  <a:gd name="T19" fmla="*/ 1 h 6"/>
                  <a:gd name="T20" fmla="*/ 1 w 8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6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5"/>
                    </a:lnTo>
                    <a:lnTo>
                      <a:pt x="7" y="6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" name="Freeform 392">
                <a:extLst>
                  <a:ext uri="{FF2B5EF4-FFF2-40B4-BE49-F238E27FC236}">
                    <a16:creationId xmlns:a16="http://schemas.microsoft.com/office/drawing/2014/main" id="{052A66CC-FBEC-47B5-AFD2-79C6DCACFA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7" cy="17"/>
              </a:xfrm>
              <a:custGeom>
                <a:avLst/>
                <a:gdLst>
                  <a:gd name="T0" fmla="*/ 0 w 107"/>
                  <a:gd name="T1" fmla="*/ 6 h 17"/>
                  <a:gd name="T2" fmla="*/ 1 w 107"/>
                  <a:gd name="T3" fmla="*/ 17 h 17"/>
                  <a:gd name="T4" fmla="*/ 107 w 107"/>
                  <a:gd name="T5" fmla="*/ 10 h 17"/>
                  <a:gd name="T6" fmla="*/ 106 w 107"/>
                  <a:gd name="T7" fmla="*/ 0 h 17"/>
                  <a:gd name="T8" fmla="*/ 0 w 107"/>
                  <a:gd name="T9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7">
                    <a:moveTo>
                      <a:pt x="0" y="6"/>
                    </a:moveTo>
                    <a:lnTo>
                      <a:pt x="1" y="17"/>
                    </a:lnTo>
                    <a:lnTo>
                      <a:pt x="107" y="10"/>
                    </a:lnTo>
                    <a:lnTo>
                      <a:pt x="106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66BF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" name="Freeform 393">
                <a:extLst>
                  <a:ext uri="{FF2B5EF4-FFF2-40B4-BE49-F238E27FC236}">
                    <a16:creationId xmlns:a16="http://schemas.microsoft.com/office/drawing/2014/main" id="{C839BD60-5C9C-400B-9A3D-5D672383F4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7" cy="17"/>
              </a:xfrm>
              <a:custGeom>
                <a:avLst/>
                <a:gdLst>
                  <a:gd name="T0" fmla="*/ 0 w 107"/>
                  <a:gd name="T1" fmla="*/ 6 h 17"/>
                  <a:gd name="T2" fmla="*/ 1 w 107"/>
                  <a:gd name="T3" fmla="*/ 17 h 17"/>
                  <a:gd name="T4" fmla="*/ 107 w 107"/>
                  <a:gd name="T5" fmla="*/ 10 h 17"/>
                  <a:gd name="T6" fmla="*/ 106 w 107"/>
                  <a:gd name="T7" fmla="*/ 0 h 17"/>
                  <a:gd name="T8" fmla="*/ 0 w 107"/>
                  <a:gd name="T9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7">
                    <a:moveTo>
                      <a:pt x="0" y="6"/>
                    </a:moveTo>
                    <a:lnTo>
                      <a:pt x="1" y="17"/>
                    </a:lnTo>
                    <a:lnTo>
                      <a:pt x="107" y="10"/>
                    </a:lnTo>
                    <a:lnTo>
                      <a:pt x="106" y="0"/>
                    </a:lnTo>
                    <a:lnTo>
                      <a:pt x="0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" name="Freeform 394">
                <a:extLst>
                  <a:ext uri="{FF2B5EF4-FFF2-40B4-BE49-F238E27FC236}">
                    <a16:creationId xmlns:a16="http://schemas.microsoft.com/office/drawing/2014/main" id="{04B1AC27-BEA5-4D97-AAA2-9EE67C00E8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51"/>
                <a:ext cx="106" cy="10"/>
              </a:xfrm>
              <a:custGeom>
                <a:avLst/>
                <a:gdLst>
                  <a:gd name="T0" fmla="*/ 0 w 106"/>
                  <a:gd name="T1" fmla="*/ 7 h 10"/>
                  <a:gd name="T2" fmla="*/ 0 w 106"/>
                  <a:gd name="T3" fmla="*/ 10 h 10"/>
                  <a:gd name="T4" fmla="*/ 106 w 106"/>
                  <a:gd name="T5" fmla="*/ 4 h 10"/>
                  <a:gd name="T6" fmla="*/ 106 w 106"/>
                  <a:gd name="T7" fmla="*/ 0 h 10"/>
                  <a:gd name="T8" fmla="*/ 0 w 106"/>
                  <a:gd name="T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7"/>
                    </a:moveTo>
                    <a:lnTo>
                      <a:pt x="0" y="10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8FE5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6" name="Freeform 395">
                <a:extLst>
                  <a:ext uri="{FF2B5EF4-FFF2-40B4-BE49-F238E27FC236}">
                    <a16:creationId xmlns:a16="http://schemas.microsoft.com/office/drawing/2014/main" id="{F44D9D01-632E-46E1-9698-5783EB5B1A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51"/>
                <a:ext cx="106" cy="10"/>
              </a:xfrm>
              <a:custGeom>
                <a:avLst/>
                <a:gdLst>
                  <a:gd name="T0" fmla="*/ 0 w 106"/>
                  <a:gd name="T1" fmla="*/ 7 h 10"/>
                  <a:gd name="T2" fmla="*/ 0 w 106"/>
                  <a:gd name="T3" fmla="*/ 10 h 10"/>
                  <a:gd name="T4" fmla="*/ 106 w 106"/>
                  <a:gd name="T5" fmla="*/ 4 h 10"/>
                  <a:gd name="T6" fmla="*/ 106 w 106"/>
                  <a:gd name="T7" fmla="*/ 0 h 10"/>
                  <a:gd name="T8" fmla="*/ 0 w 106"/>
                  <a:gd name="T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7"/>
                    </a:moveTo>
                    <a:lnTo>
                      <a:pt x="0" y="10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0" y="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396">
                <a:extLst>
                  <a:ext uri="{FF2B5EF4-FFF2-40B4-BE49-F238E27FC236}">
                    <a16:creationId xmlns:a16="http://schemas.microsoft.com/office/drawing/2014/main" id="{5EB20974-249B-4424-BE1E-6892BB0EA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6" cy="10"/>
              </a:xfrm>
              <a:custGeom>
                <a:avLst/>
                <a:gdLst>
                  <a:gd name="T0" fmla="*/ 0 w 106"/>
                  <a:gd name="T1" fmla="*/ 6 h 10"/>
                  <a:gd name="T2" fmla="*/ 0 w 106"/>
                  <a:gd name="T3" fmla="*/ 10 h 10"/>
                  <a:gd name="T4" fmla="*/ 106 w 106"/>
                  <a:gd name="T5" fmla="*/ 3 h 10"/>
                  <a:gd name="T6" fmla="*/ 106 w 106"/>
                  <a:gd name="T7" fmla="*/ 0 h 10"/>
                  <a:gd name="T8" fmla="*/ 0 w 106"/>
                  <a:gd name="T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6"/>
                    </a:moveTo>
                    <a:lnTo>
                      <a:pt x="0" y="10"/>
                    </a:lnTo>
                    <a:lnTo>
                      <a:pt x="106" y="3"/>
                    </a:lnTo>
                    <a:lnTo>
                      <a:pt x="106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78C9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397">
                <a:extLst>
                  <a:ext uri="{FF2B5EF4-FFF2-40B4-BE49-F238E27FC236}">
                    <a16:creationId xmlns:a16="http://schemas.microsoft.com/office/drawing/2014/main" id="{5DDA87C2-7823-429E-BDF5-99D072D6F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6" cy="10"/>
              </a:xfrm>
              <a:custGeom>
                <a:avLst/>
                <a:gdLst>
                  <a:gd name="T0" fmla="*/ 0 w 106"/>
                  <a:gd name="T1" fmla="*/ 6 h 10"/>
                  <a:gd name="T2" fmla="*/ 0 w 106"/>
                  <a:gd name="T3" fmla="*/ 10 h 10"/>
                  <a:gd name="T4" fmla="*/ 106 w 106"/>
                  <a:gd name="T5" fmla="*/ 3 h 10"/>
                  <a:gd name="T6" fmla="*/ 106 w 106"/>
                  <a:gd name="T7" fmla="*/ 0 h 10"/>
                  <a:gd name="T8" fmla="*/ 0 w 106"/>
                  <a:gd name="T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6"/>
                    </a:moveTo>
                    <a:lnTo>
                      <a:pt x="0" y="10"/>
                    </a:lnTo>
                    <a:lnTo>
                      <a:pt x="106" y="3"/>
                    </a:lnTo>
                    <a:lnTo>
                      <a:pt x="106" y="0"/>
                    </a:lnTo>
                    <a:lnTo>
                      <a:pt x="0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398">
                <a:extLst>
                  <a:ext uri="{FF2B5EF4-FFF2-40B4-BE49-F238E27FC236}">
                    <a16:creationId xmlns:a16="http://schemas.microsoft.com/office/drawing/2014/main" id="{28BBA9A9-0A1E-4465-ACBB-3A76F0BBE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5" y="1948"/>
                <a:ext cx="18" cy="10"/>
              </a:xfrm>
              <a:custGeom>
                <a:avLst/>
                <a:gdLst>
                  <a:gd name="T0" fmla="*/ 1 w 33"/>
                  <a:gd name="T1" fmla="*/ 0 h 19"/>
                  <a:gd name="T2" fmla="*/ 0 w 33"/>
                  <a:gd name="T3" fmla="*/ 10 h 19"/>
                  <a:gd name="T4" fmla="*/ 3 w 33"/>
                  <a:gd name="T5" fmla="*/ 19 h 19"/>
                  <a:gd name="T6" fmla="*/ 32 w 33"/>
                  <a:gd name="T7" fmla="*/ 8 h 19"/>
                  <a:gd name="T8" fmla="*/ 33 w 33"/>
                  <a:gd name="T9" fmla="*/ 8 h 19"/>
                  <a:gd name="T10" fmla="*/ 32 w 33"/>
                  <a:gd name="T11" fmla="*/ 7 h 19"/>
                  <a:gd name="T12" fmla="*/ 1 w 33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19">
                    <a:moveTo>
                      <a:pt x="1" y="0"/>
                    </a:moveTo>
                    <a:cubicBezTo>
                      <a:pt x="1" y="0"/>
                      <a:pt x="0" y="4"/>
                      <a:pt x="0" y="10"/>
                    </a:cubicBezTo>
                    <a:cubicBezTo>
                      <a:pt x="1" y="15"/>
                      <a:pt x="3" y="19"/>
                      <a:pt x="3" y="19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0" name="Freeform 399">
                <a:extLst>
                  <a:ext uri="{FF2B5EF4-FFF2-40B4-BE49-F238E27FC236}">
                    <a16:creationId xmlns:a16="http://schemas.microsoft.com/office/drawing/2014/main" id="{1EE99242-5520-4CF5-BAE3-8664A2F4C9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4"/>
                <a:ext cx="18" cy="12"/>
              </a:xfrm>
              <a:custGeom>
                <a:avLst/>
                <a:gdLst>
                  <a:gd name="T0" fmla="*/ 31 w 33"/>
                  <a:gd name="T1" fmla="*/ 0 h 22"/>
                  <a:gd name="T2" fmla="*/ 5 w 33"/>
                  <a:gd name="T3" fmla="*/ 2 h 22"/>
                  <a:gd name="T4" fmla="*/ 0 w 33"/>
                  <a:gd name="T5" fmla="*/ 8 h 22"/>
                  <a:gd name="T6" fmla="*/ 0 w 33"/>
                  <a:gd name="T7" fmla="*/ 16 h 22"/>
                  <a:gd name="T8" fmla="*/ 6 w 33"/>
                  <a:gd name="T9" fmla="*/ 21 h 22"/>
                  <a:gd name="T10" fmla="*/ 33 w 33"/>
                  <a:gd name="T11" fmla="*/ 20 h 22"/>
                  <a:gd name="T12" fmla="*/ 31 w 33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22">
                    <a:moveTo>
                      <a:pt x="31" y="0"/>
                    </a:moveTo>
                    <a:cubicBezTo>
                      <a:pt x="5" y="2"/>
                      <a:pt x="5" y="2"/>
                      <a:pt x="5" y="2"/>
                    </a:cubicBezTo>
                    <a:cubicBezTo>
                      <a:pt x="2" y="2"/>
                      <a:pt x="0" y="5"/>
                      <a:pt x="0" y="8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9"/>
                      <a:pt x="3" y="22"/>
                      <a:pt x="6" y="21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1" name="Freeform 400">
                <a:extLst>
                  <a:ext uri="{FF2B5EF4-FFF2-40B4-BE49-F238E27FC236}">
                    <a16:creationId xmlns:a16="http://schemas.microsoft.com/office/drawing/2014/main" id="{187C4E14-4B08-4E3F-B5BD-B26F5164DC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8" cy="12"/>
              </a:xfrm>
              <a:custGeom>
                <a:avLst/>
                <a:gdLst>
                  <a:gd name="T0" fmla="*/ 7 w 8"/>
                  <a:gd name="T1" fmla="*/ 0 h 12"/>
                  <a:gd name="T2" fmla="*/ 0 w 8"/>
                  <a:gd name="T3" fmla="*/ 1 h 12"/>
                  <a:gd name="T4" fmla="*/ 0 w 8"/>
                  <a:gd name="T5" fmla="*/ 12 h 12"/>
                  <a:gd name="T6" fmla="*/ 8 w 8"/>
                  <a:gd name="T7" fmla="*/ 12 h 12"/>
                  <a:gd name="T8" fmla="*/ 7 w 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7" y="0"/>
                    </a:moveTo>
                    <a:lnTo>
                      <a:pt x="0" y="1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2" name="Freeform 401">
                <a:extLst>
                  <a:ext uri="{FF2B5EF4-FFF2-40B4-BE49-F238E27FC236}">
                    <a16:creationId xmlns:a16="http://schemas.microsoft.com/office/drawing/2014/main" id="{CE005939-F5CB-48D9-BE55-FB84C10CA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8" cy="12"/>
              </a:xfrm>
              <a:custGeom>
                <a:avLst/>
                <a:gdLst>
                  <a:gd name="T0" fmla="*/ 7 w 8"/>
                  <a:gd name="T1" fmla="*/ 0 h 12"/>
                  <a:gd name="T2" fmla="*/ 0 w 8"/>
                  <a:gd name="T3" fmla="*/ 1 h 12"/>
                  <a:gd name="T4" fmla="*/ 0 w 8"/>
                  <a:gd name="T5" fmla="*/ 12 h 12"/>
                  <a:gd name="T6" fmla="*/ 8 w 8"/>
                  <a:gd name="T7" fmla="*/ 12 h 12"/>
                  <a:gd name="T8" fmla="*/ 7 w 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7" y="0"/>
                    </a:moveTo>
                    <a:lnTo>
                      <a:pt x="0" y="1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3" name="Freeform 402">
                <a:extLst>
                  <a:ext uri="{FF2B5EF4-FFF2-40B4-BE49-F238E27FC236}">
                    <a16:creationId xmlns:a16="http://schemas.microsoft.com/office/drawing/2014/main" id="{F20FE99A-1DAD-47C1-A931-3E0C34F63C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1950"/>
                <a:ext cx="7" cy="5"/>
              </a:xfrm>
              <a:custGeom>
                <a:avLst/>
                <a:gdLst>
                  <a:gd name="T0" fmla="*/ 1 w 13"/>
                  <a:gd name="T1" fmla="*/ 0 h 8"/>
                  <a:gd name="T2" fmla="*/ 12 w 13"/>
                  <a:gd name="T3" fmla="*/ 3 h 8"/>
                  <a:gd name="T4" fmla="*/ 12 w 13"/>
                  <a:gd name="T5" fmla="*/ 4 h 8"/>
                  <a:gd name="T6" fmla="*/ 1 w 13"/>
                  <a:gd name="T7" fmla="*/ 8 h 8"/>
                  <a:gd name="T8" fmla="*/ 0 w 13"/>
                  <a:gd name="T9" fmla="*/ 4 h 8"/>
                  <a:gd name="T10" fmla="*/ 1 w 13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8">
                    <a:moveTo>
                      <a:pt x="1" y="0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3" y="3"/>
                      <a:pt x="13" y="4"/>
                      <a:pt x="12" y="4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0" y="7"/>
                      <a:pt x="0" y="4"/>
                    </a:cubicBezTo>
                    <a:cubicBezTo>
                      <a:pt x="0" y="2"/>
                      <a:pt x="1" y="0"/>
                      <a:pt x="1" y="0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4" name="Freeform 403">
                <a:extLst>
                  <a:ext uri="{FF2B5EF4-FFF2-40B4-BE49-F238E27FC236}">
                    <a16:creationId xmlns:a16="http://schemas.microsoft.com/office/drawing/2014/main" id="{BBC9176D-253C-4D86-91D8-D737E2142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5" y="1948"/>
                <a:ext cx="12" cy="5"/>
              </a:xfrm>
              <a:custGeom>
                <a:avLst/>
                <a:gdLst>
                  <a:gd name="T0" fmla="*/ 1 w 21"/>
                  <a:gd name="T1" fmla="*/ 0 h 10"/>
                  <a:gd name="T2" fmla="*/ 1 w 21"/>
                  <a:gd name="T3" fmla="*/ 0 h 10"/>
                  <a:gd name="T4" fmla="*/ 0 w 21"/>
                  <a:gd name="T5" fmla="*/ 6 h 10"/>
                  <a:gd name="T6" fmla="*/ 0 w 21"/>
                  <a:gd name="T7" fmla="*/ 8 h 10"/>
                  <a:gd name="T8" fmla="*/ 0 w 21"/>
                  <a:gd name="T9" fmla="*/ 10 h 10"/>
                  <a:gd name="T10" fmla="*/ 20 w 21"/>
                  <a:gd name="T11" fmla="*/ 8 h 10"/>
                  <a:gd name="T12" fmla="*/ 20 w 21"/>
                  <a:gd name="T13" fmla="*/ 8 h 10"/>
                  <a:gd name="T14" fmla="*/ 21 w 21"/>
                  <a:gd name="T15" fmla="*/ 4 h 10"/>
                  <a:gd name="T16" fmla="*/ 1 w 21"/>
                  <a:gd name="T1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0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3"/>
                      <a:pt x="0" y="6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0" y="9"/>
                      <a:pt x="0" y="9"/>
                      <a:pt x="0" y="1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6"/>
                      <a:pt x="21" y="5"/>
                      <a:pt x="21" y="4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5" name="Freeform 404">
                <a:extLst>
                  <a:ext uri="{FF2B5EF4-FFF2-40B4-BE49-F238E27FC236}">
                    <a16:creationId xmlns:a16="http://schemas.microsoft.com/office/drawing/2014/main" id="{3DF9A79C-DC55-4DCC-BBE6-6FDBDFEB7F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1950"/>
                <a:ext cx="7" cy="2"/>
              </a:xfrm>
              <a:custGeom>
                <a:avLst/>
                <a:gdLst>
                  <a:gd name="T0" fmla="*/ 1 w 13"/>
                  <a:gd name="T1" fmla="*/ 0 h 4"/>
                  <a:gd name="T2" fmla="*/ 1 w 13"/>
                  <a:gd name="T3" fmla="*/ 0 h 4"/>
                  <a:gd name="T4" fmla="*/ 0 w 13"/>
                  <a:gd name="T5" fmla="*/ 4 h 4"/>
                  <a:gd name="T6" fmla="*/ 0 w 13"/>
                  <a:gd name="T7" fmla="*/ 4 h 4"/>
                  <a:gd name="T8" fmla="*/ 13 w 13"/>
                  <a:gd name="T9" fmla="*/ 4 h 4"/>
                  <a:gd name="T10" fmla="*/ 12 w 13"/>
                  <a:gd name="T11" fmla="*/ 3 h 4"/>
                  <a:gd name="T12" fmla="*/ 1 w 1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4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0" y="2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6" name="Rectangle 405">
                <a:extLst>
                  <a:ext uri="{FF2B5EF4-FFF2-40B4-BE49-F238E27FC236}">
                    <a16:creationId xmlns:a16="http://schemas.microsoft.com/office/drawing/2014/main" id="{6962ACA4-07CF-444F-956F-A4DAE82C3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03" y="1958"/>
                <a:ext cx="1" cy="3"/>
              </a:xfrm>
              <a:prstGeom prst="rect">
                <a:avLst/>
              </a:pr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" name="Group 607">
              <a:extLst>
                <a:ext uri="{FF2B5EF4-FFF2-40B4-BE49-F238E27FC236}">
                  <a16:creationId xmlns:a16="http://schemas.microsoft.com/office/drawing/2014/main" id="{764FAE67-B6EA-4418-A66F-411FBDDA76F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243888" y="3100388"/>
              <a:ext cx="2105025" cy="1087438"/>
              <a:chOff x="5193" y="1953"/>
              <a:chExt cx="1326" cy="685"/>
            </a:xfrm>
          </p:grpSpPr>
          <p:sp>
            <p:nvSpPr>
              <p:cNvPr id="167" name="Freeform 407">
                <a:extLst>
                  <a:ext uri="{FF2B5EF4-FFF2-40B4-BE49-F238E27FC236}">
                    <a16:creationId xmlns:a16="http://schemas.microsoft.com/office/drawing/2014/main" id="{2FB82784-21B0-41A2-98B7-841491C92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8"/>
                <a:ext cx="0" cy="3"/>
              </a:xfrm>
              <a:custGeom>
                <a:avLst/>
                <a:gdLst>
                  <a:gd name="T0" fmla="*/ 0 h 3"/>
                  <a:gd name="T1" fmla="*/ 3 h 3"/>
                  <a:gd name="T2" fmla="*/ 3 h 3"/>
                  <a:gd name="T3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408">
                <a:extLst>
                  <a:ext uri="{FF2B5EF4-FFF2-40B4-BE49-F238E27FC236}">
                    <a16:creationId xmlns:a16="http://schemas.microsoft.com/office/drawing/2014/main" id="{4F2C6425-3F72-4B3B-A922-09039E34A9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5"/>
                <a:ext cx="10" cy="6"/>
              </a:xfrm>
              <a:custGeom>
                <a:avLst/>
                <a:gdLst>
                  <a:gd name="T0" fmla="*/ 18 w 18"/>
                  <a:gd name="T1" fmla="*/ 0 h 11"/>
                  <a:gd name="T2" fmla="*/ 5 w 18"/>
                  <a:gd name="T3" fmla="*/ 1 h 11"/>
                  <a:gd name="T4" fmla="*/ 0 w 18"/>
                  <a:gd name="T5" fmla="*/ 6 h 11"/>
                  <a:gd name="T6" fmla="*/ 0 w 18"/>
                  <a:gd name="T7" fmla="*/ 7 h 11"/>
                  <a:gd name="T8" fmla="*/ 0 w 18"/>
                  <a:gd name="T9" fmla="*/ 7 h 11"/>
                  <a:gd name="T10" fmla="*/ 0 w 18"/>
                  <a:gd name="T11" fmla="*/ 11 h 11"/>
                  <a:gd name="T12" fmla="*/ 18 w 18"/>
                  <a:gd name="T13" fmla="*/ 10 h 11"/>
                  <a:gd name="T14" fmla="*/ 18 w 18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1">
                    <a:moveTo>
                      <a:pt x="18" y="0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2" y="1"/>
                      <a:pt x="0" y="3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409">
                <a:extLst>
                  <a:ext uri="{FF2B5EF4-FFF2-40B4-BE49-F238E27FC236}">
                    <a16:creationId xmlns:a16="http://schemas.microsoft.com/office/drawing/2014/main" id="{06414C1D-CF89-49FA-A974-B063A4BD2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7" cy="7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1 h 7"/>
                  <a:gd name="T4" fmla="*/ 0 w 7"/>
                  <a:gd name="T5" fmla="*/ 2 h 7"/>
                  <a:gd name="T6" fmla="*/ 0 w 7"/>
                  <a:gd name="T7" fmla="*/ 7 h 7"/>
                  <a:gd name="T8" fmla="*/ 7 w 7"/>
                  <a:gd name="T9" fmla="*/ 6 h 7"/>
                  <a:gd name="T10" fmla="*/ 7 w 7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7" y="6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410">
                <a:extLst>
                  <a:ext uri="{FF2B5EF4-FFF2-40B4-BE49-F238E27FC236}">
                    <a16:creationId xmlns:a16="http://schemas.microsoft.com/office/drawing/2014/main" id="{87D8F1AD-1B9A-4D51-91FF-7DEC390AC3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7" cy="7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1 h 7"/>
                  <a:gd name="T4" fmla="*/ 0 w 7"/>
                  <a:gd name="T5" fmla="*/ 2 h 7"/>
                  <a:gd name="T6" fmla="*/ 0 w 7"/>
                  <a:gd name="T7" fmla="*/ 7 h 7"/>
                  <a:gd name="T8" fmla="*/ 7 w 7"/>
                  <a:gd name="T9" fmla="*/ 6 h 7"/>
                  <a:gd name="T10" fmla="*/ 7 w 7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7" y="6"/>
                    </a:lnTo>
                    <a:lnTo>
                      <a:pt x="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Rectangle 411">
                <a:extLst>
                  <a:ext uri="{FF2B5EF4-FFF2-40B4-BE49-F238E27FC236}">
                    <a16:creationId xmlns:a16="http://schemas.microsoft.com/office/drawing/2014/main" id="{9F0AEB16-6BD2-492C-85F1-018DB75F40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1" y="2333"/>
                <a:ext cx="16" cy="160"/>
              </a:xfrm>
              <a:prstGeom prst="rect">
                <a:avLst/>
              </a:pr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Rectangle 412">
                <a:extLst>
                  <a:ext uri="{FF2B5EF4-FFF2-40B4-BE49-F238E27FC236}">
                    <a16:creationId xmlns:a16="http://schemas.microsoft.com/office/drawing/2014/main" id="{5D110498-6EEF-45C7-9826-A24360504D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1" y="2333"/>
                <a:ext cx="16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Rectangle 413">
                <a:extLst>
                  <a:ext uri="{FF2B5EF4-FFF2-40B4-BE49-F238E27FC236}">
                    <a16:creationId xmlns:a16="http://schemas.microsoft.com/office/drawing/2014/main" id="{8E2CBA07-3EF2-4BF4-8281-9BA3453C27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6" y="2333"/>
                <a:ext cx="6" cy="160"/>
              </a:xfrm>
              <a:prstGeom prst="rect">
                <a:avLst/>
              </a:prstGeom>
              <a:solidFill>
                <a:srgbClr val="CDDC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Rectangle 414">
                <a:extLst>
                  <a:ext uri="{FF2B5EF4-FFF2-40B4-BE49-F238E27FC236}">
                    <a16:creationId xmlns:a16="http://schemas.microsoft.com/office/drawing/2014/main" id="{80231E61-88F3-4C63-BF4C-EE9AEF9033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6" y="2333"/>
                <a:ext cx="6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Rectangle 415">
                <a:extLst>
                  <a:ext uri="{FF2B5EF4-FFF2-40B4-BE49-F238E27FC236}">
                    <a16:creationId xmlns:a16="http://schemas.microsoft.com/office/drawing/2014/main" id="{0C79B413-7483-48F8-9F17-43F3BE39B8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333"/>
                <a:ext cx="5" cy="160"/>
              </a:xfrm>
              <a:prstGeom prst="rect">
                <a:avLst/>
              </a:prstGeom>
              <a:solidFill>
                <a:srgbClr val="C0CA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Rectangle 416">
                <a:extLst>
                  <a:ext uri="{FF2B5EF4-FFF2-40B4-BE49-F238E27FC236}">
                    <a16:creationId xmlns:a16="http://schemas.microsoft.com/office/drawing/2014/main" id="{85B7D001-9571-4C1D-BBC1-C7B89A6BA6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333"/>
                <a:ext cx="5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417">
                <a:extLst>
                  <a:ext uri="{FF2B5EF4-FFF2-40B4-BE49-F238E27FC236}">
                    <a16:creationId xmlns:a16="http://schemas.microsoft.com/office/drawing/2014/main" id="{EBF15E9C-A22B-4DF9-99B7-E8F2FF3BAA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1" y="2308"/>
                <a:ext cx="16" cy="27"/>
              </a:xfrm>
              <a:custGeom>
                <a:avLst/>
                <a:gdLst>
                  <a:gd name="T0" fmla="*/ 30 w 30"/>
                  <a:gd name="T1" fmla="*/ 47 h 49"/>
                  <a:gd name="T2" fmla="*/ 15 w 30"/>
                  <a:gd name="T3" fmla="*/ 49 h 49"/>
                  <a:gd name="T4" fmla="*/ 0 w 30"/>
                  <a:gd name="T5" fmla="*/ 47 h 49"/>
                  <a:gd name="T6" fmla="*/ 15 w 30"/>
                  <a:gd name="T7" fmla="*/ 1 h 49"/>
                  <a:gd name="T8" fmla="*/ 15 w 30"/>
                  <a:gd name="T9" fmla="*/ 0 h 49"/>
                  <a:gd name="T10" fmla="*/ 16 w 30"/>
                  <a:gd name="T11" fmla="*/ 1 h 49"/>
                  <a:gd name="T12" fmla="*/ 30 w 30"/>
                  <a:gd name="T13" fmla="*/ 4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49">
                    <a:moveTo>
                      <a:pt x="30" y="47"/>
                    </a:moveTo>
                    <a:cubicBezTo>
                      <a:pt x="30" y="47"/>
                      <a:pt x="23" y="49"/>
                      <a:pt x="15" y="49"/>
                    </a:cubicBezTo>
                    <a:cubicBezTo>
                      <a:pt x="8" y="49"/>
                      <a:pt x="0" y="47"/>
                      <a:pt x="0" y="47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30" y="47"/>
                      <a:pt x="30" y="47"/>
                      <a:pt x="30" y="47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418">
                <a:extLst>
                  <a:ext uri="{FF2B5EF4-FFF2-40B4-BE49-F238E27FC236}">
                    <a16:creationId xmlns:a16="http://schemas.microsoft.com/office/drawing/2014/main" id="{F99FDF2B-1704-4AB2-8713-E55DAB23F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1" y="2493"/>
                <a:ext cx="16" cy="27"/>
              </a:xfrm>
              <a:custGeom>
                <a:avLst/>
                <a:gdLst>
                  <a:gd name="T0" fmla="*/ 30 w 30"/>
                  <a:gd name="T1" fmla="*/ 0 h 48"/>
                  <a:gd name="T2" fmla="*/ 30 w 30"/>
                  <a:gd name="T3" fmla="*/ 40 h 48"/>
                  <a:gd name="T4" fmla="*/ 21 w 30"/>
                  <a:gd name="T5" fmla="*/ 48 h 48"/>
                  <a:gd name="T6" fmla="*/ 9 w 30"/>
                  <a:gd name="T7" fmla="*/ 48 h 48"/>
                  <a:gd name="T8" fmla="*/ 0 w 30"/>
                  <a:gd name="T9" fmla="*/ 40 h 48"/>
                  <a:gd name="T10" fmla="*/ 0 w 30"/>
                  <a:gd name="T11" fmla="*/ 0 h 48"/>
                  <a:gd name="T12" fmla="*/ 30 w 30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48">
                    <a:moveTo>
                      <a:pt x="30" y="0"/>
                    </a:moveTo>
                    <a:cubicBezTo>
                      <a:pt x="30" y="40"/>
                      <a:pt x="30" y="40"/>
                      <a:pt x="30" y="40"/>
                    </a:cubicBezTo>
                    <a:cubicBezTo>
                      <a:pt x="30" y="44"/>
                      <a:pt x="26" y="48"/>
                      <a:pt x="21" y="48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4" y="48"/>
                      <a:pt x="0" y="44"/>
                      <a:pt x="0" y="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Rectangle 419">
                <a:extLst>
                  <a:ext uri="{FF2B5EF4-FFF2-40B4-BE49-F238E27FC236}">
                    <a16:creationId xmlns:a16="http://schemas.microsoft.com/office/drawing/2014/main" id="{AB32D940-7AB9-4119-B7AD-CE1E7069C1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3"/>
                <a:ext cx="18" cy="12"/>
              </a:xfrm>
              <a:prstGeom prst="rect">
                <a:avLst/>
              </a:pr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Rectangle 420">
                <a:extLst>
                  <a:ext uri="{FF2B5EF4-FFF2-40B4-BE49-F238E27FC236}">
                    <a16:creationId xmlns:a16="http://schemas.microsoft.com/office/drawing/2014/main" id="{915FFAA4-4731-4460-8283-CA7F6FEED5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3"/>
                <a:ext cx="18" cy="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Rectangle 421">
                <a:extLst>
                  <a:ext uri="{FF2B5EF4-FFF2-40B4-BE49-F238E27FC236}">
                    <a16:creationId xmlns:a16="http://schemas.microsoft.com/office/drawing/2014/main" id="{3CC23432-2C65-4058-B01C-81E1F175C1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8"/>
                <a:ext cx="18" cy="2"/>
              </a:xfrm>
              <a:prstGeom prst="rect">
                <a:avLst/>
              </a:prstGeom>
              <a:solidFill>
                <a:srgbClr val="38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Rectangle 422">
                <a:extLst>
                  <a:ext uri="{FF2B5EF4-FFF2-40B4-BE49-F238E27FC236}">
                    <a16:creationId xmlns:a16="http://schemas.microsoft.com/office/drawing/2014/main" id="{B219592C-59E5-46AB-A2E0-C53E1559F4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8"/>
                <a:ext cx="18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423">
                <a:extLst>
                  <a:ext uri="{FF2B5EF4-FFF2-40B4-BE49-F238E27FC236}">
                    <a16:creationId xmlns:a16="http://schemas.microsoft.com/office/drawing/2014/main" id="{D456BDCA-CED2-47A7-B09F-DF0A9333F2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6" y="2308"/>
                <a:ext cx="6" cy="11"/>
              </a:xfrm>
              <a:custGeom>
                <a:avLst/>
                <a:gdLst>
                  <a:gd name="T0" fmla="*/ 12 w 12"/>
                  <a:gd name="T1" fmla="*/ 18 h 20"/>
                  <a:gd name="T2" fmla="*/ 7 w 12"/>
                  <a:gd name="T3" fmla="*/ 1 h 20"/>
                  <a:gd name="T4" fmla="*/ 6 w 12"/>
                  <a:gd name="T5" fmla="*/ 1 h 20"/>
                  <a:gd name="T6" fmla="*/ 0 w 12"/>
                  <a:gd name="T7" fmla="*/ 18 h 20"/>
                  <a:gd name="T8" fmla="*/ 6 w 12"/>
                  <a:gd name="T9" fmla="*/ 20 h 20"/>
                  <a:gd name="T10" fmla="*/ 12 w 12"/>
                  <a:gd name="T11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20">
                    <a:moveTo>
                      <a:pt x="12" y="18"/>
                    </a:moveTo>
                    <a:cubicBezTo>
                      <a:pt x="7" y="1"/>
                      <a:pt x="7" y="1"/>
                      <a:pt x="7" y="1"/>
                    </a:cubicBezTo>
                    <a:cubicBezTo>
                      <a:pt x="7" y="0"/>
                      <a:pt x="6" y="0"/>
                      <a:pt x="6" y="1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2" y="20"/>
                      <a:pt x="6" y="20"/>
                    </a:cubicBezTo>
                    <a:cubicBezTo>
                      <a:pt x="10" y="20"/>
                      <a:pt x="12" y="18"/>
                      <a:pt x="12" y="18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424">
                <a:extLst>
                  <a:ext uri="{FF2B5EF4-FFF2-40B4-BE49-F238E27FC236}">
                    <a16:creationId xmlns:a16="http://schemas.microsoft.com/office/drawing/2014/main" id="{6B97EE5F-F13A-4ADC-9501-0DE1A1CB8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318"/>
                <a:ext cx="8" cy="17"/>
              </a:xfrm>
              <a:custGeom>
                <a:avLst/>
                <a:gdLst>
                  <a:gd name="T0" fmla="*/ 6 w 15"/>
                  <a:gd name="T1" fmla="*/ 0 h 31"/>
                  <a:gd name="T2" fmla="*/ 0 w 15"/>
                  <a:gd name="T3" fmla="*/ 2 h 31"/>
                  <a:gd name="T4" fmla="*/ 0 w 15"/>
                  <a:gd name="T5" fmla="*/ 2 h 31"/>
                  <a:gd name="T6" fmla="*/ 0 w 15"/>
                  <a:gd name="T7" fmla="*/ 31 h 31"/>
                  <a:gd name="T8" fmla="*/ 15 w 15"/>
                  <a:gd name="T9" fmla="*/ 29 h 31"/>
                  <a:gd name="T10" fmla="*/ 6 w 15"/>
                  <a:gd name="T1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1">
                    <a:moveTo>
                      <a:pt x="6" y="0"/>
                    </a:moveTo>
                    <a:cubicBezTo>
                      <a:pt x="6" y="0"/>
                      <a:pt x="4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8" y="31"/>
                      <a:pt x="15" y="29"/>
                      <a:pt x="15" y="29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425">
                <a:extLst>
                  <a:ext uri="{FF2B5EF4-FFF2-40B4-BE49-F238E27FC236}">
                    <a16:creationId xmlns:a16="http://schemas.microsoft.com/office/drawing/2014/main" id="{38DA11F0-0516-45BB-933F-FB12FCAFC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308"/>
                <a:ext cx="3" cy="11"/>
              </a:xfrm>
              <a:custGeom>
                <a:avLst/>
                <a:gdLst>
                  <a:gd name="T0" fmla="*/ 0 w 6"/>
                  <a:gd name="T1" fmla="*/ 0 h 20"/>
                  <a:gd name="T2" fmla="*/ 0 w 6"/>
                  <a:gd name="T3" fmla="*/ 20 h 20"/>
                  <a:gd name="T4" fmla="*/ 0 w 6"/>
                  <a:gd name="T5" fmla="*/ 20 h 20"/>
                  <a:gd name="T6" fmla="*/ 6 w 6"/>
                  <a:gd name="T7" fmla="*/ 18 h 20"/>
                  <a:gd name="T8" fmla="*/ 6 w 6"/>
                  <a:gd name="T9" fmla="*/ 18 h 20"/>
                  <a:gd name="T10" fmla="*/ 1 w 6"/>
                  <a:gd name="T11" fmla="*/ 1 h 20"/>
                  <a:gd name="T12" fmla="*/ 0 w 6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0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4" y="20"/>
                      <a:pt x="6" y="18"/>
                      <a:pt x="6" y="1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Rectangle 426">
                <a:extLst>
                  <a:ext uri="{FF2B5EF4-FFF2-40B4-BE49-F238E27FC236}">
                    <a16:creationId xmlns:a16="http://schemas.microsoft.com/office/drawing/2014/main" id="{1D2330FD-2ED4-42E1-8C03-B631E0A611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493"/>
                <a:ext cx="5" cy="1"/>
              </a:xfrm>
              <a:prstGeom prst="rect">
                <a:avLst/>
              </a:prstGeom>
              <a:solidFill>
                <a:srgbClr val="98A0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Rectangle 427">
                <a:extLst>
                  <a:ext uri="{FF2B5EF4-FFF2-40B4-BE49-F238E27FC236}">
                    <a16:creationId xmlns:a16="http://schemas.microsoft.com/office/drawing/2014/main" id="{5275919D-B33A-4F67-AC29-D8F3FB293C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493"/>
                <a:ext cx="5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428">
                <a:extLst>
                  <a:ext uri="{FF2B5EF4-FFF2-40B4-BE49-F238E27FC236}">
                    <a16:creationId xmlns:a16="http://schemas.microsoft.com/office/drawing/2014/main" id="{2CC03B84-B821-4FC4-9137-60DD32E4F0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505"/>
                <a:ext cx="8" cy="15"/>
              </a:xfrm>
              <a:custGeom>
                <a:avLst/>
                <a:gdLst>
                  <a:gd name="T0" fmla="*/ 15 w 15"/>
                  <a:gd name="T1" fmla="*/ 0 h 27"/>
                  <a:gd name="T2" fmla="*/ 0 w 15"/>
                  <a:gd name="T3" fmla="*/ 0 h 27"/>
                  <a:gd name="T4" fmla="*/ 0 w 15"/>
                  <a:gd name="T5" fmla="*/ 27 h 27"/>
                  <a:gd name="T6" fmla="*/ 6 w 15"/>
                  <a:gd name="T7" fmla="*/ 27 h 27"/>
                  <a:gd name="T8" fmla="*/ 15 w 15"/>
                  <a:gd name="T9" fmla="*/ 19 h 27"/>
                  <a:gd name="T10" fmla="*/ 15 w 15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27">
                    <a:moveTo>
                      <a:pt x="1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11" y="27"/>
                      <a:pt x="15" y="23"/>
                      <a:pt x="15" y="19"/>
                    </a:cubicBezTo>
                    <a:cubicBezTo>
                      <a:pt x="15" y="0"/>
                      <a:pt x="15" y="0"/>
                      <a:pt x="15" y="0"/>
                    </a:cubicBezTo>
                  </a:path>
                </a:pathLst>
              </a:custGeom>
              <a:solidFill>
                <a:srgbClr val="A8B2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429">
                <a:extLst>
                  <a:ext uri="{FF2B5EF4-FFF2-40B4-BE49-F238E27FC236}">
                    <a16:creationId xmlns:a16="http://schemas.microsoft.com/office/drawing/2014/main" id="{CE769E4A-16E2-4514-A8C7-8CF2C73B66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493"/>
                <a:ext cx="9" cy="12"/>
              </a:xfrm>
              <a:custGeom>
                <a:avLst/>
                <a:gdLst>
                  <a:gd name="T0" fmla="*/ 9 w 9"/>
                  <a:gd name="T1" fmla="*/ 0 h 12"/>
                  <a:gd name="T2" fmla="*/ 8 w 9"/>
                  <a:gd name="T3" fmla="*/ 0 h 12"/>
                  <a:gd name="T4" fmla="*/ 3 w 9"/>
                  <a:gd name="T5" fmla="*/ 0 h 12"/>
                  <a:gd name="T6" fmla="*/ 0 w 9"/>
                  <a:gd name="T7" fmla="*/ 0 h 12"/>
                  <a:gd name="T8" fmla="*/ 0 w 9"/>
                  <a:gd name="T9" fmla="*/ 5 h 12"/>
                  <a:gd name="T10" fmla="*/ 9 w 9"/>
                  <a:gd name="T11" fmla="*/ 5 h 12"/>
                  <a:gd name="T12" fmla="*/ 9 w 9"/>
                  <a:gd name="T13" fmla="*/ 7 h 12"/>
                  <a:gd name="T14" fmla="*/ 0 w 9"/>
                  <a:gd name="T15" fmla="*/ 7 h 12"/>
                  <a:gd name="T16" fmla="*/ 0 w 9"/>
                  <a:gd name="T17" fmla="*/ 12 h 12"/>
                  <a:gd name="T18" fmla="*/ 8 w 9"/>
                  <a:gd name="T19" fmla="*/ 12 h 12"/>
                  <a:gd name="T20" fmla="*/ 9 w 9"/>
                  <a:gd name="T21" fmla="*/ 12 h 12"/>
                  <a:gd name="T22" fmla="*/ 9 w 9"/>
                  <a:gd name="T2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2">
                    <a:moveTo>
                      <a:pt x="9" y="0"/>
                    </a:moveTo>
                    <a:lnTo>
                      <a:pt x="8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9" y="12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430">
                <a:extLst>
                  <a:ext uri="{FF2B5EF4-FFF2-40B4-BE49-F238E27FC236}">
                    <a16:creationId xmlns:a16="http://schemas.microsoft.com/office/drawing/2014/main" id="{776C5EAC-E3E3-42D5-A69A-F7F4CF1C8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493"/>
                <a:ext cx="9" cy="12"/>
              </a:xfrm>
              <a:custGeom>
                <a:avLst/>
                <a:gdLst>
                  <a:gd name="T0" fmla="*/ 9 w 9"/>
                  <a:gd name="T1" fmla="*/ 0 h 12"/>
                  <a:gd name="T2" fmla="*/ 8 w 9"/>
                  <a:gd name="T3" fmla="*/ 0 h 12"/>
                  <a:gd name="T4" fmla="*/ 3 w 9"/>
                  <a:gd name="T5" fmla="*/ 0 h 12"/>
                  <a:gd name="T6" fmla="*/ 0 w 9"/>
                  <a:gd name="T7" fmla="*/ 0 h 12"/>
                  <a:gd name="T8" fmla="*/ 0 w 9"/>
                  <a:gd name="T9" fmla="*/ 5 h 12"/>
                  <a:gd name="T10" fmla="*/ 9 w 9"/>
                  <a:gd name="T11" fmla="*/ 5 h 12"/>
                  <a:gd name="T12" fmla="*/ 9 w 9"/>
                  <a:gd name="T13" fmla="*/ 7 h 12"/>
                  <a:gd name="T14" fmla="*/ 0 w 9"/>
                  <a:gd name="T15" fmla="*/ 7 h 12"/>
                  <a:gd name="T16" fmla="*/ 0 w 9"/>
                  <a:gd name="T17" fmla="*/ 12 h 12"/>
                  <a:gd name="T18" fmla="*/ 8 w 9"/>
                  <a:gd name="T19" fmla="*/ 12 h 12"/>
                  <a:gd name="T20" fmla="*/ 9 w 9"/>
                  <a:gd name="T21" fmla="*/ 12 h 12"/>
                  <a:gd name="T22" fmla="*/ 9 w 9"/>
                  <a:gd name="T2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2">
                    <a:moveTo>
                      <a:pt x="9" y="0"/>
                    </a:moveTo>
                    <a:lnTo>
                      <a:pt x="8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9" y="12"/>
                    </a:lnTo>
                    <a:lnTo>
                      <a:pt x="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Rectangle 431">
                <a:extLst>
                  <a:ext uri="{FF2B5EF4-FFF2-40B4-BE49-F238E27FC236}">
                    <a16:creationId xmlns:a16="http://schemas.microsoft.com/office/drawing/2014/main" id="{EC6916E4-F3F3-4BED-AF79-F8BE3DAE4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9" y="2498"/>
                <a:ext cx="9" cy="2"/>
              </a:xfrm>
              <a:prstGeom prst="rect">
                <a:avLst/>
              </a:prstGeom>
              <a:solidFill>
                <a:srgbClr val="2C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Rectangle 432">
                <a:extLst>
                  <a:ext uri="{FF2B5EF4-FFF2-40B4-BE49-F238E27FC236}">
                    <a16:creationId xmlns:a16="http://schemas.microsoft.com/office/drawing/2014/main" id="{650A1F53-6689-40CE-977F-61ED93A8FA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9" y="2498"/>
                <a:ext cx="9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433">
                <a:extLst>
                  <a:ext uri="{FF2B5EF4-FFF2-40B4-BE49-F238E27FC236}">
                    <a16:creationId xmlns:a16="http://schemas.microsoft.com/office/drawing/2014/main" id="{88D422E1-3C21-464B-A7F6-70D63A512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368"/>
                <a:ext cx="19" cy="165"/>
              </a:xfrm>
              <a:custGeom>
                <a:avLst/>
                <a:gdLst>
                  <a:gd name="T0" fmla="*/ 5 w 36"/>
                  <a:gd name="T1" fmla="*/ 0 h 302"/>
                  <a:gd name="T2" fmla="*/ 31 w 36"/>
                  <a:gd name="T3" fmla="*/ 0 h 302"/>
                  <a:gd name="T4" fmla="*/ 36 w 36"/>
                  <a:gd name="T5" fmla="*/ 138 h 302"/>
                  <a:gd name="T6" fmla="*/ 36 w 36"/>
                  <a:gd name="T7" fmla="*/ 187 h 302"/>
                  <a:gd name="T8" fmla="*/ 36 w 36"/>
                  <a:gd name="T9" fmla="*/ 192 h 302"/>
                  <a:gd name="T10" fmla="*/ 36 w 36"/>
                  <a:gd name="T11" fmla="*/ 195 h 302"/>
                  <a:gd name="T12" fmla="*/ 31 w 36"/>
                  <a:gd name="T13" fmla="*/ 302 h 302"/>
                  <a:gd name="T14" fmla="*/ 31 w 36"/>
                  <a:gd name="T15" fmla="*/ 302 h 302"/>
                  <a:gd name="T16" fmla="*/ 6 w 36"/>
                  <a:gd name="T17" fmla="*/ 302 h 302"/>
                  <a:gd name="T18" fmla="*/ 1 w 36"/>
                  <a:gd name="T19" fmla="*/ 195 h 302"/>
                  <a:gd name="T20" fmla="*/ 1 w 36"/>
                  <a:gd name="T21" fmla="*/ 192 h 302"/>
                  <a:gd name="T22" fmla="*/ 0 w 36"/>
                  <a:gd name="T23" fmla="*/ 187 h 302"/>
                  <a:gd name="T24" fmla="*/ 0 w 36"/>
                  <a:gd name="T25" fmla="*/ 138 h 302"/>
                  <a:gd name="T26" fmla="*/ 5 w 36"/>
                  <a:gd name="T27" fmla="*/ 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302">
                    <a:moveTo>
                      <a:pt x="5" y="0"/>
                    </a:moveTo>
                    <a:cubicBezTo>
                      <a:pt x="31" y="0"/>
                      <a:pt x="31" y="0"/>
                      <a:pt x="31" y="0"/>
                    </a:cubicBezTo>
                    <a:cubicBezTo>
                      <a:pt x="33" y="50"/>
                      <a:pt x="36" y="88"/>
                      <a:pt x="36" y="138"/>
                    </a:cubicBezTo>
                    <a:cubicBezTo>
                      <a:pt x="36" y="149"/>
                      <a:pt x="36" y="174"/>
                      <a:pt x="36" y="187"/>
                    </a:cubicBezTo>
                    <a:cubicBezTo>
                      <a:pt x="36" y="188"/>
                      <a:pt x="36" y="190"/>
                      <a:pt x="36" y="192"/>
                    </a:cubicBezTo>
                    <a:cubicBezTo>
                      <a:pt x="36" y="193"/>
                      <a:pt x="36" y="194"/>
                      <a:pt x="36" y="195"/>
                    </a:cubicBezTo>
                    <a:cubicBezTo>
                      <a:pt x="34" y="239"/>
                      <a:pt x="32" y="265"/>
                      <a:pt x="31" y="302"/>
                    </a:cubicBezTo>
                    <a:cubicBezTo>
                      <a:pt x="31" y="302"/>
                      <a:pt x="31" y="302"/>
                      <a:pt x="31" y="302"/>
                    </a:cubicBezTo>
                    <a:cubicBezTo>
                      <a:pt x="6" y="302"/>
                      <a:pt x="6" y="302"/>
                      <a:pt x="6" y="302"/>
                    </a:cubicBezTo>
                    <a:cubicBezTo>
                      <a:pt x="4" y="265"/>
                      <a:pt x="2" y="239"/>
                      <a:pt x="1" y="195"/>
                    </a:cubicBezTo>
                    <a:cubicBezTo>
                      <a:pt x="1" y="194"/>
                      <a:pt x="1" y="193"/>
                      <a:pt x="1" y="192"/>
                    </a:cubicBezTo>
                    <a:cubicBezTo>
                      <a:pt x="0" y="190"/>
                      <a:pt x="0" y="188"/>
                      <a:pt x="0" y="187"/>
                    </a:cubicBezTo>
                    <a:cubicBezTo>
                      <a:pt x="0" y="174"/>
                      <a:pt x="0" y="149"/>
                      <a:pt x="0" y="138"/>
                    </a:cubicBezTo>
                    <a:cubicBezTo>
                      <a:pt x="0" y="88"/>
                      <a:pt x="3" y="50"/>
                      <a:pt x="5" y="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434">
                <a:extLst>
                  <a:ext uri="{FF2B5EF4-FFF2-40B4-BE49-F238E27FC236}">
                    <a16:creationId xmlns:a16="http://schemas.microsoft.com/office/drawing/2014/main" id="{E6F09E0B-81C2-44FC-8D67-2E5C7FB92E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5" y="2358"/>
                <a:ext cx="15" cy="10"/>
              </a:xfrm>
              <a:custGeom>
                <a:avLst/>
                <a:gdLst>
                  <a:gd name="T0" fmla="*/ 12 w 26"/>
                  <a:gd name="T1" fmla="*/ 0 h 19"/>
                  <a:gd name="T2" fmla="*/ 14 w 26"/>
                  <a:gd name="T3" fmla="*/ 0 h 19"/>
                  <a:gd name="T4" fmla="*/ 26 w 26"/>
                  <a:gd name="T5" fmla="*/ 13 h 19"/>
                  <a:gd name="T6" fmla="*/ 26 w 26"/>
                  <a:gd name="T7" fmla="*/ 19 h 19"/>
                  <a:gd name="T8" fmla="*/ 0 w 26"/>
                  <a:gd name="T9" fmla="*/ 19 h 19"/>
                  <a:gd name="T10" fmla="*/ 0 w 26"/>
                  <a:gd name="T11" fmla="*/ 13 h 19"/>
                  <a:gd name="T12" fmla="*/ 12 w 26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9">
                    <a:moveTo>
                      <a:pt x="12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21" y="0"/>
                      <a:pt x="26" y="6"/>
                      <a:pt x="26" y="13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5" y="0"/>
                      <a:pt x="12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Rectangle 435">
                <a:extLst>
                  <a:ext uri="{FF2B5EF4-FFF2-40B4-BE49-F238E27FC236}">
                    <a16:creationId xmlns:a16="http://schemas.microsoft.com/office/drawing/2014/main" id="{5E7221C1-7A6D-469B-9AC2-11A82827F4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9" y="2365"/>
                <a:ext cx="6" cy="2"/>
              </a:xfrm>
              <a:prstGeom prst="rect">
                <a:avLst/>
              </a:pr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Rectangle 436">
                <a:extLst>
                  <a:ext uri="{FF2B5EF4-FFF2-40B4-BE49-F238E27FC236}">
                    <a16:creationId xmlns:a16="http://schemas.microsoft.com/office/drawing/2014/main" id="{B0E087A0-E53B-4F17-86D1-EDEB80A62A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9" y="2365"/>
                <a:ext cx="6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437">
                <a:extLst>
                  <a:ext uri="{FF2B5EF4-FFF2-40B4-BE49-F238E27FC236}">
                    <a16:creationId xmlns:a16="http://schemas.microsoft.com/office/drawing/2014/main" id="{1828DB6B-1A57-49EC-BD7B-12E84713EB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4" y="2365"/>
                <a:ext cx="13" cy="65"/>
              </a:xfrm>
              <a:custGeom>
                <a:avLst/>
                <a:gdLst>
                  <a:gd name="T0" fmla="*/ 2 w 24"/>
                  <a:gd name="T1" fmla="*/ 0 h 118"/>
                  <a:gd name="T2" fmla="*/ 3 w 24"/>
                  <a:gd name="T3" fmla="*/ 0 h 118"/>
                  <a:gd name="T4" fmla="*/ 5 w 24"/>
                  <a:gd name="T5" fmla="*/ 1 h 118"/>
                  <a:gd name="T6" fmla="*/ 5 w 24"/>
                  <a:gd name="T7" fmla="*/ 112 h 118"/>
                  <a:gd name="T8" fmla="*/ 7 w 24"/>
                  <a:gd name="T9" fmla="*/ 113 h 118"/>
                  <a:gd name="T10" fmla="*/ 7 w 24"/>
                  <a:gd name="T11" fmla="*/ 117 h 118"/>
                  <a:gd name="T12" fmla="*/ 0 w 24"/>
                  <a:gd name="T13" fmla="*/ 117 h 118"/>
                  <a:gd name="T14" fmla="*/ 1 w 24"/>
                  <a:gd name="T15" fmla="*/ 3 h 118"/>
                  <a:gd name="T16" fmla="*/ 0 w 24"/>
                  <a:gd name="T17" fmla="*/ 1 h 118"/>
                  <a:gd name="T18" fmla="*/ 2 w 24"/>
                  <a:gd name="T19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118">
                    <a:moveTo>
                      <a:pt x="2" y="0"/>
                    </a:moveTo>
                    <a:cubicBezTo>
                      <a:pt x="2" y="0"/>
                      <a:pt x="3" y="0"/>
                      <a:pt x="3" y="0"/>
                    </a:cubicBezTo>
                    <a:cubicBezTo>
                      <a:pt x="4" y="1"/>
                      <a:pt x="5" y="1"/>
                      <a:pt x="5" y="1"/>
                    </a:cubicBezTo>
                    <a:cubicBezTo>
                      <a:pt x="24" y="20"/>
                      <a:pt x="8" y="101"/>
                      <a:pt x="5" y="112"/>
                    </a:cubicBezTo>
                    <a:cubicBezTo>
                      <a:pt x="6" y="112"/>
                      <a:pt x="7" y="112"/>
                      <a:pt x="7" y="113"/>
                    </a:cubicBezTo>
                    <a:cubicBezTo>
                      <a:pt x="8" y="113"/>
                      <a:pt x="8" y="116"/>
                      <a:pt x="7" y="117"/>
                    </a:cubicBezTo>
                    <a:cubicBezTo>
                      <a:pt x="6" y="118"/>
                      <a:pt x="0" y="117"/>
                      <a:pt x="0" y="117"/>
                    </a:cubicBezTo>
                    <a:cubicBezTo>
                      <a:pt x="0" y="117"/>
                      <a:pt x="9" y="27"/>
                      <a:pt x="1" y="3"/>
                    </a:cubicBezTo>
                    <a:cubicBezTo>
                      <a:pt x="1" y="3"/>
                      <a:pt x="1" y="2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438">
                <a:extLst>
                  <a:ext uri="{FF2B5EF4-FFF2-40B4-BE49-F238E27FC236}">
                    <a16:creationId xmlns:a16="http://schemas.microsoft.com/office/drawing/2014/main" id="{F890825E-E460-4351-B586-42A7BDEC9C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74"/>
                <a:ext cx="19" cy="59"/>
              </a:xfrm>
              <a:custGeom>
                <a:avLst/>
                <a:gdLst>
                  <a:gd name="T0" fmla="*/ 17 w 35"/>
                  <a:gd name="T1" fmla="*/ 0 h 109"/>
                  <a:gd name="T2" fmla="*/ 17 w 35"/>
                  <a:gd name="T3" fmla="*/ 0 h 109"/>
                  <a:gd name="T4" fmla="*/ 35 w 35"/>
                  <a:gd name="T5" fmla="*/ 2 h 109"/>
                  <a:gd name="T6" fmla="*/ 30 w 35"/>
                  <a:gd name="T7" fmla="*/ 109 h 109"/>
                  <a:gd name="T8" fmla="*/ 30 w 35"/>
                  <a:gd name="T9" fmla="*/ 109 h 109"/>
                  <a:gd name="T10" fmla="*/ 5 w 35"/>
                  <a:gd name="T11" fmla="*/ 109 h 109"/>
                  <a:gd name="T12" fmla="*/ 0 w 35"/>
                  <a:gd name="T13" fmla="*/ 2 h 109"/>
                  <a:gd name="T14" fmla="*/ 17 w 35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09">
                    <a:moveTo>
                      <a:pt x="1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26" y="0"/>
                      <a:pt x="35" y="2"/>
                      <a:pt x="35" y="2"/>
                    </a:cubicBezTo>
                    <a:cubicBezTo>
                      <a:pt x="33" y="46"/>
                      <a:pt x="31" y="72"/>
                      <a:pt x="30" y="109"/>
                    </a:cubicBezTo>
                    <a:cubicBezTo>
                      <a:pt x="30" y="109"/>
                      <a:pt x="30" y="109"/>
                      <a:pt x="30" y="109"/>
                    </a:cubicBezTo>
                    <a:cubicBezTo>
                      <a:pt x="5" y="109"/>
                      <a:pt x="5" y="109"/>
                      <a:pt x="5" y="109"/>
                    </a:cubicBezTo>
                    <a:cubicBezTo>
                      <a:pt x="3" y="72"/>
                      <a:pt x="1" y="46"/>
                      <a:pt x="0" y="2"/>
                    </a:cubicBezTo>
                    <a:cubicBezTo>
                      <a:pt x="0" y="2"/>
                      <a:pt x="10" y="0"/>
                      <a:pt x="17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439">
                <a:extLst>
                  <a:ext uri="{FF2B5EF4-FFF2-40B4-BE49-F238E27FC236}">
                    <a16:creationId xmlns:a16="http://schemas.microsoft.com/office/drawing/2014/main" id="{613367DD-F1E1-49C2-9C9E-E21C58B35D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74"/>
                <a:ext cx="19" cy="59"/>
              </a:xfrm>
              <a:custGeom>
                <a:avLst/>
                <a:gdLst>
                  <a:gd name="T0" fmla="*/ 17 w 35"/>
                  <a:gd name="T1" fmla="*/ 0 h 109"/>
                  <a:gd name="T2" fmla="*/ 17 w 35"/>
                  <a:gd name="T3" fmla="*/ 0 h 109"/>
                  <a:gd name="T4" fmla="*/ 35 w 35"/>
                  <a:gd name="T5" fmla="*/ 2 h 109"/>
                  <a:gd name="T6" fmla="*/ 30 w 35"/>
                  <a:gd name="T7" fmla="*/ 109 h 109"/>
                  <a:gd name="T8" fmla="*/ 30 w 35"/>
                  <a:gd name="T9" fmla="*/ 109 h 109"/>
                  <a:gd name="T10" fmla="*/ 5 w 35"/>
                  <a:gd name="T11" fmla="*/ 109 h 109"/>
                  <a:gd name="T12" fmla="*/ 0 w 35"/>
                  <a:gd name="T13" fmla="*/ 2 h 109"/>
                  <a:gd name="T14" fmla="*/ 17 w 35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09">
                    <a:moveTo>
                      <a:pt x="1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26" y="0"/>
                      <a:pt x="35" y="2"/>
                      <a:pt x="35" y="2"/>
                    </a:cubicBezTo>
                    <a:cubicBezTo>
                      <a:pt x="33" y="46"/>
                      <a:pt x="31" y="72"/>
                      <a:pt x="30" y="109"/>
                    </a:cubicBezTo>
                    <a:cubicBezTo>
                      <a:pt x="30" y="109"/>
                      <a:pt x="30" y="109"/>
                      <a:pt x="30" y="109"/>
                    </a:cubicBezTo>
                    <a:cubicBezTo>
                      <a:pt x="5" y="109"/>
                      <a:pt x="5" y="109"/>
                      <a:pt x="5" y="109"/>
                    </a:cubicBezTo>
                    <a:cubicBezTo>
                      <a:pt x="3" y="72"/>
                      <a:pt x="1" y="46"/>
                      <a:pt x="0" y="2"/>
                    </a:cubicBezTo>
                    <a:cubicBezTo>
                      <a:pt x="0" y="2"/>
                      <a:pt x="10" y="0"/>
                      <a:pt x="17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440">
                <a:extLst>
                  <a:ext uri="{FF2B5EF4-FFF2-40B4-BE49-F238E27FC236}">
                    <a16:creationId xmlns:a16="http://schemas.microsoft.com/office/drawing/2014/main" id="{DAE9DB01-7BDE-4644-9CE1-DA53CC765C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69"/>
                <a:ext cx="19" cy="4"/>
              </a:xfrm>
              <a:custGeom>
                <a:avLst/>
                <a:gdLst>
                  <a:gd name="T0" fmla="*/ 18 w 36"/>
                  <a:gd name="T1" fmla="*/ 0 h 7"/>
                  <a:gd name="T2" fmla="*/ 18 w 36"/>
                  <a:gd name="T3" fmla="*/ 0 h 7"/>
                  <a:gd name="T4" fmla="*/ 36 w 36"/>
                  <a:gd name="T5" fmla="*/ 2 h 7"/>
                  <a:gd name="T6" fmla="*/ 36 w 36"/>
                  <a:gd name="T7" fmla="*/ 7 h 7"/>
                  <a:gd name="T8" fmla="*/ 18 w 36"/>
                  <a:gd name="T9" fmla="*/ 5 h 7"/>
                  <a:gd name="T10" fmla="*/ 18 w 36"/>
                  <a:gd name="T11" fmla="*/ 5 h 7"/>
                  <a:gd name="T12" fmla="*/ 1 w 36"/>
                  <a:gd name="T13" fmla="*/ 7 h 7"/>
                  <a:gd name="T14" fmla="*/ 0 w 36"/>
                  <a:gd name="T15" fmla="*/ 2 h 7"/>
                  <a:gd name="T16" fmla="*/ 18 w 36"/>
                  <a:gd name="T1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" h="7">
                    <a:moveTo>
                      <a:pt x="18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26" y="0"/>
                      <a:pt x="34" y="1"/>
                      <a:pt x="36" y="2"/>
                    </a:cubicBezTo>
                    <a:cubicBezTo>
                      <a:pt x="36" y="3"/>
                      <a:pt x="36" y="5"/>
                      <a:pt x="36" y="7"/>
                    </a:cubicBezTo>
                    <a:cubicBezTo>
                      <a:pt x="34" y="6"/>
                      <a:pt x="26" y="5"/>
                      <a:pt x="18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2" y="5"/>
                      <a:pt x="2" y="6"/>
                      <a:pt x="1" y="7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2" y="1"/>
                      <a:pt x="11" y="0"/>
                      <a:pt x="18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441">
                <a:extLst>
                  <a:ext uri="{FF2B5EF4-FFF2-40B4-BE49-F238E27FC236}">
                    <a16:creationId xmlns:a16="http://schemas.microsoft.com/office/drawing/2014/main" id="{B7F23BCD-7291-42A1-A21F-BCA9489D4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2" y="2545"/>
                <a:ext cx="2" cy="6"/>
              </a:xfrm>
              <a:custGeom>
                <a:avLst/>
                <a:gdLst>
                  <a:gd name="T0" fmla="*/ 0 w 3"/>
                  <a:gd name="T1" fmla="*/ 0 h 11"/>
                  <a:gd name="T2" fmla="*/ 3 w 3"/>
                  <a:gd name="T3" fmla="*/ 0 h 11"/>
                  <a:gd name="T4" fmla="*/ 3 w 3"/>
                  <a:gd name="T5" fmla="*/ 9 h 11"/>
                  <a:gd name="T6" fmla="*/ 1 w 3"/>
                  <a:gd name="T7" fmla="*/ 11 h 11"/>
                  <a:gd name="T8" fmla="*/ 1 w 3"/>
                  <a:gd name="T9" fmla="*/ 11 h 11"/>
                  <a:gd name="T10" fmla="*/ 0 w 3"/>
                  <a:gd name="T11" fmla="*/ 11 h 11"/>
                  <a:gd name="T12" fmla="*/ 0 w 3"/>
                  <a:gd name="T13" fmla="*/ 9 h 11"/>
                  <a:gd name="T14" fmla="*/ 0 w 3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11">
                    <a:moveTo>
                      <a:pt x="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1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0" y="11"/>
                      <a:pt x="0" y="11"/>
                    </a:cubicBezTo>
                    <a:cubicBezTo>
                      <a:pt x="0" y="10"/>
                      <a:pt x="0" y="10"/>
                      <a:pt x="0" y="9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442">
                <a:extLst>
                  <a:ext uri="{FF2B5EF4-FFF2-40B4-BE49-F238E27FC236}">
                    <a16:creationId xmlns:a16="http://schemas.microsoft.com/office/drawing/2014/main" id="{9215A3D7-4A65-411A-8417-E89E3EB198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6" y="2532"/>
                <a:ext cx="14" cy="14"/>
              </a:xfrm>
              <a:custGeom>
                <a:avLst/>
                <a:gdLst>
                  <a:gd name="T0" fmla="*/ 12 w 25"/>
                  <a:gd name="T1" fmla="*/ 0 h 27"/>
                  <a:gd name="T2" fmla="*/ 25 w 25"/>
                  <a:gd name="T3" fmla="*/ 3 h 27"/>
                  <a:gd name="T4" fmla="*/ 25 w 25"/>
                  <a:gd name="T5" fmla="*/ 3 h 27"/>
                  <a:gd name="T6" fmla="*/ 15 w 25"/>
                  <a:gd name="T7" fmla="*/ 27 h 27"/>
                  <a:gd name="T8" fmla="*/ 14 w 25"/>
                  <a:gd name="T9" fmla="*/ 27 h 27"/>
                  <a:gd name="T10" fmla="*/ 12 w 25"/>
                  <a:gd name="T11" fmla="*/ 27 h 27"/>
                  <a:gd name="T12" fmla="*/ 12 w 25"/>
                  <a:gd name="T13" fmla="*/ 27 h 27"/>
                  <a:gd name="T14" fmla="*/ 11 w 25"/>
                  <a:gd name="T15" fmla="*/ 27 h 27"/>
                  <a:gd name="T16" fmla="*/ 10 w 25"/>
                  <a:gd name="T17" fmla="*/ 27 h 27"/>
                  <a:gd name="T18" fmla="*/ 0 w 25"/>
                  <a:gd name="T19" fmla="*/ 3 h 27"/>
                  <a:gd name="T20" fmla="*/ 12 w 25"/>
                  <a:gd name="T2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27">
                    <a:moveTo>
                      <a:pt x="12" y="0"/>
                    </a:moveTo>
                    <a:cubicBezTo>
                      <a:pt x="18" y="0"/>
                      <a:pt x="24" y="1"/>
                      <a:pt x="25" y="3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4" y="10"/>
                      <a:pt x="18" y="21"/>
                      <a:pt x="15" y="27"/>
                    </a:cubicBezTo>
                    <a:cubicBezTo>
                      <a:pt x="15" y="27"/>
                      <a:pt x="14" y="27"/>
                      <a:pt x="14" y="27"/>
                    </a:cubicBezTo>
                    <a:cubicBezTo>
                      <a:pt x="13" y="27"/>
                      <a:pt x="13" y="27"/>
                      <a:pt x="12" y="27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2" y="27"/>
                      <a:pt x="11" y="27"/>
                      <a:pt x="11" y="27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6" y="21"/>
                      <a:pt x="0" y="9"/>
                      <a:pt x="0" y="3"/>
                    </a:cubicBezTo>
                    <a:cubicBezTo>
                      <a:pt x="0" y="1"/>
                      <a:pt x="6" y="0"/>
                      <a:pt x="12" y="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443">
                <a:extLst>
                  <a:ext uri="{FF2B5EF4-FFF2-40B4-BE49-F238E27FC236}">
                    <a16:creationId xmlns:a16="http://schemas.microsoft.com/office/drawing/2014/main" id="{478B5557-FFF7-49A5-A64C-C85625664E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3" y="2368"/>
                <a:ext cx="9" cy="107"/>
              </a:xfrm>
              <a:custGeom>
                <a:avLst/>
                <a:gdLst>
                  <a:gd name="T0" fmla="*/ 0 w 18"/>
                  <a:gd name="T1" fmla="*/ 190 h 195"/>
                  <a:gd name="T2" fmla="*/ 0 w 18"/>
                  <a:gd name="T3" fmla="*/ 190 h 195"/>
                  <a:gd name="T4" fmla="*/ 0 w 18"/>
                  <a:gd name="T5" fmla="*/ 193 h 195"/>
                  <a:gd name="T6" fmla="*/ 0 w 18"/>
                  <a:gd name="T7" fmla="*/ 193 h 195"/>
                  <a:gd name="T8" fmla="*/ 18 w 18"/>
                  <a:gd name="T9" fmla="*/ 195 h 195"/>
                  <a:gd name="T10" fmla="*/ 18 w 18"/>
                  <a:gd name="T11" fmla="*/ 195 h 195"/>
                  <a:gd name="T12" fmla="*/ 18 w 18"/>
                  <a:gd name="T13" fmla="*/ 192 h 195"/>
                  <a:gd name="T14" fmla="*/ 0 w 18"/>
                  <a:gd name="T15" fmla="*/ 190 h 195"/>
                  <a:gd name="T16" fmla="*/ 13 w 18"/>
                  <a:gd name="T17" fmla="*/ 0 h 195"/>
                  <a:gd name="T18" fmla="*/ 0 w 18"/>
                  <a:gd name="T19" fmla="*/ 0 h 195"/>
                  <a:gd name="T20" fmla="*/ 0 w 18"/>
                  <a:gd name="T21" fmla="*/ 185 h 195"/>
                  <a:gd name="T22" fmla="*/ 0 w 18"/>
                  <a:gd name="T23" fmla="*/ 185 h 195"/>
                  <a:gd name="T24" fmla="*/ 18 w 18"/>
                  <a:gd name="T25" fmla="*/ 187 h 195"/>
                  <a:gd name="T26" fmla="*/ 18 w 18"/>
                  <a:gd name="T27" fmla="*/ 187 h 195"/>
                  <a:gd name="T28" fmla="*/ 18 w 18"/>
                  <a:gd name="T29" fmla="*/ 138 h 195"/>
                  <a:gd name="T30" fmla="*/ 13 w 18"/>
                  <a:gd name="T31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195">
                    <a:moveTo>
                      <a:pt x="0" y="190"/>
                    </a:move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9" y="193"/>
                      <a:pt x="18" y="195"/>
                      <a:pt x="18" y="195"/>
                    </a:cubicBezTo>
                    <a:cubicBezTo>
                      <a:pt x="18" y="195"/>
                      <a:pt x="18" y="195"/>
                      <a:pt x="18" y="195"/>
                    </a:cubicBezTo>
                    <a:cubicBezTo>
                      <a:pt x="18" y="194"/>
                      <a:pt x="18" y="193"/>
                      <a:pt x="18" y="192"/>
                    </a:cubicBezTo>
                    <a:cubicBezTo>
                      <a:pt x="16" y="191"/>
                      <a:pt x="8" y="190"/>
                      <a:pt x="0" y="190"/>
                    </a:cubicBezTo>
                    <a:moveTo>
                      <a:pt x="1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85"/>
                      <a:pt x="0" y="185"/>
                      <a:pt x="0" y="185"/>
                    </a:cubicBezTo>
                    <a:cubicBezTo>
                      <a:pt x="0" y="185"/>
                      <a:pt x="0" y="185"/>
                      <a:pt x="0" y="185"/>
                    </a:cubicBezTo>
                    <a:cubicBezTo>
                      <a:pt x="8" y="185"/>
                      <a:pt x="16" y="186"/>
                      <a:pt x="18" y="187"/>
                    </a:cubicBezTo>
                    <a:cubicBezTo>
                      <a:pt x="18" y="187"/>
                      <a:pt x="18" y="187"/>
                      <a:pt x="18" y="187"/>
                    </a:cubicBezTo>
                    <a:cubicBezTo>
                      <a:pt x="18" y="174"/>
                      <a:pt x="18" y="149"/>
                      <a:pt x="18" y="138"/>
                    </a:cubicBezTo>
                    <a:cubicBezTo>
                      <a:pt x="18" y="88"/>
                      <a:pt x="15" y="50"/>
                      <a:pt x="13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444">
                <a:extLst>
                  <a:ext uri="{FF2B5EF4-FFF2-40B4-BE49-F238E27FC236}">
                    <a16:creationId xmlns:a16="http://schemas.microsoft.com/office/drawing/2014/main" id="{17498DD3-4E74-4D0E-98A9-8B51249788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358"/>
                <a:ext cx="7" cy="10"/>
              </a:xfrm>
              <a:custGeom>
                <a:avLst/>
                <a:gdLst>
                  <a:gd name="T0" fmla="*/ 1 w 13"/>
                  <a:gd name="T1" fmla="*/ 0 h 19"/>
                  <a:gd name="T2" fmla="*/ 0 w 13"/>
                  <a:gd name="T3" fmla="*/ 0 h 19"/>
                  <a:gd name="T4" fmla="*/ 0 w 13"/>
                  <a:gd name="T5" fmla="*/ 19 h 19"/>
                  <a:gd name="T6" fmla="*/ 13 w 13"/>
                  <a:gd name="T7" fmla="*/ 19 h 19"/>
                  <a:gd name="T8" fmla="*/ 13 w 13"/>
                  <a:gd name="T9" fmla="*/ 16 h 19"/>
                  <a:gd name="T10" fmla="*/ 12 w 13"/>
                  <a:gd name="T11" fmla="*/ 16 h 19"/>
                  <a:gd name="T12" fmla="*/ 12 w 13"/>
                  <a:gd name="T13" fmla="*/ 13 h 19"/>
                  <a:gd name="T14" fmla="*/ 13 w 13"/>
                  <a:gd name="T15" fmla="*/ 13 h 19"/>
                  <a:gd name="T16" fmla="*/ 13 w 13"/>
                  <a:gd name="T17" fmla="*/ 13 h 19"/>
                  <a:gd name="T18" fmla="*/ 1 w 13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9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6"/>
                      <a:pt x="8" y="0"/>
                      <a:pt x="1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445">
                <a:extLst>
                  <a:ext uri="{FF2B5EF4-FFF2-40B4-BE49-F238E27FC236}">
                    <a16:creationId xmlns:a16="http://schemas.microsoft.com/office/drawing/2014/main" id="{64E4E2F8-6597-4EF0-BD7D-108BA247C7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9" y="2365"/>
                <a:ext cx="6" cy="2"/>
              </a:xfrm>
              <a:custGeom>
                <a:avLst/>
                <a:gdLst>
                  <a:gd name="T0" fmla="*/ 10 w 11"/>
                  <a:gd name="T1" fmla="*/ 0 h 3"/>
                  <a:gd name="T2" fmla="*/ 1 w 11"/>
                  <a:gd name="T3" fmla="*/ 0 h 3"/>
                  <a:gd name="T4" fmla="*/ 0 w 11"/>
                  <a:gd name="T5" fmla="*/ 0 h 3"/>
                  <a:gd name="T6" fmla="*/ 0 w 11"/>
                  <a:gd name="T7" fmla="*/ 3 h 3"/>
                  <a:gd name="T8" fmla="*/ 1 w 11"/>
                  <a:gd name="T9" fmla="*/ 3 h 3"/>
                  <a:gd name="T10" fmla="*/ 9 w 11"/>
                  <a:gd name="T11" fmla="*/ 3 h 3"/>
                  <a:gd name="T12" fmla="*/ 8 w 11"/>
                  <a:gd name="T13" fmla="*/ 1 h 3"/>
                  <a:gd name="T14" fmla="*/ 10 w 11"/>
                  <a:gd name="T15" fmla="*/ 0 h 3"/>
                  <a:gd name="T16" fmla="*/ 11 w 11"/>
                  <a:gd name="T17" fmla="*/ 0 h 3"/>
                  <a:gd name="T18" fmla="*/ 10 w 11"/>
                  <a:gd name="T19" fmla="*/ 0 h 3"/>
                  <a:gd name="T20" fmla="*/ 11 w 11"/>
                  <a:gd name="T21" fmla="*/ 0 h 3"/>
                  <a:gd name="T22" fmla="*/ 11 w 11"/>
                  <a:gd name="T2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3">
                    <a:moveTo>
                      <a:pt x="1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2"/>
                      <a:pt x="8" y="1"/>
                    </a:cubicBezTo>
                    <a:cubicBezTo>
                      <a:pt x="8" y="1"/>
                      <a:pt x="9" y="0"/>
                      <a:pt x="10" y="0"/>
                    </a:cubicBezTo>
                    <a:moveTo>
                      <a:pt x="1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446">
                <a:extLst>
                  <a:ext uri="{FF2B5EF4-FFF2-40B4-BE49-F238E27FC236}">
                    <a16:creationId xmlns:a16="http://schemas.microsoft.com/office/drawing/2014/main" id="{178BFD43-1F73-4C78-8572-DFDCE910C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4" y="2365"/>
                <a:ext cx="7" cy="64"/>
              </a:xfrm>
              <a:custGeom>
                <a:avLst/>
                <a:gdLst>
                  <a:gd name="T0" fmla="*/ 2 w 14"/>
                  <a:gd name="T1" fmla="*/ 0 h 117"/>
                  <a:gd name="T2" fmla="*/ 2 w 14"/>
                  <a:gd name="T3" fmla="*/ 0 h 117"/>
                  <a:gd name="T4" fmla="*/ 0 w 14"/>
                  <a:gd name="T5" fmla="*/ 1 h 117"/>
                  <a:gd name="T6" fmla="*/ 1 w 14"/>
                  <a:gd name="T7" fmla="*/ 3 h 117"/>
                  <a:gd name="T8" fmla="*/ 1 w 14"/>
                  <a:gd name="T9" fmla="*/ 3 h 117"/>
                  <a:gd name="T10" fmla="*/ 4 w 14"/>
                  <a:gd name="T11" fmla="*/ 40 h 117"/>
                  <a:gd name="T12" fmla="*/ 4 w 14"/>
                  <a:gd name="T13" fmla="*/ 61 h 117"/>
                  <a:gd name="T14" fmla="*/ 4 w 14"/>
                  <a:gd name="T15" fmla="*/ 63 h 117"/>
                  <a:gd name="T16" fmla="*/ 3 w 14"/>
                  <a:gd name="T17" fmla="*/ 86 h 117"/>
                  <a:gd name="T18" fmla="*/ 3 w 14"/>
                  <a:gd name="T19" fmla="*/ 87 h 117"/>
                  <a:gd name="T20" fmla="*/ 1 w 14"/>
                  <a:gd name="T21" fmla="*/ 110 h 117"/>
                  <a:gd name="T22" fmla="*/ 1 w 14"/>
                  <a:gd name="T23" fmla="*/ 112 h 117"/>
                  <a:gd name="T24" fmla="*/ 0 w 14"/>
                  <a:gd name="T25" fmla="*/ 117 h 117"/>
                  <a:gd name="T26" fmla="*/ 5 w 14"/>
                  <a:gd name="T27" fmla="*/ 117 h 117"/>
                  <a:gd name="T28" fmla="*/ 7 w 14"/>
                  <a:gd name="T29" fmla="*/ 117 h 117"/>
                  <a:gd name="T30" fmla="*/ 8 w 14"/>
                  <a:gd name="T31" fmla="*/ 115 h 117"/>
                  <a:gd name="T32" fmla="*/ 7 w 14"/>
                  <a:gd name="T33" fmla="*/ 113 h 117"/>
                  <a:gd name="T34" fmla="*/ 5 w 14"/>
                  <a:gd name="T35" fmla="*/ 112 h 117"/>
                  <a:gd name="T36" fmla="*/ 5 w 14"/>
                  <a:gd name="T37" fmla="*/ 112 h 117"/>
                  <a:gd name="T38" fmla="*/ 5 w 14"/>
                  <a:gd name="T39" fmla="*/ 112 h 117"/>
                  <a:gd name="T40" fmla="*/ 14 w 14"/>
                  <a:gd name="T41" fmla="*/ 39 h 117"/>
                  <a:gd name="T42" fmla="*/ 5 w 14"/>
                  <a:gd name="T43" fmla="*/ 1 h 117"/>
                  <a:gd name="T44" fmla="*/ 3 w 14"/>
                  <a:gd name="T45" fmla="*/ 0 h 117"/>
                  <a:gd name="T46" fmla="*/ 3 w 14"/>
                  <a:gd name="T47" fmla="*/ 0 h 117"/>
                  <a:gd name="T48" fmla="*/ 2 w 14"/>
                  <a:gd name="T49" fmla="*/ 0 h 117"/>
                  <a:gd name="T50" fmla="*/ 2 w 14"/>
                  <a:gd name="T51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" h="117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11"/>
                      <a:pt x="4" y="24"/>
                      <a:pt x="4" y="40"/>
                    </a:cubicBezTo>
                    <a:cubicBezTo>
                      <a:pt x="4" y="47"/>
                      <a:pt x="4" y="54"/>
                      <a:pt x="4" y="61"/>
                    </a:cubicBezTo>
                    <a:cubicBezTo>
                      <a:pt x="4" y="62"/>
                      <a:pt x="4" y="63"/>
                      <a:pt x="4" y="63"/>
                    </a:cubicBezTo>
                    <a:cubicBezTo>
                      <a:pt x="4" y="71"/>
                      <a:pt x="3" y="79"/>
                      <a:pt x="3" y="86"/>
                    </a:cubicBezTo>
                    <a:cubicBezTo>
                      <a:pt x="3" y="86"/>
                      <a:pt x="3" y="87"/>
                      <a:pt x="3" y="87"/>
                    </a:cubicBezTo>
                    <a:cubicBezTo>
                      <a:pt x="2" y="97"/>
                      <a:pt x="1" y="105"/>
                      <a:pt x="1" y="110"/>
                    </a:cubicBezTo>
                    <a:cubicBezTo>
                      <a:pt x="1" y="111"/>
                      <a:pt x="1" y="111"/>
                      <a:pt x="1" y="112"/>
                    </a:cubicBezTo>
                    <a:cubicBezTo>
                      <a:pt x="0" y="115"/>
                      <a:pt x="0" y="117"/>
                      <a:pt x="0" y="117"/>
                    </a:cubicBezTo>
                    <a:cubicBezTo>
                      <a:pt x="0" y="117"/>
                      <a:pt x="3" y="117"/>
                      <a:pt x="5" y="117"/>
                    </a:cubicBezTo>
                    <a:cubicBezTo>
                      <a:pt x="6" y="117"/>
                      <a:pt x="7" y="117"/>
                      <a:pt x="7" y="117"/>
                    </a:cubicBezTo>
                    <a:cubicBezTo>
                      <a:pt x="8" y="116"/>
                      <a:pt x="8" y="116"/>
                      <a:pt x="8" y="115"/>
                    </a:cubicBezTo>
                    <a:cubicBezTo>
                      <a:pt x="8" y="114"/>
                      <a:pt x="8" y="113"/>
                      <a:pt x="7" y="113"/>
                    </a:cubicBezTo>
                    <a:cubicBezTo>
                      <a:pt x="7" y="112"/>
                      <a:pt x="6" y="112"/>
                      <a:pt x="5" y="112"/>
                    </a:cubicBezTo>
                    <a:cubicBezTo>
                      <a:pt x="5" y="112"/>
                      <a:pt x="5" y="112"/>
                      <a:pt x="5" y="112"/>
                    </a:cubicBezTo>
                    <a:cubicBezTo>
                      <a:pt x="5" y="112"/>
                      <a:pt x="5" y="112"/>
                      <a:pt x="5" y="112"/>
                    </a:cubicBezTo>
                    <a:cubicBezTo>
                      <a:pt x="7" y="105"/>
                      <a:pt x="14" y="69"/>
                      <a:pt x="14" y="39"/>
                    </a:cubicBezTo>
                    <a:cubicBezTo>
                      <a:pt x="14" y="22"/>
                      <a:pt x="12" y="8"/>
                      <a:pt x="5" y="1"/>
                    </a:cubicBezTo>
                    <a:cubicBezTo>
                      <a:pt x="5" y="1"/>
                      <a:pt x="4" y="1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447">
                <a:extLst>
                  <a:ext uri="{FF2B5EF4-FFF2-40B4-BE49-F238E27FC236}">
                    <a16:creationId xmlns:a16="http://schemas.microsoft.com/office/drawing/2014/main" id="{DB9D77ED-B32C-4C0D-A146-982D2163D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474"/>
                <a:ext cx="9" cy="59"/>
              </a:xfrm>
              <a:custGeom>
                <a:avLst/>
                <a:gdLst>
                  <a:gd name="T0" fmla="*/ 0 w 18"/>
                  <a:gd name="T1" fmla="*/ 0 h 109"/>
                  <a:gd name="T2" fmla="*/ 0 w 18"/>
                  <a:gd name="T3" fmla="*/ 0 h 109"/>
                  <a:gd name="T4" fmla="*/ 0 w 18"/>
                  <a:gd name="T5" fmla="*/ 106 h 109"/>
                  <a:gd name="T6" fmla="*/ 13 w 18"/>
                  <a:gd name="T7" fmla="*/ 109 h 109"/>
                  <a:gd name="T8" fmla="*/ 13 w 18"/>
                  <a:gd name="T9" fmla="*/ 109 h 109"/>
                  <a:gd name="T10" fmla="*/ 13 w 18"/>
                  <a:gd name="T11" fmla="*/ 109 h 109"/>
                  <a:gd name="T12" fmla="*/ 18 w 18"/>
                  <a:gd name="T13" fmla="*/ 2 h 109"/>
                  <a:gd name="T14" fmla="*/ 0 w 18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09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6" y="106"/>
                      <a:pt x="12" y="107"/>
                      <a:pt x="13" y="109"/>
                    </a:cubicBezTo>
                    <a:cubicBezTo>
                      <a:pt x="13" y="109"/>
                      <a:pt x="13" y="109"/>
                      <a:pt x="13" y="109"/>
                    </a:cubicBezTo>
                    <a:cubicBezTo>
                      <a:pt x="13" y="109"/>
                      <a:pt x="13" y="109"/>
                      <a:pt x="13" y="109"/>
                    </a:cubicBezTo>
                    <a:cubicBezTo>
                      <a:pt x="14" y="72"/>
                      <a:pt x="16" y="46"/>
                      <a:pt x="18" y="2"/>
                    </a:cubicBezTo>
                    <a:cubicBezTo>
                      <a:pt x="18" y="2"/>
                      <a:pt x="9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448">
                <a:extLst>
                  <a:ext uri="{FF2B5EF4-FFF2-40B4-BE49-F238E27FC236}">
                    <a16:creationId xmlns:a16="http://schemas.microsoft.com/office/drawing/2014/main" id="{DFB48736-B053-4E47-8E66-2B69573E2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469"/>
                <a:ext cx="9" cy="4"/>
              </a:xfrm>
              <a:custGeom>
                <a:avLst/>
                <a:gdLst>
                  <a:gd name="T0" fmla="*/ 0 w 18"/>
                  <a:gd name="T1" fmla="*/ 0 h 7"/>
                  <a:gd name="T2" fmla="*/ 0 w 18"/>
                  <a:gd name="T3" fmla="*/ 0 h 7"/>
                  <a:gd name="T4" fmla="*/ 0 w 18"/>
                  <a:gd name="T5" fmla="*/ 5 h 7"/>
                  <a:gd name="T6" fmla="*/ 0 w 18"/>
                  <a:gd name="T7" fmla="*/ 5 h 7"/>
                  <a:gd name="T8" fmla="*/ 18 w 18"/>
                  <a:gd name="T9" fmla="*/ 7 h 7"/>
                  <a:gd name="T10" fmla="*/ 18 w 18"/>
                  <a:gd name="T11" fmla="*/ 7 h 7"/>
                  <a:gd name="T12" fmla="*/ 18 w 18"/>
                  <a:gd name="T13" fmla="*/ 2 h 7"/>
                  <a:gd name="T14" fmla="*/ 0 w 18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7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8" y="5"/>
                      <a:pt x="16" y="6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5"/>
                      <a:pt x="18" y="3"/>
                      <a:pt x="18" y="2"/>
                    </a:cubicBezTo>
                    <a:cubicBezTo>
                      <a:pt x="16" y="1"/>
                      <a:pt x="8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449">
                <a:extLst>
                  <a:ext uri="{FF2B5EF4-FFF2-40B4-BE49-F238E27FC236}">
                    <a16:creationId xmlns:a16="http://schemas.microsoft.com/office/drawing/2014/main" id="{EE67C20A-7262-451F-A13A-4FFB9B317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546"/>
                <a:ext cx="1" cy="5"/>
              </a:xfrm>
              <a:custGeom>
                <a:avLst/>
                <a:gdLst>
                  <a:gd name="T0" fmla="*/ 0 w 2"/>
                  <a:gd name="T1" fmla="*/ 0 h 8"/>
                  <a:gd name="T2" fmla="*/ 0 w 2"/>
                  <a:gd name="T3" fmla="*/ 0 h 8"/>
                  <a:gd name="T4" fmla="*/ 0 w 2"/>
                  <a:gd name="T5" fmla="*/ 8 h 8"/>
                  <a:gd name="T6" fmla="*/ 0 w 2"/>
                  <a:gd name="T7" fmla="*/ 8 h 8"/>
                  <a:gd name="T8" fmla="*/ 2 w 2"/>
                  <a:gd name="T9" fmla="*/ 6 h 8"/>
                  <a:gd name="T10" fmla="*/ 2 w 2"/>
                  <a:gd name="T11" fmla="*/ 0 h 8"/>
                  <a:gd name="T12" fmla="*/ 0 w 2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8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8"/>
                      <a:pt x="2" y="7"/>
                      <a:pt x="2" y="6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450">
                <a:extLst>
                  <a:ext uri="{FF2B5EF4-FFF2-40B4-BE49-F238E27FC236}">
                    <a16:creationId xmlns:a16="http://schemas.microsoft.com/office/drawing/2014/main" id="{19AA9A6F-C13A-4874-B973-48D06D31DD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532"/>
                <a:ext cx="7" cy="14"/>
              </a:xfrm>
              <a:custGeom>
                <a:avLst/>
                <a:gdLst>
                  <a:gd name="T0" fmla="*/ 0 w 13"/>
                  <a:gd name="T1" fmla="*/ 0 h 27"/>
                  <a:gd name="T2" fmla="*/ 0 w 13"/>
                  <a:gd name="T3" fmla="*/ 27 h 27"/>
                  <a:gd name="T4" fmla="*/ 0 w 13"/>
                  <a:gd name="T5" fmla="*/ 27 h 27"/>
                  <a:gd name="T6" fmla="*/ 2 w 13"/>
                  <a:gd name="T7" fmla="*/ 27 h 27"/>
                  <a:gd name="T8" fmla="*/ 2 w 13"/>
                  <a:gd name="T9" fmla="*/ 27 h 27"/>
                  <a:gd name="T10" fmla="*/ 2 w 13"/>
                  <a:gd name="T11" fmla="*/ 27 h 27"/>
                  <a:gd name="T12" fmla="*/ 3 w 13"/>
                  <a:gd name="T13" fmla="*/ 27 h 27"/>
                  <a:gd name="T14" fmla="*/ 13 w 13"/>
                  <a:gd name="T15" fmla="*/ 3 h 27"/>
                  <a:gd name="T16" fmla="*/ 13 w 13"/>
                  <a:gd name="T17" fmla="*/ 3 h 27"/>
                  <a:gd name="T18" fmla="*/ 0 w 13"/>
                  <a:gd name="T1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27">
                    <a:moveTo>
                      <a:pt x="0" y="0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27"/>
                      <a:pt x="1" y="27"/>
                      <a:pt x="2" y="2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7"/>
                      <a:pt x="3" y="27"/>
                      <a:pt x="3" y="27"/>
                    </a:cubicBezTo>
                    <a:cubicBezTo>
                      <a:pt x="6" y="21"/>
                      <a:pt x="12" y="10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2" y="1"/>
                      <a:pt x="6" y="0"/>
                      <a:pt x="0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451">
                <a:extLst>
                  <a:ext uri="{FF2B5EF4-FFF2-40B4-BE49-F238E27FC236}">
                    <a16:creationId xmlns:a16="http://schemas.microsoft.com/office/drawing/2014/main" id="{9E3CC415-918E-4FBB-8B4C-83A60F454C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4" y="2208"/>
                <a:ext cx="385" cy="430"/>
              </a:xfrm>
              <a:custGeom>
                <a:avLst/>
                <a:gdLst>
                  <a:gd name="T0" fmla="*/ 217 w 385"/>
                  <a:gd name="T1" fmla="*/ 0 h 430"/>
                  <a:gd name="T2" fmla="*/ 385 w 385"/>
                  <a:gd name="T3" fmla="*/ 33 h 430"/>
                  <a:gd name="T4" fmla="*/ 364 w 385"/>
                  <a:gd name="T5" fmla="*/ 172 h 430"/>
                  <a:gd name="T6" fmla="*/ 22 w 385"/>
                  <a:gd name="T7" fmla="*/ 430 h 430"/>
                  <a:gd name="T8" fmla="*/ 0 w 385"/>
                  <a:gd name="T9" fmla="*/ 387 h 430"/>
                  <a:gd name="T10" fmla="*/ 217 w 385"/>
                  <a:gd name="T11" fmla="*/ 0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5" h="430">
                    <a:moveTo>
                      <a:pt x="217" y="0"/>
                    </a:moveTo>
                    <a:lnTo>
                      <a:pt x="385" y="33"/>
                    </a:lnTo>
                    <a:lnTo>
                      <a:pt x="364" y="172"/>
                    </a:lnTo>
                    <a:lnTo>
                      <a:pt x="22" y="430"/>
                    </a:lnTo>
                    <a:lnTo>
                      <a:pt x="0" y="387"/>
                    </a:lnTo>
                    <a:lnTo>
                      <a:pt x="217" y="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452">
                <a:extLst>
                  <a:ext uri="{FF2B5EF4-FFF2-40B4-BE49-F238E27FC236}">
                    <a16:creationId xmlns:a16="http://schemas.microsoft.com/office/drawing/2014/main" id="{F0613E80-FB5E-4D05-A633-8025570994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8" y="2110"/>
                <a:ext cx="28" cy="27"/>
              </a:xfrm>
              <a:custGeom>
                <a:avLst/>
                <a:gdLst>
                  <a:gd name="T0" fmla="*/ 14 w 28"/>
                  <a:gd name="T1" fmla="*/ 0 h 27"/>
                  <a:gd name="T2" fmla="*/ 28 w 28"/>
                  <a:gd name="T3" fmla="*/ 13 h 27"/>
                  <a:gd name="T4" fmla="*/ 14 w 28"/>
                  <a:gd name="T5" fmla="*/ 27 h 27"/>
                  <a:gd name="T6" fmla="*/ 0 w 28"/>
                  <a:gd name="T7" fmla="*/ 14 h 27"/>
                  <a:gd name="T8" fmla="*/ 14 w 28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7">
                    <a:moveTo>
                      <a:pt x="14" y="0"/>
                    </a:moveTo>
                    <a:lnTo>
                      <a:pt x="28" y="13"/>
                    </a:lnTo>
                    <a:lnTo>
                      <a:pt x="14" y="27"/>
                    </a:lnTo>
                    <a:lnTo>
                      <a:pt x="0" y="14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6868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453">
                <a:extLst>
                  <a:ext uri="{FF2B5EF4-FFF2-40B4-BE49-F238E27FC236}">
                    <a16:creationId xmlns:a16="http://schemas.microsoft.com/office/drawing/2014/main" id="{8B4F3E16-AFD0-4119-90C0-591B01E65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8" y="2110"/>
                <a:ext cx="28" cy="27"/>
              </a:xfrm>
              <a:custGeom>
                <a:avLst/>
                <a:gdLst>
                  <a:gd name="T0" fmla="*/ 14 w 28"/>
                  <a:gd name="T1" fmla="*/ 0 h 27"/>
                  <a:gd name="T2" fmla="*/ 28 w 28"/>
                  <a:gd name="T3" fmla="*/ 13 h 27"/>
                  <a:gd name="T4" fmla="*/ 14 w 28"/>
                  <a:gd name="T5" fmla="*/ 27 h 27"/>
                  <a:gd name="T6" fmla="*/ 0 w 28"/>
                  <a:gd name="T7" fmla="*/ 14 h 27"/>
                  <a:gd name="T8" fmla="*/ 14 w 28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7">
                    <a:moveTo>
                      <a:pt x="14" y="0"/>
                    </a:moveTo>
                    <a:lnTo>
                      <a:pt x="28" y="13"/>
                    </a:lnTo>
                    <a:lnTo>
                      <a:pt x="14" y="27"/>
                    </a:lnTo>
                    <a:lnTo>
                      <a:pt x="0" y="14"/>
                    </a:lnTo>
                    <a:lnTo>
                      <a:pt x="1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454">
                <a:extLst>
                  <a:ext uri="{FF2B5EF4-FFF2-40B4-BE49-F238E27FC236}">
                    <a16:creationId xmlns:a16="http://schemas.microsoft.com/office/drawing/2014/main" id="{D3E7D7A5-8042-401A-BD13-13236A1BBB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04"/>
                <a:ext cx="24" cy="24"/>
              </a:xfrm>
              <a:custGeom>
                <a:avLst/>
                <a:gdLst>
                  <a:gd name="T0" fmla="*/ 6 w 24"/>
                  <a:gd name="T1" fmla="*/ 0 h 24"/>
                  <a:gd name="T2" fmla="*/ 24 w 24"/>
                  <a:gd name="T3" fmla="*/ 18 h 24"/>
                  <a:gd name="T4" fmla="*/ 18 w 24"/>
                  <a:gd name="T5" fmla="*/ 24 h 24"/>
                  <a:gd name="T6" fmla="*/ 0 w 24"/>
                  <a:gd name="T7" fmla="*/ 5 h 24"/>
                  <a:gd name="T8" fmla="*/ 6 w 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4">
                    <a:moveTo>
                      <a:pt x="6" y="0"/>
                    </a:moveTo>
                    <a:lnTo>
                      <a:pt x="24" y="18"/>
                    </a:lnTo>
                    <a:lnTo>
                      <a:pt x="18" y="24"/>
                    </a:lnTo>
                    <a:lnTo>
                      <a:pt x="0" y="5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455">
                <a:extLst>
                  <a:ext uri="{FF2B5EF4-FFF2-40B4-BE49-F238E27FC236}">
                    <a16:creationId xmlns:a16="http://schemas.microsoft.com/office/drawing/2014/main" id="{9C0C497F-D75E-4359-98A4-465AEE7A6B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04"/>
                <a:ext cx="24" cy="24"/>
              </a:xfrm>
              <a:custGeom>
                <a:avLst/>
                <a:gdLst>
                  <a:gd name="T0" fmla="*/ 6 w 24"/>
                  <a:gd name="T1" fmla="*/ 0 h 24"/>
                  <a:gd name="T2" fmla="*/ 24 w 24"/>
                  <a:gd name="T3" fmla="*/ 18 h 24"/>
                  <a:gd name="T4" fmla="*/ 18 w 24"/>
                  <a:gd name="T5" fmla="*/ 24 h 24"/>
                  <a:gd name="T6" fmla="*/ 0 w 24"/>
                  <a:gd name="T7" fmla="*/ 5 h 24"/>
                  <a:gd name="T8" fmla="*/ 6 w 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4">
                    <a:moveTo>
                      <a:pt x="6" y="0"/>
                    </a:moveTo>
                    <a:lnTo>
                      <a:pt x="24" y="18"/>
                    </a:lnTo>
                    <a:lnTo>
                      <a:pt x="18" y="24"/>
                    </a:lnTo>
                    <a:lnTo>
                      <a:pt x="0" y="5"/>
                    </a:lnTo>
                    <a:lnTo>
                      <a:pt x="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456">
                <a:extLst>
                  <a:ext uri="{FF2B5EF4-FFF2-40B4-BE49-F238E27FC236}">
                    <a16:creationId xmlns:a16="http://schemas.microsoft.com/office/drawing/2014/main" id="{FFA8D5FD-07C3-466A-97FA-4DE89C9BA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0" y="2052"/>
                <a:ext cx="74" cy="73"/>
              </a:xfrm>
              <a:custGeom>
                <a:avLst/>
                <a:gdLst>
                  <a:gd name="T0" fmla="*/ 96 w 135"/>
                  <a:gd name="T1" fmla="*/ 0 h 134"/>
                  <a:gd name="T2" fmla="*/ 135 w 135"/>
                  <a:gd name="T3" fmla="*/ 38 h 134"/>
                  <a:gd name="T4" fmla="*/ 39 w 135"/>
                  <a:gd name="T5" fmla="*/ 134 h 134"/>
                  <a:gd name="T6" fmla="*/ 0 w 135"/>
                  <a:gd name="T7" fmla="*/ 96 h 134"/>
                  <a:gd name="T8" fmla="*/ 96 w 135"/>
                  <a:gd name="T9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5" h="134">
                    <a:moveTo>
                      <a:pt x="96" y="0"/>
                    </a:moveTo>
                    <a:cubicBezTo>
                      <a:pt x="135" y="38"/>
                      <a:pt x="135" y="38"/>
                      <a:pt x="135" y="38"/>
                    </a:cubicBezTo>
                    <a:cubicBezTo>
                      <a:pt x="106" y="79"/>
                      <a:pt x="80" y="106"/>
                      <a:pt x="39" y="134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29" y="55"/>
                      <a:pt x="55" y="28"/>
                      <a:pt x="96" y="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457">
                <a:extLst>
                  <a:ext uri="{FF2B5EF4-FFF2-40B4-BE49-F238E27FC236}">
                    <a16:creationId xmlns:a16="http://schemas.microsoft.com/office/drawing/2014/main" id="{2DEDA6B9-13B8-4068-BB83-A64FD9172F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2067"/>
                <a:ext cx="44" cy="44"/>
              </a:xfrm>
              <a:custGeom>
                <a:avLst/>
                <a:gdLst>
                  <a:gd name="T0" fmla="*/ 78 w 81"/>
                  <a:gd name="T1" fmla="*/ 26 h 80"/>
                  <a:gd name="T2" fmla="*/ 27 w 81"/>
                  <a:gd name="T3" fmla="*/ 77 h 80"/>
                  <a:gd name="T4" fmla="*/ 16 w 81"/>
                  <a:gd name="T5" fmla="*/ 77 h 80"/>
                  <a:gd name="T6" fmla="*/ 3 w 81"/>
                  <a:gd name="T7" fmla="*/ 64 h 80"/>
                  <a:gd name="T8" fmla="*/ 3 w 81"/>
                  <a:gd name="T9" fmla="*/ 54 h 80"/>
                  <a:gd name="T10" fmla="*/ 54 w 81"/>
                  <a:gd name="T11" fmla="*/ 3 h 80"/>
                  <a:gd name="T12" fmla="*/ 65 w 81"/>
                  <a:gd name="T13" fmla="*/ 3 h 80"/>
                  <a:gd name="T14" fmla="*/ 78 w 81"/>
                  <a:gd name="T15" fmla="*/ 16 h 80"/>
                  <a:gd name="T16" fmla="*/ 78 w 81"/>
                  <a:gd name="T17" fmla="*/ 2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80">
                    <a:moveTo>
                      <a:pt x="78" y="26"/>
                    </a:moveTo>
                    <a:cubicBezTo>
                      <a:pt x="27" y="77"/>
                      <a:pt x="27" y="77"/>
                      <a:pt x="27" y="77"/>
                    </a:cubicBezTo>
                    <a:cubicBezTo>
                      <a:pt x="24" y="80"/>
                      <a:pt x="19" y="80"/>
                      <a:pt x="16" y="77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0" y="61"/>
                      <a:pt x="0" y="57"/>
                      <a:pt x="3" y="54"/>
                    </a:cubicBezTo>
                    <a:cubicBezTo>
                      <a:pt x="54" y="3"/>
                      <a:pt x="54" y="3"/>
                      <a:pt x="54" y="3"/>
                    </a:cubicBezTo>
                    <a:cubicBezTo>
                      <a:pt x="57" y="0"/>
                      <a:pt x="62" y="0"/>
                      <a:pt x="65" y="3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81" y="19"/>
                      <a:pt x="81" y="23"/>
                      <a:pt x="78" y="26"/>
                    </a:cubicBezTo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458">
                <a:extLst>
                  <a:ext uri="{FF2B5EF4-FFF2-40B4-BE49-F238E27FC236}">
                    <a16:creationId xmlns:a16="http://schemas.microsoft.com/office/drawing/2014/main" id="{975B9AE6-B436-4511-8B46-0245280CA9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17"/>
                <a:ext cx="5" cy="4"/>
              </a:xfrm>
              <a:custGeom>
                <a:avLst/>
                <a:gdLst>
                  <a:gd name="T0" fmla="*/ 5 w 5"/>
                  <a:gd name="T1" fmla="*/ 2 h 4"/>
                  <a:gd name="T2" fmla="*/ 2 w 5"/>
                  <a:gd name="T3" fmla="*/ 4 h 4"/>
                  <a:gd name="T4" fmla="*/ 0 w 5"/>
                  <a:gd name="T5" fmla="*/ 2 h 4"/>
                  <a:gd name="T6" fmla="*/ 2 w 5"/>
                  <a:gd name="T7" fmla="*/ 0 h 4"/>
                  <a:gd name="T8" fmla="*/ 5 w 5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4">
                    <a:moveTo>
                      <a:pt x="5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2A2A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459">
                <a:extLst>
                  <a:ext uri="{FF2B5EF4-FFF2-40B4-BE49-F238E27FC236}">
                    <a16:creationId xmlns:a16="http://schemas.microsoft.com/office/drawing/2014/main" id="{D2F387AD-0957-4D3C-8725-0DB78847E6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4 w 4"/>
                  <a:gd name="T1" fmla="*/ 2 h 4"/>
                  <a:gd name="T2" fmla="*/ 2 w 4"/>
                  <a:gd name="T3" fmla="*/ 4 h 4"/>
                  <a:gd name="T4" fmla="*/ 0 w 4"/>
                  <a:gd name="T5" fmla="*/ 2 h 4"/>
                  <a:gd name="T6" fmla="*/ 2 w 4"/>
                  <a:gd name="T7" fmla="*/ 0 h 4"/>
                  <a:gd name="T8" fmla="*/ 4 w 4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2A2A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460">
                <a:extLst>
                  <a:ext uri="{FF2B5EF4-FFF2-40B4-BE49-F238E27FC236}">
                    <a16:creationId xmlns:a16="http://schemas.microsoft.com/office/drawing/2014/main" id="{B6FD6709-28AB-4555-A625-0B49E6FF86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4 w 4"/>
                  <a:gd name="T1" fmla="*/ 2 h 4"/>
                  <a:gd name="T2" fmla="*/ 2 w 4"/>
                  <a:gd name="T3" fmla="*/ 4 h 4"/>
                  <a:gd name="T4" fmla="*/ 0 w 4"/>
                  <a:gd name="T5" fmla="*/ 2 h 4"/>
                  <a:gd name="T6" fmla="*/ 2 w 4"/>
                  <a:gd name="T7" fmla="*/ 0 h 4"/>
                  <a:gd name="T8" fmla="*/ 4 w 4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461">
                <a:extLst>
                  <a:ext uri="{FF2B5EF4-FFF2-40B4-BE49-F238E27FC236}">
                    <a16:creationId xmlns:a16="http://schemas.microsoft.com/office/drawing/2014/main" id="{D1BC37D3-EA04-4F1B-9613-BE00CAF458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2" y="2048"/>
                <a:ext cx="26" cy="25"/>
              </a:xfrm>
              <a:custGeom>
                <a:avLst/>
                <a:gdLst>
                  <a:gd name="T0" fmla="*/ 33 w 46"/>
                  <a:gd name="T1" fmla="*/ 13 h 46"/>
                  <a:gd name="T2" fmla="*/ 45 w 46"/>
                  <a:gd name="T3" fmla="*/ 32 h 46"/>
                  <a:gd name="T4" fmla="*/ 39 w 46"/>
                  <a:gd name="T5" fmla="*/ 46 h 46"/>
                  <a:gd name="T6" fmla="*/ 0 w 46"/>
                  <a:gd name="T7" fmla="*/ 8 h 46"/>
                  <a:gd name="T8" fmla="*/ 14 w 46"/>
                  <a:gd name="T9" fmla="*/ 1 h 46"/>
                  <a:gd name="T10" fmla="*/ 33 w 46"/>
                  <a:gd name="T11" fmla="*/ 1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46">
                    <a:moveTo>
                      <a:pt x="33" y="13"/>
                    </a:moveTo>
                    <a:cubicBezTo>
                      <a:pt x="39" y="20"/>
                      <a:pt x="44" y="27"/>
                      <a:pt x="45" y="32"/>
                    </a:cubicBezTo>
                    <a:cubicBezTo>
                      <a:pt x="46" y="36"/>
                      <a:pt x="39" y="46"/>
                      <a:pt x="39" y="46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10" y="0"/>
                      <a:pt x="14" y="1"/>
                    </a:cubicBezTo>
                    <a:cubicBezTo>
                      <a:pt x="19" y="2"/>
                      <a:pt x="27" y="7"/>
                      <a:pt x="33" y="13"/>
                    </a:cubicBezTo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462">
                <a:extLst>
                  <a:ext uri="{FF2B5EF4-FFF2-40B4-BE49-F238E27FC236}">
                    <a16:creationId xmlns:a16="http://schemas.microsoft.com/office/drawing/2014/main" id="{BCDDFEAA-A612-4F86-950C-01F1921BA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6" y="2087"/>
                <a:ext cx="7" cy="6"/>
              </a:xfrm>
              <a:custGeom>
                <a:avLst/>
                <a:gdLst>
                  <a:gd name="T0" fmla="*/ 5 w 7"/>
                  <a:gd name="T1" fmla="*/ 3 h 6"/>
                  <a:gd name="T2" fmla="*/ 2 w 7"/>
                  <a:gd name="T3" fmla="*/ 0 h 6"/>
                  <a:gd name="T4" fmla="*/ 0 w 7"/>
                  <a:gd name="T5" fmla="*/ 1 h 6"/>
                  <a:gd name="T6" fmla="*/ 1 w 7"/>
                  <a:gd name="T7" fmla="*/ 2 h 6"/>
                  <a:gd name="T8" fmla="*/ 2 w 7"/>
                  <a:gd name="T9" fmla="*/ 1 h 6"/>
                  <a:gd name="T10" fmla="*/ 4 w 7"/>
                  <a:gd name="T11" fmla="*/ 5 h 6"/>
                  <a:gd name="T12" fmla="*/ 4 w 7"/>
                  <a:gd name="T13" fmla="*/ 5 h 6"/>
                  <a:gd name="T14" fmla="*/ 4 w 7"/>
                  <a:gd name="T15" fmla="*/ 6 h 6"/>
                  <a:gd name="T16" fmla="*/ 7 w 7"/>
                  <a:gd name="T17" fmla="*/ 3 h 6"/>
                  <a:gd name="T18" fmla="*/ 6 w 7"/>
                  <a:gd name="T19" fmla="*/ 3 h 6"/>
                  <a:gd name="T20" fmla="*/ 5 w 7"/>
                  <a:gd name="T21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6">
                    <a:moveTo>
                      <a:pt x="5" y="3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5" y="3"/>
                    </a:lnTo>
                    <a:close/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463">
                <a:extLst>
                  <a:ext uri="{FF2B5EF4-FFF2-40B4-BE49-F238E27FC236}">
                    <a16:creationId xmlns:a16="http://schemas.microsoft.com/office/drawing/2014/main" id="{94D09D39-114B-4175-B2C8-D49670E6E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6" y="2087"/>
                <a:ext cx="7" cy="6"/>
              </a:xfrm>
              <a:custGeom>
                <a:avLst/>
                <a:gdLst>
                  <a:gd name="T0" fmla="*/ 5 w 7"/>
                  <a:gd name="T1" fmla="*/ 3 h 6"/>
                  <a:gd name="T2" fmla="*/ 2 w 7"/>
                  <a:gd name="T3" fmla="*/ 0 h 6"/>
                  <a:gd name="T4" fmla="*/ 0 w 7"/>
                  <a:gd name="T5" fmla="*/ 1 h 6"/>
                  <a:gd name="T6" fmla="*/ 1 w 7"/>
                  <a:gd name="T7" fmla="*/ 2 h 6"/>
                  <a:gd name="T8" fmla="*/ 2 w 7"/>
                  <a:gd name="T9" fmla="*/ 1 h 6"/>
                  <a:gd name="T10" fmla="*/ 4 w 7"/>
                  <a:gd name="T11" fmla="*/ 5 h 6"/>
                  <a:gd name="T12" fmla="*/ 4 w 7"/>
                  <a:gd name="T13" fmla="*/ 5 h 6"/>
                  <a:gd name="T14" fmla="*/ 4 w 7"/>
                  <a:gd name="T15" fmla="*/ 6 h 6"/>
                  <a:gd name="T16" fmla="*/ 7 w 7"/>
                  <a:gd name="T17" fmla="*/ 3 h 6"/>
                  <a:gd name="T18" fmla="*/ 6 w 7"/>
                  <a:gd name="T19" fmla="*/ 3 h 6"/>
                  <a:gd name="T20" fmla="*/ 5 w 7"/>
                  <a:gd name="T21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6">
                    <a:moveTo>
                      <a:pt x="5" y="3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5" y="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464">
                <a:extLst>
                  <a:ext uri="{FF2B5EF4-FFF2-40B4-BE49-F238E27FC236}">
                    <a16:creationId xmlns:a16="http://schemas.microsoft.com/office/drawing/2014/main" id="{E2250410-A058-4ACF-BA9F-0AB0093835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0" y="2083"/>
                <a:ext cx="6" cy="7"/>
              </a:xfrm>
              <a:custGeom>
                <a:avLst/>
                <a:gdLst>
                  <a:gd name="T0" fmla="*/ 4 w 11"/>
                  <a:gd name="T1" fmla="*/ 5 h 13"/>
                  <a:gd name="T2" fmla="*/ 3 w 11"/>
                  <a:gd name="T3" fmla="*/ 2 h 13"/>
                  <a:gd name="T4" fmla="*/ 3 w 11"/>
                  <a:gd name="T5" fmla="*/ 0 h 13"/>
                  <a:gd name="T6" fmla="*/ 0 w 11"/>
                  <a:gd name="T7" fmla="*/ 2 h 13"/>
                  <a:gd name="T8" fmla="*/ 1 w 11"/>
                  <a:gd name="T9" fmla="*/ 4 h 13"/>
                  <a:gd name="T10" fmla="*/ 2 w 11"/>
                  <a:gd name="T11" fmla="*/ 8 h 13"/>
                  <a:gd name="T12" fmla="*/ 4 w 11"/>
                  <a:gd name="T13" fmla="*/ 11 h 13"/>
                  <a:gd name="T14" fmla="*/ 9 w 11"/>
                  <a:gd name="T15" fmla="*/ 11 h 13"/>
                  <a:gd name="T16" fmla="*/ 9 w 11"/>
                  <a:gd name="T17" fmla="*/ 5 h 13"/>
                  <a:gd name="T18" fmla="*/ 4 w 11"/>
                  <a:gd name="T19" fmla="*/ 5 h 13"/>
                  <a:gd name="T20" fmla="*/ 8 w 11"/>
                  <a:gd name="T21" fmla="*/ 9 h 13"/>
                  <a:gd name="T22" fmla="*/ 6 w 11"/>
                  <a:gd name="T23" fmla="*/ 9 h 13"/>
                  <a:gd name="T24" fmla="*/ 5 w 11"/>
                  <a:gd name="T25" fmla="*/ 7 h 13"/>
                  <a:gd name="T26" fmla="*/ 7 w 11"/>
                  <a:gd name="T27" fmla="*/ 7 h 13"/>
                  <a:gd name="T28" fmla="*/ 8 w 11"/>
                  <a:gd name="T29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3">
                    <a:moveTo>
                      <a:pt x="4" y="5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3" y="9"/>
                      <a:pt x="3" y="10"/>
                      <a:pt x="4" y="11"/>
                    </a:cubicBezTo>
                    <a:cubicBezTo>
                      <a:pt x="5" y="13"/>
                      <a:pt x="8" y="13"/>
                      <a:pt x="9" y="11"/>
                    </a:cubicBezTo>
                    <a:cubicBezTo>
                      <a:pt x="11" y="9"/>
                      <a:pt x="11" y="7"/>
                      <a:pt x="9" y="5"/>
                    </a:cubicBezTo>
                    <a:cubicBezTo>
                      <a:pt x="8" y="3"/>
                      <a:pt x="6" y="3"/>
                      <a:pt x="4" y="5"/>
                    </a:cubicBezTo>
                    <a:moveTo>
                      <a:pt x="8" y="9"/>
                    </a:moveTo>
                    <a:cubicBezTo>
                      <a:pt x="7" y="9"/>
                      <a:pt x="6" y="9"/>
                      <a:pt x="6" y="9"/>
                    </a:cubicBezTo>
                    <a:cubicBezTo>
                      <a:pt x="5" y="8"/>
                      <a:pt x="5" y="7"/>
                      <a:pt x="5" y="7"/>
                    </a:cubicBezTo>
                    <a:cubicBezTo>
                      <a:pt x="6" y="6"/>
                      <a:pt x="7" y="6"/>
                      <a:pt x="7" y="7"/>
                    </a:cubicBezTo>
                    <a:cubicBezTo>
                      <a:pt x="8" y="8"/>
                      <a:pt x="8" y="8"/>
                      <a:pt x="8" y="9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465">
                <a:extLst>
                  <a:ext uri="{FF2B5EF4-FFF2-40B4-BE49-F238E27FC236}">
                    <a16:creationId xmlns:a16="http://schemas.microsoft.com/office/drawing/2014/main" id="{2071BBA6-C37F-4673-B4D4-E3F4B06EA9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3" y="2079"/>
                <a:ext cx="8" cy="7"/>
              </a:xfrm>
              <a:custGeom>
                <a:avLst/>
                <a:gdLst>
                  <a:gd name="T0" fmla="*/ 9 w 14"/>
                  <a:gd name="T1" fmla="*/ 2 h 13"/>
                  <a:gd name="T2" fmla="*/ 6 w 14"/>
                  <a:gd name="T3" fmla="*/ 5 h 13"/>
                  <a:gd name="T4" fmla="*/ 8 w 14"/>
                  <a:gd name="T5" fmla="*/ 7 h 13"/>
                  <a:gd name="T6" fmla="*/ 9 w 14"/>
                  <a:gd name="T7" fmla="*/ 6 h 13"/>
                  <a:gd name="T8" fmla="*/ 9 w 14"/>
                  <a:gd name="T9" fmla="*/ 8 h 13"/>
                  <a:gd name="T10" fmla="*/ 5 w 14"/>
                  <a:gd name="T11" fmla="*/ 7 h 13"/>
                  <a:gd name="T12" fmla="*/ 4 w 14"/>
                  <a:gd name="T13" fmla="*/ 3 h 13"/>
                  <a:gd name="T14" fmla="*/ 6 w 14"/>
                  <a:gd name="T15" fmla="*/ 3 h 13"/>
                  <a:gd name="T16" fmla="*/ 8 w 14"/>
                  <a:gd name="T17" fmla="*/ 1 h 13"/>
                  <a:gd name="T18" fmla="*/ 6 w 14"/>
                  <a:gd name="T19" fmla="*/ 0 h 13"/>
                  <a:gd name="T20" fmla="*/ 2 w 14"/>
                  <a:gd name="T21" fmla="*/ 1 h 13"/>
                  <a:gd name="T22" fmla="*/ 1 w 14"/>
                  <a:gd name="T23" fmla="*/ 6 h 13"/>
                  <a:gd name="T24" fmla="*/ 3 w 14"/>
                  <a:gd name="T25" fmla="*/ 10 h 13"/>
                  <a:gd name="T26" fmla="*/ 11 w 14"/>
                  <a:gd name="T27" fmla="*/ 10 h 13"/>
                  <a:gd name="T28" fmla="*/ 9 w 14"/>
                  <a:gd name="T29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3">
                    <a:moveTo>
                      <a:pt x="9" y="2"/>
                    </a:moveTo>
                    <a:cubicBezTo>
                      <a:pt x="6" y="5"/>
                      <a:pt x="6" y="5"/>
                      <a:pt x="6" y="5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10" y="7"/>
                      <a:pt x="10" y="8"/>
                      <a:pt x="9" y="8"/>
                    </a:cubicBezTo>
                    <a:cubicBezTo>
                      <a:pt x="8" y="9"/>
                      <a:pt x="6" y="9"/>
                      <a:pt x="5" y="7"/>
                    </a:cubicBezTo>
                    <a:cubicBezTo>
                      <a:pt x="3" y="6"/>
                      <a:pt x="3" y="4"/>
                      <a:pt x="4" y="3"/>
                    </a:cubicBezTo>
                    <a:cubicBezTo>
                      <a:pt x="5" y="3"/>
                      <a:pt x="5" y="3"/>
                      <a:pt x="6" y="3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1" y="6"/>
                    </a:cubicBezTo>
                    <a:cubicBezTo>
                      <a:pt x="1" y="7"/>
                      <a:pt x="1" y="8"/>
                      <a:pt x="3" y="10"/>
                    </a:cubicBezTo>
                    <a:cubicBezTo>
                      <a:pt x="5" y="12"/>
                      <a:pt x="9" y="13"/>
                      <a:pt x="11" y="10"/>
                    </a:cubicBezTo>
                    <a:cubicBezTo>
                      <a:pt x="14" y="8"/>
                      <a:pt x="12" y="4"/>
                      <a:pt x="9" y="2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466">
                <a:extLst>
                  <a:ext uri="{FF2B5EF4-FFF2-40B4-BE49-F238E27FC236}">
                    <a16:creationId xmlns:a16="http://schemas.microsoft.com/office/drawing/2014/main" id="{F12699FD-486B-457A-9A26-5FC12EBE18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7" y="2075"/>
                <a:ext cx="8" cy="7"/>
              </a:xfrm>
              <a:custGeom>
                <a:avLst/>
                <a:gdLst>
                  <a:gd name="T0" fmla="*/ 9 w 14"/>
                  <a:gd name="T1" fmla="*/ 4 h 14"/>
                  <a:gd name="T2" fmla="*/ 8 w 14"/>
                  <a:gd name="T3" fmla="*/ 2 h 14"/>
                  <a:gd name="T4" fmla="*/ 7 w 14"/>
                  <a:gd name="T5" fmla="*/ 1 h 14"/>
                  <a:gd name="T6" fmla="*/ 3 w 14"/>
                  <a:gd name="T7" fmla="*/ 2 h 14"/>
                  <a:gd name="T8" fmla="*/ 0 w 14"/>
                  <a:gd name="T9" fmla="*/ 5 h 14"/>
                  <a:gd name="T10" fmla="*/ 8 w 14"/>
                  <a:gd name="T11" fmla="*/ 14 h 14"/>
                  <a:gd name="T12" fmla="*/ 12 w 14"/>
                  <a:gd name="T13" fmla="*/ 10 h 14"/>
                  <a:gd name="T14" fmla="*/ 12 w 14"/>
                  <a:gd name="T15" fmla="*/ 5 h 14"/>
                  <a:gd name="T16" fmla="*/ 9 w 14"/>
                  <a:gd name="T17" fmla="*/ 4 h 14"/>
                  <a:gd name="T18" fmla="*/ 6 w 14"/>
                  <a:gd name="T19" fmla="*/ 4 h 14"/>
                  <a:gd name="T20" fmla="*/ 6 w 14"/>
                  <a:gd name="T21" fmla="*/ 5 h 14"/>
                  <a:gd name="T22" fmla="*/ 5 w 14"/>
                  <a:gd name="T23" fmla="*/ 6 h 14"/>
                  <a:gd name="T24" fmla="*/ 4 w 14"/>
                  <a:gd name="T25" fmla="*/ 5 h 14"/>
                  <a:gd name="T26" fmla="*/ 5 w 14"/>
                  <a:gd name="T27" fmla="*/ 4 h 14"/>
                  <a:gd name="T28" fmla="*/ 6 w 14"/>
                  <a:gd name="T29" fmla="*/ 4 h 14"/>
                  <a:gd name="T30" fmla="*/ 10 w 14"/>
                  <a:gd name="T31" fmla="*/ 8 h 14"/>
                  <a:gd name="T32" fmla="*/ 9 w 14"/>
                  <a:gd name="T33" fmla="*/ 9 h 14"/>
                  <a:gd name="T34" fmla="*/ 7 w 14"/>
                  <a:gd name="T35" fmla="*/ 8 h 14"/>
                  <a:gd name="T36" fmla="*/ 8 w 14"/>
                  <a:gd name="T37" fmla="*/ 7 h 14"/>
                  <a:gd name="T38" fmla="*/ 10 w 14"/>
                  <a:gd name="T39" fmla="*/ 7 h 14"/>
                  <a:gd name="T40" fmla="*/ 10 w 14"/>
                  <a:gd name="T41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" h="14">
                    <a:moveTo>
                      <a:pt x="9" y="4"/>
                    </a:moveTo>
                    <a:cubicBezTo>
                      <a:pt x="9" y="3"/>
                      <a:pt x="9" y="2"/>
                      <a:pt x="8" y="2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5" y="0"/>
                      <a:pt x="4" y="1"/>
                      <a:pt x="3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4" y="9"/>
                      <a:pt x="14" y="6"/>
                      <a:pt x="12" y="5"/>
                    </a:cubicBezTo>
                    <a:cubicBezTo>
                      <a:pt x="11" y="4"/>
                      <a:pt x="10" y="4"/>
                      <a:pt x="9" y="4"/>
                    </a:cubicBezTo>
                    <a:moveTo>
                      <a:pt x="6" y="4"/>
                    </a:moveTo>
                    <a:cubicBezTo>
                      <a:pt x="7" y="4"/>
                      <a:pt x="7" y="5"/>
                      <a:pt x="6" y="5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6" y="3"/>
                      <a:pt x="6" y="4"/>
                    </a:cubicBezTo>
                    <a:moveTo>
                      <a:pt x="10" y="8"/>
                    </a:moveTo>
                    <a:cubicBezTo>
                      <a:pt x="9" y="9"/>
                      <a:pt x="9" y="9"/>
                      <a:pt x="9" y="9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9" y="6"/>
                      <a:pt x="9" y="6"/>
                      <a:pt x="10" y="7"/>
                    </a:cubicBezTo>
                    <a:cubicBezTo>
                      <a:pt x="10" y="7"/>
                      <a:pt x="10" y="8"/>
                      <a:pt x="10" y="8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467">
                <a:extLst>
                  <a:ext uri="{FF2B5EF4-FFF2-40B4-BE49-F238E27FC236}">
                    <a16:creationId xmlns:a16="http://schemas.microsoft.com/office/drawing/2014/main" id="{F2614764-1365-4F27-AEF1-CE127655A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12" y="2124"/>
                <a:ext cx="18" cy="13"/>
              </a:xfrm>
              <a:custGeom>
                <a:avLst/>
                <a:gdLst>
                  <a:gd name="T0" fmla="*/ 12 w 18"/>
                  <a:gd name="T1" fmla="*/ 1 h 13"/>
                  <a:gd name="T2" fmla="*/ 0 w 18"/>
                  <a:gd name="T3" fmla="*/ 13 h 13"/>
                  <a:gd name="T4" fmla="*/ 12 w 18"/>
                  <a:gd name="T5" fmla="*/ 1 h 13"/>
                  <a:gd name="T6" fmla="*/ 14 w 18"/>
                  <a:gd name="T7" fmla="*/ 4 h 13"/>
                  <a:gd name="T8" fmla="*/ 12 w 18"/>
                  <a:gd name="T9" fmla="*/ 1 h 13"/>
                  <a:gd name="T10" fmla="*/ 18 w 18"/>
                  <a:gd name="T11" fmla="*/ 0 h 13"/>
                  <a:gd name="T12" fmla="*/ 14 w 18"/>
                  <a:gd name="T13" fmla="*/ 4 h 13"/>
                  <a:gd name="T14" fmla="*/ 18 w 18"/>
                  <a:gd name="T15" fmla="*/ 0 h 13"/>
                  <a:gd name="T16" fmla="*/ 18 w 1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3">
                    <a:moveTo>
                      <a:pt x="12" y="1"/>
                    </a:moveTo>
                    <a:lnTo>
                      <a:pt x="0" y="13"/>
                    </a:lnTo>
                    <a:lnTo>
                      <a:pt x="12" y="1"/>
                    </a:lnTo>
                    <a:lnTo>
                      <a:pt x="14" y="4"/>
                    </a:lnTo>
                    <a:lnTo>
                      <a:pt x="12" y="1"/>
                    </a:lnTo>
                    <a:close/>
                    <a:moveTo>
                      <a:pt x="18" y="0"/>
                    </a:move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468">
                <a:extLst>
                  <a:ext uri="{FF2B5EF4-FFF2-40B4-BE49-F238E27FC236}">
                    <a16:creationId xmlns:a16="http://schemas.microsoft.com/office/drawing/2014/main" id="{CABADD48-CF9D-4961-8A29-1CD5870E9C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12" y="2124"/>
                <a:ext cx="18" cy="13"/>
              </a:xfrm>
              <a:custGeom>
                <a:avLst/>
                <a:gdLst>
                  <a:gd name="T0" fmla="*/ 12 w 18"/>
                  <a:gd name="T1" fmla="*/ 1 h 13"/>
                  <a:gd name="T2" fmla="*/ 0 w 18"/>
                  <a:gd name="T3" fmla="*/ 13 h 13"/>
                  <a:gd name="T4" fmla="*/ 12 w 18"/>
                  <a:gd name="T5" fmla="*/ 1 h 13"/>
                  <a:gd name="T6" fmla="*/ 14 w 18"/>
                  <a:gd name="T7" fmla="*/ 4 h 13"/>
                  <a:gd name="T8" fmla="*/ 12 w 18"/>
                  <a:gd name="T9" fmla="*/ 1 h 13"/>
                  <a:gd name="T10" fmla="*/ 18 w 18"/>
                  <a:gd name="T11" fmla="*/ 0 h 13"/>
                  <a:gd name="T12" fmla="*/ 14 w 18"/>
                  <a:gd name="T13" fmla="*/ 4 h 13"/>
                  <a:gd name="T14" fmla="*/ 18 w 18"/>
                  <a:gd name="T15" fmla="*/ 0 h 13"/>
                  <a:gd name="T16" fmla="*/ 18 w 1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3">
                    <a:moveTo>
                      <a:pt x="12" y="1"/>
                    </a:moveTo>
                    <a:lnTo>
                      <a:pt x="0" y="13"/>
                    </a:lnTo>
                    <a:lnTo>
                      <a:pt x="12" y="1"/>
                    </a:lnTo>
                    <a:lnTo>
                      <a:pt x="14" y="4"/>
                    </a:lnTo>
                    <a:lnTo>
                      <a:pt x="12" y="1"/>
                    </a:lnTo>
                    <a:moveTo>
                      <a:pt x="18" y="0"/>
                    </a:move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469">
                <a:extLst>
                  <a:ext uri="{FF2B5EF4-FFF2-40B4-BE49-F238E27FC236}">
                    <a16:creationId xmlns:a16="http://schemas.microsoft.com/office/drawing/2014/main" id="{2066793D-4130-455F-9BD9-FD983A6D39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5" y="2118"/>
                <a:ext cx="19" cy="19"/>
              </a:xfrm>
              <a:custGeom>
                <a:avLst/>
                <a:gdLst>
                  <a:gd name="T0" fmla="*/ 12 w 19"/>
                  <a:gd name="T1" fmla="*/ 9 h 19"/>
                  <a:gd name="T2" fmla="*/ 10 w 19"/>
                  <a:gd name="T3" fmla="*/ 7 h 19"/>
                  <a:gd name="T4" fmla="*/ 12 w 19"/>
                  <a:gd name="T5" fmla="*/ 5 h 19"/>
                  <a:gd name="T6" fmla="*/ 14 w 19"/>
                  <a:gd name="T7" fmla="*/ 7 h 19"/>
                  <a:gd name="T8" fmla="*/ 12 w 19"/>
                  <a:gd name="T9" fmla="*/ 9 h 19"/>
                  <a:gd name="T10" fmla="*/ 12 w 19"/>
                  <a:gd name="T11" fmla="*/ 0 h 19"/>
                  <a:gd name="T12" fmla="*/ 0 w 19"/>
                  <a:gd name="T13" fmla="*/ 12 h 19"/>
                  <a:gd name="T14" fmla="*/ 7 w 19"/>
                  <a:gd name="T15" fmla="*/ 19 h 19"/>
                  <a:gd name="T16" fmla="*/ 19 w 19"/>
                  <a:gd name="T17" fmla="*/ 7 h 19"/>
                  <a:gd name="T18" fmla="*/ 12 w 19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9">
                    <a:moveTo>
                      <a:pt x="12" y="9"/>
                    </a:moveTo>
                    <a:lnTo>
                      <a:pt x="10" y="7"/>
                    </a:lnTo>
                    <a:lnTo>
                      <a:pt x="12" y="5"/>
                    </a:lnTo>
                    <a:lnTo>
                      <a:pt x="14" y="7"/>
                    </a:lnTo>
                    <a:lnTo>
                      <a:pt x="12" y="9"/>
                    </a:lnTo>
                    <a:close/>
                    <a:moveTo>
                      <a:pt x="12" y="0"/>
                    </a:moveTo>
                    <a:lnTo>
                      <a:pt x="0" y="12"/>
                    </a:lnTo>
                    <a:lnTo>
                      <a:pt x="7" y="19"/>
                    </a:lnTo>
                    <a:lnTo>
                      <a:pt x="19" y="7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5252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470">
                <a:extLst>
                  <a:ext uri="{FF2B5EF4-FFF2-40B4-BE49-F238E27FC236}">
                    <a16:creationId xmlns:a16="http://schemas.microsoft.com/office/drawing/2014/main" id="{665F8116-5153-46D7-A4A4-BA2725640A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5" y="2118"/>
                <a:ext cx="19" cy="19"/>
              </a:xfrm>
              <a:custGeom>
                <a:avLst/>
                <a:gdLst>
                  <a:gd name="T0" fmla="*/ 12 w 19"/>
                  <a:gd name="T1" fmla="*/ 9 h 19"/>
                  <a:gd name="T2" fmla="*/ 10 w 19"/>
                  <a:gd name="T3" fmla="*/ 7 h 19"/>
                  <a:gd name="T4" fmla="*/ 12 w 19"/>
                  <a:gd name="T5" fmla="*/ 5 h 19"/>
                  <a:gd name="T6" fmla="*/ 14 w 19"/>
                  <a:gd name="T7" fmla="*/ 7 h 19"/>
                  <a:gd name="T8" fmla="*/ 12 w 19"/>
                  <a:gd name="T9" fmla="*/ 9 h 19"/>
                  <a:gd name="T10" fmla="*/ 12 w 19"/>
                  <a:gd name="T11" fmla="*/ 0 h 19"/>
                  <a:gd name="T12" fmla="*/ 0 w 19"/>
                  <a:gd name="T13" fmla="*/ 12 h 19"/>
                  <a:gd name="T14" fmla="*/ 7 w 19"/>
                  <a:gd name="T15" fmla="*/ 19 h 19"/>
                  <a:gd name="T16" fmla="*/ 19 w 19"/>
                  <a:gd name="T17" fmla="*/ 7 h 19"/>
                  <a:gd name="T18" fmla="*/ 12 w 19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9">
                    <a:moveTo>
                      <a:pt x="12" y="9"/>
                    </a:moveTo>
                    <a:lnTo>
                      <a:pt x="10" y="7"/>
                    </a:lnTo>
                    <a:lnTo>
                      <a:pt x="12" y="5"/>
                    </a:lnTo>
                    <a:lnTo>
                      <a:pt x="14" y="7"/>
                    </a:lnTo>
                    <a:lnTo>
                      <a:pt x="12" y="9"/>
                    </a:lnTo>
                    <a:moveTo>
                      <a:pt x="12" y="0"/>
                    </a:moveTo>
                    <a:lnTo>
                      <a:pt x="0" y="12"/>
                    </a:lnTo>
                    <a:lnTo>
                      <a:pt x="7" y="19"/>
                    </a:lnTo>
                    <a:lnTo>
                      <a:pt x="19" y="7"/>
                    </a:lnTo>
                    <a:lnTo>
                      <a:pt x="1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471">
                <a:extLst>
                  <a:ext uri="{FF2B5EF4-FFF2-40B4-BE49-F238E27FC236}">
                    <a16:creationId xmlns:a16="http://schemas.microsoft.com/office/drawing/2014/main" id="{AA418549-5FAE-4EEA-AFCE-A6DF0F898E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7" y="2115"/>
                <a:ext cx="13" cy="13"/>
              </a:xfrm>
              <a:custGeom>
                <a:avLst/>
                <a:gdLst>
                  <a:gd name="T0" fmla="*/ 3 w 13"/>
                  <a:gd name="T1" fmla="*/ 0 h 13"/>
                  <a:gd name="T2" fmla="*/ 0 w 13"/>
                  <a:gd name="T3" fmla="*/ 3 h 13"/>
                  <a:gd name="T4" fmla="*/ 7 w 13"/>
                  <a:gd name="T5" fmla="*/ 10 h 13"/>
                  <a:gd name="T6" fmla="*/ 9 w 13"/>
                  <a:gd name="T7" fmla="*/ 13 h 13"/>
                  <a:gd name="T8" fmla="*/ 13 w 13"/>
                  <a:gd name="T9" fmla="*/ 9 h 13"/>
                  <a:gd name="T10" fmla="*/ 3 w 13"/>
                  <a:gd name="T1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3">
                    <a:moveTo>
                      <a:pt x="3" y="0"/>
                    </a:moveTo>
                    <a:lnTo>
                      <a:pt x="0" y="3"/>
                    </a:lnTo>
                    <a:lnTo>
                      <a:pt x="7" y="10"/>
                    </a:lnTo>
                    <a:lnTo>
                      <a:pt x="9" y="13"/>
                    </a:lnTo>
                    <a:lnTo>
                      <a:pt x="13" y="9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472">
                <a:extLst>
                  <a:ext uri="{FF2B5EF4-FFF2-40B4-BE49-F238E27FC236}">
                    <a16:creationId xmlns:a16="http://schemas.microsoft.com/office/drawing/2014/main" id="{1ED8E840-1F31-4A81-9F17-032BE78894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7" y="2115"/>
                <a:ext cx="13" cy="13"/>
              </a:xfrm>
              <a:custGeom>
                <a:avLst/>
                <a:gdLst>
                  <a:gd name="T0" fmla="*/ 3 w 13"/>
                  <a:gd name="T1" fmla="*/ 0 h 13"/>
                  <a:gd name="T2" fmla="*/ 0 w 13"/>
                  <a:gd name="T3" fmla="*/ 3 h 13"/>
                  <a:gd name="T4" fmla="*/ 7 w 13"/>
                  <a:gd name="T5" fmla="*/ 10 h 13"/>
                  <a:gd name="T6" fmla="*/ 9 w 13"/>
                  <a:gd name="T7" fmla="*/ 13 h 13"/>
                  <a:gd name="T8" fmla="*/ 13 w 13"/>
                  <a:gd name="T9" fmla="*/ 9 h 13"/>
                  <a:gd name="T10" fmla="*/ 3 w 13"/>
                  <a:gd name="T1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3">
                    <a:moveTo>
                      <a:pt x="3" y="0"/>
                    </a:moveTo>
                    <a:lnTo>
                      <a:pt x="0" y="3"/>
                    </a:lnTo>
                    <a:lnTo>
                      <a:pt x="7" y="10"/>
                    </a:lnTo>
                    <a:lnTo>
                      <a:pt x="9" y="13"/>
                    </a:lnTo>
                    <a:lnTo>
                      <a:pt x="13" y="9"/>
                    </a:lnTo>
                    <a:lnTo>
                      <a:pt x="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473">
                <a:extLst>
                  <a:ext uri="{FF2B5EF4-FFF2-40B4-BE49-F238E27FC236}">
                    <a16:creationId xmlns:a16="http://schemas.microsoft.com/office/drawing/2014/main" id="{A2C3C835-DF53-4908-B2DF-AC76CC1CF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2063"/>
                <a:ext cx="64" cy="62"/>
              </a:xfrm>
              <a:custGeom>
                <a:avLst/>
                <a:gdLst>
                  <a:gd name="T0" fmla="*/ 96 w 116"/>
                  <a:gd name="T1" fmla="*/ 0 h 115"/>
                  <a:gd name="T2" fmla="*/ 79 w 116"/>
                  <a:gd name="T3" fmla="*/ 17 h 115"/>
                  <a:gd name="T4" fmla="*/ 86 w 116"/>
                  <a:gd name="T5" fmla="*/ 24 h 115"/>
                  <a:gd name="T6" fmla="*/ 86 w 116"/>
                  <a:gd name="T7" fmla="*/ 34 h 115"/>
                  <a:gd name="T8" fmla="*/ 35 w 116"/>
                  <a:gd name="T9" fmla="*/ 85 h 115"/>
                  <a:gd name="T10" fmla="*/ 29 w 116"/>
                  <a:gd name="T11" fmla="*/ 88 h 115"/>
                  <a:gd name="T12" fmla="*/ 24 w 116"/>
                  <a:gd name="T13" fmla="*/ 85 h 115"/>
                  <a:gd name="T14" fmla="*/ 17 w 116"/>
                  <a:gd name="T15" fmla="*/ 79 h 115"/>
                  <a:gd name="T16" fmla="*/ 0 w 116"/>
                  <a:gd name="T17" fmla="*/ 96 h 115"/>
                  <a:gd name="T18" fmla="*/ 17 w 116"/>
                  <a:gd name="T19" fmla="*/ 113 h 115"/>
                  <a:gd name="T20" fmla="*/ 17 w 116"/>
                  <a:gd name="T21" fmla="*/ 113 h 115"/>
                  <a:gd name="T22" fmla="*/ 20 w 116"/>
                  <a:gd name="T23" fmla="*/ 115 h 115"/>
                  <a:gd name="T24" fmla="*/ 116 w 116"/>
                  <a:gd name="T25" fmla="*/ 19 h 115"/>
                  <a:gd name="T26" fmla="*/ 96 w 116"/>
                  <a:gd name="T27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6" h="115">
                    <a:moveTo>
                      <a:pt x="96" y="0"/>
                    </a:moveTo>
                    <a:cubicBezTo>
                      <a:pt x="79" y="17"/>
                      <a:pt x="79" y="17"/>
                      <a:pt x="79" y="17"/>
                    </a:cubicBezTo>
                    <a:cubicBezTo>
                      <a:pt x="86" y="24"/>
                      <a:pt x="86" y="24"/>
                      <a:pt x="86" y="24"/>
                    </a:cubicBezTo>
                    <a:cubicBezTo>
                      <a:pt x="89" y="27"/>
                      <a:pt x="89" y="31"/>
                      <a:pt x="86" y="34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3" y="87"/>
                      <a:pt x="31" y="88"/>
                      <a:pt x="29" y="88"/>
                    </a:cubicBezTo>
                    <a:cubicBezTo>
                      <a:pt x="27" y="88"/>
                      <a:pt x="25" y="87"/>
                      <a:pt x="24" y="85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17" y="113"/>
                      <a:pt x="17" y="113"/>
                      <a:pt x="17" y="113"/>
                    </a:cubicBezTo>
                    <a:cubicBezTo>
                      <a:pt x="17" y="113"/>
                      <a:pt x="17" y="113"/>
                      <a:pt x="17" y="113"/>
                    </a:cubicBezTo>
                    <a:cubicBezTo>
                      <a:pt x="20" y="115"/>
                      <a:pt x="20" y="115"/>
                      <a:pt x="20" y="115"/>
                    </a:cubicBezTo>
                    <a:cubicBezTo>
                      <a:pt x="61" y="87"/>
                      <a:pt x="87" y="60"/>
                      <a:pt x="116" y="19"/>
                    </a:cubicBezTo>
                    <a:cubicBezTo>
                      <a:pt x="96" y="0"/>
                      <a:pt x="96" y="0"/>
                      <a:pt x="96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474">
                <a:extLst>
                  <a:ext uri="{FF2B5EF4-FFF2-40B4-BE49-F238E27FC236}">
                    <a16:creationId xmlns:a16="http://schemas.microsoft.com/office/drawing/2014/main" id="{D08D8E9F-25FC-4523-94E0-91A5FE877E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30" y="2072"/>
                <a:ext cx="39" cy="39"/>
              </a:xfrm>
              <a:custGeom>
                <a:avLst/>
                <a:gdLst>
                  <a:gd name="T0" fmla="*/ 43 w 72"/>
                  <a:gd name="T1" fmla="*/ 26 h 71"/>
                  <a:gd name="T2" fmla="*/ 42 w 72"/>
                  <a:gd name="T3" fmla="*/ 27 h 71"/>
                  <a:gd name="T4" fmla="*/ 43 w 72"/>
                  <a:gd name="T5" fmla="*/ 29 h 71"/>
                  <a:gd name="T6" fmla="*/ 44 w 72"/>
                  <a:gd name="T7" fmla="*/ 29 h 71"/>
                  <a:gd name="T8" fmla="*/ 45 w 72"/>
                  <a:gd name="T9" fmla="*/ 29 h 71"/>
                  <a:gd name="T10" fmla="*/ 44 w 72"/>
                  <a:gd name="T11" fmla="*/ 27 h 71"/>
                  <a:gd name="T12" fmla="*/ 43 w 72"/>
                  <a:gd name="T13" fmla="*/ 26 h 71"/>
                  <a:gd name="T14" fmla="*/ 62 w 72"/>
                  <a:gd name="T15" fmla="*/ 0 h 71"/>
                  <a:gd name="T16" fmla="*/ 57 w 72"/>
                  <a:gd name="T17" fmla="*/ 6 h 71"/>
                  <a:gd name="T18" fmla="*/ 57 w 72"/>
                  <a:gd name="T19" fmla="*/ 6 h 71"/>
                  <a:gd name="T20" fmla="*/ 58 w 72"/>
                  <a:gd name="T21" fmla="*/ 7 h 71"/>
                  <a:gd name="T22" fmla="*/ 59 w 72"/>
                  <a:gd name="T23" fmla="*/ 9 h 71"/>
                  <a:gd name="T24" fmla="*/ 60 w 72"/>
                  <a:gd name="T25" fmla="*/ 9 h 71"/>
                  <a:gd name="T26" fmla="*/ 62 w 72"/>
                  <a:gd name="T27" fmla="*/ 10 h 71"/>
                  <a:gd name="T28" fmla="*/ 62 w 72"/>
                  <a:gd name="T29" fmla="*/ 15 h 71"/>
                  <a:gd name="T30" fmla="*/ 58 w 72"/>
                  <a:gd name="T31" fmla="*/ 19 h 71"/>
                  <a:gd name="T32" fmla="*/ 51 w 72"/>
                  <a:gd name="T33" fmla="*/ 11 h 71"/>
                  <a:gd name="T34" fmla="*/ 49 w 72"/>
                  <a:gd name="T35" fmla="*/ 13 h 71"/>
                  <a:gd name="T36" fmla="*/ 49 w 72"/>
                  <a:gd name="T37" fmla="*/ 13 h 71"/>
                  <a:gd name="T38" fmla="*/ 51 w 72"/>
                  <a:gd name="T39" fmla="*/ 14 h 71"/>
                  <a:gd name="T40" fmla="*/ 49 w 72"/>
                  <a:gd name="T41" fmla="*/ 16 h 71"/>
                  <a:gd name="T42" fmla="*/ 48 w 72"/>
                  <a:gd name="T43" fmla="*/ 16 h 71"/>
                  <a:gd name="T44" fmla="*/ 47 w 72"/>
                  <a:gd name="T45" fmla="*/ 16 h 71"/>
                  <a:gd name="T46" fmla="*/ 48 w 72"/>
                  <a:gd name="T47" fmla="*/ 20 h 71"/>
                  <a:gd name="T48" fmla="*/ 50 w 72"/>
                  <a:gd name="T49" fmla="*/ 22 h 71"/>
                  <a:gd name="T50" fmla="*/ 52 w 72"/>
                  <a:gd name="T51" fmla="*/ 21 h 71"/>
                  <a:gd name="T52" fmla="*/ 52 w 72"/>
                  <a:gd name="T53" fmla="*/ 19 h 71"/>
                  <a:gd name="T54" fmla="*/ 51 w 72"/>
                  <a:gd name="T55" fmla="*/ 20 h 71"/>
                  <a:gd name="T56" fmla="*/ 49 w 72"/>
                  <a:gd name="T57" fmla="*/ 18 h 71"/>
                  <a:gd name="T58" fmla="*/ 52 w 72"/>
                  <a:gd name="T59" fmla="*/ 15 h 71"/>
                  <a:gd name="T60" fmla="*/ 54 w 72"/>
                  <a:gd name="T61" fmla="*/ 23 h 71"/>
                  <a:gd name="T62" fmla="*/ 50 w 72"/>
                  <a:gd name="T63" fmla="*/ 25 h 71"/>
                  <a:gd name="T64" fmla="*/ 46 w 72"/>
                  <a:gd name="T65" fmla="*/ 23 h 71"/>
                  <a:gd name="T66" fmla="*/ 44 w 72"/>
                  <a:gd name="T67" fmla="*/ 19 h 71"/>
                  <a:gd name="T68" fmla="*/ 44 w 72"/>
                  <a:gd name="T69" fmla="*/ 19 h 71"/>
                  <a:gd name="T70" fmla="*/ 40 w 72"/>
                  <a:gd name="T71" fmla="*/ 22 h 71"/>
                  <a:gd name="T72" fmla="*/ 40 w 72"/>
                  <a:gd name="T73" fmla="*/ 22 h 71"/>
                  <a:gd name="T74" fmla="*/ 41 w 72"/>
                  <a:gd name="T75" fmla="*/ 25 h 71"/>
                  <a:gd name="T76" fmla="*/ 43 w 72"/>
                  <a:gd name="T77" fmla="*/ 23 h 71"/>
                  <a:gd name="T78" fmla="*/ 46 w 72"/>
                  <a:gd name="T79" fmla="*/ 25 h 71"/>
                  <a:gd name="T80" fmla="*/ 46 w 72"/>
                  <a:gd name="T81" fmla="*/ 31 h 71"/>
                  <a:gd name="T82" fmla="*/ 44 w 72"/>
                  <a:gd name="T83" fmla="*/ 32 h 71"/>
                  <a:gd name="T84" fmla="*/ 41 w 72"/>
                  <a:gd name="T85" fmla="*/ 31 h 71"/>
                  <a:gd name="T86" fmla="*/ 39 w 72"/>
                  <a:gd name="T87" fmla="*/ 28 h 71"/>
                  <a:gd name="T88" fmla="*/ 38 w 72"/>
                  <a:gd name="T89" fmla="*/ 24 h 71"/>
                  <a:gd name="T90" fmla="*/ 38 w 72"/>
                  <a:gd name="T91" fmla="*/ 24 h 71"/>
                  <a:gd name="T92" fmla="*/ 34 w 72"/>
                  <a:gd name="T93" fmla="*/ 28 h 71"/>
                  <a:gd name="T94" fmla="*/ 40 w 72"/>
                  <a:gd name="T95" fmla="*/ 34 h 71"/>
                  <a:gd name="T96" fmla="*/ 41 w 72"/>
                  <a:gd name="T97" fmla="*/ 33 h 71"/>
                  <a:gd name="T98" fmla="*/ 43 w 72"/>
                  <a:gd name="T99" fmla="*/ 34 h 71"/>
                  <a:gd name="T100" fmla="*/ 38 w 72"/>
                  <a:gd name="T101" fmla="*/ 39 h 71"/>
                  <a:gd name="T102" fmla="*/ 37 w 72"/>
                  <a:gd name="T103" fmla="*/ 37 h 71"/>
                  <a:gd name="T104" fmla="*/ 38 w 72"/>
                  <a:gd name="T105" fmla="*/ 36 h 71"/>
                  <a:gd name="T106" fmla="*/ 33 w 72"/>
                  <a:gd name="T107" fmla="*/ 30 h 71"/>
                  <a:gd name="T108" fmla="*/ 32 w 72"/>
                  <a:gd name="T109" fmla="*/ 31 h 71"/>
                  <a:gd name="T110" fmla="*/ 31 w 72"/>
                  <a:gd name="T111" fmla="*/ 31 h 71"/>
                  <a:gd name="T112" fmla="*/ 0 w 72"/>
                  <a:gd name="T113" fmla="*/ 62 h 71"/>
                  <a:gd name="T114" fmla="*/ 7 w 72"/>
                  <a:gd name="T115" fmla="*/ 68 h 71"/>
                  <a:gd name="T116" fmla="*/ 12 w 72"/>
                  <a:gd name="T117" fmla="*/ 71 h 71"/>
                  <a:gd name="T118" fmla="*/ 18 w 72"/>
                  <a:gd name="T119" fmla="*/ 68 h 71"/>
                  <a:gd name="T120" fmla="*/ 69 w 72"/>
                  <a:gd name="T121" fmla="*/ 17 h 71"/>
                  <a:gd name="T122" fmla="*/ 69 w 72"/>
                  <a:gd name="T123" fmla="*/ 7 h 71"/>
                  <a:gd name="T124" fmla="*/ 62 w 72"/>
                  <a:gd name="T12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2" h="71">
                    <a:moveTo>
                      <a:pt x="43" y="26"/>
                    </a:moveTo>
                    <a:cubicBezTo>
                      <a:pt x="43" y="26"/>
                      <a:pt x="43" y="26"/>
                      <a:pt x="42" y="27"/>
                    </a:cubicBezTo>
                    <a:cubicBezTo>
                      <a:pt x="42" y="27"/>
                      <a:pt x="42" y="28"/>
                      <a:pt x="43" y="29"/>
                    </a:cubicBezTo>
                    <a:cubicBezTo>
                      <a:pt x="43" y="29"/>
                      <a:pt x="44" y="29"/>
                      <a:pt x="44" y="29"/>
                    </a:cubicBezTo>
                    <a:cubicBezTo>
                      <a:pt x="44" y="29"/>
                      <a:pt x="44" y="29"/>
                      <a:pt x="45" y="29"/>
                    </a:cubicBezTo>
                    <a:cubicBezTo>
                      <a:pt x="45" y="28"/>
                      <a:pt x="45" y="28"/>
                      <a:pt x="44" y="27"/>
                    </a:cubicBezTo>
                    <a:cubicBezTo>
                      <a:pt x="44" y="27"/>
                      <a:pt x="43" y="26"/>
                      <a:pt x="43" y="26"/>
                    </a:cubicBezTo>
                    <a:moveTo>
                      <a:pt x="62" y="0"/>
                    </a:move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58" y="6"/>
                      <a:pt x="58" y="7"/>
                    </a:cubicBezTo>
                    <a:cubicBezTo>
                      <a:pt x="59" y="7"/>
                      <a:pt x="59" y="8"/>
                      <a:pt x="59" y="9"/>
                    </a:cubicBezTo>
                    <a:cubicBezTo>
                      <a:pt x="59" y="9"/>
                      <a:pt x="59" y="9"/>
                      <a:pt x="60" y="9"/>
                    </a:cubicBezTo>
                    <a:cubicBezTo>
                      <a:pt x="60" y="9"/>
                      <a:pt x="61" y="9"/>
                      <a:pt x="62" y="10"/>
                    </a:cubicBezTo>
                    <a:cubicBezTo>
                      <a:pt x="64" y="11"/>
                      <a:pt x="64" y="14"/>
                      <a:pt x="62" y="15"/>
                    </a:cubicBezTo>
                    <a:cubicBezTo>
                      <a:pt x="58" y="19"/>
                      <a:pt x="58" y="19"/>
                      <a:pt x="58" y="19"/>
                    </a:cubicBezTo>
                    <a:cubicBezTo>
                      <a:pt x="51" y="11"/>
                      <a:pt x="51" y="11"/>
                      <a:pt x="51" y="11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50" y="13"/>
                      <a:pt x="51" y="13"/>
                      <a:pt x="51" y="14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9" y="16"/>
                      <a:pt x="49" y="16"/>
                      <a:pt x="48" y="16"/>
                    </a:cubicBezTo>
                    <a:cubicBezTo>
                      <a:pt x="48" y="16"/>
                      <a:pt x="47" y="16"/>
                      <a:pt x="47" y="16"/>
                    </a:cubicBezTo>
                    <a:cubicBezTo>
                      <a:pt x="46" y="17"/>
                      <a:pt x="46" y="19"/>
                      <a:pt x="48" y="20"/>
                    </a:cubicBezTo>
                    <a:cubicBezTo>
                      <a:pt x="49" y="21"/>
                      <a:pt x="50" y="22"/>
                      <a:pt x="50" y="22"/>
                    </a:cubicBezTo>
                    <a:cubicBezTo>
                      <a:pt x="51" y="22"/>
                      <a:pt x="52" y="22"/>
                      <a:pt x="52" y="21"/>
                    </a:cubicBezTo>
                    <a:cubicBezTo>
                      <a:pt x="53" y="21"/>
                      <a:pt x="53" y="20"/>
                      <a:pt x="52" y="19"/>
                    </a:cubicBezTo>
                    <a:cubicBezTo>
                      <a:pt x="51" y="20"/>
                      <a:pt x="51" y="20"/>
                      <a:pt x="51" y="20"/>
                    </a:cubicBezTo>
                    <a:cubicBezTo>
                      <a:pt x="49" y="18"/>
                      <a:pt x="49" y="18"/>
                      <a:pt x="49" y="18"/>
                    </a:cubicBezTo>
                    <a:cubicBezTo>
                      <a:pt x="52" y="15"/>
                      <a:pt x="52" y="15"/>
                      <a:pt x="52" y="15"/>
                    </a:cubicBezTo>
                    <a:cubicBezTo>
                      <a:pt x="55" y="17"/>
                      <a:pt x="57" y="21"/>
                      <a:pt x="54" y="23"/>
                    </a:cubicBezTo>
                    <a:cubicBezTo>
                      <a:pt x="53" y="24"/>
                      <a:pt x="52" y="25"/>
                      <a:pt x="50" y="25"/>
                    </a:cubicBezTo>
                    <a:cubicBezTo>
                      <a:pt x="49" y="25"/>
                      <a:pt x="47" y="24"/>
                      <a:pt x="46" y="23"/>
                    </a:cubicBezTo>
                    <a:cubicBezTo>
                      <a:pt x="44" y="21"/>
                      <a:pt x="44" y="20"/>
                      <a:pt x="44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2" y="24"/>
                      <a:pt x="43" y="23"/>
                      <a:pt x="43" y="23"/>
                    </a:cubicBezTo>
                    <a:cubicBezTo>
                      <a:pt x="44" y="23"/>
                      <a:pt x="45" y="24"/>
                      <a:pt x="46" y="25"/>
                    </a:cubicBezTo>
                    <a:cubicBezTo>
                      <a:pt x="48" y="27"/>
                      <a:pt x="48" y="29"/>
                      <a:pt x="46" y="31"/>
                    </a:cubicBezTo>
                    <a:cubicBezTo>
                      <a:pt x="46" y="32"/>
                      <a:pt x="45" y="32"/>
                      <a:pt x="44" y="32"/>
                    </a:cubicBezTo>
                    <a:cubicBezTo>
                      <a:pt x="43" y="32"/>
                      <a:pt x="42" y="32"/>
                      <a:pt x="41" y="31"/>
                    </a:cubicBezTo>
                    <a:cubicBezTo>
                      <a:pt x="40" y="30"/>
                      <a:pt x="40" y="29"/>
                      <a:pt x="39" y="28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4" y="28"/>
                      <a:pt x="34" y="28"/>
                      <a:pt x="34" y="28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43" y="34"/>
                      <a:pt x="43" y="34"/>
                      <a:pt x="43" y="34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7" y="37"/>
                      <a:pt x="37" y="37"/>
                      <a:pt x="37" y="37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1" y="31"/>
                      <a:pt x="31" y="31"/>
                      <a:pt x="31" y="31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7" y="68"/>
                      <a:pt x="7" y="68"/>
                      <a:pt x="7" y="68"/>
                    </a:cubicBezTo>
                    <a:cubicBezTo>
                      <a:pt x="8" y="70"/>
                      <a:pt x="10" y="71"/>
                      <a:pt x="12" y="71"/>
                    </a:cubicBezTo>
                    <a:cubicBezTo>
                      <a:pt x="14" y="71"/>
                      <a:pt x="16" y="70"/>
                      <a:pt x="18" y="68"/>
                    </a:cubicBezTo>
                    <a:cubicBezTo>
                      <a:pt x="69" y="17"/>
                      <a:pt x="69" y="17"/>
                      <a:pt x="69" y="17"/>
                    </a:cubicBezTo>
                    <a:cubicBezTo>
                      <a:pt x="72" y="14"/>
                      <a:pt x="72" y="10"/>
                      <a:pt x="69" y="7"/>
                    </a:cubicBezTo>
                    <a:cubicBezTo>
                      <a:pt x="62" y="0"/>
                      <a:pt x="62" y="0"/>
                      <a:pt x="62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475">
                <a:extLst>
                  <a:ext uri="{FF2B5EF4-FFF2-40B4-BE49-F238E27FC236}">
                    <a16:creationId xmlns:a16="http://schemas.microsoft.com/office/drawing/2014/main" id="{31173EE4-93C5-4D06-835D-24D95BAF6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2 h 4"/>
                  <a:gd name="T4" fmla="*/ 2 w 4"/>
                  <a:gd name="T5" fmla="*/ 4 h 4"/>
                  <a:gd name="T6" fmla="*/ 4 w 4"/>
                  <a:gd name="T7" fmla="*/ 2 h 4"/>
                  <a:gd name="T8" fmla="*/ 2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2121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Freeform 476">
                <a:extLst>
                  <a:ext uri="{FF2B5EF4-FFF2-40B4-BE49-F238E27FC236}">
                    <a16:creationId xmlns:a16="http://schemas.microsoft.com/office/drawing/2014/main" id="{47CB574F-8205-4692-8F4A-4816A3761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2 h 4"/>
                  <a:gd name="T4" fmla="*/ 2 w 4"/>
                  <a:gd name="T5" fmla="*/ 4 h 4"/>
                  <a:gd name="T6" fmla="*/ 4 w 4"/>
                  <a:gd name="T7" fmla="*/ 2 h 4"/>
                  <a:gd name="T8" fmla="*/ 2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477">
                <a:extLst>
                  <a:ext uri="{FF2B5EF4-FFF2-40B4-BE49-F238E27FC236}">
                    <a16:creationId xmlns:a16="http://schemas.microsoft.com/office/drawing/2014/main" id="{AB30515E-C711-4F72-9542-AB954CF37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3" y="2055"/>
                <a:ext cx="14" cy="18"/>
              </a:xfrm>
              <a:custGeom>
                <a:avLst/>
                <a:gdLst>
                  <a:gd name="T0" fmla="*/ 14 w 26"/>
                  <a:gd name="T1" fmla="*/ 0 h 33"/>
                  <a:gd name="T2" fmla="*/ 0 w 26"/>
                  <a:gd name="T3" fmla="*/ 14 h 33"/>
                  <a:gd name="T4" fmla="*/ 20 w 26"/>
                  <a:gd name="T5" fmla="*/ 33 h 33"/>
                  <a:gd name="T6" fmla="*/ 20 w 26"/>
                  <a:gd name="T7" fmla="*/ 33 h 33"/>
                  <a:gd name="T8" fmla="*/ 26 w 26"/>
                  <a:gd name="T9" fmla="*/ 20 h 33"/>
                  <a:gd name="T10" fmla="*/ 26 w 26"/>
                  <a:gd name="T11" fmla="*/ 19 h 33"/>
                  <a:gd name="T12" fmla="*/ 14 w 26"/>
                  <a:gd name="T13" fmla="*/ 0 h 33"/>
                  <a:gd name="T14" fmla="*/ 14 w 26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3">
                    <a:moveTo>
                      <a:pt x="14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20" y="33"/>
                      <a:pt x="26" y="24"/>
                      <a:pt x="26" y="20"/>
                    </a:cubicBezTo>
                    <a:cubicBezTo>
                      <a:pt x="26" y="20"/>
                      <a:pt x="26" y="20"/>
                      <a:pt x="26" y="19"/>
                    </a:cubicBezTo>
                    <a:cubicBezTo>
                      <a:pt x="25" y="14"/>
                      <a:pt x="20" y="7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478">
                <a:extLst>
                  <a:ext uri="{FF2B5EF4-FFF2-40B4-BE49-F238E27FC236}">
                    <a16:creationId xmlns:a16="http://schemas.microsoft.com/office/drawing/2014/main" id="{FF114925-86BC-48BE-89A6-A26EAC5E91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7" y="2087"/>
                <a:ext cx="6" cy="6"/>
              </a:xfrm>
              <a:custGeom>
                <a:avLst/>
                <a:gdLst>
                  <a:gd name="T0" fmla="*/ 1 w 6"/>
                  <a:gd name="T1" fmla="*/ 0 h 6"/>
                  <a:gd name="T2" fmla="*/ 0 w 6"/>
                  <a:gd name="T3" fmla="*/ 2 h 6"/>
                  <a:gd name="T4" fmla="*/ 0 w 6"/>
                  <a:gd name="T5" fmla="*/ 2 h 6"/>
                  <a:gd name="T6" fmla="*/ 1 w 6"/>
                  <a:gd name="T7" fmla="*/ 1 h 6"/>
                  <a:gd name="T8" fmla="*/ 3 w 6"/>
                  <a:gd name="T9" fmla="*/ 5 h 6"/>
                  <a:gd name="T10" fmla="*/ 3 w 6"/>
                  <a:gd name="T11" fmla="*/ 5 h 6"/>
                  <a:gd name="T12" fmla="*/ 3 w 6"/>
                  <a:gd name="T13" fmla="*/ 6 h 6"/>
                  <a:gd name="T14" fmla="*/ 6 w 6"/>
                  <a:gd name="T15" fmla="*/ 3 h 6"/>
                  <a:gd name="T16" fmla="*/ 5 w 6"/>
                  <a:gd name="T17" fmla="*/ 3 h 6"/>
                  <a:gd name="T18" fmla="*/ 4 w 6"/>
                  <a:gd name="T19" fmla="*/ 3 h 6"/>
                  <a:gd name="T20" fmla="*/ 1 w 6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479">
                <a:extLst>
                  <a:ext uri="{FF2B5EF4-FFF2-40B4-BE49-F238E27FC236}">
                    <a16:creationId xmlns:a16="http://schemas.microsoft.com/office/drawing/2014/main" id="{3EC4FAC2-A67E-4FE4-AAFF-47960A718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7" y="2087"/>
                <a:ext cx="6" cy="6"/>
              </a:xfrm>
              <a:custGeom>
                <a:avLst/>
                <a:gdLst>
                  <a:gd name="T0" fmla="*/ 1 w 6"/>
                  <a:gd name="T1" fmla="*/ 0 h 6"/>
                  <a:gd name="T2" fmla="*/ 0 w 6"/>
                  <a:gd name="T3" fmla="*/ 2 h 6"/>
                  <a:gd name="T4" fmla="*/ 0 w 6"/>
                  <a:gd name="T5" fmla="*/ 2 h 6"/>
                  <a:gd name="T6" fmla="*/ 1 w 6"/>
                  <a:gd name="T7" fmla="*/ 1 h 6"/>
                  <a:gd name="T8" fmla="*/ 3 w 6"/>
                  <a:gd name="T9" fmla="*/ 5 h 6"/>
                  <a:gd name="T10" fmla="*/ 3 w 6"/>
                  <a:gd name="T11" fmla="*/ 5 h 6"/>
                  <a:gd name="T12" fmla="*/ 3 w 6"/>
                  <a:gd name="T13" fmla="*/ 6 h 6"/>
                  <a:gd name="T14" fmla="*/ 6 w 6"/>
                  <a:gd name="T15" fmla="*/ 3 h 6"/>
                  <a:gd name="T16" fmla="*/ 5 w 6"/>
                  <a:gd name="T17" fmla="*/ 3 h 6"/>
                  <a:gd name="T18" fmla="*/ 4 w 6"/>
                  <a:gd name="T19" fmla="*/ 3 h 6"/>
                  <a:gd name="T20" fmla="*/ 1 w 6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480">
                <a:extLst>
                  <a:ext uri="{FF2B5EF4-FFF2-40B4-BE49-F238E27FC236}">
                    <a16:creationId xmlns:a16="http://schemas.microsoft.com/office/drawing/2014/main" id="{383433D8-8C96-4051-9300-1318DD64E6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0" y="2084"/>
                <a:ext cx="6" cy="5"/>
              </a:xfrm>
              <a:custGeom>
                <a:avLst/>
                <a:gdLst>
                  <a:gd name="T0" fmla="*/ 6 w 10"/>
                  <a:gd name="T1" fmla="*/ 7 h 10"/>
                  <a:gd name="T2" fmla="*/ 5 w 10"/>
                  <a:gd name="T3" fmla="*/ 7 h 10"/>
                  <a:gd name="T4" fmla="*/ 4 w 10"/>
                  <a:gd name="T5" fmla="*/ 5 h 10"/>
                  <a:gd name="T6" fmla="*/ 5 w 10"/>
                  <a:gd name="T7" fmla="*/ 4 h 10"/>
                  <a:gd name="T8" fmla="*/ 6 w 10"/>
                  <a:gd name="T9" fmla="*/ 5 h 10"/>
                  <a:gd name="T10" fmla="*/ 7 w 10"/>
                  <a:gd name="T11" fmla="*/ 7 h 10"/>
                  <a:gd name="T12" fmla="*/ 6 w 10"/>
                  <a:gd name="T13" fmla="*/ 7 h 10"/>
                  <a:gd name="T14" fmla="*/ 2 w 10"/>
                  <a:gd name="T15" fmla="*/ 0 h 10"/>
                  <a:gd name="T16" fmla="*/ 0 w 10"/>
                  <a:gd name="T17" fmla="*/ 2 h 10"/>
                  <a:gd name="T18" fmla="*/ 0 w 10"/>
                  <a:gd name="T19" fmla="*/ 2 h 10"/>
                  <a:gd name="T20" fmla="*/ 1 w 10"/>
                  <a:gd name="T21" fmla="*/ 6 h 10"/>
                  <a:gd name="T22" fmla="*/ 3 w 10"/>
                  <a:gd name="T23" fmla="*/ 9 h 10"/>
                  <a:gd name="T24" fmla="*/ 6 w 10"/>
                  <a:gd name="T25" fmla="*/ 10 h 10"/>
                  <a:gd name="T26" fmla="*/ 8 w 10"/>
                  <a:gd name="T27" fmla="*/ 9 h 10"/>
                  <a:gd name="T28" fmla="*/ 8 w 10"/>
                  <a:gd name="T29" fmla="*/ 3 h 10"/>
                  <a:gd name="T30" fmla="*/ 5 w 10"/>
                  <a:gd name="T31" fmla="*/ 1 h 10"/>
                  <a:gd name="T32" fmla="*/ 3 w 10"/>
                  <a:gd name="T33" fmla="*/ 3 h 10"/>
                  <a:gd name="T34" fmla="*/ 2 w 10"/>
                  <a:gd name="T35" fmla="*/ 0 h 10"/>
                  <a:gd name="T36" fmla="*/ 2 w 10"/>
                  <a:gd name="T3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" h="10">
                    <a:moveTo>
                      <a:pt x="6" y="7"/>
                    </a:moveTo>
                    <a:cubicBezTo>
                      <a:pt x="6" y="7"/>
                      <a:pt x="5" y="7"/>
                      <a:pt x="5" y="7"/>
                    </a:cubicBezTo>
                    <a:cubicBezTo>
                      <a:pt x="4" y="6"/>
                      <a:pt x="4" y="5"/>
                      <a:pt x="4" y="5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6" y="5"/>
                      <a:pt x="6" y="5"/>
                    </a:cubicBezTo>
                    <a:cubicBezTo>
                      <a:pt x="7" y="6"/>
                      <a:pt x="7" y="6"/>
                      <a:pt x="7" y="7"/>
                    </a:cubicBezTo>
                    <a:cubicBezTo>
                      <a:pt x="6" y="7"/>
                      <a:pt x="6" y="7"/>
                      <a:pt x="6" y="7"/>
                    </a:cubicBezTo>
                    <a:moveTo>
                      <a:pt x="2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2" y="7"/>
                      <a:pt x="2" y="8"/>
                      <a:pt x="3" y="9"/>
                    </a:cubicBezTo>
                    <a:cubicBezTo>
                      <a:pt x="4" y="10"/>
                      <a:pt x="5" y="10"/>
                      <a:pt x="6" y="10"/>
                    </a:cubicBezTo>
                    <a:cubicBezTo>
                      <a:pt x="7" y="10"/>
                      <a:pt x="8" y="10"/>
                      <a:pt x="8" y="9"/>
                    </a:cubicBezTo>
                    <a:cubicBezTo>
                      <a:pt x="10" y="7"/>
                      <a:pt x="10" y="5"/>
                      <a:pt x="8" y="3"/>
                    </a:cubicBezTo>
                    <a:cubicBezTo>
                      <a:pt x="7" y="2"/>
                      <a:pt x="6" y="1"/>
                      <a:pt x="5" y="1"/>
                    </a:cubicBezTo>
                    <a:cubicBezTo>
                      <a:pt x="5" y="1"/>
                      <a:pt x="4" y="2"/>
                      <a:pt x="3" y="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481">
                <a:extLst>
                  <a:ext uri="{FF2B5EF4-FFF2-40B4-BE49-F238E27FC236}">
                    <a16:creationId xmlns:a16="http://schemas.microsoft.com/office/drawing/2014/main" id="{8C2A99D8-D6A7-4F92-956C-6FA00F7A3F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" y="2079"/>
                <a:ext cx="7" cy="7"/>
              </a:xfrm>
              <a:custGeom>
                <a:avLst/>
                <a:gdLst>
                  <a:gd name="T0" fmla="*/ 5 w 13"/>
                  <a:gd name="T1" fmla="*/ 0 h 12"/>
                  <a:gd name="T2" fmla="*/ 0 w 13"/>
                  <a:gd name="T3" fmla="*/ 6 h 12"/>
                  <a:gd name="T4" fmla="*/ 0 w 13"/>
                  <a:gd name="T5" fmla="*/ 6 h 12"/>
                  <a:gd name="T6" fmla="*/ 2 w 13"/>
                  <a:gd name="T7" fmla="*/ 10 h 12"/>
                  <a:gd name="T8" fmla="*/ 6 w 13"/>
                  <a:gd name="T9" fmla="*/ 12 h 12"/>
                  <a:gd name="T10" fmla="*/ 10 w 13"/>
                  <a:gd name="T11" fmla="*/ 10 h 12"/>
                  <a:gd name="T12" fmla="*/ 8 w 13"/>
                  <a:gd name="T13" fmla="*/ 2 h 12"/>
                  <a:gd name="T14" fmla="*/ 5 w 13"/>
                  <a:gd name="T15" fmla="*/ 5 h 12"/>
                  <a:gd name="T16" fmla="*/ 7 w 13"/>
                  <a:gd name="T17" fmla="*/ 7 h 12"/>
                  <a:gd name="T18" fmla="*/ 8 w 13"/>
                  <a:gd name="T19" fmla="*/ 6 h 12"/>
                  <a:gd name="T20" fmla="*/ 8 w 13"/>
                  <a:gd name="T21" fmla="*/ 8 h 12"/>
                  <a:gd name="T22" fmla="*/ 6 w 13"/>
                  <a:gd name="T23" fmla="*/ 9 h 12"/>
                  <a:gd name="T24" fmla="*/ 4 w 13"/>
                  <a:gd name="T25" fmla="*/ 7 h 12"/>
                  <a:gd name="T26" fmla="*/ 3 w 13"/>
                  <a:gd name="T27" fmla="*/ 3 h 12"/>
                  <a:gd name="T28" fmla="*/ 4 w 13"/>
                  <a:gd name="T29" fmla="*/ 3 h 12"/>
                  <a:gd name="T30" fmla="*/ 5 w 13"/>
                  <a:gd name="T31" fmla="*/ 3 h 12"/>
                  <a:gd name="T32" fmla="*/ 7 w 13"/>
                  <a:gd name="T33" fmla="*/ 1 h 12"/>
                  <a:gd name="T34" fmla="*/ 5 w 13"/>
                  <a:gd name="T35" fmla="*/ 0 h 12"/>
                  <a:gd name="T36" fmla="*/ 5 w 13"/>
                  <a:gd name="T3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12">
                    <a:moveTo>
                      <a:pt x="5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8"/>
                      <a:pt x="2" y="10"/>
                    </a:cubicBezTo>
                    <a:cubicBezTo>
                      <a:pt x="3" y="11"/>
                      <a:pt x="5" y="12"/>
                      <a:pt x="6" y="12"/>
                    </a:cubicBezTo>
                    <a:cubicBezTo>
                      <a:pt x="8" y="12"/>
                      <a:pt x="9" y="11"/>
                      <a:pt x="10" y="10"/>
                    </a:cubicBezTo>
                    <a:cubicBezTo>
                      <a:pt x="13" y="8"/>
                      <a:pt x="11" y="4"/>
                      <a:pt x="8" y="2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7"/>
                      <a:pt x="9" y="8"/>
                      <a:pt x="8" y="8"/>
                    </a:cubicBezTo>
                    <a:cubicBezTo>
                      <a:pt x="8" y="9"/>
                      <a:pt x="7" y="9"/>
                      <a:pt x="6" y="9"/>
                    </a:cubicBezTo>
                    <a:cubicBezTo>
                      <a:pt x="6" y="9"/>
                      <a:pt x="5" y="8"/>
                      <a:pt x="4" y="7"/>
                    </a:cubicBezTo>
                    <a:cubicBezTo>
                      <a:pt x="2" y="6"/>
                      <a:pt x="2" y="4"/>
                      <a:pt x="3" y="3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0"/>
                      <a:pt x="6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482">
                <a:extLst>
                  <a:ext uri="{FF2B5EF4-FFF2-40B4-BE49-F238E27FC236}">
                    <a16:creationId xmlns:a16="http://schemas.microsoft.com/office/drawing/2014/main" id="{50342975-A6CF-48F1-961C-B73C9BF50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9" y="2076"/>
                <a:ext cx="3" cy="4"/>
              </a:xfrm>
              <a:custGeom>
                <a:avLst/>
                <a:gdLst>
                  <a:gd name="T0" fmla="*/ 5 w 6"/>
                  <a:gd name="T1" fmla="*/ 4 h 6"/>
                  <a:gd name="T2" fmla="*/ 4 w 6"/>
                  <a:gd name="T3" fmla="*/ 4 h 6"/>
                  <a:gd name="T4" fmla="*/ 3 w 6"/>
                  <a:gd name="T5" fmla="*/ 5 h 6"/>
                  <a:gd name="T6" fmla="*/ 5 w 6"/>
                  <a:gd name="T7" fmla="*/ 6 h 6"/>
                  <a:gd name="T8" fmla="*/ 6 w 6"/>
                  <a:gd name="T9" fmla="*/ 5 h 6"/>
                  <a:gd name="T10" fmla="*/ 6 w 6"/>
                  <a:gd name="T11" fmla="*/ 4 h 6"/>
                  <a:gd name="T12" fmla="*/ 5 w 6"/>
                  <a:gd name="T13" fmla="*/ 4 h 6"/>
                  <a:gd name="T14" fmla="*/ 1 w 6"/>
                  <a:gd name="T15" fmla="*/ 0 h 6"/>
                  <a:gd name="T16" fmla="*/ 1 w 6"/>
                  <a:gd name="T17" fmla="*/ 1 h 6"/>
                  <a:gd name="T18" fmla="*/ 0 w 6"/>
                  <a:gd name="T19" fmla="*/ 2 h 6"/>
                  <a:gd name="T20" fmla="*/ 1 w 6"/>
                  <a:gd name="T21" fmla="*/ 3 h 6"/>
                  <a:gd name="T22" fmla="*/ 2 w 6"/>
                  <a:gd name="T23" fmla="*/ 2 h 6"/>
                  <a:gd name="T24" fmla="*/ 2 w 6"/>
                  <a:gd name="T25" fmla="*/ 1 h 6"/>
                  <a:gd name="T26" fmla="*/ 1 w 6"/>
                  <a:gd name="T2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6">
                    <a:moveTo>
                      <a:pt x="5" y="4"/>
                    </a:moveTo>
                    <a:cubicBezTo>
                      <a:pt x="5" y="4"/>
                      <a:pt x="4" y="4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4"/>
                      <a:pt x="6" y="4"/>
                    </a:cubicBezTo>
                    <a:cubicBezTo>
                      <a:pt x="5" y="4"/>
                      <a:pt x="5" y="4"/>
                      <a:pt x="5" y="4"/>
                    </a:cubicBezTo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483">
                <a:extLst>
                  <a:ext uri="{FF2B5EF4-FFF2-40B4-BE49-F238E27FC236}">
                    <a16:creationId xmlns:a16="http://schemas.microsoft.com/office/drawing/2014/main" id="{0AD79C15-9410-49EA-A0B7-001956844B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7" y="2075"/>
                <a:ext cx="8" cy="7"/>
              </a:xfrm>
              <a:custGeom>
                <a:avLst/>
                <a:gdLst>
                  <a:gd name="T0" fmla="*/ 8 w 13"/>
                  <a:gd name="T1" fmla="*/ 8 h 13"/>
                  <a:gd name="T2" fmla="*/ 6 w 13"/>
                  <a:gd name="T3" fmla="*/ 7 h 13"/>
                  <a:gd name="T4" fmla="*/ 7 w 13"/>
                  <a:gd name="T5" fmla="*/ 6 h 13"/>
                  <a:gd name="T6" fmla="*/ 8 w 13"/>
                  <a:gd name="T7" fmla="*/ 6 h 13"/>
                  <a:gd name="T8" fmla="*/ 9 w 13"/>
                  <a:gd name="T9" fmla="*/ 6 h 13"/>
                  <a:gd name="T10" fmla="*/ 9 w 13"/>
                  <a:gd name="T11" fmla="*/ 7 h 13"/>
                  <a:gd name="T12" fmla="*/ 8 w 13"/>
                  <a:gd name="T13" fmla="*/ 8 h 13"/>
                  <a:gd name="T14" fmla="*/ 4 w 13"/>
                  <a:gd name="T15" fmla="*/ 5 h 13"/>
                  <a:gd name="T16" fmla="*/ 3 w 13"/>
                  <a:gd name="T17" fmla="*/ 4 h 13"/>
                  <a:gd name="T18" fmla="*/ 4 w 13"/>
                  <a:gd name="T19" fmla="*/ 3 h 13"/>
                  <a:gd name="T20" fmla="*/ 4 w 13"/>
                  <a:gd name="T21" fmla="*/ 2 h 13"/>
                  <a:gd name="T22" fmla="*/ 5 w 13"/>
                  <a:gd name="T23" fmla="*/ 3 h 13"/>
                  <a:gd name="T24" fmla="*/ 5 w 13"/>
                  <a:gd name="T25" fmla="*/ 4 h 13"/>
                  <a:gd name="T26" fmla="*/ 4 w 13"/>
                  <a:gd name="T27" fmla="*/ 5 h 13"/>
                  <a:gd name="T28" fmla="*/ 6 w 13"/>
                  <a:gd name="T29" fmla="*/ 0 h 13"/>
                  <a:gd name="T30" fmla="*/ 0 w 13"/>
                  <a:gd name="T31" fmla="*/ 5 h 13"/>
                  <a:gd name="T32" fmla="*/ 7 w 13"/>
                  <a:gd name="T33" fmla="*/ 13 h 13"/>
                  <a:gd name="T34" fmla="*/ 11 w 13"/>
                  <a:gd name="T35" fmla="*/ 9 h 13"/>
                  <a:gd name="T36" fmla="*/ 11 w 13"/>
                  <a:gd name="T37" fmla="*/ 4 h 13"/>
                  <a:gd name="T38" fmla="*/ 9 w 13"/>
                  <a:gd name="T39" fmla="*/ 3 h 13"/>
                  <a:gd name="T40" fmla="*/ 8 w 13"/>
                  <a:gd name="T41" fmla="*/ 3 h 13"/>
                  <a:gd name="T42" fmla="*/ 7 w 13"/>
                  <a:gd name="T43" fmla="*/ 1 h 13"/>
                  <a:gd name="T44" fmla="*/ 6 w 13"/>
                  <a:gd name="T45" fmla="*/ 0 h 13"/>
                  <a:gd name="T46" fmla="*/ 6 w 13"/>
                  <a:gd name="T4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" h="13">
                    <a:moveTo>
                      <a:pt x="8" y="8"/>
                    </a:moveTo>
                    <a:cubicBezTo>
                      <a:pt x="6" y="7"/>
                      <a:pt x="6" y="7"/>
                      <a:pt x="6" y="7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9" y="6"/>
                    </a:cubicBezTo>
                    <a:cubicBezTo>
                      <a:pt x="9" y="6"/>
                      <a:pt x="9" y="7"/>
                      <a:pt x="9" y="7"/>
                    </a:cubicBezTo>
                    <a:cubicBezTo>
                      <a:pt x="8" y="8"/>
                      <a:pt x="8" y="8"/>
                      <a:pt x="8" y="8"/>
                    </a:cubicBezTo>
                    <a:moveTo>
                      <a:pt x="4" y="5"/>
                    </a:moveTo>
                    <a:cubicBezTo>
                      <a:pt x="3" y="4"/>
                      <a:pt x="3" y="4"/>
                      <a:pt x="3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2"/>
                      <a:pt x="4" y="2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6" y="3"/>
                      <a:pt x="6" y="4"/>
                      <a:pt x="5" y="4"/>
                    </a:cubicBezTo>
                    <a:cubicBezTo>
                      <a:pt x="4" y="5"/>
                      <a:pt x="4" y="5"/>
                      <a:pt x="4" y="5"/>
                    </a:cubicBezTo>
                    <a:moveTo>
                      <a:pt x="6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3" y="8"/>
                      <a:pt x="13" y="5"/>
                      <a:pt x="11" y="4"/>
                    </a:cubicBezTo>
                    <a:cubicBezTo>
                      <a:pt x="10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7" y="1"/>
                    </a:cubicBezTo>
                    <a:cubicBezTo>
                      <a:pt x="7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484">
                <a:extLst>
                  <a:ext uri="{FF2B5EF4-FFF2-40B4-BE49-F238E27FC236}">
                    <a16:creationId xmlns:a16="http://schemas.microsoft.com/office/drawing/2014/main" id="{436BE7DE-BF7D-482B-9611-959F43F05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4" y="2209"/>
                <a:ext cx="452" cy="412"/>
              </a:xfrm>
              <a:custGeom>
                <a:avLst/>
                <a:gdLst>
                  <a:gd name="T0" fmla="*/ 452 w 452"/>
                  <a:gd name="T1" fmla="*/ 159 h 412"/>
                  <a:gd name="T2" fmla="*/ 122 w 452"/>
                  <a:gd name="T3" fmla="*/ 412 h 412"/>
                  <a:gd name="T4" fmla="*/ 0 w 452"/>
                  <a:gd name="T5" fmla="*/ 253 h 412"/>
                  <a:gd name="T6" fmla="*/ 331 w 452"/>
                  <a:gd name="T7" fmla="*/ 0 h 412"/>
                  <a:gd name="T8" fmla="*/ 452 w 452"/>
                  <a:gd name="T9" fmla="*/ 159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2" h="412">
                    <a:moveTo>
                      <a:pt x="452" y="159"/>
                    </a:moveTo>
                    <a:lnTo>
                      <a:pt x="122" y="412"/>
                    </a:lnTo>
                    <a:lnTo>
                      <a:pt x="0" y="253"/>
                    </a:lnTo>
                    <a:lnTo>
                      <a:pt x="331" y="0"/>
                    </a:lnTo>
                    <a:lnTo>
                      <a:pt x="452" y="159"/>
                    </a:ln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485">
                <a:extLst>
                  <a:ext uri="{FF2B5EF4-FFF2-40B4-BE49-F238E27FC236}">
                    <a16:creationId xmlns:a16="http://schemas.microsoft.com/office/drawing/2014/main" id="{1EADEE1F-E248-4F77-8BBF-B1FD33108A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1" y="2216"/>
                <a:ext cx="401" cy="348"/>
              </a:xfrm>
              <a:custGeom>
                <a:avLst/>
                <a:gdLst>
                  <a:gd name="T0" fmla="*/ 401 w 401"/>
                  <a:gd name="T1" fmla="*/ 103 h 348"/>
                  <a:gd name="T2" fmla="*/ 79 w 401"/>
                  <a:gd name="T3" fmla="*/ 348 h 348"/>
                  <a:gd name="T4" fmla="*/ 0 w 401"/>
                  <a:gd name="T5" fmla="*/ 245 h 348"/>
                  <a:gd name="T6" fmla="*/ 322 w 401"/>
                  <a:gd name="T7" fmla="*/ 0 h 348"/>
                  <a:gd name="T8" fmla="*/ 401 w 401"/>
                  <a:gd name="T9" fmla="*/ 103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1" h="348">
                    <a:moveTo>
                      <a:pt x="401" y="103"/>
                    </a:moveTo>
                    <a:lnTo>
                      <a:pt x="79" y="348"/>
                    </a:lnTo>
                    <a:lnTo>
                      <a:pt x="0" y="245"/>
                    </a:lnTo>
                    <a:lnTo>
                      <a:pt x="322" y="0"/>
                    </a:lnTo>
                    <a:lnTo>
                      <a:pt x="401" y="103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486">
                <a:extLst>
                  <a:ext uri="{FF2B5EF4-FFF2-40B4-BE49-F238E27FC236}">
                    <a16:creationId xmlns:a16="http://schemas.microsoft.com/office/drawing/2014/main" id="{8FF5C2D7-99C0-4F20-B148-73A501517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7" y="2416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487">
                <a:extLst>
                  <a:ext uri="{FF2B5EF4-FFF2-40B4-BE49-F238E27FC236}">
                    <a16:creationId xmlns:a16="http://schemas.microsoft.com/office/drawing/2014/main" id="{2B0822BE-066C-4318-AE89-D9E7FB9BC6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6" y="2401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488">
                <a:extLst>
                  <a:ext uri="{FF2B5EF4-FFF2-40B4-BE49-F238E27FC236}">
                    <a16:creationId xmlns:a16="http://schemas.microsoft.com/office/drawing/2014/main" id="{EDE935F6-67DA-4E07-9DBF-3E9781969D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5" y="2386"/>
                <a:ext cx="20" cy="17"/>
              </a:xfrm>
              <a:custGeom>
                <a:avLst/>
                <a:gdLst>
                  <a:gd name="T0" fmla="*/ 33 w 35"/>
                  <a:gd name="T1" fmla="*/ 14 h 31"/>
                  <a:gd name="T2" fmla="*/ 12 w 35"/>
                  <a:gd name="T3" fmla="*/ 31 h 31"/>
                  <a:gd name="T4" fmla="*/ 9 w 35"/>
                  <a:gd name="T5" fmla="*/ 30 h 31"/>
                  <a:gd name="T6" fmla="*/ 1 w 35"/>
                  <a:gd name="T7" fmla="*/ 21 h 31"/>
                  <a:gd name="T8" fmla="*/ 2 w 35"/>
                  <a:gd name="T9" fmla="*/ 18 h 31"/>
                  <a:gd name="T10" fmla="*/ 24 w 35"/>
                  <a:gd name="T11" fmla="*/ 1 h 31"/>
                  <a:gd name="T12" fmla="*/ 27 w 35"/>
                  <a:gd name="T13" fmla="*/ 1 h 31"/>
                  <a:gd name="T14" fmla="*/ 34 w 35"/>
                  <a:gd name="T15" fmla="*/ 11 h 31"/>
                  <a:gd name="T16" fmla="*/ 33 w 35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1">
                    <a:moveTo>
                      <a:pt x="33" y="14"/>
                    </a:moveTo>
                    <a:cubicBezTo>
                      <a:pt x="12" y="31"/>
                      <a:pt x="12" y="31"/>
                      <a:pt x="12" y="31"/>
                    </a:cubicBezTo>
                    <a:cubicBezTo>
                      <a:pt x="11" y="31"/>
                      <a:pt x="9" y="31"/>
                      <a:pt x="9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0"/>
                      <a:pt x="27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489">
                <a:extLst>
                  <a:ext uri="{FF2B5EF4-FFF2-40B4-BE49-F238E27FC236}">
                    <a16:creationId xmlns:a16="http://schemas.microsoft.com/office/drawing/2014/main" id="{155EEAF4-F3B2-42D9-B9AA-4891C2A1A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5" y="2372"/>
                <a:ext cx="19" cy="17"/>
              </a:xfrm>
              <a:custGeom>
                <a:avLst/>
                <a:gdLst>
                  <a:gd name="T0" fmla="*/ 33 w 34"/>
                  <a:gd name="T1" fmla="*/ 14 h 32"/>
                  <a:gd name="T2" fmla="*/ 11 w 34"/>
                  <a:gd name="T3" fmla="*/ 31 h 32"/>
                  <a:gd name="T4" fmla="*/ 8 w 34"/>
                  <a:gd name="T5" fmla="*/ 30 h 32"/>
                  <a:gd name="T6" fmla="*/ 1 w 34"/>
                  <a:gd name="T7" fmla="*/ 21 h 32"/>
                  <a:gd name="T8" fmla="*/ 1 w 34"/>
                  <a:gd name="T9" fmla="*/ 18 h 32"/>
                  <a:gd name="T10" fmla="*/ 23 w 34"/>
                  <a:gd name="T11" fmla="*/ 1 h 32"/>
                  <a:gd name="T12" fmla="*/ 26 w 34"/>
                  <a:gd name="T13" fmla="*/ 2 h 32"/>
                  <a:gd name="T14" fmla="*/ 33 w 34"/>
                  <a:gd name="T15" fmla="*/ 11 h 32"/>
                  <a:gd name="T16" fmla="*/ 33 w 34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2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2"/>
                      <a:pt x="9" y="31"/>
                      <a:pt x="8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490">
                <a:extLst>
                  <a:ext uri="{FF2B5EF4-FFF2-40B4-BE49-F238E27FC236}">
                    <a16:creationId xmlns:a16="http://schemas.microsoft.com/office/drawing/2014/main" id="{0E5549F8-F970-4F47-AAF6-632987E02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4" y="2357"/>
                <a:ext cx="19" cy="17"/>
              </a:xfrm>
              <a:custGeom>
                <a:avLst/>
                <a:gdLst>
                  <a:gd name="T0" fmla="*/ 33 w 34"/>
                  <a:gd name="T1" fmla="*/ 13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4 w 34"/>
                  <a:gd name="T15" fmla="*/ 10 h 31"/>
                  <a:gd name="T16" fmla="*/ 33 w 34"/>
                  <a:gd name="T17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3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34" y="11"/>
                      <a:pt x="34" y="13"/>
                      <a:pt x="33" y="13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491">
                <a:extLst>
                  <a:ext uri="{FF2B5EF4-FFF2-40B4-BE49-F238E27FC236}">
                    <a16:creationId xmlns:a16="http://schemas.microsoft.com/office/drawing/2014/main" id="{0E1A9E02-6759-4F2D-A8D1-057EFE21D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4" y="2343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492">
                <a:extLst>
                  <a:ext uri="{FF2B5EF4-FFF2-40B4-BE49-F238E27FC236}">
                    <a16:creationId xmlns:a16="http://schemas.microsoft.com/office/drawing/2014/main" id="{BDA19D22-8617-4E29-89EC-0AC1F185FD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232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4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493">
                <a:extLst>
                  <a:ext uri="{FF2B5EF4-FFF2-40B4-BE49-F238E27FC236}">
                    <a16:creationId xmlns:a16="http://schemas.microsoft.com/office/drawing/2014/main" id="{9BC25345-D233-4999-A289-D8C5D2C41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2313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494">
                <a:extLst>
                  <a:ext uri="{FF2B5EF4-FFF2-40B4-BE49-F238E27FC236}">
                    <a16:creationId xmlns:a16="http://schemas.microsoft.com/office/drawing/2014/main" id="{61175883-ECDA-48C9-B066-2C8AE3CCF2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2" y="229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1 h 31"/>
                  <a:gd name="T8" fmla="*/ 1 w 34"/>
                  <a:gd name="T9" fmla="*/ 18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495">
                <a:extLst>
                  <a:ext uri="{FF2B5EF4-FFF2-40B4-BE49-F238E27FC236}">
                    <a16:creationId xmlns:a16="http://schemas.microsoft.com/office/drawing/2014/main" id="{C6AB355F-B11F-4464-B555-B26BF17B61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1" y="2284"/>
                <a:ext cx="19" cy="17"/>
              </a:xfrm>
              <a:custGeom>
                <a:avLst/>
                <a:gdLst>
                  <a:gd name="T0" fmla="*/ 33 w 35"/>
                  <a:gd name="T1" fmla="*/ 14 h 32"/>
                  <a:gd name="T2" fmla="*/ 12 w 35"/>
                  <a:gd name="T3" fmla="*/ 31 h 32"/>
                  <a:gd name="T4" fmla="*/ 9 w 35"/>
                  <a:gd name="T5" fmla="*/ 31 h 32"/>
                  <a:gd name="T6" fmla="*/ 1 w 35"/>
                  <a:gd name="T7" fmla="*/ 21 h 32"/>
                  <a:gd name="T8" fmla="*/ 2 w 35"/>
                  <a:gd name="T9" fmla="*/ 18 h 32"/>
                  <a:gd name="T10" fmla="*/ 23 w 35"/>
                  <a:gd name="T11" fmla="*/ 1 h 32"/>
                  <a:gd name="T12" fmla="*/ 26 w 35"/>
                  <a:gd name="T13" fmla="*/ 2 h 32"/>
                  <a:gd name="T14" fmla="*/ 34 w 35"/>
                  <a:gd name="T15" fmla="*/ 11 h 32"/>
                  <a:gd name="T16" fmla="*/ 33 w 35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2">
                    <a:moveTo>
                      <a:pt x="33" y="14"/>
                    </a:moveTo>
                    <a:cubicBezTo>
                      <a:pt x="12" y="31"/>
                      <a:pt x="12" y="31"/>
                      <a:pt x="12" y="31"/>
                    </a:cubicBezTo>
                    <a:cubicBezTo>
                      <a:pt x="11" y="32"/>
                      <a:pt x="9" y="31"/>
                      <a:pt x="9" y="31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9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496">
                <a:extLst>
                  <a:ext uri="{FF2B5EF4-FFF2-40B4-BE49-F238E27FC236}">
                    <a16:creationId xmlns:a16="http://schemas.microsoft.com/office/drawing/2014/main" id="{9FD5B91F-8A30-4D75-BDCF-4DACA62B3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1" y="2270"/>
                <a:ext cx="18" cy="16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497">
                <a:extLst>
                  <a:ext uri="{FF2B5EF4-FFF2-40B4-BE49-F238E27FC236}">
                    <a16:creationId xmlns:a16="http://schemas.microsoft.com/office/drawing/2014/main" id="{5A292DBB-296B-4ECF-A134-A8E328B6B3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7" y="2407"/>
                <a:ext cx="130" cy="102"/>
              </a:xfrm>
              <a:custGeom>
                <a:avLst/>
                <a:gdLst>
                  <a:gd name="T0" fmla="*/ 237 w 239"/>
                  <a:gd name="T1" fmla="*/ 18 h 187"/>
                  <a:gd name="T2" fmla="*/ 14 w 239"/>
                  <a:gd name="T3" fmla="*/ 187 h 187"/>
                  <a:gd name="T4" fmla="*/ 11 w 239"/>
                  <a:gd name="T5" fmla="*/ 186 h 187"/>
                  <a:gd name="T6" fmla="*/ 1 w 239"/>
                  <a:gd name="T7" fmla="*/ 172 h 187"/>
                  <a:gd name="T8" fmla="*/ 1 w 239"/>
                  <a:gd name="T9" fmla="*/ 169 h 187"/>
                  <a:gd name="T10" fmla="*/ 224 w 239"/>
                  <a:gd name="T11" fmla="*/ 1 h 187"/>
                  <a:gd name="T12" fmla="*/ 227 w 239"/>
                  <a:gd name="T13" fmla="*/ 1 h 187"/>
                  <a:gd name="T14" fmla="*/ 238 w 239"/>
                  <a:gd name="T15" fmla="*/ 15 h 187"/>
                  <a:gd name="T16" fmla="*/ 237 w 239"/>
                  <a:gd name="T17" fmla="*/ 18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9" h="187">
                    <a:moveTo>
                      <a:pt x="237" y="18"/>
                    </a:moveTo>
                    <a:cubicBezTo>
                      <a:pt x="14" y="187"/>
                      <a:pt x="14" y="187"/>
                      <a:pt x="14" y="187"/>
                    </a:cubicBezTo>
                    <a:cubicBezTo>
                      <a:pt x="13" y="187"/>
                      <a:pt x="12" y="187"/>
                      <a:pt x="11" y="186"/>
                    </a:cubicBezTo>
                    <a:cubicBezTo>
                      <a:pt x="1" y="172"/>
                      <a:pt x="1" y="172"/>
                      <a:pt x="1" y="172"/>
                    </a:cubicBezTo>
                    <a:cubicBezTo>
                      <a:pt x="0" y="172"/>
                      <a:pt x="0" y="170"/>
                      <a:pt x="1" y="169"/>
                    </a:cubicBezTo>
                    <a:cubicBezTo>
                      <a:pt x="224" y="1"/>
                      <a:pt x="224" y="1"/>
                      <a:pt x="224" y="1"/>
                    </a:cubicBezTo>
                    <a:cubicBezTo>
                      <a:pt x="225" y="0"/>
                      <a:pt x="227" y="0"/>
                      <a:pt x="227" y="1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9" y="16"/>
                      <a:pt x="238" y="17"/>
                      <a:pt x="237" y="18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498">
                <a:extLst>
                  <a:ext uri="{FF2B5EF4-FFF2-40B4-BE49-F238E27FC236}">
                    <a16:creationId xmlns:a16="http://schemas.microsoft.com/office/drawing/2014/main" id="{1E3D1821-8A29-4535-BD29-514176A27E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9" y="245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499">
                <a:extLst>
                  <a:ext uri="{FF2B5EF4-FFF2-40B4-BE49-F238E27FC236}">
                    <a16:creationId xmlns:a16="http://schemas.microsoft.com/office/drawing/2014/main" id="{CB282EC0-17B8-470E-91A5-09209140FA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8" y="244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500">
                <a:extLst>
                  <a:ext uri="{FF2B5EF4-FFF2-40B4-BE49-F238E27FC236}">
                    <a16:creationId xmlns:a16="http://schemas.microsoft.com/office/drawing/2014/main" id="{5BB13A33-D987-4164-A63B-29BA31DE9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8" y="242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501">
                <a:extLst>
                  <a:ext uri="{FF2B5EF4-FFF2-40B4-BE49-F238E27FC236}">
                    <a16:creationId xmlns:a16="http://schemas.microsoft.com/office/drawing/2014/main" id="{981703FC-41DE-4399-BBCA-3670431F6F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7" y="241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502">
                <a:extLst>
                  <a:ext uri="{FF2B5EF4-FFF2-40B4-BE49-F238E27FC236}">
                    <a16:creationId xmlns:a16="http://schemas.microsoft.com/office/drawing/2014/main" id="{A2FF5D8C-B542-4609-9A7E-70728CC82D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7" y="2396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503">
                <a:extLst>
                  <a:ext uri="{FF2B5EF4-FFF2-40B4-BE49-F238E27FC236}">
                    <a16:creationId xmlns:a16="http://schemas.microsoft.com/office/drawing/2014/main" id="{58600792-0054-4E5C-A9A6-2722C224C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6" y="2381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504">
                <a:extLst>
                  <a:ext uri="{FF2B5EF4-FFF2-40B4-BE49-F238E27FC236}">
                    <a16:creationId xmlns:a16="http://schemas.microsoft.com/office/drawing/2014/main" id="{D30A34DC-1E2A-4AF8-91A4-4AFA246AD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5" y="2366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505">
                <a:extLst>
                  <a:ext uri="{FF2B5EF4-FFF2-40B4-BE49-F238E27FC236}">
                    <a16:creationId xmlns:a16="http://schemas.microsoft.com/office/drawing/2014/main" id="{B0CA9F79-537B-4ACB-A3DA-4D02B28C1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235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506">
                <a:extLst>
                  <a:ext uri="{FF2B5EF4-FFF2-40B4-BE49-F238E27FC236}">
                    <a16:creationId xmlns:a16="http://schemas.microsoft.com/office/drawing/2014/main" id="{63270E50-EC83-4105-9B6F-C16C66324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4" y="233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507">
                <a:extLst>
                  <a:ext uri="{FF2B5EF4-FFF2-40B4-BE49-F238E27FC236}">
                    <a16:creationId xmlns:a16="http://schemas.microsoft.com/office/drawing/2014/main" id="{F819293F-35DA-4F52-9C37-E83D03F6F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4" y="2323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508">
                <a:extLst>
                  <a:ext uri="{FF2B5EF4-FFF2-40B4-BE49-F238E27FC236}">
                    <a16:creationId xmlns:a16="http://schemas.microsoft.com/office/drawing/2014/main" id="{6C6267B3-D53A-4054-BBBE-C992E830E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0" y="2279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509">
                <a:extLst>
                  <a:ext uri="{FF2B5EF4-FFF2-40B4-BE49-F238E27FC236}">
                    <a16:creationId xmlns:a16="http://schemas.microsoft.com/office/drawing/2014/main" id="{B035BFA6-3278-40F6-A55C-3F51C147F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0" y="2265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510">
                <a:extLst>
                  <a:ext uri="{FF2B5EF4-FFF2-40B4-BE49-F238E27FC236}">
                    <a16:creationId xmlns:a16="http://schemas.microsoft.com/office/drawing/2014/main" id="{010D9C33-F8FF-4801-BAC9-9CF602BAC1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9" y="225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511">
                <a:extLst>
                  <a:ext uri="{FF2B5EF4-FFF2-40B4-BE49-F238E27FC236}">
                    <a16:creationId xmlns:a16="http://schemas.microsoft.com/office/drawing/2014/main" id="{59B7C4A9-D2A8-4EF6-ABB3-C622EF890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230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512">
                <a:extLst>
                  <a:ext uri="{FF2B5EF4-FFF2-40B4-BE49-F238E27FC236}">
                    <a16:creationId xmlns:a16="http://schemas.microsoft.com/office/drawing/2014/main" id="{75A5B207-F356-4E05-8955-D6977037DF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5" y="228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513">
                <a:extLst>
                  <a:ext uri="{FF2B5EF4-FFF2-40B4-BE49-F238E27FC236}">
                    <a16:creationId xmlns:a16="http://schemas.microsoft.com/office/drawing/2014/main" id="{74CD231D-CA52-415A-ADBA-C283072ED2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4" y="2270"/>
                <a:ext cx="25" cy="24"/>
              </a:xfrm>
              <a:custGeom>
                <a:avLst/>
                <a:gdLst>
                  <a:gd name="T0" fmla="*/ 43 w 45"/>
                  <a:gd name="T1" fmla="*/ 27 h 44"/>
                  <a:gd name="T2" fmla="*/ 22 w 45"/>
                  <a:gd name="T3" fmla="*/ 44 h 44"/>
                  <a:gd name="T4" fmla="*/ 19 w 45"/>
                  <a:gd name="T5" fmla="*/ 43 h 44"/>
                  <a:gd name="T6" fmla="*/ 1 w 45"/>
                  <a:gd name="T7" fmla="*/ 20 h 44"/>
                  <a:gd name="T8" fmla="*/ 2 w 45"/>
                  <a:gd name="T9" fmla="*/ 17 h 44"/>
                  <a:gd name="T10" fmla="*/ 24 w 45"/>
                  <a:gd name="T11" fmla="*/ 1 h 44"/>
                  <a:gd name="T12" fmla="*/ 27 w 45"/>
                  <a:gd name="T13" fmla="*/ 1 h 44"/>
                  <a:gd name="T14" fmla="*/ 44 w 45"/>
                  <a:gd name="T15" fmla="*/ 24 h 44"/>
                  <a:gd name="T16" fmla="*/ 43 w 45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4">
                    <a:moveTo>
                      <a:pt x="43" y="27"/>
                    </a:moveTo>
                    <a:cubicBezTo>
                      <a:pt x="22" y="44"/>
                      <a:pt x="22" y="44"/>
                      <a:pt x="22" y="44"/>
                    </a:cubicBezTo>
                    <a:cubicBezTo>
                      <a:pt x="21" y="44"/>
                      <a:pt x="19" y="44"/>
                      <a:pt x="19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1" y="18"/>
                      <a:pt x="2" y="17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514">
                <a:extLst>
                  <a:ext uri="{FF2B5EF4-FFF2-40B4-BE49-F238E27FC236}">
                    <a16:creationId xmlns:a16="http://schemas.microsoft.com/office/drawing/2014/main" id="{B4D0927E-FF76-4381-8F9A-36C8D34D8C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1" y="2320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515">
                <a:extLst>
                  <a:ext uri="{FF2B5EF4-FFF2-40B4-BE49-F238E27FC236}">
                    <a16:creationId xmlns:a16="http://schemas.microsoft.com/office/drawing/2014/main" id="{6307E5C2-3AFC-4492-95F8-0986C64DC9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0" y="230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516">
                <a:extLst>
                  <a:ext uri="{FF2B5EF4-FFF2-40B4-BE49-F238E27FC236}">
                    <a16:creationId xmlns:a16="http://schemas.microsoft.com/office/drawing/2014/main" id="{C781957B-4280-4F56-8AE2-1610F2F77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9" y="229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517">
                <a:extLst>
                  <a:ext uri="{FF2B5EF4-FFF2-40B4-BE49-F238E27FC236}">
                    <a16:creationId xmlns:a16="http://schemas.microsoft.com/office/drawing/2014/main" id="{2CDBB2D5-4952-426D-88C6-EA603E618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0" y="2494"/>
                <a:ext cx="24" cy="25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518">
                <a:extLst>
                  <a:ext uri="{FF2B5EF4-FFF2-40B4-BE49-F238E27FC236}">
                    <a16:creationId xmlns:a16="http://schemas.microsoft.com/office/drawing/2014/main" id="{7869C014-92FB-40C9-B701-B426E3E85E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9" y="248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519">
                <a:extLst>
                  <a:ext uri="{FF2B5EF4-FFF2-40B4-BE49-F238E27FC236}">
                    <a16:creationId xmlns:a16="http://schemas.microsoft.com/office/drawing/2014/main" id="{0953934B-FD9D-454F-A027-FF4C80338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8" y="2465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1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520">
                <a:extLst>
                  <a:ext uri="{FF2B5EF4-FFF2-40B4-BE49-F238E27FC236}">
                    <a16:creationId xmlns:a16="http://schemas.microsoft.com/office/drawing/2014/main" id="{11289C28-335F-4C3D-8467-CF68F0B433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8" y="2450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521">
                <a:extLst>
                  <a:ext uri="{FF2B5EF4-FFF2-40B4-BE49-F238E27FC236}">
                    <a16:creationId xmlns:a16="http://schemas.microsoft.com/office/drawing/2014/main" id="{591DB9BA-5B21-48BF-A319-CF24A2081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7" y="243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522">
                <a:extLst>
                  <a:ext uri="{FF2B5EF4-FFF2-40B4-BE49-F238E27FC236}">
                    <a16:creationId xmlns:a16="http://schemas.microsoft.com/office/drawing/2014/main" id="{01C91A6B-858F-43D6-8080-3FC0FEA4F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6" y="2421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523">
                <a:extLst>
                  <a:ext uri="{FF2B5EF4-FFF2-40B4-BE49-F238E27FC236}">
                    <a16:creationId xmlns:a16="http://schemas.microsoft.com/office/drawing/2014/main" id="{E90A2A1C-B981-4614-8CD2-DCF1803EAD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6" y="240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524">
                <a:extLst>
                  <a:ext uri="{FF2B5EF4-FFF2-40B4-BE49-F238E27FC236}">
                    <a16:creationId xmlns:a16="http://schemas.microsoft.com/office/drawing/2014/main" id="{47C80186-DFA5-458B-86D5-2C2D86AB2F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5" y="2392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525">
                <a:extLst>
                  <a:ext uri="{FF2B5EF4-FFF2-40B4-BE49-F238E27FC236}">
                    <a16:creationId xmlns:a16="http://schemas.microsoft.com/office/drawing/2014/main" id="{48D9EBA5-2329-4945-9540-E68A52CFCC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4" y="2377"/>
                <a:ext cx="25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526">
                <a:extLst>
                  <a:ext uri="{FF2B5EF4-FFF2-40B4-BE49-F238E27FC236}">
                    <a16:creationId xmlns:a16="http://schemas.microsoft.com/office/drawing/2014/main" id="{6D0CFF16-A71B-41BF-9B8B-55947D38A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" y="2362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527">
                <a:extLst>
                  <a:ext uri="{FF2B5EF4-FFF2-40B4-BE49-F238E27FC236}">
                    <a16:creationId xmlns:a16="http://schemas.microsoft.com/office/drawing/2014/main" id="{CC335629-A293-4B3D-A78C-87D54024C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4" y="248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528">
                <a:extLst>
                  <a:ext uri="{FF2B5EF4-FFF2-40B4-BE49-F238E27FC236}">
                    <a16:creationId xmlns:a16="http://schemas.microsoft.com/office/drawing/2014/main" id="{EC46FF70-8DB6-4F4A-A660-68F11B2EC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4" y="246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1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529">
                <a:extLst>
                  <a:ext uri="{FF2B5EF4-FFF2-40B4-BE49-F238E27FC236}">
                    <a16:creationId xmlns:a16="http://schemas.microsoft.com/office/drawing/2014/main" id="{9E8BF80A-0B56-436C-9337-18E1BEB383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3" y="245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530">
                <a:extLst>
                  <a:ext uri="{FF2B5EF4-FFF2-40B4-BE49-F238E27FC236}">
                    <a16:creationId xmlns:a16="http://schemas.microsoft.com/office/drawing/2014/main" id="{72F17F5B-7B3C-45B3-BDD2-0D1F337E4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2" y="243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531">
                <a:extLst>
                  <a:ext uri="{FF2B5EF4-FFF2-40B4-BE49-F238E27FC236}">
                    <a16:creationId xmlns:a16="http://schemas.microsoft.com/office/drawing/2014/main" id="{FBCAE7E7-4C34-4349-A244-C5D4FF730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2" y="2423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532">
                <a:extLst>
                  <a:ext uri="{FF2B5EF4-FFF2-40B4-BE49-F238E27FC236}">
                    <a16:creationId xmlns:a16="http://schemas.microsoft.com/office/drawing/2014/main" id="{2FB73896-2048-40F7-905B-FC9CF1117F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" y="2408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533">
                <a:extLst>
                  <a:ext uri="{FF2B5EF4-FFF2-40B4-BE49-F238E27FC236}">
                    <a16:creationId xmlns:a16="http://schemas.microsoft.com/office/drawing/2014/main" id="{5B6108C1-7C25-497D-9879-8FD11A232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1" y="2394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534">
                <a:extLst>
                  <a:ext uri="{FF2B5EF4-FFF2-40B4-BE49-F238E27FC236}">
                    <a16:creationId xmlns:a16="http://schemas.microsoft.com/office/drawing/2014/main" id="{AE3B850E-9E63-4287-AE9C-1756B5FA7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0" y="237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535">
                <a:extLst>
                  <a:ext uri="{FF2B5EF4-FFF2-40B4-BE49-F238E27FC236}">
                    <a16:creationId xmlns:a16="http://schemas.microsoft.com/office/drawing/2014/main" id="{459645BC-DA68-44F9-932F-4A9FDA15F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9" y="23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536">
                <a:extLst>
                  <a:ext uri="{FF2B5EF4-FFF2-40B4-BE49-F238E27FC236}">
                    <a16:creationId xmlns:a16="http://schemas.microsoft.com/office/drawing/2014/main" id="{B772567E-FBC8-420E-BAE1-8E6BE4D47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9" y="23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537">
                <a:extLst>
                  <a:ext uri="{FF2B5EF4-FFF2-40B4-BE49-F238E27FC236}">
                    <a16:creationId xmlns:a16="http://schemas.microsoft.com/office/drawing/2014/main" id="{64FF99C4-D0D1-4B7B-B2AC-026A45504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8" y="2335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538">
                <a:extLst>
                  <a:ext uri="{FF2B5EF4-FFF2-40B4-BE49-F238E27FC236}">
                    <a16:creationId xmlns:a16="http://schemas.microsoft.com/office/drawing/2014/main" id="{2BBEE087-504A-4EFE-B80D-9FCFDB9501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0" y="2468"/>
                <a:ext cx="34" cy="32"/>
              </a:xfrm>
              <a:custGeom>
                <a:avLst/>
                <a:gdLst>
                  <a:gd name="T0" fmla="*/ 61 w 63"/>
                  <a:gd name="T1" fmla="*/ 27 h 59"/>
                  <a:gd name="T2" fmla="*/ 21 w 63"/>
                  <a:gd name="T3" fmla="*/ 58 h 59"/>
                  <a:gd name="T4" fmla="*/ 18 w 63"/>
                  <a:gd name="T5" fmla="*/ 58 h 59"/>
                  <a:gd name="T6" fmla="*/ 1 w 63"/>
                  <a:gd name="T7" fmla="*/ 35 h 59"/>
                  <a:gd name="T8" fmla="*/ 1 w 63"/>
                  <a:gd name="T9" fmla="*/ 32 h 59"/>
                  <a:gd name="T10" fmla="*/ 42 w 63"/>
                  <a:gd name="T11" fmla="*/ 1 h 59"/>
                  <a:gd name="T12" fmla="*/ 45 w 63"/>
                  <a:gd name="T13" fmla="*/ 2 h 59"/>
                  <a:gd name="T14" fmla="*/ 62 w 63"/>
                  <a:gd name="T15" fmla="*/ 24 h 59"/>
                  <a:gd name="T16" fmla="*/ 61 w 63"/>
                  <a:gd name="T17" fmla="*/ 27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9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9"/>
                      <a:pt x="19" y="59"/>
                      <a:pt x="18" y="58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0" y="34"/>
                      <a:pt x="0" y="32"/>
                      <a:pt x="1" y="32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2" y="0"/>
                      <a:pt x="44" y="1"/>
                      <a:pt x="45" y="2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7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539">
                <a:extLst>
                  <a:ext uri="{FF2B5EF4-FFF2-40B4-BE49-F238E27FC236}">
                    <a16:creationId xmlns:a16="http://schemas.microsoft.com/office/drawing/2014/main" id="{18AF95A4-D1F9-46ED-A4D9-247F9DAE2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3" y="2300"/>
                <a:ext cx="34" cy="32"/>
              </a:xfrm>
              <a:custGeom>
                <a:avLst/>
                <a:gdLst>
                  <a:gd name="T0" fmla="*/ 62 w 63"/>
                  <a:gd name="T1" fmla="*/ 27 h 58"/>
                  <a:gd name="T2" fmla="*/ 21 w 63"/>
                  <a:gd name="T3" fmla="*/ 58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1 h 58"/>
                  <a:gd name="T12" fmla="*/ 45 w 63"/>
                  <a:gd name="T13" fmla="*/ 1 h 58"/>
                  <a:gd name="T14" fmla="*/ 62 w 63"/>
                  <a:gd name="T15" fmla="*/ 24 h 58"/>
                  <a:gd name="T16" fmla="*/ 62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2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3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540">
                <a:extLst>
                  <a:ext uri="{FF2B5EF4-FFF2-40B4-BE49-F238E27FC236}">
                    <a16:creationId xmlns:a16="http://schemas.microsoft.com/office/drawing/2014/main" id="{561CC3DF-7059-4DBB-ADFA-EE8F50B33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5" y="2496"/>
                <a:ext cx="25" cy="25"/>
              </a:xfrm>
              <a:custGeom>
                <a:avLst/>
                <a:gdLst>
                  <a:gd name="T0" fmla="*/ 44 w 45"/>
                  <a:gd name="T1" fmla="*/ 27 h 45"/>
                  <a:gd name="T2" fmla="*/ 21 w 45"/>
                  <a:gd name="T3" fmla="*/ 44 h 45"/>
                  <a:gd name="T4" fmla="*/ 18 w 45"/>
                  <a:gd name="T5" fmla="*/ 43 h 45"/>
                  <a:gd name="T6" fmla="*/ 1 w 45"/>
                  <a:gd name="T7" fmla="*/ 21 h 45"/>
                  <a:gd name="T8" fmla="*/ 1 w 45"/>
                  <a:gd name="T9" fmla="*/ 18 h 45"/>
                  <a:gd name="T10" fmla="*/ 24 w 45"/>
                  <a:gd name="T11" fmla="*/ 0 h 45"/>
                  <a:gd name="T12" fmla="*/ 27 w 45"/>
                  <a:gd name="T13" fmla="*/ 1 h 45"/>
                  <a:gd name="T14" fmla="*/ 44 w 45"/>
                  <a:gd name="T15" fmla="*/ 24 h 45"/>
                  <a:gd name="T16" fmla="*/ 44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4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5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5" y="26"/>
                      <a:pt x="44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541">
                <a:extLst>
                  <a:ext uri="{FF2B5EF4-FFF2-40B4-BE49-F238E27FC236}">
                    <a16:creationId xmlns:a16="http://schemas.microsoft.com/office/drawing/2014/main" id="{300CAD8E-3CA3-4973-B7E0-A49E421477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8" y="2320"/>
                <a:ext cx="24" cy="25"/>
              </a:xfrm>
              <a:custGeom>
                <a:avLst/>
                <a:gdLst>
                  <a:gd name="T0" fmla="*/ 43 w 45"/>
                  <a:gd name="T1" fmla="*/ 27 h 45"/>
                  <a:gd name="T2" fmla="*/ 21 w 45"/>
                  <a:gd name="T3" fmla="*/ 44 h 45"/>
                  <a:gd name="T4" fmla="*/ 18 w 45"/>
                  <a:gd name="T5" fmla="*/ 44 h 45"/>
                  <a:gd name="T6" fmla="*/ 0 w 45"/>
                  <a:gd name="T7" fmla="*/ 21 h 45"/>
                  <a:gd name="T8" fmla="*/ 1 w 45"/>
                  <a:gd name="T9" fmla="*/ 18 h 45"/>
                  <a:gd name="T10" fmla="*/ 23 w 45"/>
                  <a:gd name="T11" fmla="*/ 1 h 45"/>
                  <a:gd name="T12" fmla="*/ 26 w 45"/>
                  <a:gd name="T13" fmla="*/ 1 h 45"/>
                  <a:gd name="T14" fmla="*/ 44 w 45"/>
                  <a:gd name="T15" fmla="*/ 24 h 45"/>
                  <a:gd name="T16" fmla="*/ 43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542">
                <a:extLst>
                  <a:ext uri="{FF2B5EF4-FFF2-40B4-BE49-F238E27FC236}">
                    <a16:creationId xmlns:a16="http://schemas.microsoft.com/office/drawing/2014/main" id="{F7D20588-F415-41DF-904E-397147B324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" y="2509"/>
                <a:ext cx="33" cy="31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8 h 58"/>
                  <a:gd name="T4" fmla="*/ 18 w 62"/>
                  <a:gd name="T5" fmla="*/ 57 h 58"/>
                  <a:gd name="T6" fmla="*/ 0 w 62"/>
                  <a:gd name="T7" fmla="*/ 34 h 58"/>
                  <a:gd name="T8" fmla="*/ 1 w 62"/>
                  <a:gd name="T9" fmla="*/ 31 h 58"/>
                  <a:gd name="T10" fmla="*/ 41 w 62"/>
                  <a:gd name="T11" fmla="*/ 1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8" y="58"/>
                      <a:pt x="18" y="57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543">
                <a:extLst>
                  <a:ext uri="{FF2B5EF4-FFF2-40B4-BE49-F238E27FC236}">
                    <a16:creationId xmlns:a16="http://schemas.microsoft.com/office/drawing/2014/main" id="{2D73A50B-5CF6-4A79-AB8E-FE340E18A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3" y="2341"/>
                <a:ext cx="34" cy="31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7 h 58"/>
                  <a:gd name="T4" fmla="*/ 18 w 62"/>
                  <a:gd name="T5" fmla="*/ 57 h 58"/>
                  <a:gd name="T6" fmla="*/ 1 w 62"/>
                  <a:gd name="T7" fmla="*/ 34 h 58"/>
                  <a:gd name="T8" fmla="*/ 1 w 62"/>
                  <a:gd name="T9" fmla="*/ 31 h 58"/>
                  <a:gd name="T10" fmla="*/ 41 w 62"/>
                  <a:gd name="T11" fmla="*/ 0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544">
                <a:extLst>
                  <a:ext uri="{FF2B5EF4-FFF2-40B4-BE49-F238E27FC236}">
                    <a16:creationId xmlns:a16="http://schemas.microsoft.com/office/drawing/2014/main" id="{31749532-E181-4F8F-9BBC-905634E31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5" y="2415"/>
                <a:ext cx="19" cy="18"/>
              </a:xfrm>
              <a:custGeom>
                <a:avLst/>
                <a:gdLst>
                  <a:gd name="T0" fmla="*/ 33 w 34"/>
                  <a:gd name="T1" fmla="*/ 14 h 32"/>
                  <a:gd name="T2" fmla="*/ 11 w 34"/>
                  <a:gd name="T3" fmla="*/ 31 h 32"/>
                  <a:gd name="T4" fmla="*/ 8 w 34"/>
                  <a:gd name="T5" fmla="*/ 31 h 32"/>
                  <a:gd name="T6" fmla="*/ 0 w 34"/>
                  <a:gd name="T7" fmla="*/ 21 h 32"/>
                  <a:gd name="T8" fmla="*/ 1 w 34"/>
                  <a:gd name="T9" fmla="*/ 18 h 32"/>
                  <a:gd name="T10" fmla="*/ 23 w 34"/>
                  <a:gd name="T11" fmla="*/ 1 h 32"/>
                  <a:gd name="T12" fmla="*/ 26 w 34"/>
                  <a:gd name="T13" fmla="*/ 2 h 32"/>
                  <a:gd name="T14" fmla="*/ 33 w 34"/>
                  <a:gd name="T15" fmla="*/ 11 h 32"/>
                  <a:gd name="T16" fmla="*/ 33 w 34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2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2"/>
                      <a:pt x="8" y="31"/>
                      <a:pt x="8" y="3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545">
                <a:extLst>
                  <a:ext uri="{FF2B5EF4-FFF2-40B4-BE49-F238E27FC236}">
                    <a16:creationId xmlns:a16="http://schemas.microsoft.com/office/drawing/2014/main" id="{D192B3A2-3BA2-4280-8C11-45485EDB6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" y="2401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546">
                <a:extLst>
                  <a:ext uri="{FF2B5EF4-FFF2-40B4-BE49-F238E27FC236}">
                    <a16:creationId xmlns:a16="http://schemas.microsoft.com/office/drawing/2014/main" id="{D1FE8AB4-3DEE-4950-BE7A-AD2CC12B09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4" y="2386"/>
                <a:ext cx="19" cy="17"/>
              </a:xfrm>
              <a:custGeom>
                <a:avLst/>
                <a:gdLst>
                  <a:gd name="T0" fmla="*/ 32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2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2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3" y="13"/>
                      <a:pt x="32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547">
                <a:extLst>
                  <a:ext uri="{FF2B5EF4-FFF2-40B4-BE49-F238E27FC236}">
                    <a16:creationId xmlns:a16="http://schemas.microsoft.com/office/drawing/2014/main" id="{FB47BC66-84DB-4A03-92DB-7A0851320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3" y="2372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548">
                <a:extLst>
                  <a:ext uri="{FF2B5EF4-FFF2-40B4-BE49-F238E27FC236}">
                    <a16:creationId xmlns:a16="http://schemas.microsoft.com/office/drawing/2014/main" id="{06878301-4F65-4E0F-ADD0-17B8D6C4B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3" y="2357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4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549">
                <a:extLst>
                  <a:ext uri="{FF2B5EF4-FFF2-40B4-BE49-F238E27FC236}">
                    <a16:creationId xmlns:a16="http://schemas.microsoft.com/office/drawing/2014/main" id="{CE0BCD4A-36B0-4954-926B-6B5CDA6CA2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" y="2342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0 w 34"/>
                  <a:gd name="T7" fmla="*/ 21 h 31"/>
                  <a:gd name="T8" fmla="*/ 1 w 34"/>
                  <a:gd name="T9" fmla="*/ 18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550">
                <a:extLst>
                  <a:ext uri="{FF2B5EF4-FFF2-40B4-BE49-F238E27FC236}">
                    <a16:creationId xmlns:a16="http://schemas.microsoft.com/office/drawing/2014/main" id="{7E2F856C-7573-42F0-AD91-55F4D3E2C1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1" y="2328"/>
                <a:ext cx="19" cy="17"/>
              </a:xfrm>
              <a:custGeom>
                <a:avLst/>
                <a:gdLst>
                  <a:gd name="T0" fmla="*/ 33 w 34"/>
                  <a:gd name="T1" fmla="*/ 13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4 w 34"/>
                  <a:gd name="T15" fmla="*/ 10 h 31"/>
                  <a:gd name="T16" fmla="*/ 33 w 34"/>
                  <a:gd name="T17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3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0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34" y="11"/>
                      <a:pt x="34" y="13"/>
                      <a:pt x="33" y="13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551">
                <a:extLst>
                  <a:ext uri="{FF2B5EF4-FFF2-40B4-BE49-F238E27FC236}">
                    <a16:creationId xmlns:a16="http://schemas.microsoft.com/office/drawing/2014/main" id="{BDEEF76D-6F0F-4D9E-BCD0-550C2C327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1" y="2313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552">
                <a:extLst>
                  <a:ext uri="{FF2B5EF4-FFF2-40B4-BE49-F238E27FC236}">
                    <a16:creationId xmlns:a16="http://schemas.microsoft.com/office/drawing/2014/main" id="{C76D42C8-B9E7-4623-BB60-F99C670A2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0" y="229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553">
                <a:extLst>
                  <a:ext uri="{FF2B5EF4-FFF2-40B4-BE49-F238E27FC236}">
                    <a16:creationId xmlns:a16="http://schemas.microsoft.com/office/drawing/2014/main" id="{57863703-4CCF-4B4F-9757-B79E44645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" y="2284"/>
                <a:ext cx="19" cy="17"/>
              </a:xfrm>
              <a:custGeom>
                <a:avLst/>
                <a:gdLst>
                  <a:gd name="T0" fmla="*/ 33 w 35"/>
                  <a:gd name="T1" fmla="*/ 14 h 31"/>
                  <a:gd name="T2" fmla="*/ 12 w 35"/>
                  <a:gd name="T3" fmla="*/ 30 h 31"/>
                  <a:gd name="T4" fmla="*/ 9 w 35"/>
                  <a:gd name="T5" fmla="*/ 30 h 31"/>
                  <a:gd name="T6" fmla="*/ 1 w 35"/>
                  <a:gd name="T7" fmla="*/ 20 h 31"/>
                  <a:gd name="T8" fmla="*/ 2 w 35"/>
                  <a:gd name="T9" fmla="*/ 17 h 31"/>
                  <a:gd name="T10" fmla="*/ 23 w 35"/>
                  <a:gd name="T11" fmla="*/ 1 h 31"/>
                  <a:gd name="T12" fmla="*/ 26 w 35"/>
                  <a:gd name="T13" fmla="*/ 1 h 31"/>
                  <a:gd name="T14" fmla="*/ 34 w 35"/>
                  <a:gd name="T15" fmla="*/ 11 h 31"/>
                  <a:gd name="T16" fmla="*/ 33 w 35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1">
                    <a:moveTo>
                      <a:pt x="33" y="14"/>
                    </a:moveTo>
                    <a:cubicBezTo>
                      <a:pt x="12" y="30"/>
                      <a:pt x="12" y="30"/>
                      <a:pt x="12" y="30"/>
                    </a:cubicBezTo>
                    <a:cubicBezTo>
                      <a:pt x="11" y="31"/>
                      <a:pt x="9" y="31"/>
                      <a:pt x="9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554">
                <a:extLst>
                  <a:ext uri="{FF2B5EF4-FFF2-40B4-BE49-F238E27FC236}">
                    <a16:creationId xmlns:a16="http://schemas.microsoft.com/office/drawing/2014/main" id="{1BAC271B-4331-4195-933B-0807D2A77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9" y="2269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555">
                <a:extLst>
                  <a:ext uri="{FF2B5EF4-FFF2-40B4-BE49-F238E27FC236}">
                    <a16:creationId xmlns:a16="http://schemas.microsoft.com/office/drawing/2014/main" id="{9E3BE345-E8A4-4DF4-83EF-29A57E2CB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" y="2407"/>
                <a:ext cx="131" cy="102"/>
              </a:xfrm>
              <a:custGeom>
                <a:avLst/>
                <a:gdLst>
                  <a:gd name="T0" fmla="*/ 237 w 239"/>
                  <a:gd name="T1" fmla="*/ 18 h 188"/>
                  <a:gd name="T2" fmla="*/ 14 w 239"/>
                  <a:gd name="T3" fmla="*/ 187 h 188"/>
                  <a:gd name="T4" fmla="*/ 11 w 239"/>
                  <a:gd name="T5" fmla="*/ 187 h 188"/>
                  <a:gd name="T6" fmla="*/ 1 w 239"/>
                  <a:gd name="T7" fmla="*/ 173 h 188"/>
                  <a:gd name="T8" fmla="*/ 1 w 239"/>
                  <a:gd name="T9" fmla="*/ 170 h 188"/>
                  <a:gd name="T10" fmla="*/ 224 w 239"/>
                  <a:gd name="T11" fmla="*/ 1 h 188"/>
                  <a:gd name="T12" fmla="*/ 227 w 239"/>
                  <a:gd name="T13" fmla="*/ 2 h 188"/>
                  <a:gd name="T14" fmla="*/ 238 w 239"/>
                  <a:gd name="T15" fmla="*/ 15 h 188"/>
                  <a:gd name="T16" fmla="*/ 237 w 239"/>
                  <a:gd name="T17" fmla="*/ 1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9" h="188">
                    <a:moveTo>
                      <a:pt x="237" y="18"/>
                    </a:moveTo>
                    <a:cubicBezTo>
                      <a:pt x="14" y="187"/>
                      <a:pt x="14" y="187"/>
                      <a:pt x="14" y="187"/>
                    </a:cubicBezTo>
                    <a:cubicBezTo>
                      <a:pt x="13" y="188"/>
                      <a:pt x="12" y="188"/>
                      <a:pt x="11" y="187"/>
                    </a:cubicBezTo>
                    <a:cubicBezTo>
                      <a:pt x="1" y="173"/>
                      <a:pt x="1" y="173"/>
                      <a:pt x="1" y="173"/>
                    </a:cubicBezTo>
                    <a:cubicBezTo>
                      <a:pt x="0" y="172"/>
                      <a:pt x="0" y="171"/>
                      <a:pt x="1" y="170"/>
                    </a:cubicBezTo>
                    <a:cubicBezTo>
                      <a:pt x="224" y="1"/>
                      <a:pt x="224" y="1"/>
                      <a:pt x="224" y="1"/>
                    </a:cubicBezTo>
                    <a:cubicBezTo>
                      <a:pt x="225" y="0"/>
                      <a:pt x="227" y="1"/>
                      <a:pt x="227" y="2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9" y="16"/>
                      <a:pt x="238" y="17"/>
                      <a:pt x="237" y="18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556">
                <a:extLst>
                  <a:ext uri="{FF2B5EF4-FFF2-40B4-BE49-F238E27FC236}">
                    <a16:creationId xmlns:a16="http://schemas.microsoft.com/office/drawing/2014/main" id="{316E814B-1C85-4AD3-B2D9-64350F6481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7" y="2454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557">
                <a:extLst>
                  <a:ext uri="{FF2B5EF4-FFF2-40B4-BE49-F238E27FC236}">
                    <a16:creationId xmlns:a16="http://schemas.microsoft.com/office/drawing/2014/main" id="{302CDC22-9F83-4578-BE8C-9F129BD40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43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558">
                <a:extLst>
                  <a:ext uri="{FF2B5EF4-FFF2-40B4-BE49-F238E27FC236}">
                    <a16:creationId xmlns:a16="http://schemas.microsoft.com/office/drawing/2014/main" id="{020789DA-9842-4918-BE57-E0C3B1FC6F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6" y="2425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Freeform 559">
                <a:extLst>
                  <a:ext uri="{FF2B5EF4-FFF2-40B4-BE49-F238E27FC236}">
                    <a16:creationId xmlns:a16="http://schemas.microsoft.com/office/drawing/2014/main" id="{5B081819-FA59-4AC6-9E40-A369E196D8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" y="241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Freeform 560">
                <a:extLst>
                  <a:ext uri="{FF2B5EF4-FFF2-40B4-BE49-F238E27FC236}">
                    <a16:creationId xmlns:a16="http://schemas.microsoft.com/office/drawing/2014/main" id="{433DBDB2-5094-417D-8E50-EE0C5D0BC0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" y="2396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561">
                <a:extLst>
                  <a:ext uri="{FF2B5EF4-FFF2-40B4-BE49-F238E27FC236}">
                    <a16:creationId xmlns:a16="http://schemas.microsoft.com/office/drawing/2014/main" id="{FAF954B3-FBB0-40FA-98BC-93320C228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4" y="238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562">
                <a:extLst>
                  <a:ext uri="{FF2B5EF4-FFF2-40B4-BE49-F238E27FC236}">
                    <a16:creationId xmlns:a16="http://schemas.microsoft.com/office/drawing/2014/main" id="{58C24E26-F294-49DF-B976-6A8EEFB49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236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563">
                <a:extLst>
                  <a:ext uri="{FF2B5EF4-FFF2-40B4-BE49-F238E27FC236}">
                    <a16:creationId xmlns:a16="http://schemas.microsoft.com/office/drawing/2014/main" id="{61D88D73-D038-4214-B4E0-0DF8ADF635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" y="235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564">
                <a:extLst>
                  <a:ext uri="{FF2B5EF4-FFF2-40B4-BE49-F238E27FC236}">
                    <a16:creationId xmlns:a16="http://schemas.microsoft.com/office/drawing/2014/main" id="{89DF9584-EA07-4E49-B2A9-84E23DF22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2" y="2337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565">
                <a:extLst>
                  <a:ext uri="{FF2B5EF4-FFF2-40B4-BE49-F238E27FC236}">
                    <a16:creationId xmlns:a16="http://schemas.microsoft.com/office/drawing/2014/main" id="{BCDCACA9-5549-4BB1-A051-7274986A9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2" y="2322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566">
                <a:extLst>
                  <a:ext uri="{FF2B5EF4-FFF2-40B4-BE49-F238E27FC236}">
                    <a16:creationId xmlns:a16="http://schemas.microsoft.com/office/drawing/2014/main" id="{DBE333B4-A466-4C0E-924C-7B18823F6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9" y="227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567">
                <a:extLst>
                  <a:ext uri="{FF2B5EF4-FFF2-40B4-BE49-F238E27FC236}">
                    <a16:creationId xmlns:a16="http://schemas.microsoft.com/office/drawing/2014/main" id="{A7D397F7-5467-4A7C-B10B-036B8F5848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8" y="22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568">
                <a:extLst>
                  <a:ext uri="{FF2B5EF4-FFF2-40B4-BE49-F238E27FC236}">
                    <a16:creationId xmlns:a16="http://schemas.microsoft.com/office/drawing/2014/main" id="{0C480BAD-71EC-41D8-9834-853D640544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8" y="22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569">
                <a:extLst>
                  <a:ext uri="{FF2B5EF4-FFF2-40B4-BE49-F238E27FC236}">
                    <a16:creationId xmlns:a16="http://schemas.microsoft.com/office/drawing/2014/main" id="{6706C141-F2AF-4C28-9B89-AE609FB7C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4" y="2299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570">
                <a:extLst>
                  <a:ext uri="{FF2B5EF4-FFF2-40B4-BE49-F238E27FC236}">
                    <a16:creationId xmlns:a16="http://schemas.microsoft.com/office/drawing/2014/main" id="{C37F81D3-D340-44E9-96E7-806463E8D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3" y="228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4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571">
                <a:extLst>
                  <a:ext uri="{FF2B5EF4-FFF2-40B4-BE49-F238E27FC236}">
                    <a16:creationId xmlns:a16="http://schemas.microsoft.com/office/drawing/2014/main" id="{3CCCA222-B227-432D-9D5C-19ADF7EF3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2270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572">
                <a:extLst>
                  <a:ext uri="{FF2B5EF4-FFF2-40B4-BE49-F238E27FC236}">
                    <a16:creationId xmlns:a16="http://schemas.microsoft.com/office/drawing/2014/main" id="{BD77A952-0C1E-4C65-9251-0E026364D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9" y="2319"/>
                <a:ext cx="25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573">
                <a:extLst>
                  <a:ext uri="{FF2B5EF4-FFF2-40B4-BE49-F238E27FC236}">
                    <a16:creationId xmlns:a16="http://schemas.microsoft.com/office/drawing/2014/main" id="{41DA7B2B-C81A-4ACF-BD23-45C1012EE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9" y="230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574">
                <a:extLst>
                  <a:ext uri="{FF2B5EF4-FFF2-40B4-BE49-F238E27FC236}">
                    <a16:creationId xmlns:a16="http://schemas.microsoft.com/office/drawing/2014/main" id="{914993AE-F037-432F-B036-CD2831814F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" y="229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575">
                <a:extLst>
                  <a:ext uri="{FF2B5EF4-FFF2-40B4-BE49-F238E27FC236}">
                    <a16:creationId xmlns:a16="http://schemas.microsoft.com/office/drawing/2014/main" id="{256C5CC4-3A51-45C9-BBAE-D457BEA09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8" y="249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576">
                <a:extLst>
                  <a:ext uri="{FF2B5EF4-FFF2-40B4-BE49-F238E27FC236}">
                    <a16:creationId xmlns:a16="http://schemas.microsoft.com/office/drawing/2014/main" id="{61A35434-F835-467D-B28F-08A928293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7" y="248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577">
                <a:extLst>
                  <a:ext uri="{FF2B5EF4-FFF2-40B4-BE49-F238E27FC236}">
                    <a16:creationId xmlns:a16="http://schemas.microsoft.com/office/drawing/2014/main" id="{1E4F6551-CDB6-471B-B32D-032D7F936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6" y="24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1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578">
                <a:extLst>
                  <a:ext uri="{FF2B5EF4-FFF2-40B4-BE49-F238E27FC236}">
                    <a16:creationId xmlns:a16="http://schemas.microsoft.com/office/drawing/2014/main" id="{27BC30B5-9C98-497F-AC0A-B902E35A7C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6" y="24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579">
                <a:extLst>
                  <a:ext uri="{FF2B5EF4-FFF2-40B4-BE49-F238E27FC236}">
                    <a16:creationId xmlns:a16="http://schemas.microsoft.com/office/drawing/2014/main" id="{E1E7D166-3B6D-451B-BAB9-258710ADD0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5" y="243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580">
                <a:extLst>
                  <a:ext uri="{FF2B5EF4-FFF2-40B4-BE49-F238E27FC236}">
                    <a16:creationId xmlns:a16="http://schemas.microsoft.com/office/drawing/2014/main" id="{9916FB65-B040-4773-B3C7-079B0426D2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421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581">
                <a:extLst>
                  <a:ext uri="{FF2B5EF4-FFF2-40B4-BE49-F238E27FC236}">
                    <a16:creationId xmlns:a16="http://schemas.microsoft.com/office/drawing/2014/main" id="{BDCC5EE5-46FF-4906-8E69-BD7955F969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2407"/>
                <a:ext cx="24" cy="24"/>
              </a:xfrm>
              <a:custGeom>
                <a:avLst/>
                <a:gdLst>
                  <a:gd name="T0" fmla="*/ 43 w 44"/>
                  <a:gd name="T1" fmla="*/ 26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3 h 44"/>
                  <a:gd name="T16" fmla="*/ 43 w 44"/>
                  <a:gd name="T17" fmla="*/ 2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6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3"/>
                      <a:pt x="43" y="23"/>
                      <a:pt x="43" y="23"/>
                    </a:cubicBezTo>
                    <a:cubicBezTo>
                      <a:pt x="44" y="24"/>
                      <a:pt x="44" y="26"/>
                      <a:pt x="43" y="26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582">
                <a:extLst>
                  <a:ext uri="{FF2B5EF4-FFF2-40B4-BE49-F238E27FC236}">
                    <a16:creationId xmlns:a16="http://schemas.microsoft.com/office/drawing/2014/main" id="{C06D843A-1491-4BF6-84E4-4EE8CA846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" y="2392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583">
                <a:extLst>
                  <a:ext uri="{FF2B5EF4-FFF2-40B4-BE49-F238E27FC236}">
                    <a16:creationId xmlns:a16="http://schemas.microsoft.com/office/drawing/2014/main" id="{8C16E6A0-1BA9-40F1-AB2E-019BBDD6A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3" y="237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584">
                <a:extLst>
                  <a:ext uri="{FF2B5EF4-FFF2-40B4-BE49-F238E27FC236}">
                    <a16:creationId xmlns:a16="http://schemas.microsoft.com/office/drawing/2014/main" id="{B366D578-3570-4ACC-B9EF-0F9ED2D84D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2" y="236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585">
                <a:extLst>
                  <a:ext uri="{FF2B5EF4-FFF2-40B4-BE49-F238E27FC236}">
                    <a16:creationId xmlns:a16="http://schemas.microsoft.com/office/drawing/2014/main" id="{9001624C-1FEE-4C90-8111-D18F5FA0A0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3" y="248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586">
                <a:extLst>
                  <a:ext uri="{FF2B5EF4-FFF2-40B4-BE49-F238E27FC236}">
                    <a16:creationId xmlns:a16="http://schemas.microsoft.com/office/drawing/2014/main" id="{D05E39D6-35F8-4A70-80C2-88413387C4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2" y="2467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1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587">
                <a:extLst>
                  <a:ext uri="{FF2B5EF4-FFF2-40B4-BE49-F238E27FC236}">
                    <a16:creationId xmlns:a16="http://schemas.microsoft.com/office/drawing/2014/main" id="{91E2C48B-F149-4548-8CED-A7BB7B7CB2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2" y="2452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588">
                <a:extLst>
                  <a:ext uri="{FF2B5EF4-FFF2-40B4-BE49-F238E27FC236}">
                    <a16:creationId xmlns:a16="http://schemas.microsoft.com/office/drawing/2014/main" id="{E67CA0A7-E3C2-466D-AC43-B29B7050E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1" y="243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589">
                <a:extLst>
                  <a:ext uri="{FF2B5EF4-FFF2-40B4-BE49-F238E27FC236}">
                    <a16:creationId xmlns:a16="http://schemas.microsoft.com/office/drawing/2014/main" id="{F4F064AE-FCDF-4691-A1F0-37695AA132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0" y="2423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590">
                <a:extLst>
                  <a:ext uri="{FF2B5EF4-FFF2-40B4-BE49-F238E27FC236}">
                    <a16:creationId xmlns:a16="http://schemas.microsoft.com/office/drawing/2014/main" id="{2EF8E9D8-3F28-46FD-8517-0F8B086752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0" y="240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591">
                <a:extLst>
                  <a:ext uri="{FF2B5EF4-FFF2-40B4-BE49-F238E27FC236}">
                    <a16:creationId xmlns:a16="http://schemas.microsoft.com/office/drawing/2014/main" id="{39070184-863B-46E8-8CCA-DDBC900E90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9" y="2393"/>
                <a:ext cx="24" cy="25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592">
                <a:extLst>
                  <a:ext uri="{FF2B5EF4-FFF2-40B4-BE49-F238E27FC236}">
                    <a16:creationId xmlns:a16="http://schemas.microsoft.com/office/drawing/2014/main" id="{BB7FA9C7-0A08-44FB-BF60-554E7D2F9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8" y="2379"/>
                <a:ext cx="25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593">
                <a:extLst>
                  <a:ext uri="{FF2B5EF4-FFF2-40B4-BE49-F238E27FC236}">
                    <a16:creationId xmlns:a16="http://schemas.microsoft.com/office/drawing/2014/main" id="{545FE0E4-EE72-4D3D-9519-CE3F4323E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8" y="2365"/>
                <a:ext cx="24" cy="24"/>
              </a:xfrm>
              <a:custGeom>
                <a:avLst/>
                <a:gdLst>
                  <a:gd name="T0" fmla="*/ 43 w 44"/>
                  <a:gd name="T1" fmla="*/ 26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3 h 44"/>
                  <a:gd name="T16" fmla="*/ 43 w 44"/>
                  <a:gd name="T17" fmla="*/ 2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6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24"/>
                      <a:pt x="44" y="26"/>
                      <a:pt x="43" y="26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594">
                <a:extLst>
                  <a:ext uri="{FF2B5EF4-FFF2-40B4-BE49-F238E27FC236}">
                    <a16:creationId xmlns:a16="http://schemas.microsoft.com/office/drawing/2014/main" id="{D9660B5A-974B-4448-BE3B-0022A5ACE2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7" y="23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595">
                <a:extLst>
                  <a:ext uri="{FF2B5EF4-FFF2-40B4-BE49-F238E27FC236}">
                    <a16:creationId xmlns:a16="http://schemas.microsoft.com/office/drawing/2014/main" id="{56AB09C3-3BC1-41EE-9302-85B3BDD0D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" y="2335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596">
                <a:extLst>
                  <a:ext uri="{FF2B5EF4-FFF2-40B4-BE49-F238E27FC236}">
                    <a16:creationId xmlns:a16="http://schemas.microsoft.com/office/drawing/2014/main" id="{94319A51-A7D3-4754-A719-0517C95BF9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8" y="2468"/>
                <a:ext cx="35" cy="32"/>
              </a:xfrm>
              <a:custGeom>
                <a:avLst/>
                <a:gdLst>
                  <a:gd name="T0" fmla="*/ 61 w 63"/>
                  <a:gd name="T1" fmla="*/ 27 h 58"/>
                  <a:gd name="T2" fmla="*/ 21 w 63"/>
                  <a:gd name="T3" fmla="*/ 58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1 h 58"/>
                  <a:gd name="T12" fmla="*/ 45 w 63"/>
                  <a:gd name="T13" fmla="*/ 1 h 58"/>
                  <a:gd name="T14" fmla="*/ 62 w 63"/>
                  <a:gd name="T15" fmla="*/ 24 h 58"/>
                  <a:gd name="T16" fmla="*/ 61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2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597">
                <a:extLst>
                  <a:ext uri="{FF2B5EF4-FFF2-40B4-BE49-F238E27FC236}">
                    <a16:creationId xmlns:a16="http://schemas.microsoft.com/office/drawing/2014/main" id="{C9F8D29E-0972-4A11-A80D-D8807E3E5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1" y="2300"/>
                <a:ext cx="35" cy="32"/>
              </a:xfrm>
              <a:custGeom>
                <a:avLst/>
                <a:gdLst>
                  <a:gd name="T0" fmla="*/ 62 w 63"/>
                  <a:gd name="T1" fmla="*/ 27 h 58"/>
                  <a:gd name="T2" fmla="*/ 21 w 63"/>
                  <a:gd name="T3" fmla="*/ 57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0 h 58"/>
                  <a:gd name="T12" fmla="*/ 45 w 63"/>
                  <a:gd name="T13" fmla="*/ 1 h 58"/>
                  <a:gd name="T14" fmla="*/ 62 w 63"/>
                  <a:gd name="T15" fmla="*/ 24 h 58"/>
                  <a:gd name="T16" fmla="*/ 62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2" y="27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3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598">
                <a:extLst>
                  <a:ext uri="{FF2B5EF4-FFF2-40B4-BE49-F238E27FC236}">
                    <a16:creationId xmlns:a16="http://schemas.microsoft.com/office/drawing/2014/main" id="{DE89F5A4-270C-41B1-8EB3-4600906761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4" y="2496"/>
                <a:ext cx="24" cy="24"/>
              </a:xfrm>
              <a:custGeom>
                <a:avLst/>
                <a:gdLst>
                  <a:gd name="T0" fmla="*/ 44 w 45"/>
                  <a:gd name="T1" fmla="*/ 27 h 45"/>
                  <a:gd name="T2" fmla="*/ 21 w 45"/>
                  <a:gd name="T3" fmla="*/ 44 h 45"/>
                  <a:gd name="T4" fmla="*/ 18 w 45"/>
                  <a:gd name="T5" fmla="*/ 44 h 45"/>
                  <a:gd name="T6" fmla="*/ 1 w 45"/>
                  <a:gd name="T7" fmla="*/ 21 h 45"/>
                  <a:gd name="T8" fmla="*/ 1 w 45"/>
                  <a:gd name="T9" fmla="*/ 18 h 45"/>
                  <a:gd name="T10" fmla="*/ 24 w 45"/>
                  <a:gd name="T11" fmla="*/ 1 h 45"/>
                  <a:gd name="T12" fmla="*/ 27 w 45"/>
                  <a:gd name="T13" fmla="*/ 1 h 45"/>
                  <a:gd name="T14" fmla="*/ 44 w 45"/>
                  <a:gd name="T15" fmla="*/ 24 h 45"/>
                  <a:gd name="T16" fmla="*/ 44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4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5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5" y="26"/>
                      <a:pt x="44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599">
                <a:extLst>
                  <a:ext uri="{FF2B5EF4-FFF2-40B4-BE49-F238E27FC236}">
                    <a16:creationId xmlns:a16="http://schemas.microsoft.com/office/drawing/2014/main" id="{E1CEA497-EB10-4F76-8649-FF380148E9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6" y="2320"/>
                <a:ext cx="25" cy="24"/>
              </a:xfrm>
              <a:custGeom>
                <a:avLst/>
                <a:gdLst>
                  <a:gd name="T0" fmla="*/ 43 w 45"/>
                  <a:gd name="T1" fmla="*/ 27 h 45"/>
                  <a:gd name="T2" fmla="*/ 21 w 45"/>
                  <a:gd name="T3" fmla="*/ 45 h 45"/>
                  <a:gd name="T4" fmla="*/ 18 w 45"/>
                  <a:gd name="T5" fmla="*/ 44 h 45"/>
                  <a:gd name="T6" fmla="*/ 0 w 45"/>
                  <a:gd name="T7" fmla="*/ 21 h 45"/>
                  <a:gd name="T8" fmla="*/ 1 w 45"/>
                  <a:gd name="T9" fmla="*/ 18 h 45"/>
                  <a:gd name="T10" fmla="*/ 24 w 45"/>
                  <a:gd name="T11" fmla="*/ 1 h 45"/>
                  <a:gd name="T12" fmla="*/ 26 w 45"/>
                  <a:gd name="T13" fmla="*/ 2 h 45"/>
                  <a:gd name="T14" fmla="*/ 44 w 45"/>
                  <a:gd name="T15" fmla="*/ 24 h 45"/>
                  <a:gd name="T16" fmla="*/ 43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3" y="27"/>
                    </a:moveTo>
                    <a:cubicBezTo>
                      <a:pt x="21" y="45"/>
                      <a:pt x="21" y="45"/>
                      <a:pt x="21" y="45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600">
                <a:extLst>
                  <a:ext uri="{FF2B5EF4-FFF2-40B4-BE49-F238E27FC236}">
                    <a16:creationId xmlns:a16="http://schemas.microsoft.com/office/drawing/2014/main" id="{43A61379-8AAC-4CBC-BE77-F9FF02D3F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9" y="2508"/>
                <a:ext cx="34" cy="32"/>
              </a:xfrm>
              <a:custGeom>
                <a:avLst/>
                <a:gdLst>
                  <a:gd name="T0" fmla="*/ 61 w 62"/>
                  <a:gd name="T1" fmla="*/ 27 h 59"/>
                  <a:gd name="T2" fmla="*/ 21 w 62"/>
                  <a:gd name="T3" fmla="*/ 58 h 59"/>
                  <a:gd name="T4" fmla="*/ 18 w 62"/>
                  <a:gd name="T5" fmla="*/ 58 h 59"/>
                  <a:gd name="T6" fmla="*/ 0 w 62"/>
                  <a:gd name="T7" fmla="*/ 35 h 59"/>
                  <a:gd name="T8" fmla="*/ 1 w 62"/>
                  <a:gd name="T9" fmla="*/ 32 h 59"/>
                  <a:gd name="T10" fmla="*/ 41 w 62"/>
                  <a:gd name="T11" fmla="*/ 1 h 59"/>
                  <a:gd name="T12" fmla="*/ 44 w 62"/>
                  <a:gd name="T13" fmla="*/ 2 h 59"/>
                  <a:gd name="T14" fmla="*/ 62 w 62"/>
                  <a:gd name="T15" fmla="*/ 24 h 59"/>
                  <a:gd name="T16" fmla="*/ 61 w 62"/>
                  <a:gd name="T17" fmla="*/ 27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9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9"/>
                      <a:pt x="18" y="59"/>
                      <a:pt x="18" y="58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4"/>
                      <a:pt x="0" y="33"/>
                      <a:pt x="1" y="32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1"/>
                      <a:pt x="44" y="2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7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601">
                <a:extLst>
                  <a:ext uri="{FF2B5EF4-FFF2-40B4-BE49-F238E27FC236}">
                    <a16:creationId xmlns:a16="http://schemas.microsoft.com/office/drawing/2014/main" id="{95717062-E9AB-468A-BBF7-253587CDCB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2" y="2340"/>
                <a:ext cx="34" cy="32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8 h 58"/>
                  <a:gd name="T4" fmla="*/ 18 w 62"/>
                  <a:gd name="T5" fmla="*/ 57 h 58"/>
                  <a:gd name="T6" fmla="*/ 1 w 62"/>
                  <a:gd name="T7" fmla="*/ 34 h 58"/>
                  <a:gd name="T8" fmla="*/ 1 w 62"/>
                  <a:gd name="T9" fmla="*/ 31 h 58"/>
                  <a:gd name="T10" fmla="*/ 41 w 62"/>
                  <a:gd name="T11" fmla="*/ 1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4"/>
                      <a:pt x="0" y="32"/>
                      <a:pt x="1" y="31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602">
                <a:extLst>
                  <a:ext uri="{FF2B5EF4-FFF2-40B4-BE49-F238E27FC236}">
                    <a16:creationId xmlns:a16="http://schemas.microsoft.com/office/drawing/2014/main" id="{73BF71A9-D903-47A6-BBE3-01A398E892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3" y="2100"/>
                <a:ext cx="432" cy="362"/>
              </a:xfrm>
              <a:custGeom>
                <a:avLst/>
                <a:gdLst>
                  <a:gd name="T0" fmla="*/ 101 w 432"/>
                  <a:gd name="T1" fmla="*/ 362 h 362"/>
                  <a:gd name="T2" fmla="*/ 0 w 432"/>
                  <a:gd name="T3" fmla="*/ 316 h 362"/>
                  <a:gd name="T4" fmla="*/ 413 w 432"/>
                  <a:gd name="T5" fmla="*/ 0 h 362"/>
                  <a:gd name="T6" fmla="*/ 432 w 432"/>
                  <a:gd name="T7" fmla="*/ 109 h 362"/>
                  <a:gd name="T8" fmla="*/ 101 w 432"/>
                  <a:gd name="T9" fmla="*/ 3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2" h="362">
                    <a:moveTo>
                      <a:pt x="101" y="362"/>
                    </a:moveTo>
                    <a:lnTo>
                      <a:pt x="0" y="316"/>
                    </a:lnTo>
                    <a:lnTo>
                      <a:pt x="413" y="0"/>
                    </a:lnTo>
                    <a:lnTo>
                      <a:pt x="432" y="109"/>
                    </a:lnTo>
                    <a:lnTo>
                      <a:pt x="101" y="362"/>
                    </a:ln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603">
                <a:extLst>
                  <a:ext uri="{FF2B5EF4-FFF2-40B4-BE49-F238E27FC236}">
                    <a16:creationId xmlns:a16="http://schemas.microsoft.com/office/drawing/2014/main" id="{DBEBAA07-5EB5-4B80-B0A3-EEF813845D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2" y="2108"/>
                <a:ext cx="419" cy="350"/>
              </a:xfrm>
              <a:custGeom>
                <a:avLst/>
                <a:gdLst>
                  <a:gd name="T0" fmla="*/ 92 w 419"/>
                  <a:gd name="T1" fmla="*/ 350 h 350"/>
                  <a:gd name="T2" fmla="*/ 0 w 419"/>
                  <a:gd name="T3" fmla="*/ 307 h 350"/>
                  <a:gd name="T4" fmla="*/ 401 w 419"/>
                  <a:gd name="T5" fmla="*/ 0 h 350"/>
                  <a:gd name="T6" fmla="*/ 419 w 419"/>
                  <a:gd name="T7" fmla="*/ 100 h 350"/>
                  <a:gd name="T8" fmla="*/ 92 w 419"/>
                  <a:gd name="T9" fmla="*/ 35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9" h="350">
                    <a:moveTo>
                      <a:pt x="92" y="350"/>
                    </a:moveTo>
                    <a:lnTo>
                      <a:pt x="0" y="307"/>
                    </a:lnTo>
                    <a:lnTo>
                      <a:pt x="401" y="0"/>
                    </a:lnTo>
                    <a:lnTo>
                      <a:pt x="419" y="100"/>
                    </a:lnTo>
                    <a:lnTo>
                      <a:pt x="92" y="350"/>
                    </a:lnTo>
                    <a:close/>
                  </a:path>
                </a:pathLst>
              </a:custGeom>
              <a:solidFill>
                <a:srgbClr val="4849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604">
                <a:extLst>
                  <a:ext uri="{FF2B5EF4-FFF2-40B4-BE49-F238E27FC236}">
                    <a16:creationId xmlns:a16="http://schemas.microsoft.com/office/drawing/2014/main" id="{29E30B18-E14C-46AF-9209-C1071BEE47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7" y="2113"/>
                <a:ext cx="395" cy="305"/>
              </a:xfrm>
              <a:custGeom>
                <a:avLst/>
                <a:gdLst>
                  <a:gd name="T0" fmla="*/ 11 w 395"/>
                  <a:gd name="T1" fmla="*/ 305 h 305"/>
                  <a:gd name="T2" fmla="*/ 0 w 395"/>
                  <a:gd name="T3" fmla="*/ 300 h 305"/>
                  <a:gd name="T4" fmla="*/ 393 w 395"/>
                  <a:gd name="T5" fmla="*/ 0 h 305"/>
                  <a:gd name="T6" fmla="*/ 395 w 395"/>
                  <a:gd name="T7" fmla="*/ 12 h 305"/>
                  <a:gd name="T8" fmla="*/ 11 w 395"/>
                  <a:gd name="T9" fmla="*/ 305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05">
                    <a:moveTo>
                      <a:pt x="11" y="305"/>
                    </a:moveTo>
                    <a:lnTo>
                      <a:pt x="0" y="300"/>
                    </a:lnTo>
                    <a:lnTo>
                      <a:pt x="393" y="0"/>
                    </a:lnTo>
                    <a:lnTo>
                      <a:pt x="395" y="12"/>
                    </a:lnTo>
                    <a:lnTo>
                      <a:pt x="11" y="305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605">
                <a:extLst>
                  <a:ext uri="{FF2B5EF4-FFF2-40B4-BE49-F238E27FC236}">
                    <a16:creationId xmlns:a16="http://schemas.microsoft.com/office/drawing/2014/main" id="{771DFA5F-2B43-4889-8997-6DDC5912F1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1" y="2404"/>
                <a:ext cx="91" cy="51"/>
              </a:xfrm>
              <a:custGeom>
                <a:avLst/>
                <a:gdLst>
                  <a:gd name="T0" fmla="*/ 91 w 91"/>
                  <a:gd name="T1" fmla="*/ 37 h 51"/>
                  <a:gd name="T2" fmla="*/ 74 w 91"/>
                  <a:gd name="T3" fmla="*/ 51 h 51"/>
                  <a:gd name="T4" fmla="*/ 0 w 91"/>
                  <a:gd name="T5" fmla="*/ 16 h 51"/>
                  <a:gd name="T6" fmla="*/ 21 w 91"/>
                  <a:gd name="T7" fmla="*/ 0 h 51"/>
                  <a:gd name="T8" fmla="*/ 91 w 91"/>
                  <a:gd name="T9" fmla="*/ 3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51">
                    <a:moveTo>
                      <a:pt x="91" y="37"/>
                    </a:moveTo>
                    <a:lnTo>
                      <a:pt x="74" y="51"/>
                    </a:lnTo>
                    <a:lnTo>
                      <a:pt x="0" y="16"/>
                    </a:lnTo>
                    <a:lnTo>
                      <a:pt x="21" y="0"/>
                    </a:lnTo>
                    <a:lnTo>
                      <a:pt x="91" y="37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606">
                <a:extLst>
                  <a:ext uri="{FF2B5EF4-FFF2-40B4-BE49-F238E27FC236}">
                    <a16:creationId xmlns:a16="http://schemas.microsoft.com/office/drawing/2014/main" id="{D51B12FC-72A0-4A27-93A7-8699ED5F1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2" y="2129"/>
                <a:ext cx="35" cy="92"/>
              </a:xfrm>
              <a:custGeom>
                <a:avLst/>
                <a:gdLst>
                  <a:gd name="T0" fmla="*/ 35 w 35"/>
                  <a:gd name="T1" fmla="*/ 79 h 92"/>
                  <a:gd name="T2" fmla="*/ 18 w 35"/>
                  <a:gd name="T3" fmla="*/ 92 h 92"/>
                  <a:gd name="T4" fmla="*/ 0 w 35"/>
                  <a:gd name="T5" fmla="*/ 16 h 92"/>
                  <a:gd name="T6" fmla="*/ 21 w 35"/>
                  <a:gd name="T7" fmla="*/ 0 h 92"/>
                  <a:gd name="T8" fmla="*/ 35 w 35"/>
                  <a:gd name="T9" fmla="*/ 7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92">
                    <a:moveTo>
                      <a:pt x="35" y="79"/>
                    </a:moveTo>
                    <a:lnTo>
                      <a:pt x="18" y="92"/>
                    </a:lnTo>
                    <a:lnTo>
                      <a:pt x="0" y="16"/>
                    </a:lnTo>
                    <a:lnTo>
                      <a:pt x="21" y="0"/>
                    </a:lnTo>
                    <a:lnTo>
                      <a:pt x="35" y="79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" name="Freeform 608">
              <a:extLst>
                <a:ext uri="{FF2B5EF4-FFF2-40B4-BE49-F238E27FC236}">
                  <a16:creationId xmlns:a16="http://schemas.microsoft.com/office/drawing/2014/main" id="{1C033AF9-1F6B-4543-A719-DD0B422BA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7550" y="3503613"/>
              <a:ext cx="333375" cy="284163"/>
            </a:xfrm>
            <a:custGeom>
              <a:avLst/>
              <a:gdLst>
                <a:gd name="T0" fmla="*/ 210 w 210"/>
                <a:gd name="T1" fmla="*/ 53 h 179"/>
                <a:gd name="T2" fmla="*/ 46 w 210"/>
                <a:gd name="T3" fmla="*/ 179 h 179"/>
                <a:gd name="T4" fmla="*/ 0 w 210"/>
                <a:gd name="T5" fmla="*/ 143 h 179"/>
                <a:gd name="T6" fmla="*/ 187 w 210"/>
                <a:gd name="T7" fmla="*/ 0 h 179"/>
                <a:gd name="T8" fmla="*/ 210 w 210"/>
                <a:gd name="T9" fmla="*/ 5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179">
                  <a:moveTo>
                    <a:pt x="210" y="53"/>
                  </a:moveTo>
                  <a:lnTo>
                    <a:pt x="46" y="179"/>
                  </a:lnTo>
                  <a:lnTo>
                    <a:pt x="0" y="143"/>
                  </a:lnTo>
                  <a:lnTo>
                    <a:pt x="187" y="0"/>
                  </a:lnTo>
                  <a:lnTo>
                    <a:pt x="210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09">
              <a:extLst>
                <a:ext uri="{FF2B5EF4-FFF2-40B4-BE49-F238E27FC236}">
                  <a16:creationId xmlns:a16="http://schemas.microsoft.com/office/drawing/2014/main" id="{BA64B51C-C1B5-477D-A7B6-8262EAFEA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1238" y="3489326"/>
              <a:ext cx="138113" cy="134938"/>
            </a:xfrm>
            <a:custGeom>
              <a:avLst/>
              <a:gdLst>
                <a:gd name="T0" fmla="*/ 87 w 87"/>
                <a:gd name="T1" fmla="*/ 28 h 85"/>
                <a:gd name="T2" fmla="*/ 12 w 87"/>
                <a:gd name="T3" fmla="*/ 85 h 85"/>
                <a:gd name="T4" fmla="*/ 0 w 87"/>
                <a:gd name="T5" fmla="*/ 61 h 85"/>
                <a:gd name="T6" fmla="*/ 80 w 87"/>
                <a:gd name="T7" fmla="*/ 0 h 85"/>
                <a:gd name="T8" fmla="*/ 87 w 87"/>
                <a:gd name="T9" fmla="*/ 2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5">
                  <a:moveTo>
                    <a:pt x="87" y="28"/>
                  </a:moveTo>
                  <a:lnTo>
                    <a:pt x="12" y="85"/>
                  </a:lnTo>
                  <a:lnTo>
                    <a:pt x="0" y="61"/>
                  </a:lnTo>
                  <a:lnTo>
                    <a:pt x="80" y="0"/>
                  </a:lnTo>
                  <a:lnTo>
                    <a:pt x="87" y="28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10">
              <a:extLst>
                <a:ext uri="{FF2B5EF4-FFF2-40B4-BE49-F238E27FC236}">
                  <a16:creationId xmlns:a16="http://schemas.microsoft.com/office/drawing/2014/main" id="{0527022F-535B-4DD9-89B6-4D65BF587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650" y="3484563"/>
              <a:ext cx="128588" cy="101600"/>
            </a:xfrm>
            <a:custGeom>
              <a:avLst/>
              <a:gdLst>
                <a:gd name="T0" fmla="*/ 81 w 81"/>
                <a:gd name="T1" fmla="*/ 0 h 64"/>
                <a:gd name="T2" fmla="*/ 0 w 81"/>
                <a:gd name="T3" fmla="*/ 62 h 64"/>
                <a:gd name="T4" fmla="*/ 1 w 81"/>
                <a:gd name="T5" fmla="*/ 64 h 64"/>
                <a:gd name="T6" fmla="*/ 81 w 81"/>
                <a:gd name="T7" fmla="*/ 3 h 64"/>
                <a:gd name="T8" fmla="*/ 81 w 81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64">
                  <a:moveTo>
                    <a:pt x="81" y="0"/>
                  </a:moveTo>
                  <a:lnTo>
                    <a:pt x="0" y="62"/>
                  </a:lnTo>
                  <a:lnTo>
                    <a:pt x="1" y="64"/>
                  </a:lnTo>
                  <a:lnTo>
                    <a:pt x="81" y="3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565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611">
              <a:extLst>
                <a:ext uri="{FF2B5EF4-FFF2-40B4-BE49-F238E27FC236}">
                  <a16:creationId xmlns:a16="http://schemas.microsoft.com/office/drawing/2014/main" id="{676A0FFC-AFD5-4A9A-B9A5-3686F89988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0763" y="3568701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2 w 16"/>
                <a:gd name="T3" fmla="*/ 14 h 14"/>
                <a:gd name="T4" fmla="*/ 0 w 16"/>
                <a:gd name="T5" fmla="*/ 11 h 14"/>
                <a:gd name="T6" fmla="*/ 14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2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F5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12">
              <a:extLst>
                <a:ext uri="{FF2B5EF4-FFF2-40B4-BE49-F238E27FC236}">
                  <a16:creationId xmlns:a16="http://schemas.microsoft.com/office/drawing/2014/main" id="{6C93903C-03B2-4706-A562-55EE8543C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0925" y="3546476"/>
              <a:ext cx="25400" cy="23813"/>
            </a:xfrm>
            <a:custGeom>
              <a:avLst/>
              <a:gdLst>
                <a:gd name="T0" fmla="*/ 16 w 16"/>
                <a:gd name="T1" fmla="*/ 3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3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3"/>
                  </a:lnTo>
                  <a:close/>
                </a:path>
              </a:pathLst>
            </a:custGeom>
            <a:solidFill>
              <a:srgbClr val="FFE0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613">
              <a:extLst>
                <a:ext uri="{FF2B5EF4-FFF2-40B4-BE49-F238E27FC236}">
                  <a16:creationId xmlns:a16="http://schemas.microsoft.com/office/drawing/2014/main" id="{DC35686E-620F-42C6-8BA3-46D1B3686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9663" y="3500438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14">
              <a:extLst>
                <a:ext uri="{FF2B5EF4-FFF2-40B4-BE49-F238E27FC236}">
                  <a16:creationId xmlns:a16="http://schemas.microsoft.com/office/drawing/2014/main" id="{827AC62D-B1B5-41F2-9B17-D26774D43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9500" y="3522663"/>
              <a:ext cx="25400" cy="25400"/>
            </a:xfrm>
            <a:custGeom>
              <a:avLst/>
              <a:gdLst>
                <a:gd name="T0" fmla="*/ 16 w 16"/>
                <a:gd name="T1" fmla="*/ 5 h 16"/>
                <a:gd name="T2" fmla="*/ 2 w 16"/>
                <a:gd name="T3" fmla="*/ 16 h 16"/>
                <a:gd name="T4" fmla="*/ 0 w 16"/>
                <a:gd name="T5" fmla="*/ 11 h 16"/>
                <a:gd name="T6" fmla="*/ 15 w 16"/>
                <a:gd name="T7" fmla="*/ 0 h 16"/>
                <a:gd name="T8" fmla="*/ 16 w 16"/>
                <a:gd name="T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6" y="5"/>
                  </a:moveTo>
                  <a:lnTo>
                    <a:pt x="2" y="16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5"/>
                  </a:lnTo>
                  <a:close/>
                </a:path>
              </a:pathLst>
            </a:custGeom>
            <a:solidFill>
              <a:srgbClr val="E3C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15">
              <a:extLst>
                <a:ext uri="{FF2B5EF4-FFF2-40B4-BE49-F238E27FC236}">
                  <a16:creationId xmlns:a16="http://schemas.microsoft.com/office/drawing/2014/main" id="{6160D349-D2DE-44CE-AF40-D681FBECF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3938" y="3576638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2 w 16"/>
                <a:gd name="T3" fmla="*/ 15 h 15"/>
                <a:gd name="T4" fmla="*/ 0 w 16"/>
                <a:gd name="T5" fmla="*/ 11 h 15"/>
                <a:gd name="T6" fmla="*/ 15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F1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16">
              <a:extLst>
                <a:ext uri="{FF2B5EF4-FFF2-40B4-BE49-F238E27FC236}">
                  <a16:creationId xmlns:a16="http://schemas.microsoft.com/office/drawing/2014/main" id="{06D22AD4-72E1-4832-82B5-7E09B6538F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4100" y="3554413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FFD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17">
              <a:extLst>
                <a:ext uri="{FF2B5EF4-FFF2-40B4-BE49-F238E27FC236}">
                  <a16:creationId xmlns:a16="http://schemas.microsoft.com/office/drawing/2014/main" id="{216D32CE-0916-4096-8AD1-78C07D997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2838" y="3509963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A6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618">
              <a:extLst>
                <a:ext uri="{FF2B5EF4-FFF2-40B4-BE49-F238E27FC236}">
                  <a16:creationId xmlns:a16="http://schemas.microsoft.com/office/drawing/2014/main" id="{5CA55864-B949-4EA3-9161-FEF99405E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2675" y="3532188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2 w 16"/>
                <a:gd name="T3" fmla="*/ 15 h 15"/>
                <a:gd name="T4" fmla="*/ 0 w 16"/>
                <a:gd name="T5" fmla="*/ 11 h 15"/>
                <a:gd name="T6" fmla="*/ 15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E3B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19">
              <a:extLst>
                <a:ext uri="{FF2B5EF4-FFF2-40B4-BE49-F238E27FC236}">
                  <a16:creationId xmlns:a16="http://schemas.microsoft.com/office/drawing/2014/main" id="{0D60DE89-A7E8-4100-9D37-0288D2279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8700" y="3584576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EE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620">
              <a:extLst>
                <a:ext uri="{FF2B5EF4-FFF2-40B4-BE49-F238E27FC236}">
                  <a16:creationId xmlns:a16="http://schemas.microsoft.com/office/drawing/2014/main" id="{659895D8-C548-497F-A1FA-24BF93DA3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7275" y="3562351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CA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21">
              <a:extLst>
                <a:ext uri="{FF2B5EF4-FFF2-40B4-BE49-F238E27FC236}">
                  <a16:creationId xmlns:a16="http://schemas.microsoft.com/office/drawing/2014/main" id="{963DC246-A006-4DCF-A071-253A0474D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4425" y="3519488"/>
              <a:ext cx="25400" cy="22225"/>
            </a:xfrm>
            <a:custGeom>
              <a:avLst/>
              <a:gdLst>
                <a:gd name="T0" fmla="*/ 16 w 16"/>
                <a:gd name="T1" fmla="*/ 3 h 14"/>
                <a:gd name="T2" fmla="*/ 1 w 16"/>
                <a:gd name="T3" fmla="*/ 14 h 14"/>
                <a:gd name="T4" fmla="*/ 0 w 16"/>
                <a:gd name="T5" fmla="*/ 11 h 14"/>
                <a:gd name="T6" fmla="*/ 15 w 16"/>
                <a:gd name="T7" fmla="*/ 0 h 14"/>
                <a:gd name="T8" fmla="*/ 16 w 16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3"/>
                  </a:moveTo>
                  <a:lnTo>
                    <a:pt x="1" y="14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3"/>
                  </a:lnTo>
                  <a:close/>
                </a:path>
              </a:pathLst>
            </a:custGeom>
            <a:solidFill>
              <a:srgbClr val="E68B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22">
              <a:extLst>
                <a:ext uri="{FF2B5EF4-FFF2-40B4-BE49-F238E27FC236}">
                  <a16:creationId xmlns:a16="http://schemas.microsoft.com/office/drawing/2014/main" id="{676B4274-BD0F-4CBC-B5B2-227CA324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5850" y="3541713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1 w 16"/>
                <a:gd name="T3" fmla="*/ 14 h 14"/>
                <a:gd name="T4" fmla="*/ 0 w 16"/>
                <a:gd name="T5" fmla="*/ 10 h 14"/>
                <a:gd name="T6" fmla="*/ 15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E39E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23">
              <a:extLst>
                <a:ext uri="{FF2B5EF4-FFF2-40B4-BE49-F238E27FC236}">
                  <a16:creationId xmlns:a16="http://schemas.microsoft.com/office/drawing/2014/main" id="{7C75FA3E-26B3-4C74-B513-6C618AD3C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1875" y="3592513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2 w 16"/>
                <a:gd name="T3" fmla="*/ 14 h 14"/>
                <a:gd name="T4" fmla="*/ 0 w 16"/>
                <a:gd name="T5" fmla="*/ 11 h 14"/>
                <a:gd name="T6" fmla="*/ 14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2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E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24">
              <a:extLst>
                <a:ext uri="{FF2B5EF4-FFF2-40B4-BE49-F238E27FC236}">
                  <a16:creationId xmlns:a16="http://schemas.microsoft.com/office/drawing/2014/main" id="{0DAAA780-59AE-458A-BD71-2955C208C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0450" y="3570288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2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CCC7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25">
              <a:extLst>
                <a:ext uri="{FF2B5EF4-FFF2-40B4-BE49-F238E27FC236}">
                  <a16:creationId xmlns:a16="http://schemas.microsoft.com/office/drawing/2014/main" id="{635FAE51-2045-47DB-ABB6-B8832FBFC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7600" y="3527426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26">
              <a:extLst>
                <a:ext uri="{FF2B5EF4-FFF2-40B4-BE49-F238E27FC236}">
                  <a16:creationId xmlns:a16="http://schemas.microsoft.com/office/drawing/2014/main" id="{5AE8E328-48AB-45AB-A7AE-7EE5B04367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9025" y="3549651"/>
              <a:ext cx="23813" cy="22225"/>
            </a:xfrm>
            <a:custGeom>
              <a:avLst/>
              <a:gdLst>
                <a:gd name="T0" fmla="*/ 15 w 15"/>
                <a:gd name="T1" fmla="*/ 4 h 14"/>
                <a:gd name="T2" fmla="*/ 1 w 15"/>
                <a:gd name="T3" fmla="*/ 14 h 14"/>
                <a:gd name="T4" fmla="*/ 0 w 15"/>
                <a:gd name="T5" fmla="*/ 11 h 14"/>
                <a:gd name="T6" fmla="*/ 14 w 15"/>
                <a:gd name="T7" fmla="*/ 0 h 14"/>
                <a:gd name="T8" fmla="*/ 15 w 15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15" y="4"/>
                  </a:moveTo>
                  <a:lnTo>
                    <a:pt x="1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39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27">
              <a:extLst>
                <a:ext uri="{FF2B5EF4-FFF2-40B4-BE49-F238E27FC236}">
                  <a16:creationId xmlns:a16="http://schemas.microsoft.com/office/drawing/2014/main" id="{D319F6EA-9460-43FD-AD85-AAAD443A9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3489326"/>
              <a:ext cx="7938" cy="7938"/>
            </a:xfrm>
            <a:custGeom>
              <a:avLst/>
              <a:gdLst>
                <a:gd name="T0" fmla="*/ 5 w 5"/>
                <a:gd name="T1" fmla="*/ 2 h 5"/>
                <a:gd name="T2" fmla="*/ 0 w 5"/>
                <a:gd name="T3" fmla="*/ 5 h 5"/>
                <a:gd name="T4" fmla="*/ 0 w 5"/>
                <a:gd name="T5" fmla="*/ 3 h 5"/>
                <a:gd name="T6" fmla="*/ 5 w 5"/>
                <a:gd name="T7" fmla="*/ 0 h 5"/>
                <a:gd name="T8" fmla="*/ 5 w 5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5" y="2"/>
                  </a:moveTo>
                  <a:lnTo>
                    <a:pt x="0" y="5"/>
                  </a:lnTo>
                  <a:lnTo>
                    <a:pt x="0" y="3"/>
                  </a:lnTo>
                  <a:lnTo>
                    <a:pt x="5" y="0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28">
              <a:extLst>
                <a:ext uri="{FF2B5EF4-FFF2-40B4-BE49-F238E27FC236}">
                  <a16:creationId xmlns:a16="http://schemas.microsoft.com/office/drawing/2014/main" id="{AF6BDD5D-060D-45F9-9F95-2F67E3521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3490913"/>
              <a:ext cx="4763" cy="4763"/>
            </a:xfrm>
            <a:custGeom>
              <a:avLst/>
              <a:gdLst>
                <a:gd name="T0" fmla="*/ 1 w 3"/>
                <a:gd name="T1" fmla="*/ 3 h 3"/>
                <a:gd name="T2" fmla="*/ 0 w 3"/>
                <a:gd name="T3" fmla="*/ 3 h 3"/>
                <a:gd name="T4" fmla="*/ 0 w 3"/>
                <a:gd name="T5" fmla="*/ 3 h 3"/>
                <a:gd name="T6" fmla="*/ 3 w 3"/>
                <a:gd name="T7" fmla="*/ 0 h 3"/>
                <a:gd name="T8" fmla="*/ 3 w 3"/>
                <a:gd name="T9" fmla="*/ 0 h 3"/>
                <a:gd name="T10" fmla="*/ 3 w 3"/>
                <a:gd name="T11" fmla="*/ 0 h 3"/>
                <a:gd name="T12" fmla="*/ 1 w 3"/>
                <a:gd name="T13" fmla="*/ 3 h 3"/>
                <a:gd name="T14" fmla="*/ 1 w 3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3"/>
                  </a:lnTo>
                  <a:lnTo>
                    <a:pt x="1" y="3"/>
                  </a:lnTo>
                  <a:close/>
                </a:path>
              </a:pathLst>
            </a:custGeom>
            <a:solidFill>
              <a:srgbClr val="4849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629">
              <a:extLst>
                <a:ext uri="{FF2B5EF4-FFF2-40B4-BE49-F238E27FC236}">
                  <a16:creationId xmlns:a16="http://schemas.microsoft.com/office/drawing/2014/main" id="{451361B5-F0C6-447C-9DB5-1D230D128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3492501"/>
              <a:ext cx="4763" cy="1588"/>
            </a:xfrm>
            <a:custGeom>
              <a:avLst/>
              <a:gdLst>
                <a:gd name="T0" fmla="*/ 3 w 3"/>
                <a:gd name="T1" fmla="*/ 0 h 1"/>
                <a:gd name="T2" fmla="*/ 3 w 3"/>
                <a:gd name="T3" fmla="*/ 1 h 1"/>
                <a:gd name="T4" fmla="*/ 0 w 3"/>
                <a:gd name="T5" fmla="*/ 1 h 1"/>
                <a:gd name="T6" fmla="*/ 0 w 3"/>
                <a:gd name="T7" fmla="*/ 1 h 1"/>
                <a:gd name="T8" fmla="*/ 1 w 3"/>
                <a:gd name="T9" fmla="*/ 1 h 1"/>
                <a:gd name="T10" fmla="*/ 3 w 3"/>
                <a:gd name="T11" fmla="*/ 0 h 1"/>
                <a:gd name="T12" fmla="*/ 3 w 3"/>
                <a:gd name="T13" fmla="*/ 0 h 1"/>
                <a:gd name="T14" fmla="*/ 3 w 3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lnTo>
                    <a:pt x="3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4849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630">
              <a:extLst>
                <a:ext uri="{FF2B5EF4-FFF2-40B4-BE49-F238E27FC236}">
                  <a16:creationId xmlns:a16="http://schemas.microsoft.com/office/drawing/2014/main" id="{398C4447-9083-4DB6-BC77-B9CA5FE9D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175" y="3330576"/>
              <a:ext cx="657225" cy="504825"/>
            </a:xfrm>
            <a:custGeom>
              <a:avLst/>
              <a:gdLst>
                <a:gd name="T0" fmla="*/ 718 w 756"/>
                <a:gd name="T1" fmla="*/ 21 h 583"/>
                <a:gd name="T2" fmla="*/ 27 w 756"/>
                <a:gd name="T3" fmla="*/ 550 h 583"/>
                <a:gd name="T4" fmla="*/ 1 w 756"/>
                <a:gd name="T5" fmla="*/ 583 h 583"/>
                <a:gd name="T6" fmla="*/ 756 w 756"/>
                <a:gd name="T7" fmla="*/ 5 h 583"/>
                <a:gd name="T8" fmla="*/ 718 w 756"/>
                <a:gd name="T9" fmla="*/ 21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6" h="583">
                  <a:moveTo>
                    <a:pt x="718" y="21"/>
                  </a:moveTo>
                  <a:cubicBezTo>
                    <a:pt x="27" y="550"/>
                    <a:pt x="27" y="550"/>
                    <a:pt x="27" y="550"/>
                  </a:cubicBezTo>
                  <a:cubicBezTo>
                    <a:pt x="14" y="560"/>
                    <a:pt x="0" y="567"/>
                    <a:pt x="1" y="583"/>
                  </a:cubicBezTo>
                  <a:cubicBezTo>
                    <a:pt x="756" y="5"/>
                    <a:pt x="756" y="5"/>
                    <a:pt x="756" y="5"/>
                  </a:cubicBezTo>
                  <a:cubicBezTo>
                    <a:pt x="741" y="0"/>
                    <a:pt x="731" y="11"/>
                    <a:pt x="718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31">
              <a:extLst>
                <a:ext uri="{FF2B5EF4-FFF2-40B4-BE49-F238E27FC236}">
                  <a16:creationId xmlns:a16="http://schemas.microsoft.com/office/drawing/2014/main" id="{03531EE7-D46C-4161-9530-DC499F742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8063" y="3836988"/>
              <a:ext cx="176213" cy="161925"/>
            </a:xfrm>
            <a:custGeom>
              <a:avLst/>
              <a:gdLst>
                <a:gd name="T0" fmla="*/ 111 w 111"/>
                <a:gd name="T1" fmla="*/ 40 h 102"/>
                <a:gd name="T2" fmla="*/ 31 w 111"/>
                <a:gd name="T3" fmla="*/ 102 h 102"/>
                <a:gd name="T4" fmla="*/ 0 w 111"/>
                <a:gd name="T5" fmla="*/ 61 h 102"/>
                <a:gd name="T6" fmla="*/ 80 w 111"/>
                <a:gd name="T7" fmla="*/ 0 h 102"/>
                <a:gd name="T8" fmla="*/ 111 w 111"/>
                <a:gd name="T9" fmla="*/ 4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02">
                  <a:moveTo>
                    <a:pt x="111" y="40"/>
                  </a:moveTo>
                  <a:lnTo>
                    <a:pt x="31" y="102"/>
                  </a:lnTo>
                  <a:lnTo>
                    <a:pt x="0" y="61"/>
                  </a:lnTo>
                  <a:lnTo>
                    <a:pt x="80" y="0"/>
                  </a:lnTo>
                  <a:lnTo>
                    <a:pt x="111" y="4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632">
              <a:extLst>
                <a:ext uri="{FF2B5EF4-FFF2-40B4-BE49-F238E27FC236}">
                  <a16:creationId xmlns:a16="http://schemas.microsoft.com/office/drawing/2014/main" id="{DFF6CF30-4281-46B8-89A4-D9E9633B7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0738" y="4129088"/>
              <a:ext cx="403225" cy="577850"/>
            </a:xfrm>
            <a:custGeom>
              <a:avLst/>
              <a:gdLst>
                <a:gd name="T0" fmla="*/ 293 w 464"/>
                <a:gd name="T1" fmla="*/ 478 h 665"/>
                <a:gd name="T2" fmla="*/ 70 w 464"/>
                <a:gd name="T3" fmla="*/ 26 h 665"/>
                <a:gd name="T4" fmla="*/ 62 w 464"/>
                <a:gd name="T5" fmla="*/ 0 h 665"/>
                <a:gd name="T6" fmla="*/ 0 w 464"/>
                <a:gd name="T7" fmla="*/ 20 h 665"/>
                <a:gd name="T8" fmla="*/ 143 w 464"/>
                <a:gd name="T9" fmla="*/ 573 h 665"/>
                <a:gd name="T10" fmla="*/ 411 w 464"/>
                <a:gd name="T11" fmla="*/ 641 h 665"/>
                <a:gd name="T12" fmla="*/ 293 w 464"/>
                <a:gd name="T13" fmla="*/ 478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4" h="665">
                  <a:moveTo>
                    <a:pt x="293" y="478"/>
                  </a:moveTo>
                  <a:cubicBezTo>
                    <a:pt x="293" y="478"/>
                    <a:pt x="126" y="140"/>
                    <a:pt x="70" y="26"/>
                  </a:cubicBezTo>
                  <a:cubicBezTo>
                    <a:pt x="66" y="18"/>
                    <a:pt x="63" y="9"/>
                    <a:pt x="62" y="0"/>
                  </a:cubicBezTo>
                  <a:cubicBezTo>
                    <a:pt x="41" y="6"/>
                    <a:pt x="20" y="11"/>
                    <a:pt x="0" y="20"/>
                  </a:cubicBezTo>
                  <a:cubicBezTo>
                    <a:pt x="44" y="209"/>
                    <a:pt x="125" y="551"/>
                    <a:pt x="143" y="573"/>
                  </a:cubicBezTo>
                  <a:cubicBezTo>
                    <a:pt x="203" y="644"/>
                    <a:pt x="276" y="665"/>
                    <a:pt x="411" y="641"/>
                  </a:cubicBezTo>
                  <a:cubicBezTo>
                    <a:pt x="462" y="631"/>
                    <a:pt x="464" y="511"/>
                    <a:pt x="293" y="478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633">
              <a:extLst>
                <a:ext uri="{FF2B5EF4-FFF2-40B4-BE49-F238E27FC236}">
                  <a16:creationId xmlns:a16="http://schemas.microsoft.com/office/drawing/2014/main" id="{EB889C93-F9D8-4A34-B5AE-D20C1FD40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2488" y="3984626"/>
              <a:ext cx="60325" cy="120650"/>
            </a:xfrm>
            <a:custGeom>
              <a:avLst/>
              <a:gdLst>
                <a:gd name="T0" fmla="*/ 0 w 69"/>
                <a:gd name="T1" fmla="*/ 64 h 139"/>
                <a:gd name="T2" fmla="*/ 56 w 69"/>
                <a:gd name="T3" fmla="*/ 3 h 139"/>
                <a:gd name="T4" fmla="*/ 65 w 69"/>
                <a:gd name="T5" fmla="*/ 15 h 139"/>
                <a:gd name="T6" fmla="*/ 25 w 69"/>
                <a:gd name="T7" fmla="*/ 139 h 139"/>
                <a:gd name="T8" fmla="*/ 0 w 69"/>
                <a:gd name="T9" fmla="*/ 64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39">
                  <a:moveTo>
                    <a:pt x="0" y="64"/>
                  </a:moveTo>
                  <a:cubicBezTo>
                    <a:pt x="56" y="3"/>
                    <a:pt x="56" y="3"/>
                    <a:pt x="56" y="3"/>
                  </a:cubicBezTo>
                  <a:cubicBezTo>
                    <a:pt x="63" y="0"/>
                    <a:pt x="69" y="8"/>
                    <a:pt x="65" y="15"/>
                  </a:cubicBezTo>
                  <a:cubicBezTo>
                    <a:pt x="25" y="139"/>
                    <a:pt x="25" y="139"/>
                    <a:pt x="25" y="139"/>
                  </a:cubicBezTo>
                  <a:lnTo>
                    <a:pt x="0" y="6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34">
              <a:extLst>
                <a:ext uri="{FF2B5EF4-FFF2-40B4-BE49-F238E27FC236}">
                  <a16:creationId xmlns:a16="http://schemas.microsoft.com/office/drawing/2014/main" id="{DC216905-5A27-4939-A250-36C96EF56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825" y="3862388"/>
              <a:ext cx="128588" cy="325438"/>
            </a:xfrm>
            <a:custGeom>
              <a:avLst/>
              <a:gdLst>
                <a:gd name="T0" fmla="*/ 76 w 147"/>
                <a:gd name="T1" fmla="*/ 364 h 375"/>
                <a:gd name="T2" fmla="*/ 4 w 147"/>
                <a:gd name="T3" fmla="*/ 188 h 375"/>
                <a:gd name="T4" fmla="*/ 21 w 147"/>
                <a:gd name="T5" fmla="*/ 71 h 375"/>
                <a:gd name="T6" fmla="*/ 100 w 147"/>
                <a:gd name="T7" fmla="*/ 12 h 375"/>
                <a:gd name="T8" fmla="*/ 118 w 147"/>
                <a:gd name="T9" fmla="*/ 196 h 375"/>
                <a:gd name="T10" fmla="*/ 139 w 147"/>
                <a:gd name="T11" fmla="*/ 264 h 375"/>
                <a:gd name="T12" fmla="*/ 132 w 147"/>
                <a:gd name="T13" fmla="*/ 310 h 375"/>
                <a:gd name="T14" fmla="*/ 141 w 147"/>
                <a:gd name="T15" fmla="*/ 375 h 375"/>
                <a:gd name="T16" fmla="*/ 76 w 147"/>
                <a:gd name="T17" fmla="*/ 36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375">
                  <a:moveTo>
                    <a:pt x="76" y="364"/>
                  </a:moveTo>
                  <a:cubicBezTo>
                    <a:pt x="76" y="364"/>
                    <a:pt x="9" y="235"/>
                    <a:pt x="4" y="188"/>
                  </a:cubicBezTo>
                  <a:cubicBezTo>
                    <a:pt x="0" y="152"/>
                    <a:pt x="21" y="71"/>
                    <a:pt x="21" y="71"/>
                  </a:cubicBezTo>
                  <a:cubicBezTo>
                    <a:pt x="24" y="65"/>
                    <a:pt x="85" y="0"/>
                    <a:pt x="100" y="12"/>
                  </a:cubicBezTo>
                  <a:cubicBezTo>
                    <a:pt x="139" y="42"/>
                    <a:pt x="118" y="196"/>
                    <a:pt x="118" y="196"/>
                  </a:cubicBezTo>
                  <a:cubicBezTo>
                    <a:pt x="118" y="196"/>
                    <a:pt x="147" y="237"/>
                    <a:pt x="139" y="264"/>
                  </a:cubicBezTo>
                  <a:cubicBezTo>
                    <a:pt x="132" y="310"/>
                    <a:pt x="132" y="310"/>
                    <a:pt x="132" y="310"/>
                  </a:cubicBezTo>
                  <a:cubicBezTo>
                    <a:pt x="141" y="375"/>
                    <a:pt x="141" y="375"/>
                    <a:pt x="141" y="375"/>
                  </a:cubicBezTo>
                  <a:lnTo>
                    <a:pt x="76" y="36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35">
              <a:extLst>
                <a:ext uri="{FF2B5EF4-FFF2-40B4-BE49-F238E27FC236}">
                  <a16:creationId xmlns:a16="http://schemas.microsoft.com/office/drawing/2014/main" id="{C3923817-D74E-4B33-8C58-146872B63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2125" y="1884363"/>
              <a:ext cx="125413" cy="74613"/>
            </a:xfrm>
            <a:custGeom>
              <a:avLst/>
              <a:gdLst>
                <a:gd name="T0" fmla="*/ 102 w 143"/>
                <a:gd name="T1" fmla="*/ 80 h 85"/>
                <a:gd name="T2" fmla="*/ 8 w 143"/>
                <a:gd name="T3" fmla="*/ 85 h 85"/>
                <a:gd name="T4" fmla="*/ 10 w 143"/>
                <a:gd name="T5" fmla="*/ 67 h 85"/>
                <a:gd name="T6" fmla="*/ 143 w 143"/>
                <a:gd name="T7" fmla="*/ 0 h 85"/>
                <a:gd name="T8" fmla="*/ 102 w 143"/>
                <a:gd name="T9" fmla="*/ 8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85">
                  <a:moveTo>
                    <a:pt x="102" y="80"/>
                  </a:moveTo>
                  <a:cubicBezTo>
                    <a:pt x="8" y="85"/>
                    <a:pt x="8" y="85"/>
                    <a:pt x="8" y="85"/>
                  </a:cubicBezTo>
                  <a:cubicBezTo>
                    <a:pt x="0" y="81"/>
                    <a:pt x="2" y="69"/>
                    <a:pt x="10" y="67"/>
                  </a:cubicBezTo>
                  <a:cubicBezTo>
                    <a:pt x="143" y="0"/>
                    <a:pt x="143" y="0"/>
                    <a:pt x="143" y="0"/>
                  </a:cubicBezTo>
                  <a:lnTo>
                    <a:pt x="102" y="8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36">
              <a:extLst>
                <a:ext uri="{FF2B5EF4-FFF2-40B4-BE49-F238E27FC236}">
                  <a16:creationId xmlns:a16="http://schemas.microsoft.com/office/drawing/2014/main" id="{7426A101-A58E-46C2-B49A-4FE6C36D8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0" y="1812926"/>
              <a:ext cx="269875" cy="300038"/>
            </a:xfrm>
            <a:custGeom>
              <a:avLst/>
              <a:gdLst>
                <a:gd name="T0" fmla="*/ 310 w 310"/>
                <a:gd name="T1" fmla="*/ 62 h 347"/>
                <a:gd name="T2" fmla="*/ 227 w 310"/>
                <a:gd name="T3" fmla="*/ 262 h 347"/>
                <a:gd name="T4" fmla="*/ 119 w 310"/>
                <a:gd name="T5" fmla="*/ 341 h 347"/>
                <a:gd name="T6" fmla="*/ 7 w 310"/>
                <a:gd name="T7" fmla="*/ 325 h 347"/>
                <a:gd name="T8" fmla="*/ 141 w 310"/>
                <a:gd name="T9" fmla="*/ 163 h 347"/>
                <a:gd name="T10" fmla="*/ 179 w 310"/>
                <a:gd name="T11" fmla="*/ 91 h 347"/>
                <a:gd name="T12" fmla="*/ 222 w 310"/>
                <a:gd name="T13" fmla="*/ 60 h 347"/>
                <a:gd name="T14" fmla="*/ 266 w 310"/>
                <a:gd name="T15" fmla="*/ 0 h 347"/>
                <a:gd name="T16" fmla="*/ 310 w 310"/>
                <a:gd name="T17" fmla="*/ 6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0" h="347">
                  <a:moveTo>
                    <a:pt x="310" y="62"/>
                  </a:moveTo>
                  <a:cubicBezTo>
                    <a:pt x="310" y="62"/>
                    <a:pt x="261" y="219"/>
                    <a:pt x="227" y="262"/>
                  </a:cubicBezTo>
                  <a:cubicBezTo>
                    <a:pt x="201" y="293"/>
                    <a:pt x="119" y="341"/>
                    <a:pt x="119" y="341"/>
                  </a:cubicBezTo>
                  <a:cubicBezTo>
                    <a:pt x="112" y="343"/>
                    <a:pt x="10" y="347"/>
                    <a:pt x="7" y="325"/>
                  </a:cubicBezTo>
                  <a:cubicBezTo>
                    <a:pt x="0" y="270"/>
                    <a:pt x="141" y="163"/>
                    <a:pt x="141" y="163"/>
                  </a:cubicBezTo>
                  <a:cubicBezTo>
                    <a:pt x="141" y="163"/>
                    <a:pt x="151" y="107"/>
                    <a:pt x="179" y="91"/>
                  </a:cubicBezTo>
                  <a:cubicBezTo>
                    <a:pt x="222" y="60"/>
                    <a:pt x="222" y="60"/>
                    <a:pt x="222" y="60"/>
                  </a:cubicBezTo>
                  <a:cubicBezTo>
                    <a:pt x="266" y="0"/>
                    <a:pt x="266" y="0"/>
                    <a:pt x="266" y="0"/>
                  </a:cubicBezTo>
                  <a:lnTo>
                    <a:pt x="310" y="62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37">
              <a:extLst>
                <a:ext uri="{FF2B5EF4-FFF2-40B4-BE49-F238E27FC236}">
                  <a16:creationId xmlns:a16="http://schemas.microsoft.com/office/drawing/2014/main" id="{B39A04E4-C18F-40C2-A08C-09B14B453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0" y="2178051"/>
              <a:ext cx="53975" cy="130175"/>
            </a:xfrm>
            <a:custGeom>
              <a:avLst/>
              <a:gdLst>
                <a:gd name="T0" fmla="*/ 62 w 62"/>
                <a:gd name="T1" fmla="*/ 57 h 150"/>
                <a:gd name="T2" fmla="*/ 43 w 62"/>
                <a:gd name="T3" fmla="*/ 144 h 150"/>
                <a:gd name="T4" fmla="*/ 28 w 62"/>
                <a:gd name="T5" fmla="*/ 137 h 150"/>
                <a:gd name="T6" fmla="*/ 0 w 62"/>
                <a:gd name="T7" fmla="*/ 0 h 150"/>
                <a:gd name="T8" fmla="*/ 62 w 62"/>
                <a:gd name="T9" fmla="*/ 5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50">
                  <a:moveTo>
                    <a:pt x="62" y="57"/>
                  </a:moveTo>
                  <a:cubicBezTo>
                    <a:pt x="43" y="144"/>
                    <a:pt x="43" y="144"/>
                    <a:pt x="43" y="144"/>
                  </a:cubicBezTo>
                  <a:cubicBezTo>
                    <a:pt x="37" y="150"/>
                    <a:pt x="27" y="146"/>
                    <a:pt x="28" y="13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2" y="57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38">
              <a:extLst>
                <a:ext uri="{FF2B5EF4-FFF2-40B4-BE49-F238E27FC236}">
                  <a16:creationId xmlns:a16="http://schemas.microsoft.com/office/drawing/2014/main" id="{01117919-1C8D-4BA7-896A-2781C973E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3863" y="2085976"/>
              <a:ext cx="236538" cy="296863"/>
            </a:xfrm>
            <a:custGeom>
              <a:avLst/>
              <a:gdLst>
                <a:gd name="T0" fmla="*/ 66 w 272"/>
                <a:gd name="T1" fmla="*/ 0 h 344"/>
                <a:gd name="T2" fmla="*/ 227 w 272"/>
                <a:gd name="T3" fmla="*/ 126 h 344"/>
                <a:gd name="T4" fmla="*/ 272 w 272"/>
                <a:gd name="T5" fmla="*/ 243 h 344"/>
                <a:gd name="T6" fmla="*/ 230 w 272"/>
                <a:gd name="T7" fmla="*/ 341 h 344"/>
                <a:gd name="T8" fmla="*/ 116 w 272"/>
                <a:gd name="T9" fmla="*/ 178 h 344"/>
                <a:gd name="T10" fmla="*/ 60 w 272"/>
                <a:gd name="T11" fmla="*/ 126 h 344"/>
                <a:gd name="T12" fmla="*/ 43 w 272"/>
                <a:gd name="T13" fmla="*/ 80 h 344"/>
                <a:gd name="T14" fmla="*/ 0 w 272"/>
                <a:gd name="T15" fmla="*/ 24 h 344"/>
                <a:gd name="T16" fmla="*/ 66 w 272"/>
                <a:gd name="T17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44">
                  <a:moveTo>
                    <a:pt x="66" y="0"/>
                  </a:moveTo>
                  <a:cubicBezTo>
                    <a:pt x="66" y="0"/>
                    <a:pt x="197" y="84"/>
                    <a:pt x="227" y="126"/>
                  </a:cubicBezTo>
                  <a:cubicBezTo>
                    <a:pt x="249" y="156"/>
                    <a:pt x="272" y="243"/>
                    <a:pt x="272" y="243"/>
                  </a:cubicBezTo>
                  <a:cubicBezTo>
                    <a:pt x="272" y="250"/>
                    <a:pt x="250" y="344"/>
                    <a:pt x="230" y="341"/>
                  </a:cubicBezTo>
                  <a:cubicBezTo>
                    <a:pt x="178" y="333"/>
                    <a:pt x="116" y="178"/>
                    <a:pt x="116" y="178"/>
                  </a:cubicBezTo>
                  <a:cubicBezTo>
                    <a:pt x="116" y="178"/>
                    <a:pt x="67" y="156"/>
                    <a:pt x="60" y="126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0" y="24"/>
                    <a:pt x="0" y="24"/>
                    <a:pt x="0" y="24"/>
                  </a:cubicBezTo>
                  <a:lnTo>
                    <a:pt x="66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639">
              <a:extLst>
                <a:ext uri="{FF2B5EF4-FFF2-40B4-BE49-F238E27FC236}">
                  <a16:creationId xmlns:a16="http://schemas.microsoft.com/office/drawing/2014/main" id="{629DDDCB-389A-4C3F-B8C2-B1975DE17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300" y="3663951"/>
              <a:ext cx="136525" cy="68263"/>
            </a:xfrm>
            <a:custGeom>
              <a:avLst/>
              <a:gdLst>
                <a:gd name="T0" fmla="*/ 84 w 157"/>
                <a:gd name="T1" fmla="*/ 0 h 79"/>
                <a:gd name="T2" fmla="*/ 155 w 157"/>
                <a:gd name="T3" fmla="*/ 63 h 79"/>
                <a:gd name="T4" fmla="*/ 141 w 157"/>
                <a:gd name="T5" fmla="*/ 74 h 79"/>
                <a:gd name="T6" fmla="*/ 0 w 157"/>
                <a:gd name="T7" fmla="*/ 28 h 79"/>
                <a:gd name="T8" fmla="*/ 84 w 157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79">
                  <a:moveTo>
                    <a:pt x="84" y="0"/>
                  </a:moveTo>
                  <a:cubicBezTo>
                    <a:pt x="155" y="63"/>
                    <a:pt x="155" y="63"/>
                    <a:pt x="155" y="63"/>
                  </a:cubicBezTo>
                  <a:cubicBezTo>
                    <a:pt x="157" y="72"/>
                    <a:pt x="148" y="79"/>
                    <a:pt x="141" y="74"/>
                  </a:cubicBezTo>
                  <a:cubicBezTo>
                    <a:pt x="0" y="28"/>
                    <a:pt x="0" y="28"/>
                    <a:pt x="0" y="28"/>
                  </a:cubicBezTo>
                  <a:lnTo>
                    <a:pt x="84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640">
              <a:extLst>
                <a:ext uri="{FF2B5EF4-FFF2-40B4-BE49-F238E27FC236}">
                  <a16:creationId xmlns:a16="http://schemas.microsoft.com/office/drawing/2014/main" id="{7D37F57B-F65F-47C1-B204-0BE47F5BA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8638" y="3557588"/>
              <a:ext cx="369888" cy="144463"/>
            </a:xfrm>
            <a:custGeom>
              <a:avLst/>
              <a:gdLst>
                <a:gd name="T0" fmla="*/ 12 w 427"/>
                <a:gd name="T1" fmla="*/ 86 h 167"/>
                <a:gd name="T2" fmla="*/ 213 w 427"/>
                <a:gd name="T3" fmla="*/ 4 h 167"/>
                <a:gd name="T4" fmla="*/ 346 w 427"/>
                <a:gd name="T5" fmla="*/ 24 h 167"/>
                <a:gd name="T6" fmla="*/ 413 w 427"/>
                <a:gd name="T7" fmla="*/ 114 h 167"/>
                <a:gd name="T8" fmla="*/ 203 w 427"/>
                <a:gd name="T9" fmla="*/ 135 h 167"/>
                <a:gd name="T10" fmla="*/ 125 w 427"/>
                <a:gd name="T11" fmla="*/ 159 h 167"/>
                <a:gd name="T12" fmla="*/ 74 w 427"/>
                <a:gd name="T13" fmla="*/ 150 h 167"/>
                <a:gd name="T14" fmla="*/ 0 w 427"/>
                <a:gd name="T15" fmla="*/ 161 h 167"/>
                <a:gd name="T16" fmla="*/ 12 w 427"/>
                <a:gd name="T17" fmla="*/ 86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7" h="167">
                  <a:moveTo>
                    <a:pt x="12" y="86"/>
                  </a:moveTo>
                  <a:cubicBezTo>
                    <a:pt x="12" y="86"/>
                    <a:pt x="159" y="10"/>
                    <a:pt x="213" y="4"/>
                  </a:cubicBezTo>
                  <a:cubicBezTo>
                    <a:pt x="253" y="0"/>
                    <a:pt x="346" y="24"/>
                    <a:pt x="346" y="24"/>
                  </a:cubicBezTo>
                  <a:cubicBezTo>
                    <a:pt x="352" y="28"/>
                    <a:pt x="427" y="97"/>
                    <a:pt x="413" y="114"/>
                  </a:cubicBezTo>
                  <a:cubicBezTo>
                    <a:pt x="379" y="159"/>
                    <a:pt x="203" y="135"/>
                    <a:pt x="203" y="135"/>
                  </a:cubicBezTo>
                  <a:cubicBezTo>
                    <a:pt x="203" y="135"/>
                    <a:pt x="157" y="167"/>
                    <a:pt x="125" y="159"/>
                  </a:cubicBezTo>
                  <a:cubicBezTo>
                    <a:pt x="74" y="150"/>
                    <a:pt x="74" y="150"/>
                    <a:pt x="74" y="150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12" y="86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641">
              <a:extLst>
                <a:ext uri="{FF2B5EF4-FFF2-40B4-BE49-F238E27FC236}">
                  <a16:creationId xmlns:a16="http://schemas.microsoft.com/office/drawing/2014/main" id="{5EAD9F2B-E034-48BD-A535-033A20B88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8675" y="3889376"/>
              <a:ext cx="79375" cy="123825"/>
            </a:xfrm>
            <a:custGeom>
              <a:avLst/>
              <a:gdLst>
                <a:gd name="T0" fmla="*/ 91 w 91"/>
                <a:gd name="T1" fmla="*/ 55 h 143"/>
                <a:gd name="T2" fmla="*/ 14 w 91"/>
                <a:gd name="T3" fmla="*/ 0 h 143"/>
                <a:gd name="T4" fmla="*/ 6 w 91"/>
                <a:gd name="T5" fmla="*/ 16 h 143"/>
                <a:gd name="T6" fmla="*/ 83 w 91"/>
                <a:gd name="T7" fmla="*/ 143 h 143"/>
                <a:gd name="T8" fmla="*/ 91 w 91"/>
                <a:gd name="T9" fmla="*/ 5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43">
                  <a:moveTo>
                    <a:pt x="91" y="55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5" y="0"/>
                    <a:pt x="0" y="10"/>
                    <a:pt x="6" y="16"/>
                  </a:cubicBezTo>
                  <a:cubicBezTo>
                    <a:pt x="83" y="143"/>
                    <a:pt x="83" y="143"/>
                    <a:pt x="83" y="143"/>
                  </a:cubicBezTo>
                  <a:lnTo>
                    <a:pt x="91" y="5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642">
              <a:extLst>
                <a:ext uri="{FF2B5EF4-FFF2-40B4-BE49-F238E27FC236}">
                  <a16:creationId xmlns:a16="http://schemas.microsoft.com/office/drawing/2014/main" id="{C156ADCF-6464-4258-AFE9-156634CFA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9788" y="3733801"/>
              <a:ext cx="169863" cy="373063"/>
            </a:xfrm>
            <a:custGeom>
              <a:avLst/>
              <a:gdLst>
                <a:gd name="T0" fmla="*/ 154 w 195"/>
                <a:gd name="T1" fmla="*/ 401 h 430"/>
                <a:gd name="T2" fmla="*/ 188 w 195"/>
                <a:gd name="T3" fmla="*/ 187 h 430"/>
                <a:gd name="T4" fmla="*/ 139 w 195"/>
                <a:gd name="T5" fmla="*/ 62 h 430"/>
                <a:gd name="T6" fmla="*/ 36 w 195"/>
                <a:gd name="T7" fmla="*/ 17 h 430"/>
                <a:gd name="T8" fmla="*/ 64 w 195"/>
                <a:gd name="T9" fmla="*/ 226 h 430"/>
                <a:gd name="T10" fmla="*/ 58 w 195"/>
                <a:gd name="T11" fmla="*/ 307 h 430"/>
                <a:gd name="T12" fmla="*/ 78 w 195"/>
                <a:gd name="T13" fmla="*/ 356 h 430"/>
                <a:gd name="T14" fmla="*/ 84 w 195"/>
                <a:gd name="T15" fmla="*/ 430 h 430"/>
                <a:gd name="T16" fmla="*/ 154 w 195"/>
                <a:gd name="T17" fmla="*/ 401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5" h="430">
                  <a:moveTo>
                    <a:pt x="154" y="401"/>
                  </a:moveTo>
                  <a:cubicBezTo>
                    <a:pt x="154" y="401"/>
                    <a:pt x="195" y="241"/>
                    <a:pt x="188" y="187"/>
                  </a:cubicBezTo>
                  <a:cubicBezTo>
                    <a:pt x="183" y="147"/>
                    <a:pt x="139" y="62"/>
                    <a:pt x="139" y="62"/>
                  </a:cubicBezTo>
                  <a:cubicBezTo>
                    <a:pt x="134" y="57"/>
                    <a:pt x="49" y="0"/>
                    <a:pt x="36" y="17"/>
                  </a:cubicBezTo>
                  <a:cubicBezTo>
                    <a:pt x="0" y="60"/>
                    <a:pt x="64" y="226"/>
                    <a:pt x="64" y="226"/>
                  </a:cubicBezTo>
                  <a:cubicBezTo>
                    <a:pt x="64" y="226"/>
                    <a:pt x="42" y="278"/>
                    <a:pt x="58" y="307"/>
                  </a:cubicBezTo>
                  <a:cubicBezTo>
                    <a:pt x="78" y="356"/>
                    <a:pt x="78" y="356"/>
                    <a:pt x="78" y="356"/>
                  </a:cubicBezTo>
                  <a:cubicBezTo>
                    <a:pt x="84" y="430"/>
                    <a:pt x="84" y="430"/>
                    <a:pt x="84" y="430"/>
                  </a:cubicBezTo>
                  <a:lnTo>
                    <a:pt x="154" y="401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43">
              <a:extLst>
                <a:ext uri="{FF2B5EF4-FFF2-40B4-BE49-F238E27FC236}">
                  <a16:creationId xmlns:a16="http://schemas.microsoft.com/office/drawing/2014/main" id="{D6E74FD4-7AEA-4F20-8A93-3423D736D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2563" y="1601788"/>
              <a:ext cx="141288" cy="46038"/>
            </a:xfrm>
            <a:custGeom>
              <a:avLst/>
              <a:gdLst>
                <a:gd name="T0" fmla="*/ 72 w 163"/>
                <a:gd name="T1" fmla="*/ 54 h 54"/>
                <a:gd name="T2" fmla="*/ 158 w 163"/>
                <a:gd name="T3" fmla="*/ 17 h 54"/>
                <a:gd name="T4" fmla="*/ 149 w 163"/>
                <a:gd name="T5" fmla="*/ 2 h 54"/>
                <a:gd name="T6" fmla="*/ 0 w 163"/>
                <a:gd name="T7" fmla="*/ 1 h 54"/>
                <a:gd name="T8" fmla="*/ 72 w 163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" h="54">
                  <a:moveTo>
                    <a:pt x="72" y="54"/>
                  </a:moveTo>
                  <a:cubicBezTo>
                    <a:pt x="158" y="17"/>
                    <a:pt x="158" y="17"/>
                    <a:pt x="158" y="17"/>
                  </a:cubicBezTo>
                  <a:cubicBezTo>
                    <a:pt x="163" y="10"/>
                    <a:pt x="157" y="0"/>
                    <a:pt x="149" y="2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72" y="5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44">
              <a:extLst>
                <a:ext uri="{FF2B5EF4-FFF2-40B4-BE49-F238E27FC236}">
                  <a16:creationId xmlns:a16="http://schemas.microsoft.com/office/drawing/2014/main" id="{2C72BB08-AA58-4219-96BB-3C81A4177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725" y="1563688"/>
              <a:ext cx="346075" cy="207963"/>
            </a:xfrm>
            <a:custGeom>
              <a:avLst/>
              <a:gdLst>
                <a:gd name="T0" fmla="*/ 0 w 397"/>
                <a:gd name="T1" fmla="*/ 75 h 240"/>
                <a:gd name="T2" fmla="*/ 164 w 397"/>
                <a:gd name="T3" fmla="*/ 216 h 240"/>
                <a:gd name="T4" fmla="*/ 296 w 397"/>
                <a:gd name="T5" fmla="*/ 240 h 240"/>
                <a:gd name="T6" fmla="*/ 389 w 397"/>
                <a:gd name="T7" fmla="*/ 176 h 240"/>
                <a:gd name="T8" fmla="*/ 197 w 397"/>
                <a:gd name="T9" fmla="*/ 90 h 240"/>
                <a:gd name="T10" fmla="*/ 130 w 397"/>
                <a:gd name="T11" fmla="*/ 42 h 240"/>
                <a:gd name="T12" fmla="*/ 79 w 397"/>
                <a:gd name="T13" fmla="*/ 34 h 240"/>
                <a:gd name="T14" fmla="*/ 12 w 397"/>
                <a:gd name="T15" fmla="*/ 0 h 240"/>
                <a:gd name="T16" fmla="*/ 0 w 397"/>
                <a:gd name="T17" fmla="*/ 75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7" h="240">
                  <a:moveTo>
                    <a:pt x="0" y="75"/>
                  </a:moveTo>
                  <a:cubicBezTo>
                    <a:pt x="0" y="75"/>
                    <a:pt x="115" y="194"/>
                    <a:pt x="164" y="216"/>
                  </a:cubicBezTo>
                  <a:cubicBezTo>
                    <a:pt x="201" y="233"/>
                    <a:pt x="296" y="240"/>
                    <a:pt x="296" y="240"/>
                  </a:cubicBezTo>
                  <a:cubicBezTo>
                    <a:pt x="304" y="238"/>
                    <a:pt x="397" y="196"/>
                    <a:pt x="389" y="176"/>
                  </a:cubicBezTo>
                  <a:cubicBezTo>
                    <a:pt x="371" y="123"/>
                    <a:pt x="197" y="90"/>
                    <a:pt x="197" y="90"/>
                  </a:cubicBezTo>
                  <a:cubicBezTo>
                    <a:pt x="197" y="90"/>
                    <a:pt x="163" y="44"/>
                    <a:pt x="130" y="42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0" y="7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45">
              <a:extLst>
                <a:ext uri="{FF2B5EF4-FFF2-40B4-BE49-F238E27FC236}">
                  <a16:creationId xmlns:a16="http://schemas.microsoft.com/office/drawing/2014/main" id="{892207D4-6937-4F24-8EC5-7F4C7EF1C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3350" y="3654426"/>
              <a:ext cx="560388" cy="444500"/>
            </a:xfrm>
            <a:custGeom>
              <a:avLst/>
              <a:gdLst>
                <a:gd name="T0" fmla="*/ 457 w 645"/>
                <a:gd name="T1" fmla="*/ 331 h 513"/>
                <a:gd name="T2" fmla="*/ 25 w 645"/>
                <a:gd name="T3" fmla="*/ 70 h 513"/>
                <a:gd name="T4" fmla="*/ 0 w 645"/>
                <a:gd name="T5" fmla="*/ 60 h 513"/>
                <a:gd name="T6" fmla="*/ 25 w 645"/>
                <a:gd name="T7" fmla="*/ 0 h 513"/>
                <a:gd name="T8" fmla="*/ 564 w 645"/>
                <a:gd name="T9" fmla="*/ 189 h 513"/>
                <a:gd name="T10" fmla="*/ 609 w 645"/>
                <a:gd name="T11" fmla="*/ 463 h 513"/>
                <a:gd name="T12" fmla="*/ 457 w 645"/>
                <a:gd name="T13" fmla="*/ 331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5" h="513">
                  <a:moveTo>
                    <a:pt x="457" y="331"/>
                  </a:moveTo>
                  <a:cubicBezTo>
                    <a:pt x="457" y="331"/>
                    <a:pt x="135" y="136"/>
                    <a:pt x="25" y="70"/>
                  </a:cubicBezTo>
                  <a:cubicBezTo>
                    <a:pt x="18" y="65"/>
                    <a:pt x="9" y="62"/>
                    <a:pt x="0" y="60"/>
                  </a:cubicBezTo>
                  <a:cubicBezTo>
                    <a:pt x="8" y="40"/>
                    <a:pt x="15" y="19"/>
                    <a:pt x="25" y="0"/>
                  </a:cubicBezTo>
                  <a:cubicBezTo>
                    <a:pt x="210" y="59"/>
                    <a:pt x="544" y="170"/>
                    <a:pt x="564" y="189"/>
                  </a:cubicBezTo>
                  <a:cubicBezTo>
                    <a:pt x="630" y="255"/>
                    <a:pt x="645" y="331"/>
                    <a:pt x="609" y="463"/>
                  </a:cubicBezTo>
                  <a:cubicBezTo>
                    <a:pt x="595" y="513"/>
                    <a:pt x="475" y="504"/>
                    <a:pt x="457" y="331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46">
              <a:extLst>
                <a:ext uri="{FF2B5EF4-FFF2-40B4-BE49-F238E27FC236}">
                  <a16:creationId xmlns:a16="http://schemas.microsoft.com/office/drawing/2014/main" id="{AC7C4A95-0C82-49AA-B03E-AF87CC52F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5713" y="3678238"/>
              <a:ext cx="122238" cy="53975"/>
            </a:xfrm>
            <a:custGeom>
              <a:avLst/>
              <a:gdLst>
                <a:gd name="T0" fmla="*/ 69 w 141"/>
                <a:gd name="T1" fmla="*/ 0 h 63"/>
                <a:gd name="T2" fmla="*/ 3 w 141"/>
                <a:gd name="T3" fmla="*/ 49 h 63"/>
                <a:gd name="T4" fmla="*/ 14 w 141"/>
                <a:gd name="T5" fmla="*/ 60 h 63"/>
                <a:gd name="T6" fmla="*/ 141 w 141"/>
                <a:gd name="T7" fmla="*/ 30 h 63"/>
                <a:gd name="T8" fmla="*/ 69 w 141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63">
                  <a:moveTo>
                    <a:pt x="69" y="0"/>
                  </a:moveTo>
                  <a:cubicBezTo>
                    <a:pt x="3" y="49"/>
                    <a:pt x="3" y="49"/>
                    <a:pt x="3" y="49"/>
                  </a:cubicBezTo>
                  <a:cubicBezTo>
                    <a:pt x="0" y="56"/>
                    <a:pt x="7" y="63"/>
                    <a:pt x="14" y="60"/>
                  </a:cubicBezTo>
                  <a:cubicBezTo>
                    <a:pt x="141" y="30"/>
                    <a:pt x="141" y="30"/>
                    <a:pt x="141" y="30"/>
                  </a:cubicBezTo>
                  <a:lnTo>
                    <a:pt x="69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47">
              <a:extLst>
                <a:ext uri="{FF2B5EF4-FFF2-40B4-BE49-F238E27FC236}">
                  <a16:creationId xmlns:a16="http://schemas.microsoft.com/office/drawing/2014/main" id="{5805AC09-5D4C-4B51-A1D5-01A485911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8238" y="3581401"/>
              <a:ext cx="320675" cy="138113"/>
            </a:xfrm>
            <a:custGeom>
              <a:avLst/>
              <a:gdLst>
                <a:gd name="T0" fmla="*/ 364 w 369"/>
                <a:gd name="T1" fmla="*/ 94 h 160"/>
                <a:gd name="T2" fmla="*/ 194 w 369"/>
                <a:gd name="T3" fmla="*/ 7 h 160"/>
                <a:gd name="T4" fmla="*/ 77 w 369"/>
                <a:gd name="T5" fmla="*/ 14 h 160"/>
                <a:gd name="T6" fmla="*/ 11 w 369"/>
                <a:gd name="T7" fmla="*/ 88 h 160"/>
                <a:gd name="T8" fmla="*/ 193 w 369"/>
                <a:gd name="T9" fmla="*/ 121 h 160"/>
                <a:gd name="T10" fmla="*/ 259 w 369"/>
                <a:gd name="T11" fmla="*/ 148 h 160"/>
                <a:gd name="T12" fmla="*/ 305 w 369"/>
                <a:gd name="T13" fmla="*/ 145 h 160"/>
                <a:gd name="T14" fmla="*/ 369 w 369"/>
                <a:gd name="T15" fmla="*/ 160 h 160"/>
                <a:gd name="T16" fmla="*/ 364 w 369"/>
                <a:gd name="T17" fmla="*/ 9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9" h="160">
                  <a:moveTo>
                    <a:pt x="364" y="94"/>
                  </a:moveTo>
                  <a:cubicBezTo>
                    <a:pt x="364" y="94"/>
                    <a:pt x="241" y="16"/>
                    <a:pt x="194" y="7"/>
                  </a:cubicBezTo>
                  <a:cubicBezTo>
                    <a:pt x="160" y="0"/>
                    <a:pt x="77" y="14"/>
                    <a:pt x="77" y="14"/>
                  </a:cubicBezTo>
                  <a:cubicBezTo>
                    <a:pt x="71" y="17"/>
                    <a:pt x="0" y="72"/>
                    <a:pt x="11" y="88"/>
                  </a:cubicBezTo>
                  <a:cubicBezTo>
                    <a:pt x="37" y="129"/>
                    <a:pt x="193" y="121"/>
                    <a:pt x="193" y="121"/>
                  </a:cubicBezTo>
                  <a:cubicBezTo>
                    <a:pt x="193" y="121"/>
                    <a:pt x="231" y="154"/>
                    <a:pt x="259" y="148"/>
                  </a:cubicBezTo>
                  <a:cubicBezTo>
                    <a:pt x="305" y="145"/>
                    <a:pt x="305" y="145"/>
                    <a:pt x="305" y="145"/>
                  </a:cubicBezTo>
                  <a:cubicBezTo>
                    <a:pt x="369" y="160"/>
                    <a:pt x="369" y="160"/>
                    <a:pt x="369" y="160"/>
                  </a:cubicBezTo>
                  <a:lnTo>
                    <a:pt x="364" y="9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48">
              <a:extLst>
                <a:ext uri="{FF2B5EF4-FFF2-40B4-BE49-F238E27FC236}">
                  <a16:creationId xmlns:a16="http://schemas.microsoft.com/office/drawing/2014/main" id="{6E8DDD96-A420-4C14-9DDB-137E1B5A7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7413" y="4410076"/>
              <a:ext cx="741363" cy="619125"/>
            </a:xfrm>
            <a:custGeom>
              <a:avLst/>
              <a:gdLst>
                <a:gd name="T0" fmla="*/ 782 w 853"/>
                <a:gd name="T1" fmla="*/ 595 h 715"/>
                <a:gd name="T2" fmla="*/ 50 w 853"/>
                <a:gd name="T3" fmla="*/ 266 h 715"/>
                <a:gd name="T4" fmla="*/ 0 w 853"/>
                <a:gd name="T5" fmla="*/ 45 h 715"/>
                <a:gd name="T6" fmla="*/ 145 w 853"/>
                <a:gd name="T7" fmla="*/ 0 h 715"/>
                <a:gd name="T8" fmla="*/ 217 w 853"/>
                <a:gd name="T9" fmla="*/ 138 h 715"/>
                <a:gd name="T10" fmla="*/ 658 w 853"/>
                <a:gd name="T11" fmla="*/ 337 h 715"/>
                <a:gd name="T12" fmla="*/ 782 w 853"/>
                <a:gd name="T13" fmla="*/ 59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3" h="715">
                  <a:moveTo>
                    <a:pt x="782" y="595"/>
                  </a:moveTo>
                  <a:cubicBezTo>
                    <a:pt x="611" y="715"/>
                    <a:pt x="352" y="499"/>
                    <a:pt x="50" y="26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658" y="337"/>
                    <a:pt x="658" y="337"/>
                    <a:pt x="658" y="337"/>
                  </a:cubicBezTo>
                  <a:cubicBezTo>
                    <a:pt x="658" y="337"/>
                    <a:pt x="853" y="545"/>
                    <a:pt x="782" y="595"/>
                  </a:cubicBezTo>
                  <a:close/>
                </a:path>
              </a:pathLst>
            </a:custGeom>
            <a:solidFill>
              <a:srgbClr val="F0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49">
              <a:extLst>
                <a:ext uri="{FF2B5EF4-FFF2-40B4-BE49-F238E27FC236}">
                  <a16:creationId xmlns:a16="http://schemas.microsoft.com/office/drawing/2014/main" id="{AD094C47-0B90-4A5F-ACB0-A77873E8A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8463" y="3744913"/>
              <a:ext cx="541338" cy="803275"/>
            </a:xfrm>
            <a:custGeom>
              <a:avLst/>
              <a:gdLst>
                <a:gd name="T0" fmla="*/ 475 w 623"/>
                <a:gd name="T1" fmla="*/ 866 h 927"/>
                <a:gd name="T2" fmla="*/ 277 w 623"/>
                <a:gd name="T3" fmla="*/ 87 h 927"/>
                <a:gd name="T4" fmla="*/ 69 w 623"/>
                <a:gd name="T5" fmla="*/ 0 h 927"/>
                <a:gd name="T6" fmla="*/ 0 w 623"/>
                <a:gd name="T7" fmla="*/ 135 h 927"/>
                <a:gd name="T8" fmla="*/ 123 w 623"/>
                <a:gd name="T9" fmla="*/ 230 h 927"/>
                <a:gd name="T10" fmla="*/ 242 w 623"/>
                <a:gd name="T11" fmla="*/ 698 h 927"/>
                <a:gd name="T12" fmla="*/ 475 w 623"/>
                <a:gd name="T13" fmla="*/ 866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3" h="927">
                  <a:moveTo>
                    <a:pt x="475" y="866"/>
                  </a:moveTo>
                  <a:cubicBezTo>
                    <a:pt x="623" y="718"/>
                    <a:pt x="455" y="426"/>
                    <a:pt x="277" y="87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23" y="230"/>
                    <a:pt x="123" y="230"/>
                    <a:pt x="123" y="230"/>
                  </a:cubicBezTo>
                  <a:cubicBezTo>
                    <a:pt x="242" y="698"/>
                    <a:pt x="242" y="698"/>
                    <a:pt x="242" y="698"/>
                  </a:cubicBezTo>
                  <a:cubicBezTo>
                    <a:pt x="242" y="698"/>
                    <a:pt x="413" y="927"/>
                    <a:pt x="475" y="866"/>
                  </a:cubicBezTo>
                  <a:close/>
                </a:path>
              </a:pathLst>
            </a:custGeom>
            <a:solidFill>
              <a:srgbClr val="F0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50">
              <a:extLst>
                <a:ext uri="{FF2B5EF4-FFF2-40B4-BE49-F238E27FC236}">
                  <a16:creationId xmlns:a16="http://schemas.microsoft.com/office/drawing/2014/main" id="{C0B1BB2C-C3ED-4B61-9DA1-C7072BB18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8125" y="4386263"/>
              <a:ext cx="647700" cy="642938"/>
            </a:xfrm>
            <a:custGeom>
              <a:avLst/>
              <a:gdLst>
                <a:gd name="T0" fmla="*/ 126 w 744"/>
                <a:gd name="T1" fmla="*/ 592 h 742"/>
                <a:gd name="T2" fmla="*/ 144 w 744"/>
                <a:gd name="T3" fmla="*/ 114 h 742"/>
                <a:gd name="T4" fmla="*/ 618 w 744"/>
                <a:gd name="T5" fmla="*/ 179 h 742"/>
                <a:gd name="T6" fmla="*/ 536 w 744"/>
                <a:gd name="T7" fmla="*/ 581 h 742"/>
                <a:gd name="T8" fmla="*/ 126 w 744"/>
                <a:gd name="T9" fmla="*/ 59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4" h="742">
                  <a:moveTo>
                    <a:pt x="126" y="592"/>
                  </a:moveTo>
                  <a:cubicBezTo>
                    <a:pt x="0" y="442"/>
                    <a:pt x="8" y="228"/>
                    <a:pt x="144" y="114"/>
                  </a:cubicBezTo>
                  <a:cubicBezTo>
                    <a:pt x="280" y="0"/>
                    <a:pt x="492" y="30"/>
                    <a:pt x="618" y="179"/>
                  </a:cubicBezTo>
                  <a:cubicBezTo>
                    <a:pt x="744" y="329"/>
                    <a:pt x="672" y="467"/>
                    <a:pt x="536" y="581"/>
                  </a:cubicBezTo>
                  <a:cubicBezTo>
                    <a:pt x="400" y="695"/>
                    <a:pt x="252" y="742"/>
                    <a:pt x="126" y="592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651">
              <a:extLst>
                <a:ext uri="{FF2B5EF4-FFF2-40B4-BE49-F238E27FC236}">
                  <a16:creationId xmlns:a16="http://schemas.microsoft.com/office/drawing/2014/main" id="{62EA7D3A-2C6D-4703-B938-1A72813270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4446588"/>
              <a:ext cx="128588" cy="127000"/>
            </a:xfrm>
            <a:custGeom>
              <a:avLst/>
              <a:gdLst>
                <a:gd name="T0" fmla="*/ 65 w 147"/>
                <a:gd name="T1" fmla="*/ 12 h 147"/>
                <a:gd name="T2" fmla="*/ 147 w 147"/>
                <a:gd name="T3" fmla="*/ 41 h 147"/>
                <a:gd name="T4" fmla="*/ 21 w 147"/>
                <a:gd name="T5" fmla="*/ 147 h 147"/>
                <a:gd name="T6" fmla="*/ 6 w 147"/>
                <a:gd name="T7" fmla="*/ 61 h 147"/>
                <a:gd name="T8" fmla="*/ 65 w 147"/>
                <a:gd name="T9" fmla="*/ 1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47">
                  <a:moveTo>
                    <a:pt x="65" y="12"/>
                  </a:moveTo>
                  <a:cubicBezTo>
                    <a:pt x="147" y="41"/>
                    <a:pt x="147" y="41"/>
                    <a:pt x="147" y="41"/>
                  </a:cubicBezTo>
                  <a:cubicBezTo>
                    <a:pt x="21" y="147"/>
                    <a:pt x="21" y="147"/>
                    <a:pt x="21" y="147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0" y="28"/>
                    <a:pt x="33" y="0"/>
                    <a:pt x="65" y="12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652">
              <a:extLst>
                <a:ext uri="{FF2B5EF4-FFF2-40B4-BE49-F238E27FC236}">
                  <a16:creationId xmlns:a16="http://schemas.microsoft.com/office/drawing/2014/main" id="{F0B7242C-F351-458A-8869-A197E91EE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8938" y="4338638"/>
              <a:ext cx="515938" cy="568325"/>
            </a:xfrm>
            <a:custGeom>
              <a:avLst/>
              <a:gdLst>
                <a:gd name="T0" fmla="*/ 160 w 595"/>
                <a:gd name="T1" fmla="*/ 442 h 656"/>
                <a:gd name="T2" fmla="*/ 386 w 595"/>
                <a:gd name="T3" fmla="*/ 656 h 656"/>
                <a:gd name="T4" fmla="*/ 480 w 595"/>
                <a:gd name="T5" fmla="*/ 214 h 656"/>
                <a:gd name="T6" fmla="*/ 7 w 595"/>
                <a:gd name="T7" fmla="*/ 2 h 656"/>
                <a:gd name="T8" fmla="*/ 75 w 595"/>
                <a:gd name="T9" fmla="*/ 125 h 656"/>
                <a:gd name="T10" fmla="*/ 0 w 595"/>
                <a:gd name="T11" fmla="*/ 259 h 656"/>
                <a:gd name="T12" fmla="*/ 160 w 595"/>
                <a:gd name="T13" fmla="*/ 442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5" h="656">
                  <a:moveTo>
                    <a:pt x="160" y="442"/>
                  </a:moveTo>
                  <a:cubicBezTo>
                    <a:pt x="201" y="515"/>
                    <a:pt x="315" y="605"/>
                    <a:pt x="386" y="656"/>
                  </a:cubicBezTo>
                  <a:cubicBezTo>
                    <a:pt x="510" y="548"/>
                    <a:pt x="595" y="352"/>
                    <a:pt x="480" y="214"/>
                  </a:cubicBezTo>
                  <a:cubicBezTo>
                    <a:pt x="300" y="0"/>
                    <a:pt x="7" y="1"/>
                    <a:pt x="7" y="2"/>
                  </a:cubicBezTo>
                  <a:cubicBezTo>
                    <a:pt x="50" y="45"/>
                    <a:pt x="77" y="72"/>
                    <a:pt x="75" y="125"/>
                  </a:cubicBezTo>
                  <a:cubicBezTo>
                    <a:pt x="72" y="191"/>
                    <a:pt x="6" y="209"/>
                    <a:pt x="0" y="259"/>
                  </a:cubicBezTo>
                  <a:cubicBezTo>
                    <a:pt x="72" y="330"/>
                    <a:pt x="137" y="401"/>
                    <a:pt x="160" y="442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53">
              <a:extLst>
                <a:ext uri="{FF2B5EF4-FFF2-40B4-BE49-F238E27FC236}">
                  <a16:creationId xmlns:a16="http://schemas.microsoft.com/office/drawing/2014/main" id="{568C3011-C16C-47F4-AAEF-A0553EBB5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7163" y="4548188"/>
              <a:ext cx="561975" cy="501650"/>
            </a:xfrm>
            <a:custGeom>
              <a:avLst/>
              <a:gdLst>
                <a:gd name="T0" fmla="*/ 645 w 646"/>
                <a:gd name="T1" fmla="*/ 419 h 580"/>
                <a:gd name="T2" fmla="*/ 646 w 646"/>
                <a:gd name="T3" fmla="*/ 418 h 580"/>
                <a:gd name="T4" fmla="*/ 420 w 646"/>
                <a:gd name="T5" fmla="*/ 203 h 580"/>
                <a:gd name="T6" fmla="*/ 262 w 646"/>
                <a:gd name="T7" fmla="*/ 22 h 580"/>
                <a:gd name="T8" fmla="*/ 221 w 646"/>
                <a:gd name="T9" fmla="*/ 71 h 580"/>
                <a:gd name="T10" fmla="*/ 115 w 646"/>
                <a:gd name="T11" fmla="*/ 1 h 580"/>
                <a:gd name="T12" fmla="*/ 207 w 646"/>
                <a:gd name="T13" fmla="*/ 451 h 580"/>
                <a:gd name="T14" fmla="*/ 645 w 646"/>
                <a:gd name="T15" fmla="*/ 419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6" h="580">
                  <a:moveTo>
                    <a:pt x="645" y="419"/>
                  </a:moveTo>
                  <a:cubicBezTo>
                    <a:pt x="646" y="418"/>
                    <a:pt x="646" y="418"/>
                    <a:pt x="646" y="418"/>
                  </a:cubicBezTo>
                  <a:cubicBezTo>
                    <a:pt x="575" y="366"/>
                    <a:pt x="461" y="276"/>
                    <a:pt x="420" y="203"/>
                  </a:cubicBezTo>
                  <a:cubicBezTo>
                    <a:pt x="397" y="162"/>
                    <a:pt x="333" y="93"/>
                    <a:pt x="262" y="22"/>
                  </a:cubicBezTo>
                  <a:cubicBezTo>
                    <a:pt x="248" y="44"/>
                    <a:pt x="234" y="59"/>
                    <a:pt x="221" y="71"/>
                  </a:cubicBezTo>
                  <a:cubicBezTo>
                    <a:pt x="174" y="114"/>
                    <a:pt x="135" y="30"/>
                    <a:pt x="115" y="1"/>
                  </a:cubicBezTo>
                  <a:cubicBezTo>
                    <a:pt x="114" y="0"/>
                    <a:pt x="0" y="211"/>
                    <a:pt x="207" y="451"/>
                  </a:cubicBezTo>
                  <a:cubicBezTo>
                    <a:pt x="317" y="580"/>
                    <a:pt x="525" y="520"/>
                    <a:pt x="645" y="419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654">
              <a:extLst>
                <a:ext uri="{FF2B5EF4-FFF2-40B4-BE49-F238E27FC236}">
                  <a16:creationId xmlns:a16="http://schemas.microsoft.com/office/drawing/2014/main" id="{5DF74336-67F6-43D6-9FAF-C2B88F801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188" y="4548188"/>
              <a:ext cx="488950" cy="501650"/>
            </a:xfrm>
            <a:custGeom>
              <a:avLst/>
              <a:gdLst>
                <a:gd name="T0" fmla="*/ 124 w 563"/>
                <a:gd name="T1" fmla="*/ 451 h 580"/>
                <a:gd name="T2" fmla="*/ 37 w 563"/>
                <a:gd name="T3" fmla="*/ 317 h 580"/>
                <a:gd name="T4" fmla="*/ 28 w 563"/>
                <a:gd name="T5" fmla="*/ 297 h 580"/>
                <a:gd name="T6" fmla="*/ 10 w 563"/>
                <a:gd name="T7" fmla="*/ 238 h 580"/>
                <a:gd name="T8" fmla="*/ 6 w 563"/>
                <a:gd name="T9" fmla="*/ 220 h 580"/>
                <a:gd name="T10" fmla="*/ 2 w 563"/>
                <a:gd name="T11" fmla="*/ 193 h 580"/>
                <a:gd name="T12" fmla="*/ 1 w 563"/>
                <a:gd name="T13" fmla="*/ 176 h 580"/>
                <a:gd name="T14" fmla="*/ 0 w 563"/>
                <a:gd name="T15" fmla="*/ 167 h 580"/>
                <a:gd name="T16" fmla="*/ 0 w 563"/>
                <a:gd name="T17" fmla="*/ 151 h 580"/>
                <a:gd name="T18" fmla="*/ 0 w 563"/>
                <a:gd name="T19" fmla="*/ 128 h 580"/>
                <a:gd name="T20" fmla="*/ 1 w 563"/>
                <a:gd name="T21" fmla="*/ 114 h 580"/>
                <a:gd name="T22" fmla="*/ 32 w 563"/>
                <a:gd name="T23" fmla="*/ 1 h 580"/>
                <a:gd name="T24" fmla="*/ 89 w 563"/>
                <a:gd name="T25" fmla="*/ 43 h 580"/>
                <a:gd name="T26" fmla="*/ 179 w 563"/>
                <a:gd name="T27" fmla="*/ 22 h 580"/>
                <a:gd name="T28" fmla="*/ 337 w 563"/>
                <a:gd name="T29" fmla="*/ 203 h 580"/>
                <a:gd name="T30" fmla="*/ 552 w 563"/>
                <a:gd name="T31" fmla="*/ 410 h 580"/>
                <a:gd name="T32" fmla="*/ 563 w 563"/>
                <a:gd name="T33" fmla="*/ 418 h 580"/>
                <a:gd name="T34" fmla="*/ 562 w 563"/>
                <a:gd name="T35" fmla="*/ 419 h 580"/>
                <a:gd name="T36" fmla="*/ 124 w 563"/>
                <a:gd name="T37" fmla="*/ 451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3" h="580">
                  <a:moveTo>
                    <a:pt x="124" y="451"/>
                  </a:moveTo>
                  <a:cubicBezTo>
                    <a:pt x="84" y="405"/>
                    <a:pt x="56" y="360"/>
                    <a:pt x="37" y="317"/>
                  </a:cubicBezTo>
                  <a:cubicBezTo>
                    <a:pt x="34" y="310"/>
                    <a:pt x="31" y="303"/>
                    <a:pt x="28" y="297"/>
                  </a:cubicBezTo>
                  <a:cubicBezTo>
                    <a:pt x="21" y="276"/>
                    <a:pt x="15" y="257"/>
                    <a:pt x="10" y="238"/>
                  </a:cubicBezTo>
                  <a:cubicBezTo>
                    <a:pt x="9" y="232"/>
                    <a:pt x="8" y="226"/>
                    <a:pt x="6" y="220"/>
                  </a:cubicBezTo>
                  <a:cubicBezTo>
                    <a:pt x="5" y="211"/>
                    <a:pt x="3" y="202"/>
                    <a:pt x="2" y="193"/>
                  </a:cubicBezTo>
                  <a:cubicBezTo>
                    <a:pt x="2" y="187"/>
                    <a:pt x="1" y="181"/>
                    <a:pt x="1" y="176"/>
                  </a:cubicBezTo>
                  <a:cubicBezTo>
                    <a:pt x="1" y="173"/>
                    <a:pt x="0" y="170"/>
                    <a:pt x="0" y="167"/>
                  </a:cubicBezTo>
                  <a:cubicBezTo>
                    <a:pt x="0" y="162"/>
                    <a:pt x="0" y="156"/>
                    <a:pt x="0" y="151"/>
                  </a:cubicBezTo>
                  <a:cubicBezTo>
                    <a:pt x="0" y="143"/>
                    <a:pt x="0" y="136"/>
                    <a:pt x="0" y="128"/>
                  </a:cubicBezTo>
                  <a:cubicBezTo>
                    <a:pt x="0" y="123"/>
                    <a:pt x="1" y="118"/>
                    <a:pt x="1" y="114"/>
                  </a:cubicBezTo>
                  <a:cubicBezTo>
                    <a:pt x="8" y="44"/>
                    <a:pt x="31" y="0"/>
                    <a:pt x="32" y="1"/>
                  </a:cubicBezTo>
                  <a:cubicBezTo>
                    <a:pt x="51" y="27"/>
                    <a:pt x="70" y="39"/>
                    <a:pt x="89" y="43"/>
                  </a:cubicBezTo>
                  <a:cubicBezTo>
                    <a:pt x="126" y="52"/>
                    <a:pt x="160" y="31"/>
                    <a:pt x="179" y="22"/>
                  </a:cubicBezTo>
                  <a:cubicBezTo>
                    <a:pt x="250" y="93"/>
                    <a:pt x="314" y="162"/>
                    <a:pt x="337" y="203"/>
                  </a:cubicBezTo>
                  <a:cubicBezTo>
                    <a:pt x="376" y="273"/>
                    <a:pt x="480" y="357"/>
                    <a:pt x="552" y="410"/>
                  </a:cubicBezTo>
                  <a:cubicBezTo>
                    <a:pt x="556" y="413"/>
                    <a:pt x="559" y="415"/>
                    <a:pt x="563" y="418"/>
                  </a:cubicBezTo>
                  <a:cubicBezTo>
                    <a:pt x="562" y="419"/>
                    <a:pt x="562" y="419"/>
                    <a:pt x="562" y="419"/>
                  </a:cubicBezTo>
                  <a:cubicBezTo>
                    <a:pt x="442" y="520"/>
                    <a:pt x="234" y="580"/>
                    <a:pt x="124" y="451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655">
              <a:extLst>
                <a:ext uri="{FF2B5EF4-FFF2-40B4-BE49-F238E27FC236}">
                  <a16:creationId xmlns:a16="http://schemas.microsoft.com/office/drawing/2014/main" id="{6A6653D2-E8D9-4538-8A45-F09A8A86C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188" y="4548188"/>
              <a:ext cx="522288" cy="501650"/>
            </a:xfrm>
            <a:custGeom>
              <a:avLst/>
              <a:gdLst>
                <a:gd name="T0" fmla="*/ 124 w 602"/>
                <a:gd name="T1" fmla="*/ 451 h 580"/>
                <a:gd name="T2" fmla="*/ 37 w 602"/>
                <a:gd name="T3" fmla="*/ 317 h 580"/>
                <a:gd name="T4" fmla="*/ 28 w 602"/>
                <a:gd name="T5" fmla="*/ 297 h 580"/>
                <a:gd name="T6" fmla="*/ 10 w 602"/>
                <a:gd name="T7" fmla="*/ 238 h 580"/>
                <a:gd name="T8" fmla="*/ 6 w 602"/>
                <a:gd name="T9" fmla="*/ 220 h 580"/>
                <a:gd name="T10" fmla="*/ 2 w 602"/>
                <a:gd name="T11" fmla="*/ 193 h 580"/>
                <a:gd name="T12" fmla="*/ 1 w 602"/>
                <a:gd name="T13" fmla="*/ 176 h 580"/>
                <a:gd name="T14" fmla="*/ 0 w 602"/>
                <a:gd name="T15" fmla="*/ 167 h 580"/>
                <a:gd name="T16" fmla="*/ 0 w 602"/>
                <a:gd name="T17" fmla="*/ 151 h 580"/>
                <a:gd name="T18" fmla="*/ 0 w 602"/>
                <a:gd name="T19" fmla="*/ 128 h 580"/>
                <a:gd name="T20" fmla="*/ 1 w 602"/>
                <a:gd name="T21" fmla="*/ 114 h 580"/>
                <a:gd name="T22" fmla="*/ 32 w 602"/>
                <a:gd name="T23" fmla="*/ 1 h 580"/>
                <a:gd name="T24" fmla="*/ 89 w 602"/>
                <a:gd name="T25" fmla="*/ 43 h 580"/>
                <a:gd name="T26" fmla="*/ 207 w 602"/>
                <a:gd name="T27" fmla="*/ 381 h 580"/>
                <a:gd name="T28" fmla="*/ 552 w 602"/>
                <a:gd name="T29" fmla="*/ 410 h 580"/>
                <a:gd name="T30" fmla="*/ 602 w 602"/>
                <a:gd name="T31" fmla="*/ 381 h 580"/>
                <a:gd name="T32" fmla="*/ 567 w 602"/>
                <a:gd name="T33" fmla="*/ 414 h 580"/>
                <a:gd name="T34" fmla="*/ 563 w 602"/>
                <a:gd name="T35" fmla="*/ 418 h 580"/>
                <a:gd name="T36" fmla="*/ 562 w 602"/>
                <a:gd name="T37" fmla="*/ 419 h 580"/>
                <a:gd name="T38" fmla="*/ 124 w 602"/>
                <a:gd name="T39" fmla="*/ 451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02" h="580">
                  <a:moveTo>
                    <a:pt x="124" y="451"/>
                  </a:moveTo>
                  <a:cubicBezTo>
                    <a:pt x="84" y="405"/>
                    <a:pt x="56" y="360"/>
                    <a:pt x="37" y="317"/>
                  </a:cubicBezTo>
                  <a:cubicBezTo>
                    <a:pt x="34" y="310"/>
                    <a:pt x="31" y="303"/>
                    <a:pt x="28" y="297"/>
                  </a:cubicBezTo>
                  <a:cubicBezTo>
                    <a:pt x="21" y="276"/>
                    <a:pt x="15" y="257"/>
                    <a:pt x="10" y="238"/>
                  </a:cubicBezTo>
                  <a:cubicBezTo>
                    <a:pt x="9" y="232"/>
                    <a:pt x="8" y="226"/>
                    <a:pt x="6" y="220"/>
                  </a:cubicBezTo>
                  <a:cubicBezTo>
                    <a:pt x="5" y="211"/>
                    <a:pt x="3" y="202"/>
                    <a:pt x="2" y="193"/>
                  </a:cubicBezTo>
                  <a:cubicBezTo>
                    <a:pt x="2" y="187"/>
                    <a:pt x="1" y="181"/>
                    <a:pt x="1" y="176"/>
                  </a:cubicBezTo>
                  <a:cubicBezTo>
                    <a:pt x="1" y="173"/>
                    <a:pt x="0" y="170"/>
                    <a:pt x="0" y="167"/>
                  </a:cubicBezTo>
                  <a:cubicBezTo>
                    <a:pt x="0" y="162"/>
                    <a:pt x="0" y="156"/>
                    <a:pt x="0" y="151"/>
                  </a:cubicBezTo>
                  <a:cubicBezTo>
                    <a:pt x="0" y="143"/>
                    <a:pt x="0" y="136"/>
                    <a:pt x="0" y="128"/>
                  </a:cubicBezTo>
                  <a:cubicBezTo>
                    <a:pt x="1" y="123"/>
                    <a:pt x="1" y="118"/>
                    <a:pt x="1" y="114"/>
                  </a:cubicBezTo>
                  <a:cubicBezTo>
                    <a:pt x="8" y="44"/>
                    <a:pt x="31" y="0"/>
                    <a:pt x="32" y="1"/>
                  </a:cubicBezTo>
                  <a:cubicBezTo>
                    <a:pt x="51" y="27"/>
                    <a:pt x="70" y="39"/>
                    <a:pt x="89" y="43"/>
                  </a:cubicBezTo>
                  <a:cubicBezTo>
                    <a:pt x="88" y="125"/>
                    <a:pt x="106" y="264"/>
                    <a:pt x="207" y="381"/>
                  </a:cubicBezTo>
                  <a:cubicBezTo>
                    <a:pt x="292" y="481"/>
                    <a:pt x="436" y="467"/>
                    <a:pt x="552" y="410"/>
                  </a:cubicBezTo>
                  <a:cubicBezTo>
                    <a:pt x="569" y="401"/>
                    <a:pt x="586" y="392"/>
                    <a:pt x="602" y="381"/>
                  </a:cubicBezTo>
                  <a:cubicBezTo>
                    <a:pt x="591" y="393"/>
                    <a:pt x="579" y="404"/>
                    <a:pt x="567" y="414"/>
                  </a:cubicBezTo>
                  <a:cubicBezTo>
                    <a:pt x="566" y="415"/>
                    <a:pt x="565" y="417"/>
                    <a:pt x="563" y="418"/>
                  </a:cubicBezTo>
                  <a:cubicBezTo>
                    <a:pt x="562" y="419"/>
                    <a:pt x="562" y="419"/>
                    <a:pt x="562" y="419"/>
                  </a:cubicBezTo>
                  <a:cubicBezTo>
                    <a:pt x="442" y="520"/>
                    <a:pt x="234" y="580"/>
                    <a:pt x="124" y="451"/>
                  </a:cubicBezTo>
                  <a:close/>
                </a:path>
              </a:pathLst>
            </a:custGeom>
            <a:solidFill>
              <a:srgbClr val="D7A3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656">
              <a:extLst>
                <a:ext uri="{FF2B5EF4-FFF2-40B4-BE49-F238E27FC236}">
                  <a16:creationId xmlns:a16="http://schemas.microsoft.com/office/drawing/2014/main" id="{8CBD6E65-77C0-40CA-BC11-C7B16780A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5763" y="4562476"/>
              <a:ext cx="338138" cy="347663"/>
            </a:xfrm>
            <a:custGeom>
              <a:avLst/>
              <a:gdLst>
                <a:gd name="T0" fmla="*/ 158 w 389"/>
                <a:gd name="T1" fmla="*/ 186 h 401"/>
                <a:gd name="T2" fmla="*/ 384 w 389"/>
                <a:gd name="T3" fmla="*/ 401 h 401"/>
                <a:gd name="T4" fmla="*/ 389 w 389"/>
                <a:gd name="T5" fmla="*/ 397 h 401"/>
                <a:gd name="T6" fmla="*/ 163 w 389"/>
                <a:gd name="T7" fmla="*/ 183 h 401"/>
                <a:gd name="T8" fmla="*/ 3 w 389"/>
                <a:gd name="T9" fmla="*/ 0 h 401"/>
                <a:gd name="T10" fmla="*/ 0 w 389"/>
                <a:gd name="T11" fmla="*/ 5 h 401"/>
                <a:gd name="T12" fmla="*/ 158 w 389"/>
                <a:gd name="T13" fmla="*/ 186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9" h="401">
                  <a:moveTo>
                    <a:pt x="158" y="186"/>
                  </a:moveTo>
                  <a:cubicBezTo>
                    <a:pt x="199" y="259"/>
                    <a:pt x="313" y="349"/>
                    <a:pt x="384" y="401"/>
                  </a:cubicBezTo>
                  <a:cubicBezTo>
                    <a:pt x="386" y="400"/>
                    <a:pt x="387" y="398"/>
                    <a:pt x="389" y="397"/>
                  </a:cubicBezTo>
                  <a:cubicBezTo>
                    <a:pt x="318" y="346"/>
                    <a:pt x="204" y="256"/>
                    <a:pt x="163" y="183"/>
                  </a:cubicBezTo>
                  <a:cubicBezTo>
                    <a:pt x="140" y="142"/>
                    <a:pt x="75" y="71"/>
                    <a:pt x="3" y="0"/>
                  </a:cubicBezTo>
                  <a:cubicBezTo>
                    <a:pt x="2" y="2"/>
                    <a:pt x="1" y="4"/>
                    <a:pt x="0" y="5"/>
                  </a:cubicBezTo>
                  <a:cubicBezTo>
                    <a:pt x="71" y="76"/>
                    <a:pt x="135" y="145"/>
                    <a:pt x="158" y="186"/>
                  </a:cubicBezTo>
                  <a:close/>
                </a:path>
              </a:pathLst>
            </a:custGeom>
            <a:solidFill>
              <a:srgbClr val="CC99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57">
              <a:extLst>
                <a:ext uri="{FF2B5EF4-FFF2-40B4-BE49-F238E27FC236}">
                  <a16:creationId xmlns:a16="http://schemas.microsoft.com/office/drawing/2014/main" id="{C8CD7856-4367-4F68-8B17-6AD0BD279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3725" y="546101"/>
              <a:ext cx="449263" cy="1344613"/>
            </a:xfrm>
            <a:custGeom>
              <a:avLst/>
              <a:gdLst>
                <a:gd name="T0" fmla="*/ 102 w 516"/>
                <a:gd name="T1" fmla="*/ 9 h 1552"/>
                <a:gd name="T2" fmla="*/ 516 w 516"/>
                <a:gd name="T3" fmla="*/ 885 h 1552"/>
                <a:gd name="T4" fmla="*/ 144 w 516"/>
                <a:gd name="T5" fmla="*/ 1552 h 1552"/>
                <a:gd name="T6" fmla="*/ 57 w 516"/>
                <a:gd name="T7" fmla="*/ 1492 h 1552"/>
                <a:gd name="T8" fmla="*/ 267 w 516"/>
                <a:gd name="T9" fmla="*/ 873 h 1552"/>
                <a:gd name="T10" fmla="*/ 18 w 516"/>
                <a:gd name="T11" fmla="*/ 345 h 1552"/>
                <a:gd name="T12" fmla="*/ 102 w 516"/>
                <a:gd name="T13" fmla="*/ 9 h 1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6" h="1552">
                  <a:moveTo>
                    <a:pt x="102" y="9"/>
                  </a:moveTo>
                  <a:cubicBezTo>
                    <a:pt x="349" y="31"/>
                    <a:pt x="419" y="433"/>
                    <a:pt x="516" y="885"/>
                  </a:cubicBezTo>
                  <a:cubicBezTo>
                    <a:pt x="144" y="1552"/>
                    <a:pt x="144" y="1552"/>
                    <a:pt x="144" y="1552"/>
                  </a:cubicBezTo>
                  <a:cubicBezTo>
                    <a:pt x="57" y="1492"/>
                    <a:pt x="57" y="1492"/>
                    <a:pt x="57" y="1492"/>
                  </a:cubicBezTo>
                  <a:cubicBezTo>
                    <a:pt x="267" y="873"/>
                    <a:pt x="267" y="873"/>
                    <a:pt x="267" y="873"/>
                  </a:cubicBezTo>
                  <a:cubicBezTo>
                    <a:pt x="18" y="345"/>
                    <a:pt x="18" y="345"/>
                    <a:pt x="18" y="345"/>
                  </a:cubicBezTo>
                  <a:cubicBezTo>
                    <a:pt x="18" y="345"/>
                    <a:pt x="0" y="0"/>
                    <a:pt x="102" y="9"/>
                  </a:cubicBezTo>
                  <a:close/>
                </a:path>
              </a:pathLst>
            </a:custGeom>
            <a:solidFill>
              <a:srgbClr val="E3C8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658">
              <a:extLst>
                <a:ext uri="{FF2B5EF4-FFF2-40B4-BE49-F238E27FC236}">
                  <a16:creationId xmlns:a16="http://schemas.microsoft.com/office/drawing/2014/main" id="{2A5E03E3-E048-41E3-8DF3-B5A2A4DAB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1688" y="546101"/>
              <a:ext cx="620713" cy="1123950"/>
            </a:xfrm>
            <a:custGeom>
              <a:avLst/>
              <a:gdLst>
                <a:gd name="T0" fmla="*/ 410 w 714"/>
                <a:gd name="T1" fmla="*/ 9 h 1297"/>
                <a:gd name="T2" fmla="*/ 0 w 714"/>
                <a:gd name="T3" fmla="*/ 940 h 1297"/>
                <a:gd name="T4" fmla="*/ 673 w 714"/>
                <a:gd name="T5" fmla="*/ 1297 h 1297"/>
                <a:gd name="T6" fmla="*/ 714 w 714"/>
                <a:gd name="T7" fmla="*/ 1197 h 1297"/>
                <a:gd name="T8" fmla="*/ 244 w 714"/>
                <a:gd name="T9" fmla="*/ 873 h 1297"/>
                <a:gd name="T10" fmla="*/ 493 w 714"/>
                <a:gd name="T11" fmla="*/ 345 h 1297"/>
                <a:gd name="T12" fmla="*/ 410 w 714"/>
                <a:gd name="T13" fmla="*/ 9 h 1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4" h="1297">
                  <a:moveTo>
                    <a:pt x="410" y="9"/>
                  </a:moveTo>
                  <a:cubicBezTo>
                    <a:pt x="162" y="31"/>
                    <a:pt x="55" y="639"/>
                    <a:pt x="0" y="940"/>
                  </a:cubicBezTo>
                  <a:cubicBezTo>
                    <a:pt x="69" y="1093"/>
                    <a:pt x="673" y="1297"/>
                    <a:pt x="673" y="1297"/>
                  </a:cubicBezTo>
                  <a:cubicBezTo>
                    <a:pt x="714" y="1197"/>
                    <a:pt x="714" y="1197"/>
                    <a:pt x="714" y="1197"/>
                  </a:cubicBezTo>
                  <a:cubicBezTo>
                    <a:pt x="244" y="873"/>
                    <a:pt x="244" y="873"/>
                    <a:pt x="244" y="873"/>
                  </a:cubicBezTo>
                  <a:cubicBezTo>
                    <a:pt x="493" y="345"/>
                    <a:pt x="493" y="345"/>
                    <a:pt x="493" y="345"/>
                  </a:cubicBezTo>
                  <a:cubicBezTo>
                    <a:pt x="493" y="345"/>
                    <a:pt x="512" y="0"/>
                    <a:pt x="410" y="9"/>
                  </a:cubicBezTo>
                  <a:close/>
                </a:path>
              </a:pathLst>
            </a:custGeom>
            <a:solidFill>
              <a:srgbClr val="E3C8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659">
              <a:extLst>
                <a:ext uri="{FF2B5EF4-FFF2-40B4-BE49-F238E27FC236}">
                  <a16:creationId xmlns:a16="http://schemas.microsoft.com/office/drawing/2014/main" id="{F67704D2-2BBE-4007-965C-BA02F0300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5825" y="3567113"/>
              <a:ext cx="950913" cy="954088"/>
            </a:xfrm>
            <a:custGeom>
              <a:avLst/>
              <a:gdLst>
                <a:gd name="T0" fmla="*/ 175 w 1094"/>
                <a:gd name="T1" fmla="*/ 1027 h 1100"/>
                <a:gd name="T2" fmla="*/ 422 w 1094"/>
                <a:gd name="T3" fmla="*/ 90 h 1100"/>
                <a:gd name="T4" fmla="*/ 1087 w 1094"/>
                <a:gd name="T5" fmla="*/ 50 h 1100"/>
                <a:gd name="T6" fmla="*/ 1094 w 1094"/>
                <a:gd name="T7" fmla="*/ 160 h 1100"/>
                <a:gd name="T8" fmla="*/ 604 w 1094"/>
                <a:gd name="T9" fmla="*/ 259 h 1100"/>
                <a:gd name="T10" fmla="*/ 455 w 1094"/>
                <a:gd name="T11" fmla="*/ 823 h 1100"/>
                <a:gd name="T12" fmla="*/ 175 w 1094"/>
                <a:gd name="T13" fmla="*/ 1027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4" h="1100">
                  <a:moveTo>
                    <a:pt x="175" y="1027"/>
                  </a:moveTo>
                  <a:cubicBezTo>
                    <a:pt x="0" y="851"/>
                    <a:pt x="209" y="410"/>
                    <a:pt x="422" y="90"/>
                  </a:cubicBezTo>
                  <a:cubicBezTo>
                    <a:pt x="565" y="0"/>
                    <a:pt x="1087" y="50"/>
                    <a:pt x="1087" y="50"/>
                  </a:cubicBezTo>
                  <a:cubicBezTo>
                    <a:pt x="1094" y="160"/>
                    <a:pt x="1094" y="160"/>
                    <a:pt x="1094" y="160"/>
                  </a:cubicBezTo>
                  <a:cubicBezTo>
                    <a:pt x="604" y="259"/>
                    <a:pt x="604" y="259"/>
                    <a:pt x="604" y="259"/>
                  </a:cubicBezTo>
                  <a:cubicBezTo>
                    <a:pt x="455" y="823"/>
                    <a:pt x="455" y="823"/>
                    <a:pt x="455" y="823"/>
                  </a:cubicBezTo>
                  <a:cubicBezTo>
                    <a:pt x="455" y="823"/>
                    <a:pt x="248" y="1100"/>
                    <a:pt x="175" y="1027"/>
                  </a:cubicBezTo>
                  <a:close/>
                </a:path>
              </a:pathLst>
            </a:custGeom>
            <a:solidFill>
              <a:srgbClr val="447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660">
              <a:extLst>
                <a:ext uri="{FF2B5EF4-FFF2-40B4-BE49-F238E27FC236}">
                  <a16:creationId xmlns:a16="http://schemas.microsoft.com/office/drawing/2014/main" id="{0ACAE47F-9501-4224-A15B-0E1CE7FA5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3213" y="4067176"/>
              <a:ext cx="901700" cy="1023938"/>
            </a:xfrm>
            <a:custGeom>
              <a:avLst/>
              <a:gdLst>
                <a:gd name="T0" fmla="*/ 84 w 1037"/>
                <a:gd name="T1" fmla="*/ 1040 h 1182"/>
                <a:gd name="T2" fmla="*/ 977 w 1037"/>
                <a:gd name="T3" fmla="*/ 675 h 1182"/>
                <a:gd name="T4" fmla="*/ 790 w 1037"/>
                <a:gd name="T5" fmla="*/ 0 h 1182"/>
                <a:gd name="T6" fmla="*/ 679 w 1037"/>
                <a:gd name="T7" fmla="*/ 10 h 1182"/>
                <a:gd name="T8" fmla="*/ 767 w 1037"/>
                <a:gd name="T9" fmla="*/ 548 h 1182"/>
                <a:gd name="T10" fmla="*/ 237 w 1037"/>
                <a:gd name="T11" fmla="*/ 728 h 1182"/>
                <a:gd name="T12" fmla="*/ 84 w 1037"/>
                <a:gd name="T13" fmla="*/ 1040 h 1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7" h="1182">
                  <a:moveTo>
                    <a:pt x="84" y="1040"/>
                  </a:moveTo>
                  <a:cubicBezTo>
                    <a:pt x="288" y="1182"/>
                    <a:pt x="785" y="863"/>
                    <a:pt x="977" y="675"/>
                  </a:cubicBezTo>
                  <a:cubicBezTo>
                    <a:pt x="1037" y="482"/>
                    <a:pt x="790" y="0"/>
                    <a:pt x="790" y="0"/>
                  </a:cubicBezTo>
                  <a:cubicBezTo>
                    <a:pt x="679" y="10"/>
                    <a:pt x="679" y="10"/>
                    <a:pt x="679" y="10"/>
                  </a:cubicBezTo>
                  <a:cubicBezTo>
                    <a:pt x="767" y="548"/>
                    <a:pt x="767" y="548"/>
                    <a:pt x="767" y="548"/>
                  </a:cubicBezTo>
                  <a:cubicBezTo>
                    <a:pt x="237" y="728"/>
                    <a:pt x="237" y="728"/>
                    <a:pt x="237" y="728"/>
                  </a:cubicBezTo>
                  <a:cubicBezTo>
                    <a:pt x="237" y="728"/>
                    <a:pt x="0" y="981"/>
                    <a:pt x="84" y="1040"/>
                  </a:cubicBezTo>
                  <a:close/>
                </a:path>
              </a:pathLst>
            </a:custGeom>
            <a:solidFill>
              <a:srgbClr val="447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661">
              <a:extLst>
                <a:ext uri="{FF2B5EF4-FFF2-40B4-BE49-F238E27FC236}">
                  <a16:creationId xmlns:a16="http://schemas.microsoft.com/office/drawing/2014/main" id="{86036990-83B2-495D-AF96-FB939CD37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3038" y="2300288"/>
              <a:ext cx="628650" cy="561975"/>
            </a:xfrm>
            <a:custGeom>
              <a:avLst/>
              <a:gdLst>
                <a:gd name="T0" fmla="*/ 697 w 724"/>
                <a:gd name="T1" fmla="*/ 212 h 648"/>
                <a:gd name="T2" fmla="*/ 204 w 724"/>
                <a:gd name="T3" fmla="*/ 8 h 648"/>
                <a:gd name="T4" fmla="*/ 158 w 724"/>
                <a:gd name="T5" fmla="*/ 27 h 648"/>
                <a:gd name="T6" fmla="*/ 8 w 724"/>
                <a:gd name="T7" fmla="*/ 391 h 648"/>
                <a:gd name="T8" fmla="*/ 27 w 724"/>
                <a:gd name="T9" fmla="*/ 437 h 648"/>
                <a:gd name="T10" fmla="*/ 520 w 724"/>
                <a:gd name="T11" fmla="*/ 641 h 648"/>
                <a:gd name="T12" fmla="*/ 565 w 724"/>
                <a:gd name="T13" fmla="*/ 622 h 648"/>
                <a:gd name="T14" fmla="*/ 716 w 724"/>
                <a:gd name="T15" fmla="*/ 258 h 648"/>
                <a:gd name="T16" fmla="*/ 697 w 724"/>
                <a:gd name="T17" fmla="*/ 212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4" h="648">
                  <a:moveTo>
                    <a:pt x="697" y="212"/>
                  </a:moveTo>
                  <a:cubicBezTo>
                    <a:pt x="204" y="8"/>
                    <a:pt x="204" y="8"/>
                    <a:pt x="204" y="8"/>
                  </a:cubicBezTo>
                  <a:cubicBezTo>
                    <a:pt x="186" y="0"/>
                    <a:pt x="166" y="9"/>
                    <a:pt x="158" y="27"/>
                  </a:cubicBezTo>
                  <a:cubicBezTo>
                    <a:pt x="8" y="391"/>
                    <a:pt x="8" y="391"/>
                    <a:pt x="8" y="391"/>
                  </a:cubicBezTo>
                  <a:cubicBezTo>
                    <a:pt x="0" y="409"/>
                    <a:pt x="9" y="429"/>
                    <a:pt x="27" y="437"/>
                  </a:cubicBezTo>
                  <a:cubicBezTo>
                    <a:pt x="520" y="641"/>
                    <a:pt x="520" y="641"/>
                    <a:pt x="520" y="641"/>
                  </a:cubicBezTo>
                  <a:cubicBezTo>
                    <a:pt x="538" y="648"/>
                    <a:pt x="558" y="640"/>
                    <a:pt x="565" y="622"/>
                  </a:cubicBezTo>
                  <a:cubicBezTo>
                    <a:pt x="716" y="258"/>
                    <a:pt x="716" y="258"/>
                    <a:pt x="716" y="258"/>
                  </a:cubicBezTo>
                  <a:cubicBezTo>
                    <a:pt x="724" y="240"/>
                    <a:pt x="715" y="219"/>
                    <a:pt x="697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662">
              <a:extLst>
                <a:ext uri="{FF2B5EF4-FFF2-40B4-BE49-F238E27FC236}">
                  <a16:creationId xmlns:a16="http://schemas.microsoft.com/office/drawing/2014/main" id="{15F777DB-869B-4765-9BDF-6C4AD221C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3513" y="2274888"/>
              <a:ext cx="627063" cy="561975"/>
            </a:xfrm>
            <a:custGeom>
              <a:avLst/>
              <a:gdLst>
                <a:gd name="T0" fmla="*/ 7 w 723"/>
                <a:gd name="T1" fmla="*/ 391 h 648"/>
                <a:gd name="T2" fmla="*/ 158 w 723"/>
                <a:gd name="T3" fmla="*/ 27 h 648"/>
                <a:gd name="T4" fmla="*/ 204 w 723"/>
                <a:gd name="T5" fmla="*/ 8 h 648"/>
                <a:gd name="T6" fmla="*/ 697 w 723"/>
                <a:gd name="T7" fmla="*/ 212 h 648"/>
                <a:gd name="T8" fmla="*/ 716 w 723"/>
                <a:gd name="T9" fmla="*/ 258 h 648"/>
                <a:gd name="T10" fmla="*/ 565 w 723"/>
                <a:gd name="T11" fmla="*/ 622 h 648"/>
                <a:gd name="T12" fmla="*/ 519 w 723"/>
                <a:gd name="T13" fmla="*/ 641 h 648"/>
                <a:gd name="T14" fmla="*/ 26 w 723"/>
                <a:gd name="T15" fmla="*/ 437 h 648"/>
                <a:gd name="T16" fmla="*/ 7 w 723"/>
                <a:gd name="T17" fmla="*/ 391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3" h="648">
                  <a:moveTo>
                    <a:pt x="7" y="391"/>
                  </a:moveTo>
                  <a:cubicBezTo>
                    <a:pt x="158" y="27"/>
                    <a:pt x="158" y="27"/>
                    <a:pt x="158" y="27"/>
                  </a:cubicBezTo>
                  <a:cubicBezTo>
                    <a:pt x="165" y="9"/>
                    <a:pt x="186" y="0"/>
                    <a:pt x="204" y="8"/>
                  </a:cubicBezTo>
                  <a:cubicBezTo>
                    <a:pt x="697" y="212"/>
                    <a:pt x="697" y="212"/>
                    <a:pt x="697" y="212"/>
                  </a:cubicBezTo>
                  <a:cubicBezTo>
                    <a:pt x="714" y="219"/>
                    <a:pt x="723" y="240"/>
                    <a:pt x="716" y="258"/>
                  </a:cubicBezTo>
                  <a:cubicBezTo>
                    <a:pt x="565" y="622"/>
                    <a:pt x="565" y="622"/>
                    <a:pt x="565" y="622"/>
                  </a:cubicBezTo>
                  <a:cubicBezTo>
                    <a:pt x="557" y="640"/>
                    <a:pt x="537" y="648"/>
                    <a:pt x="519" y="641"/>
                  </a:cubicBezTo>
                  <a:cubicBezTo>
                    <a:pt x="26" y="437"/>
                    <a:pt x="26" y="437"/>
                    <a:pt x="26" y="437"/>
                  </a:cubicBezTo>
                  <a:cubicBezTo>
                    <a:pt x="8" y="429"/>
                    <a:pt x="0" y="409"/>
                    <a:pt x="7" y="39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663">
              <a:extLst>
                <a:ext uri="{FF2B5EF4-FFF2-40B4-BE49-F238E27FC236}">
                  <a16:creationId xmlns:a16="http://schemas.microsoft.com/office/drawing/2014/main" id="{AE618E9A-4AB3-4DF8-9531-DFA4339C4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2250" y="2314576"/>
              <a:ext cx="542925" cy="496888"/>
            </a:xfrm>
            <a:custGeom>
              <a:avLst/>
              <a:gdLst>
                <a:gd name="T0" fmla="*/ 0 w 342"/>
                <a:gd name="T1" fmla="*/ 207 h 313"/>
                <a:gd name="T2" fmla="*/ 85 w 342"/>
                <a:gd name="T3" fmla="*/ 0 h 313"/>
                <a:gd name="T4" fmla="*/ 342 w 342"/>
                <a:gd name="T5" fmla="*/ 106 h 313"/>
                <a:gd name="T6" fmla="*/ 257 w 342"/>
                <a:gd name="T7" fmla="*/ 313 h 313"/>
                <a:gd name="T8" fmla="*/ 0 w 342"/>
                <a:gd name="T9" fmla="*/ 207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" h="313">
                  <a:moveTo>
                    <a:pt x="0" y="207"/>
                  </a:moveTo>
                  <a:lnTo>
                    <a:pt x="85" y="0"/>
                  </a:lnTo>
                  <a:lnTo>
                    <a:pt x="342" y="106"/>
                  </a:lnTo>
                  <a:lnTo>
                    <a:pt x="257" y="313"/>
                  </a:lnTo>
                  <a:lnTo>
                    <a:pt x="0" y="207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64">
              <a:extLst>
                <a:ext uri="{FF2B5EF4-FFF2-40B4-BE49-F238E27FC236}">
                  <a16:creationId xmlns:a16="http://schemas.microsoft.com/office/drawing/2014/main" id="{2540A740-164E-4394-852E-FF0D9373E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6063" y="2449513"/>
              <a:ext cx="36513" cy="36513"/>
            </a:xfrm>
            <a:custGeom>
              <a:avLst/>
              <a:gdLst>
                <a:gd name="T0" fmla="*/ 14 w 42"/>
                <a:gd name="T1" fmla="*/ 38 h 41"/>
                <a:gd name="T2" fmla="*/ 4 w 42"/>
                <a:gd name="T3" fmla="*/ 14 h 41"/>
                <a:gd name="T4" fmla="*/ 28 w 42"/>
                <a:gd name="T5" fmla="*/ 4 h 41"/>
                <a:gd name="T6" fmla="*/ 38 w 42"/>
                <a:gd name="T7" fmla="*/ 28 h 41"/>
                <a:gd name="T8" fmla="*/ 14 w 42"/>
                <a:gd name="T9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1">
                  <a:moveTo>
                    <a:pt x="14" y="38"/>
                  </a:moveTo>
                  <a:cubicBezTo>
                    <a:pt x="5" y="34"/>
                    <a:pt x="0" y="23"/>
                    <a:pt x="4" y="14"/>
                  </a:cubicBezTo>
                  <a:cubicBezTo>
                    <a:pt x="8" y="4"/>
                    <a:pt x="19" y="0"/>
                    <a:pt x="28" y="4"/>
                  </a:cubicBezTo>
                  <a:cubicBezTo>
                    <a:pt x="38" y="8"/>
                    <a:pt x="42" y="18"/>
                    <a:pt x="38" y="28"/>
                  </a:cubicBezTo>
                  <a:cubicBezTo>
                    <a:pt x="34" y="37"/>
                    <a:pt x="24" y="41"/>
                    <a:pt x="14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665">
              <a:extLst>
                <a:ext uri="{FF2B5EF4-FFF2-40B4-BE49-F238E27FC236}">
                  <a16:creationId xmlns:a16="http://schemas.microsoft.com/office/drawing/2014/main" id="{62CFE098-D376-4ADA-AFE9-E91EE07CD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7825" y="2363788"/>
              <a:ext cx="234950" cy="100013"/>
            </a:xfrm>
            <a:custGeom>
              <a:avLst/>
              <a:gdLst>
                <a:gd name="T0" fmla="*/ 0 w 270"/>
                <a:gd name="T1" fmla="*/ 1 h 114"/>
                <a:gd name="T2" fmla="*/ 2 w 270"/>
                <a:gd name="T3" fmla="*/ 1 h 114"/>
                <a:gd name="T4" fmla="*/ 269 w 270"/>
                <a:gd name="T5" fmla="*/ 111 h 114"/>
                <a:gd name="T6" fmla="*/ 270 w 270"/>
                <a:gd name="T7" fmla="*/ 113 h 114"/>
                <a:gd name="T8" fmla="*/ 268 w 270"/>
                <a:gd name="T9" fmla="*/ 114 h 114"/>
                <a:gd name="T10" fmla="*/ 1 w 270"/>
                <a:gd name="T11" fmla="*/ 3 h 114"/>
                <a:gd name="T12" fmla="*/ 0 w 270"/>
                <a:gd name="T13" fmla="*/ 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114">
                  <a:moveTo>
                    <a:pt x="0" y="1"/>
                  </a:moveTo>
                  <a:cubicBezTo>
                    <a:pt x="1" y="1"/>
                    <a:pt x="1" y="0"/>
                    <a:pt x="2" y="1"/>
                  </a:cubicBezTo>
                  <a:cubicBezTo>
                    <a:pt x="269" y="111"/>
                    <a:pt x="269" y="111"/>
                    <a:pt x="269" y="111"/>
                  </a:cubicBezTo>
                  <a:cubicBezTo>
                    <a:pt x="270" y="112"/>
                    <a:pt x="270" y="112"/>
                    <a:pt x="270" y="113"/>
                  </a:cubicBezTo>
                  <a:cubicBezTo>
                    <a:pt x="270" y="114"/>
                    <a:pt x="269" y="114"/>
                    <a:pt x="268" y="11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666">
              <a:extLst>
                <a:ext uri="{FF2B5EF4-FFF2-40B4-BE49-F238E27FC236}">
                  <a16:creationId xmlns:a16="http://schemas.microsoft.com/office/drawing/2014/main" id="{EF23600E-87F0-4170-B8E8-A309285BE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8450" y="2357438"/>
              <a:ext cx="100013" cy="234950"/>
            </a:xfrm>
            <a:custGeom>
              <a:avLst/>
              <a:gdLst>
                <a:gd name="T0" fmla="*/ 1 w 115"/>
                <a:gd name="T1" fmla="*/ 270 h 272"/>
                <a:gd name="T2" fmla="*/ 112 w 115"/>
                <a:gd name="T3" fmla="*/ 2 h 272"/>
                <a:gd name="T4" fmla="*/ 114 w 115"/>
                <a:gd name="T5" fmla="*/ 1 h 272"/>
                <a:gd name="T6" fmla="*/ 115 w 115"/>
                <a:gd name="T7" fmla="*/ 3 h 272"/>
                <a:gd name="T8" fmla="*/ 3 w 115"/>
                <a:gd name="T9" fmla="*/ 271 h 272"/>
                <a:gd name="T10" fmla="*/ 2 w 115"/>
                <a:gd name="T11" fmla="*/ 272 h 272"/>
                <a:gd name="T12" fmla="*/ 1 w 115"/>
                <a:gd name="T13" fmla="*/ 27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272">
                  <a:moveTo>
                    <a:pt x="1" y="270"/>
                  </a:moveTo>
                  <a:cubicBezTo>
                    <a:pt x="112" y="2"/>
                    <a:pt x="112" y="2"/>
                    <a:pt x="112" y="2"/>
                  </a:cubicBezTo>
                  <a:cubicBezTo>
                    <a:pt x="112" y="1"/>
                    <a:pt x="113" y="0"/>
                    <a:pt x="114" y="1"/>
                  </a:cubicBezTo>
                  <a:cubicBezTo>
                    <a:pt x="115" y="1"/>
                    <a:pt x="115" y="2"/>
                    <a:pt x="115" y="3"/>
                  </a:cubicBezTo>
                  <a:cubicBezTo>
                    <a:pt x="3" y="271"/>
                    <a:pt x="3" y="271"/>
                    <a:pt x="3" y="271"/>
                  </a:cubicBezTo>
                  <a:cubicBezTo>
                    <a:pt x="3" y="272"/>
                    <a:pt x="2" y="272"/>
                    <a:pt x="2" y="272"/>
                  </a:cubicBezTo>
                  <a:cubicBezTo>
                    <a:pt x="1" y="272"/>
                    <a:pt x="0" y="271"/>
                    <a:pt x="1" y="270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667">
              <a:extLst>
                <a:ext uri="{FF2B5EF4-FFF2-40B4-BE49-F238E27FC236}">
                  <a16:creationId xmlns:a16="http://schemas.microsoft.com/office/drawing/2014/main" id="{0D9C8F8D-54A8-4F0F-BE42-2A667EDF5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7825" y="2400301"/>
              <a:ext cx="144463" cy="282575"/>
            </a:xfrm>
            <a:custGeom>
              <a:avLst/>
              <a:gdLst>
                <a:gd name="T0" fmla="*/ 38 w 165"/>
                <a:gd name="T1" fmla="*/ 2 h 326"/>
                <a:gd name="T2" fmla="*/ 39 w 165"/>
                <a:gd name="T3" fmla="*/ 1 h 326"/>
                <a:gd name="T4" fmla="*/ 41 w 165"/>
                <a:gd name="T5" fmla="*/ 1 h 326"/>
                <a:gd name="T6" fmla="*/ 99 w 165"/>
                <a:gd name="T7" fmla="*/ 85 h 326"/>
                <a:gd name="T8" fmla="*/ 100 w 165"/>
                <a:gd name="T9" fmla="*/ 86 h 326"/>
                <a:gd name="T10" fmla="*/ 99 w 165"/>
                <a:gd name="T11" fmla="*/ 87 h 326"/>
                <a:gd name="T12" fmla="*/ 69 w 165"/>
                <a:gd name="T13" fmla="*/ 106 h 326"/>
                <a:gd name="T14" fmla="*/ 133 w 165"/>
                <a:gd name="T15" fmla="*/ 165 h 326"/>
                <a:gd name="T16" fmla="*/ 133 w 165"/>
                <a:gd name="T17" fmla="*/ 167 h 326"/>
                <a:gd name="T18" fmla="*/ 133 w 165"/>
                <a:gd name="T19" fmla="*/ 167 h 326"/>
                <a:gd name="T20" fmla="*/ 132 w 165"/>
                <a:gd name="T21" fmla="*/ 168 h 326"/>
                <a:gd name="T22" fmla="*/ 7 w 165"/>
                <a:gd name="T23" fmla="*/ 160 h 326"/>
                <a:gd name="T24" fmla="*/ 72 w 165"/>
                <a:gd name="T25" fmla="*/ 206 h 326"/>
                <a:gd name="T26" fmla="*/ 72 w 165"/>
                <a:gd name="T27" fmla="*/ 208 h 326"/>
                <a:gd name="T28" fmla="*/ 71 w 165"/>
                <a:gd name="T29" fmla="*/ 209 h 326"/>
                <a:gd name="T30" fmla="*/ 42 w 165"/>
                <a:gd name="T31" fmla="*/ 214 h 326"/>
                <a:gd name="T32" fmla="*/ 112 w 165"/>
                <a:gd name="T33" fmla="*/ 260 h 326"/>
                <a:gd name="T34" fmla="*/ 113 w 165"/>
                <a:gd name="T35" fmla="*/ 261 h 326"/>
                <a:gd name="T36" fmla="*/ 111 w 165"/>
                <a:gd name="T37" fmla="*/ 262 h 326"/>
                <a:gd name="T38" fmla="*/ 94 w 165"/>
                <a:gd name="T39" fmla="*/ 267 h 326"/>
                <a:gd name="T40" fmla="*/ 164 w 165"/>
                <a:gd name="T41" fmla="*/ 324 h 326"/>
                <a:gd name="T42" fmla="*/ 164 w 165"/>
                <a:gd name="T43" fmla="*/ 326 h 326"/>
                <a:gd name="T44" fmla="*/ 162 w 165"/>
                <a:gd name="T45" fmla="*/ 326 h 326"/>
                <a:gd name="T46" fmla="*/ 90 w 165"/>
                <a:gd name="T47" fmla="*/ 267 h 326"/>
                <a:gd name="T48" fmla="*/ 90 w 165"/>
                <a:gd name="T49" fmla="*/ 266 h 326"/>
                <a:gd name="T50" fmla="*/ 91 w 165"/>
                <a:gd name="T51" fmla="*/ 265 h 326"/>
                <a:gd name="T52" fmla="*/ 108 w 165"/>
                <a:gd name="T53" fmla="*/ 260 h 326"/>
                <a:gd name="T54" fmla="*/ 37 w 165"/>
                <a:gd name="T55" fmla="*/ 215 h 326"/>
                <a:gd name="T56" fmla="*/ 36 w 165"/>
                <a:gd name="T57" fmla="*/ 213 h 326"/>
                <a:gd name="T58" fmla="*/ 37 w 165"/>
                <a:gd name="T59" fmla="*/ 212 h 326"/>
                <a:gd name="T60" fmla="*/ 67 w 165"/>
                <a:gd name="T61" fmla="*/ 207 h 326"/>
                <a:gd name="T62" fmla="*/ 1 w 165"/>
                <a:gd name="T63" fmla="*/ 159 h 326"/>
                <a:gd name="T64" fmla="*/ 0 w 165"/>
                <a:gd name="T65" fmla="*/ 158 h 326"/>
                <a:gd name="T66" fmla="*/ 2 w 165"/>
                <a:gd name="T67" fmla="*/ 157 h 326"/>
                <a:gd name="T68" fmla="*/ 128 w 165"/>
                <a:gd name="T69" fmla="*/ 164 h 326"/>
                <a:gd name="T70" fmla="*/ 65 w 165"/>
                <a:gd name="T71" fmla="*/ 107 h 326"/>
                <a:gd name="T72" fmla="*/ 65 w 165"/>
                <a:gd name="T73" fmla="*/ 106 h 326"/>
                <a:gd name="T74" fmla="*/ 66 w 165"/>
                <a:gd name="T75" fmla="*/ 104 h 326"/>
                <a:gd name="T76" fmla="*/ 96 w 165"/>
                <a:gd name="T77" fmla="*/ 85 h 326"/>
                <a:gd name="T78" fmla="*/ 38 w 165"/>
                <a:gd name="T79" fmla="*/ 3 h 326"/>
                <a:gd name="T80" fmla="*/ 38 w 165"/>
                <a:gd name="T81" fmla="*/ 2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5" h="326">
                  <a:moveTo>
                    <a:pt x="38" y="2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39" y="0"/>
                    <a:pt x="40" y="1"/>
                    <a:pt x="41" y="1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100" y="85"/>
                    <a:pt x="100" y="85"/>
                    <a:pt x="100" y="86"/>
                  </a:cubicBezTo>
                  <a:cubicBezTo>
                    <a:pt x="100" y="86"/>
                    <a:pt x="99" y="87"/>
                    <a:pt x="99" y="87"/>
                  </a:cubicBezTo>
                  <a:cubicBezTo>
                    <a:pt x="69" y="106"/>
                    <a:pt x="69" y="106"/>
                    <a:pt x="69" y="106"/>
                  </a:cubicBezTo>
                  <a:cubicBezTo>
                    <a:pt x="133" y="165"/>
                    <a:pt x="133" y="165"/>
                    <a:pt x="133" y="165"/>
                  </a:cubicBezTo>
                  <a:cubicBezTo>
                    <a:pt x="133" y="165"/>
                    <a:pt x="133" y="166"/>
                    <a:pt x="133" y="167"/>
                  </a:cubicBezTo>
                  <a:cubicBezTo>
                    <a:pt x="133" y="167"/>
                    <a:pt x="133" y="167"/>
                    <a:pt x="133" y="167"/>
                  </a:cubicBezTo>
                  <a:cubicBezTo>
                    <a:pt x="133" y="167"/>
                    <a:pt x="132" y="168"/>
                    <a:pt x="132" y="168"/>
                  </a:cubicBezTo>
                  <a:cubicBezTo>
                    <a:pt x="7" y="160"/>
                    <a:pt x="7" y="160"/>
                    <a:pt x="7" y="160"/>
                  </a:cubicBezTo>
                  <a:cubicBezTo>
                    <a:pt x="72" y="206"/>
                    <a:pt x="72" y="206"/>
                    <a:pt x="72" y="206"/>
                  </a:cubicBezTo>
                  <a:cubicBezTo>
                    <a:pt x="72" y="207"/>
                    <a:pt x="72" y="207"/>
                    <a:pt x="72" y="208"/>
                  </a:cubicBezTo>
                  <a:cubicBezTo>
                    <a:pt x="72" y="208"/>
                    <a:pt x="72" y="209"/>
                    <a:pt x="71" y="209"/>
                  </a:cubicBezTo>
                  <a:cubicBezTo>
                    <a:pt x="42" y="214"/>
                    <a:pt x="42" y="214"/>
                    <a:pt x="42" y="214"/>
                  </a:cubicBezTo>
                  <a:cubicBezTo>
                    <a:pt x="112" y="260"/>
                    <a:pt x="112" y="260"/>
                    <a:pt x="112" y="260"/>
                  </a:cubicBezTo>
                  <a:cubicBezTo>
                    <a:pt x="112" y="260"/>
                    <a:pt x="113" y="260"/>
                    <a:pt x="113" y="261"/>
                  </a:cubicBezTo>
                  <a:cubicBezTo>
                    <a:pt x="112" y="262"/>
                    <a:pt x="112" y="262"/>
                    <a:pt x="111" y="262"/>
                  </a:cubicBezTo>
                  <a:cubicBezTo>
                    <a:pt x="94" y="267"/>
                    <a:pt x="94" y="267"/>
                    <a:pt x="94" y="267"/>
                  </a:cubicBezTo>
                  <a:cubicBezTo>
                    <a:pt x="164" y="324"/>
                    <a:pt x="164" y="324"/>
                    <a:pt x="164" y="324"/>
                  </a:cubicBezTo>
                  <a:cubicBezTo>
                    <a:pt x="165" y="324"/>
                    <a:pt x="165" y="325"/>
                    <a:pt x="164" y="326"/>
                  </a:cubicBezTo>
                  <a:cubicBezTo>
                    <a:pt x="164" y="326"/>
                    <a:pt x="163" y="326"/>
                    <a:pt x="162" y="326"/>
                  </a:cubicBezTo>
                  <a:cubicBezTo>
                    <a:pt x="90" y="267"/>
                    <a:pt x="90" y="267"/>
                    <a:pt x="90" y="267"/>
                  </a:cubicBezTo>
                  <a:cubicBezTo>
                    <a:pt x="90" y="267"/>
                    <a:pt x="90" y="266"/>
                    <a:pt x="90" y="266"/>
                  </a:cubicBezTo>
                  <a:cubicBezTo>
                    <a:pt x="90" y="265"/>
                    <a:pt x="91" y="265"/>
                    <a:pt x="91" y="265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37" y="215"/>
                    <a:pt x="37" y="215"/>
                    <a:pt x="37" y="215"/>
                  </a:cubicBezTo>
                  <a:cubicBezTo>
                    <a:pt x="36" y="215"/>
                    <a:pt x="36" y="214"/>
                    <a:pt x="36" y="213"/>
                  </a:cubicBezTo>
                  <a:cubicBezTo>
                    <a:pt x="36" y="213"/>
                    <a:pt x="37" y="212"/>
                    <a:pt x="37" y="212"/>
                  </a:cubicBezTo>
                  <a:cubicBezTo>
                    <a:pt x="67" y="207"/>
                    <a:pt x="67" y="207"/>
                    <a:pt x="67" y="207"/>
                  </a:cubicBezTo>
                  <a:cubicBezTo>
                    <a:pt x="1" y="159"/>
                    <a:pt x="1" y="159"/>
                    <a:pt x="1" y="159"/>
                  </a:cubicBezTo>
                  <a:cubicBezTo>
                    <a:pt x="0" y="159"/>
                    <a:pt x="0" y="158"/>
                    <a:pt x="0" y="158"/>
                  </a:cubicBezTo>
                  <a:cubicBezTo>
                    <a:pt x="1" y="157"/>
                    <a:pt x="1" y="157"/>
                    <a:pt x="2" y="157"/>
                  </a:cubicBezTo>
                  <a:cubicBezTo>
                    <a:pt x="128" y="164"/>
                    <a:pt x="128" y="164"/>
                    <a:pt x="128" y="164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65" y="106"/>
                    <a:pt x="65" y="106"/>
                    <a:pt x="65" y="106"/>
                  </a:cubicBezTo>
                  <a:cubicBezTo>
                    <a:pt x="65" y="105"/>
                    <a:pt x="65" y="105"/>
                    <a:pt x="66" y="104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2"/>
                    <a:pt x="38" y="2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668">
              <a:extLst>
                <a:ext uri="{FF2B5EF4-FFF2-40B4-BE49-F238E27FC236}">
                  <a16:creationId xmlns:a16="http://schemas.microsoft.com/office/drawing/2014/main" id="{B0C16853-D4E6-4DEA-A4D9-A35895DB4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3238" y="2665413"/>
              <a:ext cx="19050" cy="17463"/>
            </a:xfrm>
            <a:custGeom>
              <a:avLst/>
              <a:gdLst>
                <a:gd name="T0" fmla="*/ 0 w 22"/>
                <a:gd name="T1" fmla="*/ 11 h 20"/>
                <a:gd name="T2" fmla="*/ 2 w 22"/>
                <a:gd name="T3" fmla="*/ 11 h 20"/>
                <a:gd name="T4" fmla="*/ 17 w 22"/>
                <a:gd name="T5" fmla="*/ 16 h 20"/>
                <a:gd name="T6" fmla="*/ 8 w 22"/>
                <a:gd name="T7" fmla="*/ 3 h 20"/>
                <a:gd name="T8" fmla="*/ 9 w 22"/>
                <a:gd name="T9" fmla="*/ 1 h 20"/>
                <a:gd name="T10" fmla="*/ 11 w 22"/>
                <a:gd name="T11" fmla="*/ 1 h 20"/>
                <a:gd name="T12" fmla="*/ 21 w 22"/>
                <a:gd name="T13" fmla="*/ 18 h 20"/>
                <a:gd name="T14" fmla="*/ 21 w 22"/>
                <a:gd name="T15" fmla="*/ 20 h 20"/>
                <a:gd name="T16" fmla="*/ 20 w 22"/>
                <a:gd name="T17" fmla="*/ 20 h 20"/>
                <a:gd name="T18" fmla="*/ 1 w 22"/>
                <a:gd name="T19" fmla="*/ 13 h 20"/>
                <a:gd name="T20" fmla="*/ 0 w 22"/>
                <a:gd name="T21" fmla="*/ 12 h 20"/>
                <a:gd name="T22" fmla="*/ 0 w 22"/>
                <a:gd name="T2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0">
                  <a:moveTo>
                    <a:pt x="0" y="11"/>
                  </a:moveTo>
                  <a:cubicBezTo>
                    <a:pt x="0" y="11"/>
                    <a:pt x="1" y="10"/>
                    <a:pt x="2" y="11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9" y="1"/>
                  </a:cubicBezTo>
                  <a:cubicBezTo>
                    <a:pt x="10" y="0"/>
                    <a:pt x="10" y="0"/>
                    <a:pt x="11" y="1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2" y="19"/>
                    <a:pt x="22" y="19"/>
                    <a:pt x="21" y="20"/>
                  </a:cubicBezTo>
                  <a:cubicBezTo>
                    <a:pt x="21" y="20"/>
                    <a:pt x="20" y="20"/>
                    <a:pt x="20" y="20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2"/>
                    <a:pt x="0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669">
              <a:extLst>
                <a:ext uri="{FF2B5EF4-FFF2-40B4-BE49-F238E27FC236}">
                  <a16:creationId xmlns:a16="http://schemas.microsoft.com/office/drawing/2014/main" id="{6A9346AD-CE65-4540-B12A-EA6C0EC42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5950" y="2506663"/>
              <a:ext cx="111125" cy="260350"/>
            </a:xfrm>
            <a:custGeom>
              <a:avLst/>
              <a:gdLst>
                <a:gd name="T0" fmla="*/ 0 w 70"/>
                <a:gd name="T1" fmla="*/ 163 h 164"/>
                <a:gd name="T2" fmla="*/ 68 w 70"/>
                <a:gd name="T3" fmla="*/ 0 h 164"/>
                <a:gd name="T4" fmla="*/ 70 w 70"/>
                <a:gd name="T5" fmla="*/ 1 h 164"/>
                <a:gd name="T6" fmla="*/ 3 w 70"/>
                <a:gd name="T7" fmla="*/ 164 h 164"/>
                <a:gd name="T8" fmla="*/ 0 w 70"/>
                <a:gd name="T9" fmla="*/ 16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3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3" y="164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670">
              <a:extLst>
                <a:ext uri="{FF2B5EF4-FFF2-40B4-BE49-F238E27FC236}">
                  <a16:creationId xmlns:a16="http://schemas.microsoft.com/office/drawing/2014/main" id="{5B894938-C742-4699-A96B-875E3AC4C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5313" y="2497138"/>
              <a:ext cx="111125" cy="260350"/>
            </a:xfrm>
            <a:custGeom>
              <a:avLst/>
              <a:gdLst>
                <a:gd name="T0" fmla="*/ 0 w 70"/>
                <a:gd name="T1" fmla="*/ 164 h 164"/>
                <a:gd name="T2" fmla="*/ 68 w 70"/>
                <a:gd name="T3" fmla="*/ 0 h 164"/>
                <a:gd name="T4" fmla="*/ 70 w 70"/>
                <a:gd name="T5" fmla="*/ 1 h 164"/>
                <a:gd name="T6" fmla="*/ 2 w 70"/>
                <a:gd name="T7" fmla="*/ 164 h 164"/>
                <a:gd name="T8" fmla="*/ 0 w 70"/>
                <a:gd name="T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4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2" y="164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671">
              <a:extLst>
                <a:ext uri="{FF2B5EF4-FFF2-40B4-BE49-F238E27FC236}">
                  <a16:creationId xmlns:a16="http://schemas.microsoft.com/office/drawing/2014/main" id="{FE5E4E1D-04CC-4787-AFA0-EEA774A2E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3088" y="2487613"/>
              <a:ext cx="111125" cy="261938"/>
            </a:xfrm>
            <a:custGeom>
              <a:avLst/>
              <a:gdLst>
                <a:gd name="T0" fmla="*/ 0 w 70"/>
                <a:gd name="T1" fmla="*/ 164 h 165"/>
                <a:gd name="T2" fmla="*/ 68 w 70"/>
                <a:gd name="T3" fmla="*/ 0 h 165"/>
                <a:gd name="T4" fmla="*/ 70 w 70"/>
                <a:gd name="T5" fmla="*/ 2 h 165"/>
                <a:gd name="T6" fmla="*/ 2 w 70"/>
                <a:gd name="T7" fmla="*/ 165 h 165"/>
                <a:gd name="T8" fmla="*/ 0 w 70"/>
                <a:gd name="T9" fmla="*/ 16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5">
                  <a:moveTo>
                    <a:pt x="0" y="164"/>
                  </a:moveTo>
                  <a:lnTo>
                    <a:pt x="68" y="0"/>
                  </a:lnTo>
                  <a:lnTo>
                    <a:pt x="70" y="2"/>
                  </a:lnTo>
                  <a:lnTo>
                    <a:pt x="2" y="165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72">
              <a:extLst>
                <a:ext uri="{FF2B5EF4-FFF2-40B4-BE49-F238E27FC236}">
                  <a16:creationId xmlns:a16="http://schemas.microsoft.com/office/drawing/2014/main" id="{47003382-97CB-4D6D-8E8A-237950B8F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0863" y="2479676"/>
              <a:ext cx="111125" cy="260350"/>
            </a:xfrm>
            <a:custGeom>
              <a:avLst/>
              <a:gdLst>
                <a:gd name="T0" fmla="*/ 0 w 70"/>
                <a:gd name="T1" fmla="*/ 163 h 164"/>
                <a:gd name="T2" fmla="*/ 68 w 70"/>
                <a:gd name="T3" fmla="*/ 0 h 164"/>
                <a:gd name="T4" fmla="*/ 70 w 70"/>
                <a:gd name="T5" fmla="*/ 1 h 164"/>
                <a:gd name="T6" fmla="*/ 2 w 70"/>
                <a:gd name="T7" fmla="*/ 164 h 164"/>
                <a:gd name="T8" fmla="*/ 0 w 70"/>
                <a:gd name="T9" fmla="*/ 16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3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2" y="164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673">
              <a:extLst>
                <a:ext uri="{FF2B5EF4-FFF2-40B4-BE49-F238E27FC236}">
                  <a16:creationId xmlns:a16="http://schemas.microsoft.com/office/drawing/2014/main" id="{51A5FAD9-E0A9-4E46-BAA1-F26EB94A2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9800" y="2497138"/>
              <a:ext cx="585788" cy="461963"/>
            </a:xfrm>
            <a:custGeom>
              <a:avLst/>
              <a:gdLst>
                <a:gd name="T0" fmla="*/ 652 w 675"/>
                <a:gd name="T1" fmla="*/ 37 h 533"/>
                <a:gd name="T2" fmla="*/ 674 w 675"/>
                <a:gd name="T3" fmla="*/ 462 h 533"/>
                <a:gd name="T4" fmla="*/ 638 w 675"/>
                <a:gd name="T5" fmla="*/ 502 h 533"/>
                <a:gd name="T6" fmla="*/ 63 w 675"/>
                <a:gd name="T7" fmla="*/ 531 h 533"/>
                <a:gd name="T8" fmla="*/ 23 w 675"/>
                <a:gd name="T9" fmla="*/ 496 h 533"/>
                <a:gd name="T10" fmla="*/ 1 w 675"/>
                <a:gd name="T11" fmla="*/ 71 h 533"/>
                <a:gd name="T12" fmla="*/ 37 w 675"/>
                <a:gd name="T13" fmla="*/ 31 h 533"/>
                <a:gd name="T14" fmla="*/ 612 w 675"/>
                <a:gd name="T15" fmla="*/ 1 h 533"/>
                <a:gd name="T16" fmla="*/ 652 w 675"/>
                <a:gd name="T17" fmla="*/ 3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533">
                  <a:moveTo>
                    <a:pt x="652" y="37"/>
                  </a:moveTo>
                  <a:cubicBezTo>
                    <a:pt x="674" y="462"/>
                    <a:pt x="674" y="462"/>
                    <a:pt x="674" y="462"/>
                  </a:cubicBezTo>
                  <a:cubicBezTo>
                    <a:pt x="675" y="483"/>
                    <a:pt x="659" y="500"/>
                    <a:pt x="638" y="502"/>
                  </a:cubicBezTo>
                  <a:cubicBezTo>
                    <a:pt x="63" y="531"/>
                    <a:pt x="63" y="531"/>
                    <a:pt x="63" y="531"/>
                  </a:cubicBezTo>
                  <a:cubicBezTo>
                    <a:pt x="42" y="533"/>
                    <a:pt x="24" y="516"/>
                    <a:pt x="23" y="496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50"/>
                    <a:pt x="16" y="32"/>
                    <a:pt x="37" y="31"/>
                  </a:cubicBezTo>
                  <a:cubicBezTo>
                    <a:pt x="612" y="1"/>
                    <a:pt x="612" y="1"/>
                    <a:pt x="612" y="1"/>
                  </a:cubicBezTo>
                  <a:cubicBezTo>
                    <a:pt x="633" y="0"/>
                    <a:pt x="651" y="16"/>
                    <a:pt x="652" y="37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74">
              <a:extLst>
                <a:ext uri="{FF2B5EF4-FFF2-40B4-BE49-F238E27FC236}">
                  <a16:creationId xmlns:a16="http://schemas.microsoft.com/office/drawing/2014/main" id="{C7C10F7B-2DBC-498B-BCD0-1D4763CB4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5200" y="2525713"/>
              <a:ext cx="527050" cy="406400"/>
            </a:xfrm>
            <a:custGeom>
              <a:avLst/>
              <a:gdLst>
                <a:gd name="T0" fmla="*/ 320 w 332"/>
                <a:gd name="T1" fmla="*/ 0 h 256"/>
                <a:gd name="T2" fmla="*/ 332 w 332"/>
                <a:gd name="T3" fmla="*/ 240 h 256"/>
                <a:gd name="T4" fmla="*/ 13 w 332"/>
                <a:gd name="T5" fmla="*/ 256 h 256"/>
                <a:gd name="T6" fmla="*/ 0 w 332"/>
                <a:gd name="T7" fmla="*/ 15 h 256"/>
                <a:gd name="T8" fmla="*/ 320 w 332"/>
                <a:gd name="T9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2" h="256">
                  <a:moveTo>
                    <a:pt x="320" y="0"/>
                  </a:moveTo>
                  <a:lnTo>
                    <a:pt x="332" y="240"/>
                  </a:lnTo>
                  <a:lnTo>
                    <a:pt x="13" y="256"/>
                  </a:lnTo>
                  <a:lnTo>
                    <a:pt x="0" y="15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675">
              <a:extLst>
                <a:ext uri="{FF2B5EF4-FFF2-40B4-BE49-F238E27FC236}">
                  <a16:creationId xmlns:a16="http://schemas.microsoft.com/office/drawing/2014/main" id="{0D688104-C53E-4BF3-AAC7-3FD9D34BF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9163" y="2058988"/>
              <a:ext cx="585788" cy="461963"/>
            </a:xfrm>
            <a:custGeom>
              <a:avLst/>
              <a:gdLst>
                <a:gd name="T0" fmla="*/ 652 w 675"/>
                <a:gd name="T1" fmla="*/ 37 h 533"/>
                <a:gd name="T2" fmla="*/ 674 w 675"/>
                <a:gd name="T3" fmla="*/ 462 h 533"/>
                <a:gd name="T4" fmla="*/ 638 w 675"/>
                <a:gd name="T5" fmla="*/ 502 h 533"/>
                <a:gd name="T6" fmla="*/ 63 w 675"/>
                <a:gd name="T7" fmla="*/ 532 h 533"/>
                <a:gd name="T8" fmla="*/ 23 w 675"/>
                <a:gd name="T9" fmla="*/ 496 h 533"/>
                <a:gd name="T10" fmla="*/ 1 w 675"/>
                <a:gd name="T11" fmla="*/ 71 h 533"/>
                <a:gd name="T12" fmla="*/ 37 w 675"/>
                <a:gd name="T13" fmla="*/ 31 h 533"/>
                <a:gd name="T14" fmla="*/ 612 w 675"/>
                <a:gd name="T15" fmla="*/ 1 h 533"/>
                <a:gd name="T16" fmla="*/ 652 w 675"/>
                <a:gd name="T17" fmla="*/ 3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533">
                  <a:moveTo>
                    <a:pt x="652" y="37"/>
                  </a:moveTo>
                  <a:cubicBezTo>
                    <a:pt x="674" y="462"/>
                    <a:pt x="674" y="462"/>
                    <a:pt x="674" y="462"/>
                  </a:cubicBezTo>
                  <a:cubicBezTo>
                    <a:pt x="675" y="483"/>
                    <a:pt x="659" y="501"/>
                    <a:pt x="638" y="502"/>
                  </a:cubicBezTo>
                  <a:cubicBezTo>
                    <a:pt x="63" y="532"/>
                    <a:pt x="63" y="532"/>
                    <a:pt x="63" y="532"/>
                  </a:cubicBezTo>
                  <a:cubicBezTo>
                    <a:pt x="42" y="533"/>
                    <a:pt x="24" y="517"/>
                    <a:pt x="23" y="496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50"/>
                    <a:pt x="16" y="32"/>
                    <a:pt x="37" y="31"/>
                  </a:cubicBezTo>
                  <a:cubicBezTo>
                    <a:pt x="612" y="1"/>
                    <a:pt x="612" y="1"/>
                    <a:pt x="612" y="1"/>
                  </a:cubicBezTo>
                  <a:cubicBezTo>
                    <a:pt x="633" y="0"/>
                    <a:pt x="651" y="16"/>
                    <a:pt x="652" y="37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676">
              <a:extLst>
                <a:ext uri="{FF2B5EF4-FFF2-40B4-BE49-F238E27FC236}">
                  <a16:creationId xmlns:a16="http://schemas.microsoft.com/office/drawing/2014/main" id="{BE48FF14-8BEE-44AF-BA9F-526F2ED4F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4563" y="2087563"/>
              <a:ext cx="527050" cy="406400"/>
            </a:xfrm>
            <a:custGeom>
              <a:avLst/>
              <a:gdLst>
                <a:gd name="T0" fmla="*/ 320 w 332"/>
                <a:gd name="T1" fmla="*/ 0 h 256"/>
                <a:gd name="T2" fmla="*/ 332 w 332"/>
                <a:gd name="T3" fmla="*/ 240 h 256"/>
                <a:gd name="T4" fmla="*/ 13 w 332"/>
                <a:gd name="T5" fmla="*/ 256 h 256"/>
                <a:gd name="T6" fmla="*/ 0 w 332"/>
                <a:gd name="T7" fmla="*/ 15 h 256"/>
                <a:gd name="T8" fmla="*/ 320 w 332"/>
                <a:gd name="T9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2" h="256">
                  <a:moveTo>
                    <a:pt x="320" y="0"/>
                  </a:moveTo>
                  <a:lnTo>
                    <a:pt x="332" y="240"/>
                  </a:lnTo>
                  <a:lnTo>
                    <a:pt x="13" y="256"/>
                  </a:lnTo>
                  <a:lnTo>
                    <a:pt x="0" y="15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677">
              <a:extLst>
                <a:ext uri="{FF2B5EF4-FFF2-40B4-BE49-F238E27FC236}">
                  <a16:creationId xmlns:a16="http://schemas.microsoft.com/office/drawing/2014/main" id="{02BA105E-F192-47DE-AF1A-ADDAEA148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7450" y="2865438"/>
              <a:ext cx="274638" cy="17463"/>
            </a:xfrm>
            <a:custGeom>
              <a:avLst/>
              <a:gdLst>
                <a:gd name="T0" fmla="*/ 315 w 315"/>
                <a:gd name="T1" fmla="*/ 2 h 20"/>
                <a:gd name="T2" fmla="*/ 313 w 315"/>
                <a:gd name="T3" fmla="*/ 4 h 20"/>
                <a:gd name="T4" fmla="*/ 2 w 315"/>
                <a:gd name="T5" fmla="*/ 20 h 20"/>
                <a:gd name="T6" fmla="*/ 0 w 315"/>
                <a:gd name="T7" fmla="*/ 18 h 20"/>
                <a:gd name="T8" fmla="*/ 1 w 315"/>
                <a:gd name="T9" fmla="*/ 17 h 20"/>
                <a:gd name="T10" fmla="*/ 313 w 315"/>
                <a:gd name="T11" fmla="*/ 0 h 20"/>
                <a:gd name="T12" fmla="*/ 315 w 315"/>
                <a:gd name="T13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5" h="20">
                  <a:moveTo>
                    <a:pt x="315" y="2"/>
                  </a:moveTo>
                  <a:cubicBezTo>
                    <a:pt x="315" y="3"/>
                    <a:pt x="314" y="4"/>
                    <a:pt x="313" y="4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17"/>
                    <a:pt x="1" y="17"/>
                    <a:pt x="1" y="17"/>
                  </a:cubicBezTo>
                  <a:cubicBezTo>
                    <a:pt x="313" y="0"/>
                    <a:pt x="313" y="0"/>
                    <a:pt x="313" y="0"/>
                  </a:cubicBezTo>
                  <a:cubicBezTo>
                    <a:pt x="314" y="0"/>
                    <a:pt x="315" y="1"/>
                    <a:pt x="315" y="2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678">
              <a:extLst>
                <a:ext uri="{FF2B5EF4-FFF2-40B4-BE49-F238E27FC236}">
                  <a16:creationId xmlns:a16="http://schemas.microsoft.com/office/drawing/2014/main" id="{26A379BE-9E95-4F43-B1F2-83BF325B6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1925" y="2609851"/>
              <a:ext cx="15875" cy="274638"/>
            </a:xfrm>
            <a:custGeom>
              <a:avLst/>
              <a:gdLst>
                <a:gd name="T0" fmla="*/ 3 w 19"/>
                <a:gd name="T1" fmla="*/ 1 h 317"/>
                <a:gd name="T2" fmla="*/ 19 w 19"/>
                <a:gd name="T3" fmla="*/ 315 h 317"/>
                <a:gd name="T4" fmla="*/ 18 w 19"/>
                <a:gd name="T5" fmla="*/ 316 h 317"/>
                <a:gd name="T6" fmla="*/ 16 w 19"/>
                <a:gd name="T7" fmla="*/ 315 h 317"/>
                <a:gd name="T8" fmla="*/ 0 w 19"/>
                <a:gd name="T9" fmla="*/ 2 h 317"/>
                <a:gd name="T10" fmla="*/ 1 w 19"/>
                <a:gd name="T11" fmla="*/ 0 h 317"/>
                <a:gd name="T12" fmla="*/ 3 w 19"/>
                <a:gd name="T13" fmla="*/ 1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17">
                  <a:moveTo>
                    <a:pt x="3" y="1"/>
                  </a:moveTo>
                  <a:cubicBezTo>
                    <a:pt x="19" y="315"/>
                    <a:pt x="19" y="315"/>
                    <a:pt x="19" y="315"/>
                  </a:cubicBezTo>
                  <a:cubicBezTo>
                    <a:pt x="19" y="316"/>
                    <a:pt x="18" y="316"/>
                    <a:pt x="18" y="316"/>
                  </a:cubicBezTo>
                  <a:cubicBezTo>
                    <a:pt x="17" y="317"/>
                    <a:pt x="16" y="316"/>
                    <a:pt x="16" y="31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679">
              <a:extLst>
                <a:ext uri="{FF2B5EF4-FFF2-40B4-BE49-F238E27FC236}">
                  <a16:creationId xmlns:a16="http://schemas.microsoft.com/office/drawing/2014/main" id="{B45F720B-232D-4E42-9282-F1773E913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4750" y="2624138"/>
              <a:ext cx="238125" cy="225425"/>
            </a:xfrm>
            <a:custGeom>
              <a:avLst/>
              <a:gdLst>
                <a:gd name="T0" fmla="*/ 274 w 274"/>
                <a:gd name="T1" fmla="*/ 259 h 260"/>
                <a:gd name="T2" fmla="*/ 274 w 274"/>
                <a:gd name="T3" fmla="*/ 259 h 260"/>
                <a:gd name="T4" fmla="*/ 272 w 274"/>
                <a:gd name="T5" fmla="*/ 260 h 260"/>
                <a:gd name="T6" fmla="*/ 176 w 274"/>
                <a:gd name="T7" fmla="*/ 206 h 260"/>
                <a:gd name="T8" fmla="*/ 175 w 274"/>
                <a:gd name="T9" fmla="*/ 205 h 260"/>
                <a:gd name="T10" fmla="*/ 175 w 274"/>
                <a:gd name="T11" fmla="*/ 204 h 260"/>
                <a:gd name="T12" fmla="*/ 196 w 274"/>
                <a:gd name="T13" fmla="*/ 171 h 260"/>
                <a:gd name="T14" fmla="*/ 106 w 274"/>
                <a:gd name="T15" fmla="*/ 143 h 260"/>
                <a:gd name="T16" fmla="*/ 105 w 274"/>
                <a:gd name="T17" fmla="*/ 142 h 260"/>
                <a:gd name="T18" fmla="*/ 105 w 274"/>
                <a:gd name="T19" fmla="*/ 142 h 260"/>
                <a:gd name="T20" fmla="*/ 106 w 274"/>
                <a:gd name="T21" fmla="*/ 140 h 260"/>
                <a:gd name="T22" fmla="*/ 231 w 274"/>
                <a:gd name="T23" fmla="*/ 90 h 260"/>
                <a:gd name="T24" fmla="*/ 146 w 274"/>
                <a:gd name="T25" fmla="*/ 74 h 260"/>
                <a:gd name="T26" fmla="*/ 145 w 274"/>
                <a:gd name="T27" fmla="*/ 73 h 260"/>
                <a:gd name="T28" fmla="*/ 146 w 274"/>
                <a:gd name="T29" fmla="*/ 72 h 260"/>
                <a:gd name="T30" fmla="*/ 172 w 274"/>
                <a:gd name="T31" fmla="*/ 53 h 260"/>
                <a:gd name="T32" fmla="*/ 82 w 274"/>
                <a:gd name="T33" fmla="*/ 41 h 260"/>
                <a:gd name="T34" fmla="*/ 81 w 274"/>
                <a:gd name="T35" fmla="*/ 40 h 260"/>
                <a:gd name="T36" fmla="*/ 82 w 274"/>
                <a:gd name="T37" fmla="*/ 39 h 260"/>
                <a:gd name="T38" fmla="*/ 96 w 274"/>
                <a:gd name="T39" fmla="*/ 26 h 260"/>
                <a:gd name="T40" fmla="*/ 2 w 274"/>
                <a:gd name="T41" fmla="*/ 3 h 260"/>
                <a:gd name="T42" fmla="*/ 1 w 274"/>
                <a:gd name="T43" fmla="*/ 1 h 260"/>
                <a:gd name="T44" fmla="*/ 2 w 274"/>
                <a:gd name="T45" fmla="*/ 0 h 260"/>
                <a:gd name="T46" fmla="*/ 100 w 274"/>
                <a:gd name="T47" fmla="*/ 24 h 260"/>
                <a:gd name="T48" fmla="*/ 101 w 274"/>
                <a:gd name="T49" fmla="*/ 25 h 260"/>
                <a:gd name="T50" fmla="*/ 100 w 274"/>
                <a:gd name="T51" fmla="*/ 26 h 260"/>
                <a:gd name="T52" fmla="*/ 86 w 274"/>
                <a:gd name="T53" fmla="*/ 39 h 260"/>
                <a:gd name="T54" fmla="*/ 176 w 274"/>
                <a:gd name="T55" fmla="*/ 50 h 260"/>
                <a:gd name="T56" fmla="*/ 178 w 274"/>
                <a:gd name="T57" fmla="*/ 51 h 260"/>
                <a:gd name="T58" fmla="*/ 177 w 274"/>
                <a:gd name="T59" fmla="*/ 53 h 260"/>
                <a:gd name="T60" fmla="*/ 151 w 274"/>
                <a:gd name="T61" fmla="*/ 72 h 260"/>
                <a:gd name="T62" fmla="*/ 237 w 274"/>
                <a:gd name="T63" fmla="*/ 87 h 260"/>
                <a:gd name="T64" fmla="*/ 239 w 274"/>
                <a:gd name="T65" fmla="*/ 89 h 260"/>
                <a:gd name="T66" fmla="*/ 238 w 274"/>
                <a:gd name="T67" fmla="*/ 90 h 260"/>
                <a:gd name="T68" fmla="*/ 111 w 274"/>
                <a:gd name="T69" fmla="*/ 141 h 260"/>
                <a:gd name="T70" fmla="*/ 199 w 274"/>
                <a:gd name="T71" fmla="*/ 169 h 260"/>
                <a:gd name="T72" fmla="*/ 200 w 274"/>
                <a:gd name="T73" fmla="*/ 170 h 260"/>
                <a:gd name="T74" fmla="*/ 200 w 274"/>
                <a:gd name="T75" fmla="*/ 171 h 260"/>
                <a:gd name="T76" fmla="*/ 179 w 274"/>
                <a:gd name="T77" fmla="*/ 204 h 260"/>
                <a:gd name="T78" fmla="*/ 273 w 274"/>
                <a:gd name="T79" fmla="*/ 257 h 260"/>
                <a:gd name="T80" fmla="*/ 274 w 274"/>
                <a:gd name="T81" fmla="*/ 259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4" h="260"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3" y="260"/>
                    <a:pt x="273" y="260"/>
                    <a:pt x="272" y="260"/>
                  </a:cubicBezTo>
                  <a:cubicBezTo>
                    <a:pt x="176" y="206"/>
                    <a:pt x="176" y="206"/>
                    <a:pt x="176" y="206"/>
                  </a:cubicBezTo>
                  <a:cubicBezTo>
                    <a:pt x="175" y="206"/>
                    <a:pt x="175" y="205"/>
                    <a:pt x="175" y="205"/>
                  </a:cubicBezTo>
                  <a:cubicBezTo>
                    <a:pt x="175" y="205"/>
                    <a:pt x="175" y="204"/>
                    <a:pt x="175" y="204"/>
                  </a:cubicBezTo>
                  <a:cubicBezTo>
                    <a:pt x="196" y="171"/>
                    <a:pt x="196" y="171"/>
                    <a:pt x="196" y="171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5" y="143"/>
                    <a:pt x="105" y="142"/>
                    <a:pt x="105" y="142"/>
                  </a:cubicBezTo>
                  <a:cubicBezTo>
                    <a:pt x="105" y="142"/>
                    <a:pt x="105" y="142"/>
                    <a:pt x="105" y="142"/>
                  </a:cubicBezTo>
                  <a:cubicBezTo>
                    <a:pt x="105" y="141"/>
                    <a:pt x="105" y="140"/>
                    <a:pt x="106" y="140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146" y="74"/>
                    <a:pt x="146" y="74"/>
                    <a:pt x="146" y="74"/>
                  </a:cubicBezTo>
                  <a:cubicBezTo>
                    <a:pt x="146" y="74"/>
                    <a:pt x="145" y="74"/>
                    <a:pt x="145" y="73"/>
                  </a:cubicBezTo>
                  <a:cubicBezTo>
                    <a:pt x="145" y="73"/>
                    <a:pt x="145" y="72"/>
                    <a:pt x="146" y="72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41"/>
                    <a:pt x="81" y="41"/>
                    <a:pt x="81" y="40"/>
                  </a:cubicBezTo>
                  <a:cubicBezTo>
                    <a:pt x="81" y="40"/>
                    <a:pt x="81" y="39"/>
                    <a:pt x="82" y="39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0" y="24"/>
                    <a:pt x="101" y="24"/>
                    <a:pt x="101" y="25"/>
                  </a:cubicBezTo>
                  <a:cubicBezTo>
                    <a:pt x="101" y="25"/>
                    <a:pt x="101" y="26"/>
                    <a:pt x="100" y="26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176" y="50"/>
                    <a:pt x="176" y="50"/>
                    <a:pt x="176" y="50"/>
                  </a:cubicBezTo>
                  <a:cubicBezTo>
                    <a:pt x="177" y="50"/>
                    <a:pt x="177" y="51"/>
                    <a:pt x="178" y="51"/>
                  </a:cubicBezTo>
                  <a:cubicBezTo>
                    <a:pt x="178" y="52"/>
                    <a:pt x="177" y="52"/>
                    <a:pt x="177" y="53"/>
                  </a:cubicBezTo>
                  <a:cubicBezTo>
                    <a:pt x="151" y="72"/>
                    <a:pt x="151" y="72"/>
                    <a:pt x="151" y="72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38" y="88"/>
                    <a:pt x="239" y="88"/>
                    <a:pt x="239" y="89"/>
                  </a:cubicBezTo>
                  <a:cubicBezTo>
                    <a:pt x="239" y="90"/>
                    <a:pt x="238" y="90"/>
                    <a:pt x="238" y="90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99" y="169"/>
                    <a:pt x="199" y="169"/>
                    <a:pt x="199" y="169"/>
                  </a:cubicBezTo>
                  <a:cubicBezTo>
                    <a:pt x="199" y="169"/>
                    <a:pt x="200" y="169"/>
                    <a:pt x="200" y="170"/>
                  </a:cubicBezTo>
                  <a:cubicBezTo>
                    <a:pt x="200" y="170"/>
                    <a:pt x="200" y="171"/>
                    <a:pt x="200" y="171"/>
                  </a:cubicBezTo>
                  <a:cubicBezTo>
                    <a:pt x="179" y="204"/>
                    <a:pt x="179" y="204"/>
                    <a:pt x="179" y="204"/>
                  </a:cubicBezTo>
                  <a:cubicBezTo>
                    <a:pt x="273" y="257"/>
                    <a:pt x="273" y="257"/>
                    <a:pt x="273" y="257"/>
                  </a:cubicBezTo>
                  <a:cubicBezTo>
                    <a:pt x="274" y="258"/>
                    <a:pt x="274" y="258"/>
                    <a:pt x="274" y="259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680">
              <a:extLst>
                <a:ext uri="{FF2B5EF4-FFF2-40B4-BE49-F238E27FC236}">
                  <a16:creationId xmlns:a16="http://schemas.microsoft.com/office/drawing/2014/main" id="{6DDFAC12-54FE-457B-ADBF-E160BEC74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4750" y="2622551"/>
              <a:ext cx="20638" cy="14288"/>
            </a:xfrm>
            <a:custGeom>
              <a:avLst/>
              <a:gdLst>
                <a:gd name="T0" fmla="*/ 25 w 25"/>
                <a:gd name="T1" fmla="*/ 1 h 17"/>
                <a:gd name="T2" fmla="*/ 24 w 25"/>
                <a:gd name="T3" fmla="*/ 3 h 17"/>
                <a:gd name="T4" fmla="*/ 7 w 25"/>
                <a:gd name="T5" fmla="*/ 5 h 17"/>
                <a:gd name="T6" fmla="*/ 21 w 25"/>
                <a:gd name="T7" fmla="*/ 14 h 17"/>
                <a:gd name="T8" fmla="*/ 22 w 25"/>
                <a:gd name="T9" fmla="*/ 16 h 17"/>
                <a:gd name="T10" fmla="*/ 19 w 25"/>
                <a:gd name="T11" fmla="*/ 16 h 17"/>
                <a:gd name="T12" fmla="*/ 1 w 25"/>
                <a:gd name="T13" fmla="*/ 5 h 17"/>
                <a:gd name="T14" fmla="*/ 1 w 25"/>
                <a:gd name="T15" fmla="*/ 3 h 17"/>
                <a:gd name="T16" fmla="*/ 2 w 25"/>
                <a:gd name="T17" fmla="*/ 2 h 17"/>
                <a:gd name="T18" fmla="*/ 24 w 25"/>
                <a:gd name="T19" fmla="*/ 0 h 17"/>
                <a:gd name="T20" fmla="*/ 25 w 25"/>
                <a:gd name="T2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2"/>
                    <a:pt x="25" y="3"/>
                    <a:pt x="24" y="3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2" y="14"/>
                    <a:pt x="22" y="15"/>
                    <a:pt x="22" y="16"/>
                  </a:cubicBezTo>
                  <a:cubicBezTo>
                    <a:pt x="21" y="17"/>
                    <a:pt x="20" y="17"/>
                    <a:pt x="19" y="1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0" y="4"/>
                    <a:pt x="1" y="3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5" y="0"/>
                    <a:pt x="25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681">
              <a:extLst>
                <a:ext uri="{FF2B5EF4-FFF2-40B4-BE49-F238E27FC236}">
                  <a16:creationId xmlns:a16="http://schemas.microsoft.com/office/drawing/2014/main" id="{0C2AE36B-24FD-4910-B93F-094BE0F47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5363" y="258762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682">
              <a:extLst>
                <a:ext uri="{FF2B5EF4-FFF2-40B4-BE49-F238E27FC236}">
                  <a16:creationId xmlns:a16="http://schemas.microsoft.com/office/drawing/2014/main" id="{7E6A49CC-7461-480E-A3F6-2559FBAEC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0763" y="2587626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683">
              <a:extLst>
                <a:ext uri="{FF2B5EF4-FFF2-40B4-BE49-F238E27FC236}">
                  <a16:creationId xmlns:a16="http://schemas.microsoft.com/office/drawing/2014/main" id="{D5101D08-9F7D-4FB6-A857-7A8601D9F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6163" y="2586038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684">
              <a:extLst>
                <a:ext uri="{FF2B5EF4-FFF2-40B4-BE49-F238E27FC236}">
                  <a16:creationId xmlns:a16="http://schemas.microsoft.com/office/drawing/2014/main" id="{E447A855-61A7-4E98-88D1-F005CE314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1563" y="2584451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685">
              <a:extLst>
                <a:ext uri="{FF2B5EF4-FFF2-40B4-BE49-F238E27FC236}">
                  <a16:creationId xmlns:a16="http://schemas.microsoft.com/office/drawing/2014/main" id="{CDC8842D-CE02-4E54-BF49-A1D54F50D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6963" y="2586038"/>
              <a:ext cx="19050" cy="301625"/>
            </a:xfrm>
            <a:custGeom>
              <a:avLst/>
              <a:gdLst>
                <a:gd name="T0" fmla="*/ 3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3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3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686">
              <a:extLst>
                <a:ext uri="{FF2B5EF4-FFF2-40B4-BE49-F238E27FC236}">
                  <a16:creationId xmlns:a16="http://schemas.microsoft.com/office/drawing/2014/main" id="{EF58B84E-0EFE-4B3F-BC0C-B051C8D28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2363" y="2584451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687">
              <a:extLst>
                <a:ext uri="{FF2B5EF4-FFF2-40B4-BE49-F238E27FC236}">
                  <a16:creationId xmlns:a16="http://schemas.microsoft.com/office/drawing/2014/main" id="{601E2CC2-6FEF-40F9-85FF-81863B1DC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63138" y="214947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0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0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688">
              <a:extLst>
                <a:ext uri="{FF2B5EF4-FFF2-40B4-BE49-F238E27FC236}">
                  <a16:creationId xmlns:a16="http://schemas.microsoft.com/office/drawing/2014/main" id="{EF483B1F-A61A-42D0-88D4-A4513E02B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8538" y="2147888"/>
              <a:ext cx="20638" cy="303213"/>
            </a:xfrm>
            <a:custGeom>
              <a:avLst/>
              <a:gdLst>
                <a:gd name="T0" fmla="*/ 2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2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2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689">
              <a:extLst>
                <a:ext uri="{FF2B5EF4-FFF2-40B4-BE49-F238E27FC236}">
                  <a16:creationId xmlns:a16="http://schemas.microsoft.com/office/drawing/2014/main" id="{74098FF4-6074-4F6B-A491-73049DEC5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3938" y="2146301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690">
              <a:extLst>
                <a:ext uri="{FF2B5EF4-FFF2-40B4-BE49-F238E27FC236}">
                  <a16:creationId xmlns:a16="http://schemas.microsoft.com/office/drawing/2014/main" id="{C2822E90-E0F3-4C3B-BBBC-9A6C518D39D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9338" y="2146301"/>
              <a:ext cx="20638" cy="301625"/>
            </a:xfrm>
            <a:custGeom>
              <a:avLst/>
              <a:gdLst>
                <a:gd name="T0" fmla="*/ 3 w 13"/>
                <a:gd name="T1" fmla="*/ 0 h 190"/>
                <a:gd name="T2" fmla="*/ 13 w 13"/>
                <a:gd name="T3" fmla="*/ 190 h 190"/>
                <a:gd name="T4" fmla="*/ 10 w 13"/>
                <a:gd name="T5" fmla="*/ 190 h 190"/>
                <a:gd name="T6" fmla="*/ 0 w 13"/>
                <a:gd name="T7" fmla="*/ 0 h 190"/>
                <a:gd name="T8" fmla="*/ 3 w 13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0">
                  <a:moveTo>
                    <a:pt x="3" y="0"/>
                  </a:moveTo>
                  <a:lnTo>
                    <a:pt x="13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691">
              <a:extLst>
                <a:ext uri="{FF2B5EF4-FFF2-40B4-BE49-F238E27FC236}">
                  <a16:creationId xmlns:a16="http://schemas.microsoft.com/office/drawing/2014/main" id="{D7B7F628-44EC-4D45-AC5B-E48A7FED1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4738" y="2146301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692">
              <a:extLst>
                <a:ext uri="{FF2B5EF4-FFF2-40B4-BE49-F238E27FC236}">
                  <a16:creationId xmlns:a16="http://schemas.microsoft.com/office/drawing/2014/main" id="{A37D8B84-975A-43CC-9FCB-8362274E2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1725" y="2146301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9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9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693">
              <a:extLst>
                <a:ext uri="{FF2B5EF4-FFF2-40B4-BE49-F238E27FC236}">
                  <a16:creationId xmlns:a16="http://schemas.microsoft.com/office/drawing/2014/main" id="{9BDCB92C-3142-4E46-BA6F-20BA670BF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214312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694">
              <a:extLst>
                <a:ext uri="{FF2B5EF4-FFF2-40B4-BE49-F238E27FC236}">
                  <a16:creationId xmlns:a16="http://schemas.microsoft.com/office/drawing/2014/main" id="{CA55041B-68A4-4738-97EF-6B0E1F25A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2525" y="2141538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695">
              <a:extLst>
                <a:ext uri="{FF2B5EF4-FFF2-40B4-BE49-F238E27FC236}">
                  <a16:creationId xmlns:a16="http://schemas.microsoft.com/office/drawing/2014/main" id="{484832CE-638E-481B-8951-8F4ED8BF1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7925" y="2139951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696">
              <a:extLst>
                <a:ext uri="{FF2B5EF4-FFF2-40B4-BE49-F238E27FC236}">
                  <a16:creationId xmlns:a16="http://schemas.microsoft.com/office/drawing/2014/main" id="{A35E5C8F-F539-4DBC-891C-0D5A6F53A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3325" y="2138363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1 w 13"/>
                <a:gd name="T5" fmla="*/ 191 h 191"/>
                <a:gd name="T6" fmla="*/ 0 w 13"/>
                <a:gd name="T7" fmla="*/ 0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1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697">
              <a:extLst>
                <a:ext uri="{FF2B5EF4-FFF2-40B4-BE49-F238E27FC236}">
                  <a16:creationId xmlns:a16="http://schemas.microsoft.com/office/drawing/2014/main" id="{993256EB-5248-4B29-94B5-08171ED96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8725" y="2139951"/>
              <a:ext cx="20638" cy="303213"/>
            </a:xfrm>
            <a:custGeom>
              <a:avLst/>
              <a:gdLst>
                <a:gd name="T0" fmla="*/ 2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2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2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698">
              <a:extLst>
                <a:ext uri="{FF2B5EF4-FFF2-40B4-BE49-F238E27FC236}">
                  <a16:creationId xmlns:a16="http://schemas.microsoft.com/office/drawing/2014/main" id="{51D4617A-4C05-4EAE-A1FC-C855DF876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5713" y="2138363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9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9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699">
              <a:extLst>
                <a:ext uri="{FF2B5EF4-FFF2-40B4-BE49-F238E27FC236}">
                  <a16:creationId xmlns:a16="http://schemas.microsoft.com/office/drawing/2014/main" id="{568BECF8-F95B-428D-A64F-7EB6237BC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9525" y="2133601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1 w 13"/>
                <a:gd name="T5" fmla="*/ 191 h 191"/>
                <a:gd name="T6" fmla="*/ 0 w 13"/>
                <a:gd name="T7" fmla="*/ 1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1" y="191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700">
              <a:extLst>
                <a:ext uri="{FF2B5EF4-FFF2-40B4-BE49-F238E27FC236}">
                  <a16:creationId xmlns:a16="http://schemas.microsoft.com/office/drawing/2014/main" id="{403FA11D-7F9A-494D-9222-DAB7600EC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6513" y="2133601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701">
              <a:extLst>
                <a:ext uri="{FF2B5EF4-FFF2-40B4-BE49-F238E27FC236}">
                  <a16:creationId xmlns:a16="http://schemas.microsoft.com/office/drawing/2014/main" id="{EACF65AD-0871-495B-AC1A-910A46202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1913" y="2130426"/>
              <a:ext cx="19050" cy="304800"/>
            </a:xfrm>
            <a:custGeom>
              <a:avLst/>
              <a:gdLst>
                <a:gd name="T0" fmla="*/ 2 w 12"/>
                <a:gd name="T1" fmla="*/ 0 h 192"/>
                <a:gd name="T2" fmla="*/ 12 w 12"/>
                <a:gd name="T3" fmla="*/ 191 h 192"/>
                <a:gd name="T4" fmla="*/ 10 w 12"/>
                <a:gd name="T5" fmla="*/ 192 h 192"/>
                <a:gd name="T6" fmla="*/ 0 w 12"/>
                <a:gd name="T7" fmla="*/ 1 h 192"/>
                <a:gd name="T8" fmla="*/ 2 w 12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2">
                  <a:moveTo>
                    <a:pt x="2" y="0"/>
                  </a:moveTo>
                  <a:lnTo>
                    <a:pt x="12" y="191"/>
                  </a:lnTo>
                  <a:lnTo>
                    <a:pt x="10" y="192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702">
              <a:extLst>
                <a:ext uri="{FF2B5EF4-FFF2-40B4-BE49-F238E27FC236}">
                  <a16:creationId xmlns:a16="http://schemas.microsoft.com/office/drawing/2014/main" id="{99D4AF95-35F1-45B0-A542-23E387C4E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7313" y="2130426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703">
              <a:extLst>
                <a:ext uri="{FF2B5EF4-FFF2-40B4-BE49-F238E27FC236}">
                  <a16:creationId xmlns:a16="http://schemas.microsoft.com/office/drawing/2014/main" id="{8C141A24-830D-402E-9EB3-2DB022DC6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2713" y="2130426"/>
              <a:ext cx="19050" cy="304800"/>
            </a:xfrm>
            <a:custGeom>
              <a:avLst/>
              <a:gdLst>
                <a:gd name="T0" fmla="*/ 2 w 12"/>
                <a:gd name="T1" fmla="*/ 0 h 192"/>
                <a:gd name="T2" fmla="*/ 12 w 12"/>
                <a:gd name="T3" fmla="*/ 191 h 192"/>
                <a:gd name="T4" fmla="*/ 10 w 12"/>
                <a:gd name="T5" fmla="*/ 192 h 192"/>
                <a:gd name="T6" fmla="*/ 0 w 12"/>
                <a:gd name="T7" fmla="*/ 1 h 192"/>
                <a:gd name="T8" fmla="*/ 2 w 12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2">
                  <a:moveTo>
                    <a:pt x="2" y="0"/>
                  </a:moveTo>
                  <a:lnTo>
                    <a:pt x="12" y="191"/>
                  </a:lnTo>
                  <a:lnTo>
                    <a:pt x="10" y="192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704">
              <a:extLst>
                <a:ext uri="{FF2B5EF4-FFF2-40B4-BE49-F238E27FC236}">
                  <a16:creationId xmlns:a16="http://schemas.microsoft.com/office/drawing/2014/main" id="{216D591F-C126-4B03-A444-BABE71D56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8113" y="2130426"/>
              <a:ext cx="19050" cy="301625"/>
            </a:xfrm>
            <a:custGeom>
              <a:avLst/>
              <a:gdLst>
                <a:gd name="T0" fmla="*/ 3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3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3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705">
              <a:extLst>
                <a:ext uri="{FF2B5EF4-FFF2-40B4-BE49-F238E27FC236}">
                  <a16:creationId xmlns:a16="http://schemas.microsoft.com/office/drawing/2014/main" id="{379D3C38-4A25-4F8E-B3A1-FF966A8B6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4888" y="2500313"/>
              <a:ext cx="100013" cy="33338"/>
            </a:xfrm>
            <a:custGeom>
              <a:avLst/>
              <a:gdLst>
                <a:gd name="T0" fmla="*/ 2 w 63"/>
                <a:gd name="T1" fmla="*/ 21 h 21"/>
                <a:gd name="T2" fmla="*/ 63 w 63"/>
                <a:gd name="T3" fmla="*/ 18 h 21"/>
                <a:gd name="T4" fmla="*/ 61 w 63"/>
                <a:gd name="T5" fmla="*/ 0 h 21"/>
                <a:gd name="T6" fmla="*/ 0 w 63"/>
                <a:gd name="T7" fmla="*/ 4 h 21"/>
                <a:gd name="T8" fmla="*/ 2 w 63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1">
                  <a:moveTo>
                    <a:pt x="2" y="21"/>
                  </a:moveTo>
                  <a:lnTo>
                    <a:pt x="63" y="18"/>
                  </a:lnTo>
                  <a:lnTo>
                    <a:pt x="61" y="0"/>
                  </a:lnTo>
                  <a:lnTo>
                    <a:pt x="0" y="4"/>
                  </a:lnTo>
                  <a:lnTo>
                    <a:pt x="2" y="21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706">
              <a:extLst>
                <a:ext uri="{FF2B5EF4-FFF2-40B4-BE49-F238E27FC236}">
                  <a16:creationId xmlns:a16="http://schemas.microsoft.com/office/drawing/2014/main" id="{CFF51BBB-0EC8-4A4E-8C88-2D494DB05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9525" y="2486026"/>
              <a:ext cx="100013" cy="34925"/>
            </a:xfrm>
            <a:custGeom>
              <a:avLst/>
              <a:gdLst>
                <a:gd name="T0" fmla="*/ 2 w 63"/>
                <a:gd name="T1" fmla="*/ 22 h 22"/>
                <a:gd name="T2" fmla="*/ 63 w 63"/>
                <a:gd name="T3" fmla="*/ 18 h 22"/>
                <a:gd name="T4" fmla="*/ 61 w 63"/>
                <a:gd name="T5" fmla="*/ 0 h 22"/>
                <a:gd name="T6" fmla="*/ 0 w 63"/>
                <a:gd name="T7" fmla="*/ 5 h 22"/>
                <a:gd name="T8" fmla="*/ 2 w 63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2">
                  <a:moveTo>
                    <a:pt x="2" y="22"/>
                  </a:moveTo>
                  <a:lnTo>
                    <a:pt x="63" y="18"/>
                  </a:lnTo>
                  <a:lnTo>
                    <a:pt x="61" y="0"/>
                  </a:lnTo>
                  <a:lnTo>
                    <a:pt x="0" y="5"/>
                  </a:lnTo>
                  <a:lnTo>
                    <a:pt x="2" y="22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707">
              <a:extLst>
                <a:ext uri="{FF2B5EF4-FFF2-40B4-BE49-F238E27FC236}">
                  <a16:creationId xmlns:a16="http://schemas.microsoft.com/office/drawing/2014/main" id="{11B02687-9241-41BA-B470-A647DAE9A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1513" y="1671638"/>
              <a:ext cx="1116013" cy="466725"/>
            </a:xfrm>
            <a:custGeom>
              <a:avLst/>
              <a:gdLst>
                <a:gd name="T0" fmla="*/ 33 w 1285"/>
                <a:gd name="T1" fmla="*/ 193 h 539"/>
                <a:gd name="T2" fmla="*/ 829 w 1285"/>
                <a:gd name="T3" fmla="*/ 84 h 539"/>
                <a:gd name="T4" fmla="*/ 1285 w 1285"/>
                <a:gd name="T5" fmla="*/ 477 h 539"/>
                <a:gd name="T6" fmla="*/ 1199 w 1285"/>
                <a:gd name="T7" fmla="*/ 539 h 539"/>
                <a:gd name="T8" fmla="*/ 755 w 1285"/>
                <a:gd name="T9" fmla="*/ 281 h 539"/>
                <a:gd name="T10" fmla="*/ 276 w 1285"/>
                <a:gd name="T11" fmla="*/ 346 h 539"/>
                <a:gd name="T12" fmla="*/ 33 w 1285"/>
                <a:gd name="T13" fmla="*/ 193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5" h="539">
                  <a:moveTo>
                    <a:pt x="33" y="193"/>
                  </a:moveTo>
                  <a:cubicBezTo>
                    <a:pt x="115" y="0"/>
                    <a:pt x="449" y="47"/>
                    <a:pt x="829" y="84"/>
                  </a:cubicBezTo>
                  <a:cubicBezTo>
                    <a:pt x="1285" y="477"/>
                    <a:pt x="1285" y="477"/>
                    <a:pt x="1285" y="477"/>
                  </a:cubicBezTo>
                  <a:cubicBezTo>
                    <a:pt x="1199" y="539"/>
                    <a:pt x="1199" y="539"/>
                    <a:pt x="1199" y="539"/>
                  </a:cubicBezTo>
                  <a:cubicBezTo>
                    <a:pt x="755" y="281"/>
                    <a:pt x="755" y="281"/>
                    <a:pt x="755" y="281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0" y="273"/>
                    <a:pt x="33" y="193"/>
                  </a:cubicBezTo>
                  <a:close/>
                </a:path>
              </a:pathLst>
            </a:custGeom>
            <a:solidFill>
              <a:srgbClr val="F44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708">
              <a:extLst>
                <a:ext uri="{FF2B5EF4-FFF2-40B4-BE49-F238E27FC236}">
                  <a16:creationId xmlns:a16="http://schemas.microsoft.com/office/drawing/2014/main" id="{10D20644-F97D-4D39-95B9-8F23E327E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850" y="2579688"/>
              <a:ext cx="82550" cy="106363"/>
            </a:xfrm>
            <a:custGeom>
              <a:avLst/>
              <a:gdLst>
                <a:gd name="T0" fmla="*/ 79 w 96"/>
                <a:gd name="T1" fmla="*/ 95 h 123"/>
                <a:gd name="T2" fmla="*/ 96 w 96"/>
                <a:gd name="T3" fmla="*/ 8 h 123"/>
                <a:gd name="T4" fmla="*/ 79 w 96"/>
                <a:gd name="T5" fmla="*/ 8 h 123"/>
                <a:gd name="T6" fmla="*/ 0 w 96"/>
                <a:gd name="T7" fmla="*/ 123 h 123"/>
                <a:gd name="T8" fmla="*/ 79 w 96"/>
                <a:gd name="T9" fmla="*/ 9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123">
                  <a:moveTo>
                    <a:pt x="79" y="95"/>
                  </a:moveTo>
                  <a:cubicBezTo>
                    <a:pt x="96" y="8"/>
                    <a:pt x="96" y="8"/>
                    <a:pt x="96" y="8"/>
                  </a:cubicBezTo>
                  <a:cubicBezTo>
                    <a:pt x="93" y="0"/>
                    <a:pt x="82" y="0"/>
                    <a:pt x="79" y="8"/>
                  </a:cubicBezTo>
                  <a:cubicBezTo>
                    <a:pt x="0" y="123"/>
                    <a:pt x="0" y="123"/>
                    <a:pt x="0" y="123"/>
                  </a:cubicBezTo>
                  <a:lnTo>
                    <a:pt x="79" y="9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709">
              <a:extLst>
                <a:ext uri="{FF2B5EF4-FFF2-40B4-BE49-F238E27FC236}">
                  <a16:creationId xmlns:a16="http://schemas.microsoft.com/office/drawing/2014/main" id="{C0182FD4-95CC-49E6-8BFF-D9C363556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7650" y="2547938"/>
              <a:ext cx="309563" cy="227013"/>
            </a:xfrm>
            <a:custGeom>
              <a:avLst/>
              <a:gdLst>
                <a:gd name="T0" fmla="*/ 51 w 356"/>
                <a:gd name="T1" fmla="*/ 263 h 263"/>
                <a:gd name="T2" fmla="*/ 249 w 356"/>
                <a:gd name="T3" fmla="*/ 210 h 263"/>
                <a:gd name="T4" fmla="*/ 337 w 356"/>
                <a:gd name="T5" fmla="*/ 120 h 263"/>
                <a:gd name="T6" fmla="*/ 336 w 356"/>
                <a:gd name="T7" fmla="*/ 13 h 263"/>
                <a:gd name="T8" fmla="*/ 167 w 356"/>
                <a:gd name="T9" fmla="*/ 118 h 263"/>
                <a:gd name="T10" fmla="*/ 95 w 356"/>
                <a:gd name="T11" fmla="*/ 144 h 263"/>
                <a:gd name="T12" fmla="*/ 61 w 356"/>
                <a:gd name="T13" fmla="*/ 180 h 263"/>
                <a:gd name="T14" fmla="*/ 0 w 356"/>
                <a:gd name="T15" fmla="*/ 214 h 263"/>
                <a:gd name="T16" fmla="*/ 51 w 356"/>
                <a:gd name="T17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6" h="263">
                  <a:moveTo>
                    <a:pt x="51" y="263"/>
                  </a:moveTo>
                  <a:cubicBezTo>
                    <a:pt x="51" y="263"/>
                    <a:pt x="205" y="236"/>
                    <a:pt x="249" y="210"/>
                  </a:cubicBezTo>
                  <a:cubicBezTo>
                    <a:pt x="281" y="190"/>
                    <a:pt x="337" y="120"/>
                    <a:pt x="337" y="120"/>
                  </a:cubicBezTo>
                  <a:cubicBezTo>
                    <a:pt x="339" y="113"/>
                    <a:pt x="356" y="19"/>
                    <a:pt x="336" y="13"/>
                  </a:cubicBezTo>
                  <a:cubicBezTo>
                    <a:pt x="285" y="0"/>
                    <a:pt x="167" y="118"/>
                    <a:pt x="167" y="118"/>
                  </a:cubicBezTo>
                  <a:cubicBezTo>
                    <a:pt x="167" y="118"/>
                    <a:pt x="114" y="120"/>
                    <a:pt x="95" y="14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0" y="214"/>
                    <a:pt x="0" y="214"/>
                    <a:pt x="0" y="214"/>
                  </a:cubicBezTo>
                  <a:lnTo>
                    <a:pt x="51" y="263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710">
              <a:extLst>
                <a:ext uri="{FF2B5EF4-FFF2-40B4-BE49-F238E27FC236}">
                  <a16:creationId xmlns:a16="http://schemas.microsoft.com/office/drawing/2014/main" id="{1278017C-0206-432F-9CB8-BF99A3294D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39363" y="2698751"/>
              <a:ext cx="112713" cy="76200"/>
            </a:xfrm>
            <a:custGeom>
              <a:avLst/>
              <a:gdLst>
                <a:gd name="T0" fmla="*/ 47 w 131"/>
                <a:gd name="T1" fmla="*/ 88 h 88"/>
                <a:gd name="T2" fmla="*/ 1 w 131"/>
                <a:gd name="T3" fmla="*/ 13 h 88"/>
                <a:gd name="T4" fmla="*/ 16 w 131"/>
                <a:gd name="T5" fmla="*/ 6 h 88"/>
                <a:gd name="T6" fmla="*/ 131 w 131"/>
                <a:gd name="T7" fmla="*/ 87 h 88"/>
                <a:gd name="T8" fmla="*/ 47 w 131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88">
                  <a:moveTo>
                    <a:pt x="47" y="88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0" y="4"/>
                    <a:pt x="11" y="0"/>
                    <a:pt x="16" y="6"/>
                  </a:cubicBezTo>
                  <a:cubicBezTo>
                    <a:pt x="131" y="87"/>
                    <a:pt x="131" y="87"/>
                    <a:pt x="131" y="87"/>
                  </a:cubicBezTo>
                  <a:lnTo>
                    <a:pt x="47" y="88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711">
              <a:extLst>
                <a:ext uri="{FF2B5EF4-FFF2-40B4-BE49-F238E27FC236}">
                  <a16:creationId xmlns:a16="http://schemas.microsoft.com/office/drawing/2014/main" id="{FEEBFD86-38EF-46B2-B9AE-DE1468CE5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0138" y="2703513"/>
              <a:ext cx="349250" cy="168275"/>
            </a:xfrm>
            <a:custGeom>
              <a:avLst/>
              <a:gdLst>
                <a:gd name="T0" fmla="*/ 370 w 402"/>
                <a:gd name="T1" fmla="*/ 165 h 194"/>
                <a:gd name="T2" fmla="*/ 167 w 402"/>
                <a:gd name="T3" fmla="*/ 184 h 194"/>
                <a:gd name="T4" fmla="*/ 53 w 402"/>
                <a:gd name="T5" fmla="*/ 130 h 194"/>
                <a:gd name="T6" fmla="*/ 17 w 402"/>
                <a:gd name="T7" fmla="*/ 30 h 194"/>
                <a:gd name="T8" fmla="*/ 211 w 402"/>
                <a:gd name="T9" fmla="*/ 70 h 194"/>
                <a:gd name="T10" fmla="*/ 288 w 402"/>
                <a:gd name="T11" fmla="*/ 69 h 194"/>
                <a:gd name="T12" fmla="*/ 332 w 402"/>
                <a:gd name="T13" fmla="*/ 91 h 194"/>
                <a:gd name="T14" fmla="*/ 402 w 402"/>
                <a:gd name="T15" fmla="*/ 102 h 194"/>
                <a:gd name="T16" fmla="*/ 370 w 402"/>
                <a:gd name="T17" fmla="*/ 16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2" h="194">
                  <a:moveTo>
                    <a:pt x="370" y="165"/>
                  </a:moveTo>
                  <a:cubicBezTo>
                    <a:pt x="370" y="165"/>
                    <a:pt x="217" y="194"/>
                    <a:pt x="167" y="184"/>
                  </a:cubicBezTo>
                  <a:cubicBezTo>
                    <a:pt x="130" y="177"/>
                    <a:pt x="53" y="130"/>
                    <a:pt x="53" y="130"/>
                  </a:cubicBezTo>
                  <a:cubicBezTo>
                    <a:pt x="48" y="125"/>
                    <a:pt x="0" y="42"/>
                    <a:pt x="17" y="30"/>
                  </a:cubicBezTo>
                  <a:cubicBezTo>
                    <a:pt x="60" y="0"/>
                    <a:pt x="211" y="70"/>
                    <a:pt x="211" y="70"/>
                  </a:cubicBezTo>
                  <a:cubicBezTo>
                    <a:pt x="211" y="70"/>
                    <a:pt x="262" y="53"/>
                    <a:pt x="288" y="69"/>
                  </a:cubicBezTo>
                  <a:cubicBezTo>
                    <a:pt x="332" y="91"/>
                    <a:pt x="332" y="91"/>
                    <a:pt x="332" y="91"/>
                  </a:cubicBezTo>
                  <a:cubicBezTo>
                    <a:pt x="402" y="102"/>
                    <a:pt x="402" y="102"/>
                    <a:pt x="402" y="102"/>
                  </a:cubicBezTo>
                  <a:lnTo>
                    <a:pt x="370" y="16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712">
              <a:extLst>
                <a:ext uri="{FF2B5EF4-FFF2-40B4-BE49-F238E27FC236}">
                  <a16:creationId xmlns:a16="http://schemas.microsoft.com/office/drawing/2014/main" id="{D6EC8DFB-B72C-4DA7-8D18-70CA8CB1C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9825" y="2270126"/>
              <a:ext cx="71438" cy="114300"/>
            </a:xfrm>
            <a:custGeom>
              <a:avLst/>
              <a:gdLst>
                <a:gd name="T0" fmla="*/ 7 w 82"/>
                <a:gd name="T1" fmla="*/ 36 h 132"/>
                <a:gd name="T2" fmla="*/ 0 w 82"/>
                <a:gd name="T3" fmla="*/ 125 h 132"/>
                <a:gd name="T4" fmla="*/ 16 w 82"/>
                <a:gd name="T5" fmla="*/ 123 h 132"/>
                <a:gd name="T6" fmla="*/ 82 w 82"/>
                <a:gd name="T7" fmla="*/ 0 h 132"/>
                <a:gd name="T8" fmla="*/ 7 w 82"/>
                <a:gd name="T9" fmla="*/ 3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132">
                  <a:moveTo>
                    <a:pt x="7" y="36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3" y="132"/>
                    <a:pt x="14" y="131"/>
                    <a:pt x="16" y="123"/>
                  </a:cubicBezTo>
                  <a:cubicBezTo>
                    <a:pt x="82" y="0"/>
                    <a:pt x="82" y="0"/>
                    <a:pt x="82" y="0"/>
                  </a:cubicBezTo>
                  <a:lnTo>
                    <a:pt x="7" y="36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713">
              <a:extLst>
                <a:ext uri="{FF2B5EF4-FFF2-40B4-BE49-F238E27FC236}">
                  <a16:creationId xmlns:a16="http://schemas.microsoft.com/office/drawing/2014/main" id="{13CC1D70-4EA3-4360-A2DB-F0A9C2C32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2188" y="2178051"/>
              <a:ext cx="287338" cy="249238"/>
            </a:xfrm>
            <a:custGeom>
              <a:avLst/>
              <a:gdLst>
                <a:gd name="T0" fmla="*/ 274 w 331"/>
                <a:gd name="T1" fmla="*/ 0 h 288"/>
                <a:gd name="T2" fmla="*/ 85 w 331"/>
                <a:gd name="T3" fmla="*/ 75 h 288"/>
                <a:gd name="T4" fmla="*/ 8 w 331"/>
                <a:gd name="T5" fmla="*/ 175 h 288"/>
                <a:gd name="T6" fmla="*/ 20 w 331"/>
                <a:gd name="T7" fmla="*/ 280 h 288"/>
                <a:gd name="T8" fmla="*/ 176 w 331"/>
                <a:gd name="T9" fmla="*/ 158 h 288"/>
                <a:gd name="T10" fmla="*/ 245 w 331"/>
                <a:gd name="T11" fmla="*/ 123 h 288"/>
                <a:gd name="T12" fmla="*/ 274 w 331"/>
                <a:gd name="T13" fmla="*/ 84 h 288"/>
                <a:gd name="T14" fmla="*/ 331 w 331"/>
                <a:gd name="T15" fmla="*/ 43 h 288"/>
                <a:gd name="T16" fmla="*/ 274 w 331"/>
                <a:gd name="T17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1" h="288">
                  <a:moveTo>
                    <a:pt x="274" y="0"/>
                  </a:moveTo>
                  <a:cubicBezTo>
                    <a:pt x="274" y="0"/>
                    <a:pt x="125" y="44"/>
                    <a:pt x="85" y="75"/>
                  </a:cubicBezTo>
                  <a:cubicBezTo>
                    <a:pt x="55" y="98"/>
                    <a:pt x="8" y="175"/>
                    <a:pt x="8" y="175"/>
                  </a:cubicBezTo>
                  <a:cubicBezTo>
                    <a:pt x="6" y="182"/>
                    <a:pt x="0" y="278"/>
                    <a:pt x="20" y="280"/>
                  </a:cubicBezTo>
                  <a:cubicBezTo>
                    <a:pt x="72" y="288"/>
                    <a:pt x="176" y="158"/>
                    <a:pt x="176" y="158"/>
                  </a:cubicBezTo>
                  <a:cubicBezTo>
                    <a:pt x="176" y="158"/>
                    <a:pt x="229" y="150"/>
                    <a:pt x="245" y="123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331" y="43"/>
                    <a:pt x="331" y="43"/>
                    <a:pt x="331" y="43"/>
                  </a:cubicBezTo>
                  <a:lnTo>
                    <a:pt x="274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714">
              <a:extLst>
                <a:ext uri="{FF2B5EF4-FFF2-40B4-BE49-F238E27FC236}">
                  <a16:creationId xmlns:a16="http://schemas.microsoft.com/office/drawing/2014/main" id="{B1721465-46A7-4328-95E4-0FD76628A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2438" y="2401888"/>
              <a:ext cx="1144588" cy="574675"/>
            </a:xfrm>
            <a:custGeom>
              <a:avLst/>
              <a:gdLst>
                <a:gd name="T0" fmla="*/ 47 w 1317"/>
                <a:gd name="T1" fmla="*/ 84 h 662"/>
                <a:gd name="T2" fmla="*/ 626 w 1317"/>
                <a:gd name="T3" fmla="*/ 640 h 662"/>
                <a:gd name="T4" fmla="*/ 1317 w 1317"/>
                <a:gd name="T5" fmla="*/ 431 h 662"/>
                <a:gd name="T6" fmla="*/ 1266 w 1317"/>
                <a:gd name="T7" fmla="*/ 351 h 662"/>
                <a:gd name="T8" fmla="*/ 682 w 1317"/>
                <a:gd name="T9" fmla="*/ 437 h 662"/>
                <a:gd name="T10" fmla="*/ 332 w 1317"/>
                <a:gd name="T11" fmla="*/ 103 h 662"/>
                <a:gd name="T12" fmla="*/ 47 w 1317"/>
                <a:gd name="T13" fmla="*/ 84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7" h="662">
                  <a:moveTo>
                    <a:pt x="47" y="84"/>
                  </a:moveTo>
                  <a:cubicBezTo>
                    <a:pt x="0" y="288"/>
                    <a:pt x="332" y="496"/>
                    <a:pt x="626" y="640"/>
                  </a:cubicBezTo>
                  <a:cubicBezTo>
                    <a:pt x="810" y="662"/>
                    <a:pt x="1317" y="431"/>
                    <a:pt x="1317" y="431"/>
                  </a:cubicBezTo>
                  <a:cubicBezTo>
                    <a:pt x="1266" y="351"/>
                    <a:pt x="1266" y="351"/>
                    <a:pt x="1266" y="351"/>
                  </a:cubicBezTo>
                  <a:cubicBezTo>
                    <a:pt x="682" y="437"/>
                    <a:pt x="682" y="437"/>
                    <a:pt x="682" y="437"/>
                  </a:cubicBezTo>
                  <a:cubicBezTo>
                    <a:pt x="332" y="103"/>
                    <a:pt x="332" y="103"/>
                    <a:pt x="332" y="103"/>
                  </a:cubicBezTo>
                  <a:cubicBezTo>
                    <a:pt x="332" y="103"/>
                    <a:pt x="66" y="0"/>
                    <a:pt x="47" y="84"/>
                  </a:cubicBezTo>
                  <a:close/>
                </a:path>
              </a:pathLst>
            </a:custGeom>
            <a:solidFill>
              <a:srgbClr val="F44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715">
              <a:extLst>
                <a:ext uri="{FF2B5EF4-FFF2-40B4-BE49-F238E27FC236}">
                  <a16:creationId xmlns:a16="http://schemas.microsoft.com/office/drawing/2014/main" id="{8AA0B265-489E-46FB-9023-727E6762F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1150" y="1812926"/>
              <a:ext cx="600075" cy="633413"/>
            </a:xfrm>
            <a:custGeom>
              <a:avLst/>
              <a:gdLst>
                <a:gd name="T0" fmla="*/ 397 w 689"/>
                <a:gd name="T1" fmla="*/ 60 h 731"/>
                <a:gd name="T2" fmla="*/ 635 w 689"/>
                <a:gd name="T3" fmla="*/ 475 h 731"/>
                <a:gd name="T4" fmla="*/ 199 w 689"/>
                <a:gd name="T5" fmla="*/ 670 h 731"/>
                <a:gd name="T6" fmla="*/ 55 w 689"/>
                <a:gd name="T7" fmla="*/ 287 h 731"/>
                <a:gd name="T8" fmla="*/ 397 w 689"/>
                <a:gd name="T9" fmla="*/ 60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9" h="731">
                  <a:moveTo>
                    <a:pt x="397" y="60"/>
                  </a:moveTo>
                  <a:cubicBezTo>
                    <a:pt x="583" y="121"/>
                    <a:pt x="689" y="306"/>
                    <a:pt x="635" y="475"/>
                  </a:cubicBezTo>
                  <a:cubicBezTo>
                    <a:pt x="580" y="643"/>
                    <a:pt x="385" y="731"/>
                    <a:pt x="199" y="670"/>
                  </a:cubicBezTo>
                  <a:cubicBezTo>
                    <a:pt x="12" y="610"/>
                    <a:pt x="0" y="455"/>
                    <a:pt x="55" y="287"/>
                  </a:cubicBezTo>
                  <a:cubicBezTo>
                    <a:pt x="110" y="118"/>
                    <a:pt x="211" y="0"/>
                    <a:pt x="397" y="60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716">
              <a:extLst>
                <a:ext uri="{FF2B5EF4-FFF2-40B4-BE49-F238E27FC236}">
                  <a16:creationId xmlns:a16="http://schemas.microsoft.com/office/drawing/2014/main" id="{2E466A13-57ED-4794-BE39-D6B902A05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400" y="2138363"/>
              <a:ext cx="114300" cy="136525"/>
            </a:xfrm>
            <a:custGeom>
              <a:avLst/>
              <a:gdLst>
                <a:gd name="T0" fmla="*/ 85 w 132"/>
                <a:gd name="T1" fmla="*/ 138 h 156"/>
                <a:gd name="T2" fmla="*/ 0 w 132"/>
                <a:gd name="T3" fmla="*/ 156 h 156"/>
                <a:gd name="T4" fmla="*/ 51 w 132"/>
                <a:gd name="T5" fmla="*/ 0 h 156"/>
                <a:gd name="T6" fmla="*/ 109 w 132"/>
                <a:gd name="T7" fmla="*/ 64 h 156"/>
                <a:gd name="T8" fmla="*/ 85 w 132"/>
                <a:gd name="T9" fmla="*/ 13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56">
                  <a:moveTo>
                    <a:pt x="85" y="138"/>
                  </a:moveTo>
                  <a:cubicBezTo>
                    <a:pt x="0" y="156"/>
                    <a:pt x="0" y="156"/>
                    <a:pt x="0" y="156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32" y="90"/>
                    <a:pt x="119" y="131"/>
                    <a:pt x="85" y="138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717">
              <a:extLst>
                <a:ext uri="{FF2B5EF4-FFF2-40B4-BE49-F238E27FC236}">
                  <a16:creationId xmlns:a16="http://schemas.microsoft.com/office/drawing/2014/main" id="{B6DDE148-81B9-47DC-84E5-B0AE01135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100" y="1781176"/>
              <a:ext cx="676275" cy="719138"/>
            </a:xfrm>
            <a:custGeom>
              <a:avLst/>
              <a:gdLst>
                <a:gd name="T0" fmla="*/ 406 w 779"/>
                <a:gd name="T1" fmla="*/ 50 h 829"/>
                <a:gd name="T2" fmla="*/ 51 w 779"/>
                <a:gd name="T3" fmla="*/ 310 h 829"/>
                <a:gd name="T4" fmla="*/ 203 w 779"/>
                <a:gd name="T5" fmla="*/ 742 h 829"/>
                <a:gd name="T6" fmla="*/ 643 w 779"/>
                <a:gd name="T7" fmla="*/ 735 h 829"/>
                <a:gd name="T8" fmla="*/ 536 w 779"/>
                <a:gd name="T9" fmla="*/ 662 h 829"/>
                <a:gd name="T10" fmla="*/ 601 w 779"/>
                <a:gd name="T11" fmla="*/ 543 h 829"/>
                <a:gd name="T12" fmla="*/ 595 w 779"/>
                <a:gd name="T13" fmla="*/ 380 h 829"/>
                <a:gd name="T14" fmla="*/ 688 w 779"/>
                <a:gd name="T15" fmla="*/ 308 h 829"/>
                <a:gd name="T16" fmla="*/ 778 w 779"/>
                <a:gd name="T17" fmla="*/ 322 h 829"/>
                <a:gd name="T18" fmla="*/ 406 w 779"/>
                <a:gd name="T19" fmla="*/ 50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9" h="829">
                  <a:moveTo>
                    <a:pt x="406" y="50"/>
                  </a:moveTo>
                  <a:cubicBezTo>
                    <a:pt x="244" y="0"/>
                    <a:pt x="100" y="161"/>
                    <a:pt x="51" y="310"/>
                  </a:cubicBezTo>
                  <a:cubicBezTo>
                    <a:pt x="0" y="469"/>
                    <a:pt x="30" y="685"/>
                    <a:pt x="203" y="742"/>
                  </a:cubicBezTo>
                  <a:cubicBezTo>
                    <a:pt x="469" y="829"/>
                    <a:pt x="644" y="735"/>
                    <a:pt x="643" y="735"/>
                  </a:cubicBezTo>
                  <a:cubicBezTo>
                    <a:pt x="549" y="714"/>
                    <a:pt x="538" y="662"/>
                    <a:pt x="536" y="662"/>
                  </a:cubicBezTo>
                  <a:cubicBezTo>
                    <a:pt x="564" y="630"/>
                    <a:pt x="614" y="591"/>
                    <a:pt x="601" y="543"/>
                  </a:cubicBezTo>
                  <a:cubicBezTo>
                    <a:pt x="581" y="467"/>
                    <a:pt x="584" y="415"/>
                    <a:pt x="595" y="380"/>
                  </a:cubicBezTo>
                  <a:cubicBezTo>
                    <a:pt x="608" y="339"/>
                    <a:pt x="646" y="311"/>
                    <a:pt x="688" y="308"/>
                  </a:cubicBezTo>
                  <a:cubicBezTo>
                    <a:pt x="714" y="307"/>
                    <a:pt x="745" y="308"/>
                    <a:pt x="778" y="322"/>
                  </a:cubicBezTo>
                  <a:cubicBezTo>
                    <a:pt x="779" y="323"/>
                    <a:pt x="708" y="145"/>
                    <a:pt x="406" y="50"/>
                  </a:cubicBezTo>
                  <a:close/>
                </a:path>
              </a:pathLst>
            </a:custGeom>
            <a:solidFill>
              <a:srgbClr val="FFE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718">
              <a:extLst>
                <a:ext uri="{FF2B5EF4-FFF2-40B4-BE49-F238E27FC236}">
                  <a16:creationId xmlns:a16="http://schemas.microsoft.com/office/drawing/2014/main" id="{C3E7EFAF-E0BB-4B23-89F7-0CF09E09C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675" y="2230438"/>
              <a:ext cx="530225" cy="269875"/>
            </a:xfrm>
            <a:custGeom>
              <a:avLst/>
              <a:gdLst>
                <a:gd name="T0" fmla="*/ 522 w 611"/>
                <a:gd name="T1" fmla="*/ 172 h 311"/>
                <a:gd name="T2" fmla="*/ 153 w 611"/>
                <a:gd name="T3" fmla="*/ 154 h 311"/>
                <a:gd name="T4" fmla="*/ 0 w 611"/>
                <a:gd name="T5" fmla="*/ 0 h 311"/>
                <a:gd name="T6" fmla="*/ 170 w 611"/>
                <a:gd name="T7" fmla="*/ 224 h 311"/>
                <a:gd name="T8" fmla="*/ 610 w 611"/>
                <a:gd name="T9" fmla="*/ 217 h 311"/>
                <a:gd name="T10" fmla="*/ 522 w 611"/>
                <a:gd name="T11" fmla="*/ 172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1" h="311">
                  <a:moveTo>
                    <a:pt x="522" y="172"/>
                  </a:moveTo>
                  <a:cubicBezTo>
                    <a:pt x="447" y="192"/>
                    <a:pt x="318" y="208"/>
                    <a:pt x="153" y="154"/>
                  </a:cubicBezTo>
                  <a:cubicBezTo>
                    <a:pt x="75" y="129"/>
                    <a:pt x="26" y="70"/>
                    <a:pt x="0" y="0"/>
                  </a:cubicBezTo>
                  <a:cubicBezTo>
                    <a:pt x="15" y="101"/>
                    <a:pt x="68" y="190"/>
                    <a:pt x="170" y="224"/>
                  </a:cubicBezTo>
                  <a:cubicBezTo>
                    <a:pt x="436" y="311"/>
                    <a:pt x="611" y="217"/>
                    <a:pt x="610" y="217"/>
                  </a:cubicBezTo>
                  <a:cubicBezTo>
                    <a:pt x="563" y="206"/>
                    <a:pt x="537" y="188"/>
                    <a:pt x="522" y="172"/>
                  </a:cubicBezTo>
                  <a:close/>
                </a:path>
              </a:pathLst>
            </a:custGeom>
            <a:solidFill>
              <a:srgbClr val="EDD6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719">
              <a:extLst>
                <a:ext uri="{FF2B5EF4-FFF2-40B4-BE49-F238E27FC236}">
                  <a16:creationId xmlns:a16="http://schemas.microsoft.com/office/drawing/2014/main" id="{96596A00-3142-4A89-8498-5111332AE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1763" y="2401888"/>
              <a:ext cx="1185863" cy="555625"/>
            </a:xfrm>
            <a:custGeom>
              <a:avLst/>
              <a:gdLst>
                <a:gd name="T0" fmla="*/ 1318 w 1365"/>
                <a:gd name="T1" fmla="*/ 84 h 640"/>
                <a:gd name="T2" fmla="*/ 739 w 1365"/>
                <a:gd name="T3" fmla="*/ 640 h 640"/>
                <a:gd name="T4" fmla="*/ 0 w 1365"/>
                <a:gd name="T5" fmla="*/ 524 h 640"/>
                <a:gd name="T6" fmla="*/ 14 w 1365"/>
                <a:gd name="T7" fmla="*/ 430 h 640"/>
                <a:gd name="T8" fmla="*/ 683 w 1365"/>
                <a:gd name="T9" fmla="*/ 437 h 640"/>
                <a:gd name="T10" fmla="*/ 1033 w 1365"/>
                <a:gd name="T11" fmla="*/ 103 h 640"/>
                <a:gd name="T12" fmla="*/ 1318 w 1365"/>
                <a:gd name="T13" fmla="*/ 84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5" h="640">
                  <a:moveTo>
                    <a:pt x="1318" y="84"/>
                  </a:moveTo>
                  <a:cubicBezTo>
                    <a:pt x="1365" y="288"/>
                    <a:pt x="1068" y="447"/>
                    <a:pt x="739" y="640"/>
                  </a:cubicBezTo>
                  <a:cubicBezTo>
                    <a:pt x="0" y="524"/>
                    <a:pt x="0" y="524"/>
                    <a:pt x="0" y="524"/>
                  </a:cubicBezTo>
                  <a:cubicBezTo>
                    <a:pt x="14" y="430"/>
                    <a:pt x="14" y="430"/>
                    <a:pt x="14" y="430"/>
                  </a:cubicBezTo>
                  <a:cubicBezTo>
                    <a:pt x="683" y="437"/>
                    <a:pt x="683" y="437"/>
                    <a:pt x="683" y="437"/>
                  </a:cubicBezTo>
                  <a:cubicBezTo>
                    <a:pt x="1033" y="103"/>
                    <a:pt x="1033" y="103"/>
                    <a:pt x="1033" y="103"/>
                  </a:cubicBezTo>
                  <a:cubicBezTo>
                    <a:pt x="1033" y="103"/>
                    <a:pt x="1299" y="0"/>
                    <a:pt x="1318" y="84"/>
                  </a:cubicBezTo>
                  <a:close/>
                </a:path>
              </a:pathLst>
            </a:custGeom>
            <a:solidFill>
              <a:srgbClr val="CF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720">
              <a:extLst>
                <a:ext uri="{FF2B5EF4-FFF2-40B4-BE49-F238E27FC236}">
                  <a16:creationId xmlns:a16="http://schemas.microsoft.com/office/drawing/2014/main" id="{90D51CD3-EC30-4B45-8018-BAF5E8988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8563" y="1671638"/>
              <a:ext cx="1169988" cy="568325"/>
            </a:xfrm>
            <a:custGeom>
              <a:avLst/>
              <a:gdLst>
                <a:gd name="T0" fmla="*/ 1314 w 1347"/>
                <a:gd name="T1" fmla="*/ 193 h 656"/>
                <a:gd name="T2" fmla="*/ 518 w 1347"/>
                <a:gd name="T3" fmla="*/ 84 h 656"/>
                <a:gd name="T4" fmla="*/ 0 w 1347"/>
                <a:gd name="T5" fmla="*/ 585 h 656"/>
                <a:gd name="T6" fmla="*/ 76 w 1347"/>
                <a:gd name="T7" fmla="*/ 656 h 656"/>
                <a:gd name="T8" fmla="*/ 592 w 1347"/>
                <a:gd name="T9" fmla="*/ 281 h 656"/>
                <a:gd name="T10" fmla="*/ 1072 w 1347"/>
                <a:gd name="T11" fmla="*/ 346 h 656"/>
                <a:gd name="T12" fmla="*/ 1314 w 1347"/>
                <a:gd name="T13" fmla="*/ 193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7" h="656">
                  <a:moveTo>
                    <a:pt x="1314" y="193"/>
                  </a:moveTo>
                  <a:cubicBezTo>
                    <a:pt x="1232" y="0"/>
                    <a:pt x="898" y="47"/>
                    <a:pt x="518" y="84"/>
                  </a:cubicBezTo>
                  <a:cubicBezTo>
                    <a:pt x="0" y="585"/>
                    <a:pt x="0" y="585"/>
                    <a:pt x="0" y="585"/>
                  </a:cubicBezTo>
                  <a:cubicBezTo>
                    <a:pt x="76" y="656"/>
                    <a:pt x="76" y="656"/>
                    <a:pt x="76" y="656"/>
                  </a:cubicBezTo>
                  <a:cubicBezTo>
                    <a:pt x="592" y="281"/>
                    <a:pt x="592" y="281"/>
                    <a:pt x="592" y="281"/>
                  </a:cubicBezTo>
                  <a:cubicBezTo>
                    <a:pt x="1072" y="346"/>
                    <a:pt x="1072" y="346"/>
                    <a:pt x="1072" y="346"/>
                  </a:cubicBezTo>
                  <a:cubicBezTo>
                    <a:pt x="1072" y="346"/>
                    <a:pt x="1347" y="273"/>
                    <a:pt x="1314" y="193"/>
                  </a:cubicBezTo>
                  <a:close/>
                </a:path>
              </a:pathLst>
            </a:custGeom>
            <a:solidFill>
              <a:srgbClr val="CF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721">
              <a:extLst>
                <a:ext uri="{FF2B5EF4-FFF2-40B4-BE49-F238E27FC236}">
                  <a16:creationId xmlns:a16="http://schemas.microsoft.com/office/drawing/2014/main" id="{7624AD20-5D50-4005-AE2E-97EDA8C58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6463" y="1766888"/>
              <a:ext cx="382588" cy="830263"/>
            </a:xfrm>
            <a:custGeom>
              <a:avLst/>
              <a:gdLst>
                <a:gd name="T0" fmla="*/ 369 w 441"/>
                <a:gd name="T1" fmla="*/ 936 h 959"/>
                <a:gd name="T2" fmla="*/ 90 w 441"/>
                <a:gd name="T3" fmla="*/ 522 h 959"/>
                <a:gd name="T4" fmla="*/ 72 w 441"/>
                <a:gd name="T5" fmla="*/ 23 h 959"/>
                <a:gd name="T6" fmla="*/ 351 w 441"/>
                <a:gd name="T7" fmla="*/ 437 h 959"/>
                <a:gd name="T8" fmla="*/ 369 w 441"/>
                <a:gd name="T9" fmla="*/ 936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1" h="959">
                  <a:moveTo>
                    <a:pt x="369" y="936"/>
                  </a:moveTo>
                  <a:cubicBezTo>
                    <a:pt x="297" y="959"/>
                    <a:pt x="172" y="774"/>
                    <a:pt x="90" y="522"/>
                  </a:cubicBezTo>
                  <a:cubicBezTo>
                    <a:pt x="8" y="270"/>
                    <a:pt x="0" y="47"/>
                    <a:pt x="72" y="23"/>
                  </a:cubicBezTo>
                  <a:cubicBezTo>
                    <a:pt x="144" y="0"/>
                    <a:pt x="269" y="185"/>
                    <a:pt x="351" y="437"/>
                  </a:cubicBezTo>
                  <a:cubicBezTo>
                    <a:pt x="432" y="689"/>
                    <a:pt x="441" y="912"/>
                    <a:pt x="369" y="936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722">
              <a:extLst>
                <a:ext uri="{FF2B5EF4-FFF2-40B4-BE49-F238E27FC236}">
                  <a16:creationId xmlns:a16="http://schemas.microsoft.com/office/drawing/2014/main" id="{F9D6AF26-56B1-47F7-9A34-20BEF5285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0738" y="2189163"/>
              <a:ext cx="109538" cy="107950"/>
            </a:xfrm>
            <a:custGeom>
              <a:avLst/>
              <a:gdLst>
                <a:gd name="T0" fmla="*/ 24 w 126"/>
                <a:gd name="T1" fmla="*/ 56 h 125"/>
                <a:gd name="T2" fmla="*/ 85 w 126"/>
                <a:gd name="T3" fmla="*/ 0 h 125"/>
                <a:gd name="T4" fmla="*/ 126 w 126"/>
                <a:gd name="T5" fmla="*/ 125 h 125"/>
                <a:gd name="T6" fmla="*/ 43 w 126"/>
                <a:gd name="T7" fmla="*/ 115 h 125"/>
                <a:gd name="T8" fmla="*/ 24 w 126"/>
                <a:gd name="T9" fmla="*/ 56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25">
                  <a:moveTo>
                    <a:pt x="24" y="5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126" y="125"/>
                    <a:pt x="126" y="125"/>
                    <a:pt x="126" y="125"/>
                  </a:cubicBezTo>
                  <a:cubicBezTo>
                    <a:pt x="43" y="115"/>
                    <a:pt x="43" y="115"/>
                    <a:pt x="43" y="115"/>
                  </a:cubicBezTo>
                  <a:cubicBezTo>
                    <a:pt x="11" y="111"/>
                    <a:pt x="0" y="78"/>
                    <a:pt x="24" y="56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723">
              <a:extLst>
                <a:ext uri="{FF2B5EF4-FFF2-40B4-BE49-F238E27FC236}">
                  <a16:creationId xmlns:a16="http://schemas.microsoft.com/office/drawing/2014/main" id="{183D6453-C884-4551-8CEF-FB328BD09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80800" y="1920876"/>
              <a:ext cx="217488" cy="307975"/>
            </a:xfrm>
            <a:custGeom>
              <a:avLst/>
              <a:gdLst>
                <a:gd name="T0" fmla="*/ 177 w 250"/>
                <a:gd name="T1" fmla="*/ 338 h 356"/>
                <a:gd name="T2" fmla="*/ 29 w 250"/>
                <a:gd name="T3" fmla="*/ 209 h 356"/>
                <a:gd name="T4" fmla="*/ 73 w 250"/>
                <a:gd name="T5" fmla="*/ 17 h 356"/>
                <a:gd name="T6" fmla="*/ 221 w 250"/>
                <a:gd name="T7" fmla="*/ 146 h 356"/>
                <a:gd name="T8" fmla="*/ 177 w 250"/>
                <a:gd name="T9" fmla="*/ 33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0" h="356">
                  <a:moveTo>
                    <a:pt x="177" y="338"/>
                  </a:moveTo>
                  <a:cubicBezTo>
                    <a:pt x="124" y="356"/>
                    <a:pt x="58" y="298"/>
                    <a:pt x="29" y="209"/>
                  </a:cubicBezTo>
                  <a:cubicBezTo>
                    <a:pt x="0" y="120"/>
                    <a:pt x="19" y="34"/>
                    <a:pt x="73" y="17"/>
                  </a:cubicBezTo>
                  <a:cubicBezTo>
                    <a:pt x="126" y="0"/>
                    <a:pt x="192" y="58"/>
                    <a:pt x="221" y="146"/>
                  </a:cubicBezTo>
                  <a:cubicBezTo>
                    <a:pt x="250" y="235"/>
                    <a:pt x="230" y="321"/>
                    <a:pt x="177" y="338"/>
                  </a:cubicBezTo>
                  <a:close/>
                </a:path>
              </a:pathLst>
            </a:custGeom>
            <a:solidFill>
              <a:srgbClr val="693F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24">
              <a:extLst>
                <a:ext uri="{FF2B5EF4-FFF2-40B4-BE49-F238E27FC236}">
                  <a16:creationId xmlns:a16="http://schemas.microsoft.com/office/drawing/2014/main" id="{081A85D7-6AD3-44B5-8C7D-3FD1732CAD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4388" y="1846263"/>
              <a:ext cx="644525" cy="635000"/>
            </a:xfrm>
            <a:custGeom>
              <a:avLst/>
              <a:gdLst>
                <a:gd name="T0" fmla="*/ 491 w 742"/>
                <a:gd name="T1" fmla="*/ 671 h 732"/>
                <a:gd name="T2" fmla="*/ 55 w 742"/>
                <a:gd name="T3" fmla="*/ 476 h 732"/>
                <a:gd name="T4" fmla="*/ 293 w 742"/>
                <a:gd name="T5" fmla="*/ 61 h 732"/>
                <a:gd name="T6" fmla="*/ 687 w 742"/>
                <a:gd name="T7" fmla="*/ 270 h 732"/>
                <a:gd name="T8" fmla="*/ 491 w 742"/>
                <a:gd name="T9" fmla="*/ 671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2" h="732">
                  <a:moveTo>
                    <a:pt x="491" y="671"/>
                  </a:moveTo>
                  <a:cubicBezTo>
                    <a:pt x="305" y="732"/>
                    <a:pt x="110" y="644"/>
                    <a:pt x="55" y="476"/>
                  </a:cubicBezTo>
                  <a:cubicBezTo>
                    <a:pt x="0" y="307"/>
                    <a:pt x="107" y="121"/>
                    <a:pt x="293" y="61"/>
                  </a:cubicBezTo>
                  <a:cubicBezTo>
                    <a:pt x="479" y="0"/>
                    <a:pt x="633" y="101"/>
                    <a:pt x="687" y="270"/>
                  </a:cubicBezTo>
                  <a:cubicBezTo>
                    <a:pt x="742" y="438"/>
                    <a:pt x="677" y="611"/>
                    <a:pt x="491" y="671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725">
              <a:extLst>
                <a:ext uri="{FF2B5EF4-FFF2-40B4-BE49-F238E27FC236}">
                  <a16:creationId xmlns:a16="http://schemas.microsoft.com/office/drawing/2014/main" id="{1797764D-7107-41E0-9CA1-B4A737E49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7563" y="1816101"/>
              <a:ext cx="661988" cy="657225"/>
            </a:xfrm>
            <a:custGeom>
              <a:avLst/>
              <a:gdLst>
                <a:gd name="T0" fmla="*/ 519 w 761"/>
                <a:gd name="T1" fmla="*/ 717 h 758"/>
                <a:gd name="T2" fmla="*/ 101 w 761"/>
                <a:gd name="T3" fmla="*/ 494 h 758"/>
                <a:gd name="T4" fmla="*/ 309 w 761"/>
                <a:gd name="T5" fmla="*/ 68 h 758"/>
                <a:gd name="T6" fmla="*/ 703 w 761"/>
                <a:gd name="T7" fmla="*/ 299 h 758"/>
                <a:gd name="T8" fmla="*/ 519 w 761"/>
                <a:gd name="T9" fmla="*/ 717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1" h="758">
                  <a:moveTo>
                    <a:pt x="519" y="717"/>
                  </a:moveTo>
                  <a:cubicBezTo>
                    <a:pt x="392" y="758"/>
                    <a:pt x="127" y="729"/>
                    <a:pt x="101" y="494"/>
                  </a:cubicBezTo>
                  <a:cubicBezTo>
                    <a:pt x="0" y="316"/>
                    <a:pt x="128" y="127"/>
                    <a:pt x="309" y="68"/>
                  </a:cubicBezTo>
                  <a:cubicBezTo>
                    <a:pt x="518" y="0"/>
                    <a:pt x="645" y="120"/>
                    <a:pt x="703" y="299"/>
                  </a:cubicBezTo>
                  <a:cubicBezTo>
                    <a:pt x="761" y="478"/>
                    <a:pt x="729" y="649"/>
                    <a:pt x="519" y="717"/>
                  </a:cubicBezTo>
                  <a:close/>
                </a:path>
              </a:pathLst>
            </a:custGeom>
            <a:solidFill>
              <a:srgbClr val="693F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726">
              <a:extLst>
                <a:ext uri="{FF2B5EF4-FFF2-40B4-BE49-F238E27FC236}">
                  <a16:creationId xmlns:a16="http://schemas.microsoft.com/office/drawing/2014/main" id="{12F70412-F41F-47C2-B7DD-F171B90B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8050" y="2079626"/>
              <a:ext cx="571500" cy="392113"/>
            </a:xfrm>
            <a:custGeom>
              <a:avLst/>
              <a:gdLst>
                <a:gd name="T0" fmla="*/ 601 w 657"/>
                <a:gd name="T1" fmla="*/ 0 h 453"/>
                <a:gd name="T2" fmla="*/ 390 w 657"/>
                <a:gd name="T3" fmla="*/ 321 h 453"/>
                <a:gd name="T4" fmla="*/ 0 w 657"/>
                <a:gd name="T5" fmla="*/ 207 h 453"/>
                <a:gd name="T6" fmla="*/ 416 w 657"/>
                <a:gd name="T7" fmla="*/ 413 h 453"/>
                <a:gd name="T8" fmla="*/ 601 w 657"/>
                <a:gd name="T9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7" h="453">
                  <a:moveTo>
                    <a:pt x="601" y="0"/>
                  </a:moveTo>
                  <a:cubicBezTo>
                    <a:pt x="620" y="139"/>
                    <a:pt x="566" y="264"/>
                    <a:pt x="390" y="321"/>
                  </a:cubicBezTo>
                  <a:cubicBezTo>
                    <a:pt x="282" y="356"/>
                    <a:pt x="81" y="344"/>
                    <a:pt x="0" y="207"/>
                  </a:cubicBezTo>
                  <a:cubicBezTo>
                    <a:pt x="38" y="427"/>
                    <a:pt x="292" y="453"/>
                    <a:pt x="416" y="413"/>
                  </a:cubicBezTo>
                  <a:cubicBezTo>
                    <a:pt x="624" y="345"/>
                    <a:pt x="657" y="177"/>
                    <a:pt x="601" y="0"/>
                  </a:cubicBezTo>
                  <a:close/>
                </a:path>
              </a:pathLst>
            </a:custGeom>
            <a:solidFill>
              <a:srgbClr val="4D2C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727">
              <a:extLst>
                <a:ext uri="{FF2B5EF4-FFF2-40B4-BE49-F238E27FC236}">
                  <a16:creationId xmlns:a16="http://schemas.microsoft.com/office/drawing/2014/main" id="{8D7DB485-362B-4267-A7D1-F5B2225EE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4875" y="2070101"/>
              <a:ext cx="525463" cy="177800"/>
            </a:xfrm>
            <a:custGeom>
              <a:avLst/>
              <a:gdLst>
                <a:gd name="T0" fmla="*/ 1 w 604"/>
                <a:gd name="T1" fmla="*/ 200 h 205"/>
                <a:gd name="T2" fmla="*/ 4 w 604"/>
                <a:gd name="T3" fmla="*/ 193 h 205"/>
                <a:gd name="T4" fmla="*/ 595 w 604"/>
                <a:gd name="T5" fmla="*/ 1 h 205"/>
                <a:gd name="T6" fmla="*/ 603 w 604"/>
                <a:gd name="T7" fmla="*/ 5 h 205"/>
                <a:gd name="T8" fmla="*/ 599 w 604"/>
                <a:gd name="T9" fmla="*/ 12 h 205"/>
                <a:gd name="T10" fmla="*/ 8 w 604"/>
                <a:gd name="T11" fmla="*/ 204 h 205"/>
                <a:gd name="T12" fmla="*/ 1 w 604"/>
                <a:gd name="T13" fmla="*/ 20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4" h="205">
                  <a:moveTo>
                    <a:pt x="1" y="200"/>
                  </a:moveTo>
                  <a:cubicBezTo>
                    <a:pt x="0" y="197"/>
                    <a:pt x="1" y="194"/>
                    <a:pt x="4" y="193"/>
                  </a:cubicBezTo>
                  <a:cubicBezTo>
                    <a:pt x="595" y="1"/>
                    <a:pt x="595" y="1"/>
                    <a:pt x="595" y="1"/>
                  </a:cubicBezTo>
                  <a:cubicBezTo>
                    <a:pt x="598" y="0"/>
                    <a:pt x="602" y="2"/>
                    <a:pt x="603" y="5"/>
                  </a:cubicBezTo>
                  <a:cubicBezTo>
                    <a:pt x="604" y="8"/>
                    <a:pt x="602" y="11"/>
                    <a:pt x="599" y="12"/>
                  </a:cubicBezTo>
                  <a:cubicBezTo>
                    <a:pt x="8" y="204"/>
                    <a:pt x="8" y="204"/>
                    <a:pt x="8" y="204"/>
                  </a:cubicBezTo>
                  <a:cubicBezTo>
                    <a:pt x="5" y="205"/>
                    <a:pt x="2" y="203"/>
                    <a:pt x="1" y="200"/>
                  </a:cubicBezTo>
                  <a:close/>
                </a:path>
              </a:pathLst>
            </a:custGeom>
            <a:solidFill>
              <a:srgbClr val="7F53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728">
              <a:extLst>
                <a:ext uri="{FF2B5EF4-FFF2-40B4-BE49-F238E27FC236}">
                  <a16:creationId xmlns:a16="http://schemas.microsoft.com/office/drawing/2014/main" id="{11E439F8-3F06-4FE7-A0C3-2A10AEEAF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9850" y="1874838"/>
              <a:ext cx="63500" cy="104775"/>
            </a:xfrm>
            <a:custGeom>
              <a:avLst/>
              <a:gdLst>
                <a:gd name="T0" fmla="*/ 1 w 74"/>
                <a:gd name="T1" fmla="*/ 13 h 122"/>
                <a:gd name="T2" fmla="*/ 6 w 74"/>
                <a:gd name="T3" fmla="*/ 3 h 122"/>
                <a:gd name="T4" fmla="*/ 17 w 74"/>
                <a:gd name="T5" fmla="*/ 6 h 122"/>
                <a:gd name="T6" fmla="*/ 72 w 74"/>
                <a:gd name="T7" fmla="*/ 108 h 122"/>
                <a:gd name="T8" fmla="*/ 68 w 74"/>
                <a:gd name="T9" fmla="*/ 120 h 122"/>
                <a:gd name="T10" fmla="*/ 57 w 74"/>
                <a:gd name="T11" fmla="*/ 116 h 122"/>
                <a:gd name="T12" fmla="*/ 2 w 74"/>
                <a:gd name="T13" fmla="*/ 15 h 122"/>
                <a:gd name="T14" fmla="*/ 1 w 74"/>
                <a:gd name="T15" fmla="*/ 1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122">
                  <a:moveTo>
                    <a:pt x="1" y="13"/>
                  </a:moveTo>
                  <a:cubicBezTo>
                    <a:pt x="0" y="9"/>
                    <a:pt x="2" y="5"/>
                    <a:pt x="6" y="3"/>
                  </a:cubicBezTo>
                  <a:cubicBezTo>
                    <a:pt x="10" y="0"/>
                    <a:pt x="15" y="2"/>
                    <a:pt x="17" y="6"/>
                  </a:cubicBezTo>
                  <a:cubicBezTo>
                    <a:pt x="72" y="108"/>
                    <a:pt x="72" y="108"/>
                    <a:pt x="72" y="108"/>
                  </a:cubicBezTo>
                  <a:cubicBezTo>
                    <a:pt x="74" y="112"/>
                    <a:pt x="73" y="118"/>
                    <a:pt x="68" y="120"/>
                  </a:cubicBezTo>
                  <a:cubicBezTo>
                    <a:pt x="64" y="122"/>
                    <a:pt x="59" y="121"/>
                    <a:pt x="57" y="116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4"/>
                    <a:pt x="2" y="14"/>
                    <a:pt x="1" y="13"/>
                  </a:cubicBezTo>
                  <a:close/>
                </a:path>
              </a:pathLst>
            </a:custGeom>
            <a:solidFill>
              <a:srgbClr val="039B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729">
              <a:extLst>
                <a:ext uri="{FF2B5EF4-FFF2-40B4-BE49-F238E27FC236}">
                  <a16:creationId xmlns:a16="http://schemas.microsoft.com/office/drawing/2014/main" id="{BAF79C1B-0B17-433E-8170-2FDBF7002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14150" y="2170113"/>
              <a:ext cx="30163" cy="114300"/>
            </a:xfrm>
            <a:custGeom>
              <a:avLst/>
              <a:gdLst>
                <a:gd name="T0" fmla="*/ 17 w 34"/>
                <a:gd name="T1" fmla="*/ 126 h 133"/>
                <a:gd name="T2" fmla="*/ 16 w 34"/>
                <a:gd name="T3" fmla="*/ 125 h 133"/>
                <a:gd name="T4" fmla="*/ 1 w 34"/>
                <a:gd name="T5" fmla="*/ 10 h 133"/>
                <a:gd name="T6" fmla="*/ 8 w 34"/>
                <a:gd name="T7" fmla="*/ 1 h 133"/>
                <a:gd name="T8" fmla="*/ 18 w 34"/>
                <a:gd name="T9" fmla="*/ 8 h 133"/>
                <a:gd name="T10" fmla="*/ 34 w 34"/>
                <a:gd name="T11" fmla="*/ 122 h 133"/>
                <a:gd name="T12" fmla="*/ 26 w 34"/>
                <a:gd name="T13" fmla="*/ 132 h 133"/>
                <a:gd name="T14" fmla="*/ 17 w 34"/>
                <a:gd name="T15" fmla="*/ 12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33">
                  <a:moveTo>
                    <a:pt x="17" y="126"/>
                  </a:moveTo>
                  <a:cubicBezTo>
                    <a:pt x="17" y="126"/>
                    <a:pt x="16" y="125"/>
                    <a:pt x="16" y="125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6"/>
                    <a:pt x="3" y="1"/>
                    <a:pt x="8" y="1"/>
                  </a:cubicBezTo>
                  <a:cubicBezTo>
                    <a:pt x="13" y="0"/>
                    <a:pt x="17" y="3"/>
                    <a:pt x="18" y="8"/>
                  </a:cubicBezTo>
                  <a:cubicBezTo>
                    <a:pt x="34" y="122"/>
                    <a:pt x="34" y="122"/>
                    <a:pt x="34" y="122"/>
                  </a:cubicBezTo>
                  <a:cubicBezTo>
                    <a:pt x="34" y="127"/>
                    <a:pt x="31" y="132"/>
                    <a:pt x="26" y="132"/>
                  </a:cubicBezTo>
                  <a:cubicBezTo>
                    <a:pt x="22" y="133"/>
                    <a:pt x="18" y="130"/>
                    <a:pt x="17" y="126"/>
                  </a:cubicBezTo>
                  <a:close/>
                </a:path>
              </a:pathLst>
            </a:custGeom>
            <a:solidFill>
              <a:srgbClr val="039B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730">
              <a:extLst>
                <a:ext uri="{FF2B5EF4-FFF2-40B4-BE49-F238E27FC236}">
                  <a16:creationId xmlns:a16="http://schemas.microsoft.com/office/drawing/2014/main" id="{BCFABBE1-E5FB-42A7-91AE-C9304590F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9213" y="4046538"/>
              <a:ext cx="263525" cy="244475"/>
            </a:xfrm>
            <a:custGeom>
              <a:avLst/>
              <a:gdLst>
                <a:gd name="T0" fmla="*/ 292 w 303"/>
                <a:gd name="T1" fmla="*/ 212 h 282"/>
                <a:gd name="T2" fmla="*/ 257 w 303"/>
                <a:gd name="T3" fmla="*/ 192 h 282"/>
                <a:gd name="T4" fmla="*/ 205 w 303"/>
                <a:gd name="T5" fmla="*/ 35 h 282"/>
                <a:gd name="T6" fmla="*/ 34 w 303"/>
                <a:gd name="T7" fmla="*/ 80 h 282"/>
                <a:gd name="T8" fmla="*/ 79 w 303"/>
                <a:gd name="T9" fmla="*/ 251 h 282"/>
                <a:gd name="T10" fmla="*/ 240 w 303"/>
                <a:gd name="T11" fmla="*/ 221 h 282"/>
                <a:gd name="T12" fmla="*/ 275 w 303"/>
                <a:gd name="T13" fmla="*/ 241 h 282"/>
                <a:gd name="T14" fmla="*/ 298 w 303"/>
                <a:gd name="T15" fmla="*/ 235 h 282"/>
                <a:gd name="T16" fmla="*/ 292 w 303"/>
                <a:gd name="T17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3" h="282">
                  <a:moveTo>
                    <a:pt x="292" y="212"/>
                  </a:moveTo>
                  <a:cubicBezTo>
                    <a:pt x="257" y="192"/>
                    <a:pt x="257" y="192"/>
                    <a:pt x="257" y="192"/>
                  </a:cubicBezTo>
                  <a:cubicBezTo>
                    <a:pt x="282" y="135"/>
                    <a:pt x="260" y="67"/>
                    <a:pt x="205" y="35"/>
                  </a:cubicBezTo>
                  <a:cubicBezTo>
                    <a:pt x="145" y="0"/>
                    <a:pt x="69" y="20"/>
                    <a:pt x="34" y="80"/>
                  </a:cubicBezTo>
                  <a:cubicBezTo>
                    <a:pt x="0" y="140"/>
                    <a:pt x="20" y="216"/>
                    <a:pt x="79" y="251"/>
                  </a:cubicBezTo>
                  <a:cubicBezTo>
                    <a:pt x="134" y="282"/>
                    <a:pt x="201" y="268"/>
                    <a:pt x="240" y="221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83" y="246"/>
                    <a:pt x="293" y="243"/>
                    <a:pt x="298" y="235"/>
                  </a:cubicBezTo>
                  <a:cubicBezTo>
                    <a:pt x="303" y="227"/>
                    <a:pt x="300" y="217"/>
                    <a:pt x="292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731">
              <a:extLst>
                <a:ext uri="{FF2B5EF4-FFF2-40B4-BE49-F238E27FC236}">
                  <a16:creationId xmlns:a16="http://schemas.microsoft.com/office/drawing/2014/main" id="{966D91E7-F09D-4AFB-82BF-6C9F1AEA1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9688" y="4032251"/>
              <a:ext cx="247650" cy="246063"/>
            </a:xfrm>
            <a:custGeom>
              <a:avLst/>
              <a:gdLst>
                <a:gd name="T0" fmla="*/ 251 w 285"/>
                <a:gd name="T1" fmla="*/ 205 h 285"/>
                <a:gd name="T2" fmla="*/ 80 w 285"/>
                <a:gd name="T3" fmla="*/ 250 h 285"/>
                <a:gd name="T4" fmla="*/ 34 w 285"/>
                <a:gd name="T5" fmla="*/ 80 h 285"/>
                <a:gd name="T6" fmla="*/ 205 w 285"/>
                <a:gd name="T7" fmla="*/ 34 h 285"/>
                <a:gd name="T8" fmla="*/ 251 w 285"/>
                <a:gd name="T9" fmla="*/ 20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5" h="285">
                  <a:moveTo>
                    <a:pt x="251" y="205"/>
                  </a:moveTo>
                  <a:cubicBezTo>
                    <a:pt x="216" y="265"/>
                    <a:pt x="139" y="285"/>
                    <a:pt x="80" y="250"/>
                  </a:cubicBezTo>
                  <a:cubicBezTo>
                    <a:pt x="20" y="216"/>
                    <a:pt x="0" y="139"/>
                    <a:pt x="34" y="80"/>
                  </a:cubicBezTo>
                  <a:cubicBezTo>
                    <a:pt x="69" y="20"/>
                    <a:pt x="146" y="0"/>
                    <a:pt x="205" y="34"/>
                  </a:cubicBezTo>
                  <a:cubicBezTo>
                    <a:pt x="265" y="69"/>
                    <a:pt x="285" y="145"/>
                    <a:pt x="251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732">
              <a:extLst>
                <a:ext uri="{FF2B5EF4-FFF2-40B4-BE49-F238E27FC236}">
                  <a16:creationId xmlns:a16="http://schemas.microsoft.com/office/drawing/2014/main" id="{249052A1-642D-4FA0-85AC-853592A72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8263" y="4060826"/>
              <a:ext cx="190500" cy="188913"/>
            </a:xfrm>
            <a:custGeom>
              <a:avLst/>
              <a:gdLst>
                <a:gd name="T0" fmla="*/ 213 w 219"/>
                <a:gd name="T1" fmla="*/ 99 h 219"/>
                <a:gd name="T2" fmla="*/ 120 w 219"/>
                <a:gd name="T3" fmla="*/ 213 h 219"/>
                <a:gd name="T4" fmla="*/ 6 w 219"/>
                <a:gd name="T5" fmla="*/ 120 h 219"/>
                <a:gd name="T6" fmla="*/ 99 w 219"/>
                <a:gd name="T7" fmla="*/ 6 h 219"/>
                <a:gd name="T8" fmla="*/ 213 w 219"/>
                <a:gd name="T9" fmla="*/ 9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19">
                  <a:moveTo>
                    <a:pt x="213" y="99"/>
                  </a:moveTo>
                  <a:cubicBezTo>
                    <a:pt x="219" y="156"/>
                    <a:pt x="177" y="207"/>
                    <a:pt x="120" y="213"/>
                  </a:cubicBezTo>
                  <a:cubicBezTo>
                    <a:pt x="63" y="219"/>
                    <a:pt x="12" y="177"/>
                    <a:pt x="6" y="120"/>
                  </a:cubicBezTo>
                  <a:cubicBezTo>
                    <a:pt x="0" y="63"/>
                    <a:pt x="42" y="12"/>
                    <a:pt x="99" y="6"/>
                  </a:cubicBezTo>
                  <a:cubicBezTo>
                    <a:pt x="156" y="0"/>
                    <a:pt x="207" y="41"/>
                    <a:pt x="213" y="99"/>
                  </a:cubicBezTo>
                  <a:close/>
                </a:path>
              </a:pathLst>
            </a:custGeom>
            <a:solidFill>
              <a:srgbClr val="9158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733">
              <a:extLst>
                <a:ext uri="{FF2B5EF4-FFF2-40B4-BE49-F238E27FC236}">
                  <a16:creationId xmlns:a16="http://schemas.microsoft.com/office/drawing/2014/main" id="{0F403B91-9B84-4CC9-8B24-1B0A44318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8263" y="4062413"/>
              <a:ext cx="158750" cy="168275"/>
            </a:xfrm>
            <a:custGeom>
              <a:avLst/>
              <a:gdLst>
                <a:gd name="T0" fmla="*/ 23 w 183"/>
                <a:gd name="T1" fmla="*/ 131 h 194"/>
                <a:gd name="T2" fmla="*/ 115 w 183"/>
                <a:gd name="T3" fmla="*/ 17 h 194"/>
                <a:gd name="T4" fmla="*/ 183 w 183"/>
                <a:gd name="T5" fmla="*/ 34 h 194"/>
                <a:gd name="T6" fmla="*/ 99 w 183"/>
                <a:gd name="T7" fmla="*/ 4 h 194"/>
                <a:gd name="T8" fmla="*/ 6 w 183"/>
                <a:gd name="T9" fmla="*/ 118 h 194"/>
                <a:gd name="T10" fmla="*/ 53 w 183"/>
                <a:gd name="T11" fmla="*/ 194 h 194"/>
                <a:gd name="T12" fmla="*/ 23 w 183"/>
                <a:gd name="T13" fmla="*/ 13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194">
                  <a:moveTo>
                    <a:pt x="23" y="131"/>
                  </a:moveTo>
                  <a:cubicBezTo>
                    <a:pt x="17" y="74"/>
                    <a:pt x="58" y="23"/>
                    <a:pt x="115" y="17"/>
                  </a:cubicBezTo>
                  <a:cubicBezTo>
                    <a:pt x="140" y="15"/>
                    <a:pt x="164" y="21"/>
                    <a:pt x="183" y="34"/>
                  </a:cubicBezTo>
                  <a:cubicBezTo>
                    <a:pt x="162" y="12"/>
                    <a:pt x="131" y="0"/>
                    <a:pt x="99" y="4"/>
                  </a:cubicBezTo>
                  <a:cubicBezTo>
                    <a:pt x="42" y="10"/>
                    <a:pt x="0" y="61"/>
                    <a:pt x="6" y="118"/>
                  </a:cubicBezTo>
                  <a:cubicBezTo>
                    <a:pt x="9" y="150"/>
                    <a:pt x="27" y="178"/>
                    <a:pt x="53" y="194"/>
                  </a:cubicBezTo>
                  <a:cubicBezTo>
                    <a:pt x="36" y="178"/>
                    <a:pt x="25" y="156"/>
                    <a:pt x="23" y="131"/>
                  </a:cubicBezTo>
                  <a:close/>
                </a:path>
              </a:pathLst>
            </a:custGeom>
            <a:solidFill>
              <a:srgbClr val="7C4B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734">
              <a:extLst>
                <a:ext uri="{FF2B5EF4-FFF2-40B4-BE49-F238E27FC236}">
                  <a16:creationId xmlns:a16="http://schemas.microsoft.com/office/drawing/2014/main" id="{2EF2E7C9-D440-4359-BF22-ED9E53C8D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1300" y="4194176"/>
              <a:ext cx="61913" cy="50800"/>
            </a:xfrm>
            <a:custGeom>
              <a:avLst/>
              <a:gdLst>
                <a:gd name="T0" fmla="*/ 42 w 70"/>
                <a:gd name="T1" fmla="*/ 54 h 59"/>
                <a:gd name="T2" fmla="*/ 0 w 70"/>
                <a:gd name="T3" fmla="*/ 30 h 59"/>
                <a:gd name="T4" fmla="*/ 17 w 70"/>
                <a:gd name="T5" fmla="*/ 0 h 59"/>
                <a:gd name="T6" fmla="*/ 59 w 70"/>
                <a:gd name="T7" fmla="*/ 25 h 59"/>
                <a:gd name="T8" fmla="*/ 65 w 70"/>
                <a:gd name="T9" fmla="*/ 48 h 59"/>
                <a:gd name="T10" fmla="*/ 42 w 70"/>
                <a:gd name="T11" fmla="*/ 5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59">
                  <a:moveTo>
                    <a:pt x="42" y="54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67" y="29"/>
                    <a:pt x="70" y="40"/>
                    <a:pt x="65" y="48"/>
                  </a:cubicBezTo>
                  <a:cubicBezTo>
                    <a:pt x="61" y="56"/>
                    <a:pt x="50" y="59"/>
                    <a:pt x="42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735">
              <a:extLst>
                <a:ext uri="{FF2B5EF4-FFF2-40B4-BE49-F238E27FC236}">
                  <a16:creationId xmlns:a16="http://schemas.microsoft.com/office/drawing/2014/main" id="{1B121890-B69A-4534-93C1-88E119724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6300" y="1749426"/>
              <a:ext cx="263525" cy="244475"/>
            </a:xfrm>
            <a:custGeom>
              <a:avLst/>
              <a:gdLst>
                <a:gd name="T0" fmla="*/ 293 w 303"/>
                <a:gd name="T1" fmla="*/ 212 h 282"/>
                <a:gd name="T2" fmla="*/ 258 w 303"/>
                <a:gd name="T3" fmla="*/ 191 h 282"/>
                <a:gd name="T4" fmla="*/ 206 w 303"/>
                <a:gd name="T5" fmla="*/ 34 h 282"/>
                <a:gd name="T6" fmla="*/ 35 w 303"/>
                <a:gd name="T7" fmla="*/ 80 h 282"/>
                <a:gd name="T8" fmla="*/ 80 w 303"/>
                <a:gd name="T9" fmla="*/ 250 h 282"/>
                <a:gd name="T10" fmla="*/ 240 w 303"/>
                <a:gd name="T11" fmla="*/ 221 h 282"/>
                <a:gd name="T12" fmla="*/ 275 w 303"/>
                <a:gd name="T13" fmla="*/ 241 h 282"/>
                <a:gd name="T14" fmla="*/ 299 w 303"/>
                <a:gd name="T15" fmla="*/ 235 h 282"/>
                <a:gd name="T16" fmla="*/ 293 w 303"/>
                <a:gd name="T17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3" h="282">
                  <a:moveTo>
                    <a:pt x="293" y="212"/>
                  </a:moveTo>
                  <a:cubicBezTo>
                    <a:pt x="258" y="191"/>
                    <a:pt x="258" y="191"/>
                    <a:pt x="258" y="191"/>
                  </a:cubicBezTo>
                  <a:cubicBezTo>
                    <a:pt x="282" y="134"/>
                    <a:pt x="261" y="66"/>
                    <a:pt x="206" y="34"/>
                  </a:cubicBezTo>
                  <a:cubicBezTo>
                    <a:pt x="146" y="0"/>
                    <a:pt x="70" y="20"/>
                    <a:pt x="35" y="80"/>
                  </a:cubicBezTo>
                  <a:cubicBezTo>
                    <a:pt x="0" y="139"/>
                    <a:pt x="21" y="216"/>
                    <a:pt x="80" y="250"/>
                  </a:cubicBezTo>
                  <a:cubicBezTo>
                    <a:pt x="134" y="282"/>
                    <a:pt x="202" y="268"/>
                    <a:pt x="240" y="221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84" y="246"/>
                    <a:pt x="294" y="243"/>
                    <a:pt x="299" y="235"/>
                  </a:cubicBezTo>
                  <a:cubicBezTo>
                    <a:pt x="303" y="227"/>
                    <a:pt x="301" y="216"/>
                    <a:pt x="293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736">
              <a:extLst>
                <a:ext uri="{FF2B5EF4-FFF2-40B4-BE49-F238E27FC236}">
                  <a16:creationId xmlns:a16="http://schemas.microsoft.com/office/drawing/2014/main" id="{1EB0E025-4DDD-46F5-A87E-70E08F482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7250" y="1754188"/>
              <a:ext cx="247650" cy="247650"/>
            </a:xfrm>
            <a:custGeom>
              <a:avLst/>
              <a:gdLst>
                <a:gd name="T0" fmla="*/ 251 w 285"/>
                <a:gd name="T1" fmla="*/ 205 h 285"/>
                <a:gd name="T2" fmla="*/ 80 w 285"/>
                <a:gd name="T3" fmla="*/ 250 h 285"/>
                <a:gd name="T4" fmla="*/ 35 w 285"/>
                <a:gd name="T5" fmla="*/ 79 h 285"/>
                <a:gd name="T6" fmla="*/ 205 w 285"/>
                <a:gd name="T7" fmla="*/ 34 h 285"/>
                <a:gd name="T8" fmla="*/ 251 w 285"/>
                <a:gd name="T9" fmla="*/ 20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5" h="285">
                  <a:moveTo>
                    <a:pt x="251" y="205"/>
                  </a:moveTo>
                  <a:cubicBezTo>
                    <a:pt x="216" y="265"/>
                    <a:pt x="140" y="285"/>
                    <a:pt x="80" y="250"/>
                  </a:cubicBezTo>
                  <a:cubicBezTo>
                    <a:pt x="20" y="216"/>
                    <a:pt x="0" y="139"/>
                    <a:pt x="35" y="79"/>
                  </a:cubicBezTo>
                  <a:cubicBezTo>
                    <a:pt x="69" y="20"/>
                    <a:pt x="146" y="0"/>
                    <a:pt x="205" y="34"/>
                  </a:cubicBezTo>
                  <a:cubicBezTo>
                    <a:pt x="265" y="69"/>
                    <a:pt x="285" y="145"/>
                    <a:pt x="251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737">
              <a:extLst>
                <a:ext uri="{FF2B5EF4-FFF2-40B4-BE49-F238E27FC236}">
                  <a16:creationId xmlns:a16="http://schemas.microsoft.com/office/drawing/2014/main" id="{E5A52628-CBEF-4276-91AA-59E114554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5825" y="1782763"/>
              <a:ext cx="190500" cy="190500"/>
            </a:xfrm>
            <a:custGeom>
              <a:avLst/>
              <a:gdLst>
                <a:gd name="T0" fmla="*/ 213 w 219"/>
                <a:gd name="T1" fmla="*/ 99 h 219"/>
                <a:gd name="T2" fmla="*/ 120 w 219"/>
                <a:gd name="T3" fmla="*/ 213 h 219"/>
                <a:gd name="T4" fmla="*/ 6 w 219"/>
                <a:gd name="T5" fmla="*/ 120 h 219"/>
                <a:gd name="T6" fmla="*/ 99 w 219"/>
                <a:gd name="T7" fmla="*/ 6 h 219"/>
                <a:gd name="T8" fmla="*/ 213 w 219"/>
                <a:gd name="T9" fmla="*/ 9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19">
                  <a:moveTo>
                    <a:pt x="213" y="99"/>
                  </a:moveTo>
                  <a:cubicBezTo>
                    <a:pt x="219" y="156"/>
                    <a:pt x="177" y="207"/>
                    <a:pt x="120" y="213"/>
                  </a:cubicBezTo>
                  <a:cubicBezTo>
                    <a:pt x="63" y="219"/>
                    <a:pt x="12" y="177"/>
                    <a:pt x="6" y="120"/>
                  </a:cubicBezTo>
                  <a:cubicBezTo>
                    <a:pt x="0" y="63"/>
                    <a:pt x="42" y="12"/>
                    <a:pt x="99" y="6"/>
                  </a:cubicBezTo>
                  <a:cubicBezTo>
                    <a:pt x="156" y="0"/>
                    <a:pt x="207" y="41"/>
                    <a:pt x="213" y="99"/>
                  </a:cubicBezTo>
                  <a:close/>
                </a:path>
              </a:pathLst>
            </a:custGeom>
            <a:solidFill>
              <a:srgbClr val="9158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738">
              <a:extLst>
                <a:ext uri="{FF2B5EF4-FFF2-40B4-BE49-F238E27FC236}">
                  <a16:creationId xmlns:a16="http://schemas.microsoft.com/office/drawing/2014/main" id="{27F0D199-300D-4DBF-8751-2A6A90140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5825" y="1784351"/>
              <a:ext cx="158750" cy="168275"/>
            </a:xfrm>
            <a:custGeom>
              <a:avLst/>
              <a:gdLst>
                <a:gd name="T0" fmla="*/ 23 w 183"/>
                <a:gd name="T1" fmla="*/ 131 h 194"/>
                <a:gd name="T2" fmla="*/ 116 w 183"/>
                <a:gd name="T3" fmla="*/ 17 h 194"/>
                <a:gd name="T4" fmla="*/ 183 w 183"/>
                <a:gd name="T5" fmla="*/ 34 h 194"/>
                <a:gd name="T6" fmla="*/ 99 w 183"/>
                <a:gd name="T7" fmla="*/ 4 h 194"/>
                <a:gd name="T8" fmla="*/ 6 w 183"/>
                <a:gd name="T9" fmla="*/ 118 h 194"/>
                <a:gd name="T10" fmla="*/ 53 w 183"/>
                <a:gd name="T11" fmla="*/ 194 h 194"/>
                <a:gd name="T12" fmla="*/ 23 w 183"/>
                <a:gd name="T13" fmla="*/ 13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194">
                  <a:moveTo>
                    <a:pt x="23" y="131"/>
                  </a:moveTo>
                  <a:cubicBezTo>
                    <a:pt x="17" y="74"/>
                    <a:pt x="58" y="23"/>
                    <a:pt x="116" y="17"/>
                  </a:cubicBezTo>
                  <a:cubicBezTo>
                    <a:pt x="140" y="15"/>
                    <a:pt x="164" y="21"/>
                    <a:pt x="183" y="34"/>
                  </a:cubicBezTo>
                  <a:cubicBezTo>
                    <a:pt x="162" y="12"/>
                    <a:pt x="131" y="0"/>
                    <a:pt x="99" y="4"/>
                  </a:cubicBezTo>
                  <a:cubicBezTo>
                    <a:pt x="42" y="10"/>
                    <a:pt x="0" y="61"/>
                    <a:pt x="6" y="118"/>
                  </a:cubicBezTo>
                  <a:cubicBezTo>
                    <a:pt x="9" y="150"/>
                    <a:pt x="27" y="178"/>
                    <a:pt x="53" y="194"/>
                  </a:cubicBezTo>
                  <a:cubicBezTo>
                    <a:pt x="36" y="178"/>
                    <a:pt x="25" y="156"/>
                    <a:pt x="23" y="131"/>
                  </a:cubicBezTo>
                  <a:close/>
                </a:path>
              </a:pathLst>
            </a:custGeom>
            <a:solidFill>
              <a:srgbClr val="7C4B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739">
              <a:extLst>
                <a:ext uri="{FF2B5EF4-FFF2-40B4-BE49-F238E27FC236}">
                  <a16:creationId xmlns:a16="http://schemas.microsoft.com/office/drawing/2014/main" id="{054328A0-52FA-4174-8DF5-C49F77755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8863" y="1916113"/>
              <a:ext cx="61913" cy="50800"/>
            </a:xfrm>
            <a:custGeom>
              <a:avLst/>
              <a:gdLst>
                <a:gd name="T0" fmla="*/ 42 w 70"/>
                <a:gd name="T1" fmla="*/ 54 h 59"/>
                <a:gd name="T2" fmla="*/ 0 w 70"/>
                <a:gd name="T3" fmla="*/ 29 h 59"/>
                <a:gd name="T4" fmla="*/ 17 w 70"/>
                <a:gd name="T5" fmla="*/ 0 h 59"/>
                <a:gd name="T6" fmla="*/ 59 w 70"/>
                <a:gd name="T7" fmla="*/ 24 h 59"/>
                <a:gd name="T8" fmla="*/ 65 w 70"/>
                <a:gd name="T9" fmla="*/ 48 h 59"/>
                <a:gd name="T10" fmla="*/ 42 w 70"/>
                <a:gd name="T11" fmla="*/ 5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59">
                  <a:moveTo>
                    <a:pt x="42" y="54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67" y="29"/>
                    <a:pt x="70" y="40"/>
                    <a:pt x="65" y="48"/>
                  </a:cubicBezTo>
                  <a:cubicBezTo>
                    <a:pt x="61" y="56"/>
                    <a:pt x="50" y="59"/>
                    <a:pt x="42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6403AD8-5BF8-4459-952F-C838B079D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150" y="472145"/>
            <a:ext cx="10339200" cy="784830"/>
          </a:xfrm>
        </p:spPr>
        <p:txBody>
          <a:bodyPr>
            <a:spAutoFit/>
          </a:bodyPr>
          <a:lstStyle/>
          <a:p>
            <a:r>
              <a:rPr lang="sv-SE" sz="6000" dirty="0"/>
              <a:t>Lab work</a:t>
            </a:r>
            <a:endParaRPr lang="en-US" sz="6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E561511-DBD9-4A86-9202-250F9E20D2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6452" y="1755775"/>
            <a:ext cx="2493136" cy="4402429"/>
          </a:xfrm>
          <a:prstGeom prst="rect">
            <a:avLst/>
          </a:prstGeom>
        </p:spPr>
      </p:pic>
      <p:sp>
        <p:nvSpPr>
          <p:cNvPr id="768" name="TextBox 767">
            <a:extLst>
              <a:ext uri="{FF2B5EF4-FFF2-40B4-BE49-F238E27FC236}">
                <a16:creationId xmlns:a16="http://schemas.microsoft.com/office/drawing/2014/main" id="{D8BABBF0-31E3-4EE9-98AF-E5F2BA50E8CB}"/>
              </a:ext>
            </a:extLst>
          </p:cNvPr>
          <p:cNvSpPr txBox="1"/>
          <p:nvPr/>
        </p:nvSpPr>
        <p:spPr>
          <a:xfrm>
            <a:off x="821094" y="1758155"/>
            <a:ext cx="271192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sz="1600" spc="-70" dirty="0"/>
              <a:t>Create an app which allows employees to recognize each other</a:t>
            </a:r>
          </a:p>
        </p:txBody>
      </p:sp>
    </p:spTree>
    <p:extLst>
      <p:ext uri="{BB962C8B-B14F-4D97-AF65-F5344CB8AC3E}">
        <p14:creationId xmlns:p14="http://schemas.microsoft.com/office/powerpoint/2010/main" val="34257433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FB458430-1C14-4A1C-AAA9-5FC8F50FB2E8}"/>
              </a:ext>
            </a:extLst>
          </p:cNvPr>
          <p:cNvGrpSpPr/>
          <p:nvPr/>
        </p:nvGrpSpPr>
        <p:grpSpPr>
          <a:xfrm>
            <a:off x="7134225" y="-8033"/>
            <a:ext cx="4625900" cy="6861271"/>
            <a:chOff x="7134225" y="-8033"/>
            <a:chExt cx="4625900" cy="6861271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590A5B14-73E6-4840-96CC-C83C50F93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0450" y="4160838"/>
              <a:ext cx="1217613" cy="1620838"/>
            </a:xfrm>
            <a:custGeom>
              <a:avLst/>
              <a:gdLst>
                <a:gd name="T0" fmla="*/ 261 w 422"/>
                <a:gd name="T1" fmla="*/ 0 h 563"/>
                <a:gd name="T2" fmla="*/ 247 w 422"/>
                <a:gd name="T3" fmla="*/ 98 h 563"/>
                <a:gd name="T4" fmla="*/ 310 w 422"/>
                <a:gd name="T5" fmla="*/ 194 h 563"/>
                <a:gd name="T6" fmla="*/ 272 w 422"/>
                <a:gd name="T7" fmla="*/ 283 h 563"/>
                <a:gd name="T8" fmla="*/ 199 w 422"/>
                <a:gd name="T9" fmla="*/ 386 h 563"/>
                <a:gd name="T10" fmla="*/ 0 w 422"/>
                <a:gd name="T11" fmla="*/ 400 h 563"/>
                <a:gd name="T12" fmla="*/ 196 w 422"/>
                <a:gd name="T13" fmla="*/ 513 h 563"/>
                <a:gd name="T14" fmla="*/ 313 w 422"/>
                <a:gd name="T15" fmla="*/ 471 h 563"/>
                <a:gd name="T16" fmla="*/ 352 w 422"/>
                <a:gd name="T17" fmla="*/ 425 h 563"/>
                <a:gd name="T18" fmla="*/ 412 w 422"/>
                <a:gd name="T19" fmla="*/ 232 h 563"/>
                <a:gd name="T20" fmla="*/ 395 w 422"/>
                <a:gd name="T21" fmla="*/ 167 h 563"/>
                <a:gd name="T22" fmla="*/ 261 w 422"/>
                <a:gd name="T23" fmla="*/ 0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2" h="563">
                  <a:moveTo>
                    <a:pt x="261" y="0"/>
                  </a:moveTo>
                  <a:cubicBezTo>
                    <a:pt x="261" y="0"/>
                    <a:pt x="210" y="35"/>
                    <a:pt x="247" y="98"/>
                  </a:cubicBezTo>
                  <a:cubicBezTo>
                    <a:pt x="272" y="141"/>
                    <a:pt x="294" y="174"/>
                    <a:pt x="310" y="194"/>
                  </a:cubicBezTo>
                  <a:cubicBezTo>
                    <a:pt x="323" y="210"/>
                    <a:pt x="272" y="283"/>
                    <a:pt x="272" y="283"/>
                  </a:cubicBezTo>
                  <a:cubicBezTo>
                    <a:pt x="272" y="283"/>
                    <a:pt x="233" y="380"/>
                    <a:pt x="199" y="386"/>
                  </a:cubicBezTo>
                  <a:cubicBezTo>
                    <a:pt x="126" y="398"/>
                    <a:pt x="0" y="400"/>
                    <a:pt x="0" y="400"/>
                  </a:cubicBezTo>
                  <a:cubicBezTo>
                    <a:pt x="11" y="414"/>
                    <a:pt x="124" y="563"/>
                    <a:pt x="196" y="513"/>
                  </a:cubicBezTo>
                  <a:cubicBezTo>
                    <a:pt x="313" y="471"/>
                    <a:pt x="313" y="471"/>
                    <a:pt x="313" y="471"/>
                  </a:cubicBezTo>
                  <a:cubicBezTo>
                    <a:pt x="313" y="471"/>
                    <a:pt x="339" y="470"/>
                    <a:pt x="352" y="425"/>
                  </a:cubicBezTo>
                  <a:cubicBezTo>
                    <a:pt x="362" y="391"/>
                    <a:pt x="399" y="283"/>
                    <a:pt x="412" y="232"/>
                  </a:cubicBezTo>
                  <a:cubicBezTo>
                    <a:pt x="419" y="207"/>
                    <a:pt x="422" y="206"/>
                    <a:pt x="395" y="167"/>
                  </a:cubicBezTo>
                  <a:cubicBezTo>
                    <a:pt x="360" y="117"/>
                    <a:pt x="261" y="0"/>
                    <a:pt x="261" y="0"/>
                  </a:cubicBezTo>
                  <a:close/>
                </a:path>
              </a:pathLst>
            </a:custGeom>
            <a:solidFill>
              <a:srgbClr val="F2BA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F32C68C8-7AA6-4587-9333-06B956A957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2038" y="4195763"/>
              <a:ext cx="1074738" cy="1720850"/>
            </a:xfrm>
            <a:custGeom>
              <a:avLst/>
              <a:gdLst>
                <a:gd name="T0" fmla="*/ 335 w 372"/>
                <a:gd name="T1" fmla="*/ 132 h 598"/>
                <a:gd name="T2" fmla="*/ 158 w 372"/>
                <a:gd name="T3" fmla="*/ 0 h 598"/>
                <a:gd name="T4" fmla="*/ 169 w 372"/>
                <a:gd name="T5" fmla="*/ 101 h 598"/>
                <a:gd name="T6" fmla="*/ 257 w 372"/>
                <a:gd name="T7" fmla="*/ 181 h 598"/>
                <a:gd name="T8" fmla="*/ 242 w 372"/>
                <a:gd name="T9" fmla="*/ 279 h 598"/>
                <a:gd name="T10" fmla="*/ 200 w 372"/>
                <a:gd name="T11" fmla="*/ 323 h 598"/>
                <a:gd name="T12" fmla="*/ 59 w 372"/>
                <a:gd name="T13" fmla="*/ 296 h 598"/>
                <a:gd name="T14" fmla="*/ 0 w 372"/>
                <a:gd name="T15" fmla="*/ 467 h 598"/>
                <a:gd name="T16" fmla="*/ 225 w 372"/>
                <a:gd name="T17" fmla="*/ 529 h 598"/>
                <a:gd name="T18" fmla="*/ 332 w 372"/>
                <a:gd name="T19" fmla="*/ 457 h 598"/>
                <a:gd name="T20" fmla="*/ 359 w 372"/>
                <a:gd name="T21" fmla="*/ 401 h 598"/>
                <a:gd name="T22" fmla="*/ 369 w 372"/>
                <a:gd name="T23" fmla="*/ 193 h 598"/>
                <a:gd name="T24" fmla="*/ 335 w 372"/>
                <a:gd name="T25" fmla="*/ 132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598">
                  <a:moveTo>
                    <a:pt x="335" y="132"/>
                  </a:moveTo>
                  <a:cubicBezTo>
                    <a:pt x="287" y="92"/>
                    <a:pt x="158" y="0"/>
                    <a:pt x="158" y="0"/>
                  </a:cubicBezTo>
                  <a:cubicBezTo>
                    <a:pt x="158" y="0"/>
                    <a:pt x="116" y="48"/>
                    <a:pt x="169" y="101"/>
                  </a:cubicBezTo>
                  <a:cubicBezTo>
                    <a:pt x="205" y="138"/>
                    <a:pt x="236" y="165"/>
                    <a:pt x="257" y="181"/>
                  </a:cubicBezTo>
                  <a:cubicBezTo>
                    <a:pt x="274" y="194"/>
                    <a:pt x="242" y="279"/>
                    <a:pt x="242" y="279"/>
                  </a:cubicBezTo>
                  <a:cubicBezTo>
                    <a:pt x="242" y="279"/>
                    <a:pt x="233" y="309"/>
                    <a:pt x="200" y="323"/>
                  </a:cubicBezTo>
                  <a:cubicBezTo>
                    <a:pt x="130" y="354"/>
                    <a:pt x="59" y="296"/>
                    <a:pt x="59" y="296"/>
                  </a:cubicBezTo>
                  <a:cubicBezTo>
                    <a:pt x="0" y="467"/>
                    <a:pt x="0" y="467"/>
                    <a:pt x="0" y="467"/>
                  </a:cubicBezTo>
                  <a:cubicBezTo>
                    <a:pt x="15" y="478"/>
                    <a:pt x="166" y="598"/>
                    <a:pt x="225" y="529"/>
                  </a:cubicBezTo>
                  <a:cubicBezTo>
                    <a:pt x="332" y="457"/>
                    <a:pt x="332" y="457"/>
                    <a:pt x="332" y="457"/>
                  </a:cubicBezTo>
                  <a:cubicBezTo>
                    <a:pt x="332" y="457"/>
                    <a:pt x="357" y="450"/>
                    <a:pt x="359" y="401"/>
                  </a:cubicBezTo>
                  <a:cubicBezTo>
                    <a:pt x="360" y="365"/>
                    <a:pt x="369" y="247"/>
                    <a:pt x="369" y="193"/>
                  </a:cubicBezTo>
                  <a:cubicBezTo>
                    <a:pt x="369" y="166"/>
                    <a:pt x="372" y="164"/>
                    <a:pt x="335" y="132"/>
                  </a:cubicBezTo>
                  <a:close/>
                </a:path>
              </a:pathLst>
            </a:custGeom>
            <a:solidFill>
              <a:srgbClr val="FBC6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4A4C3002-0B16-43D4-8724-6D5A68634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463" y="3300413"/>
              <a:ext cx="1752600" cy="1758950"/>
            </a:xfrm>
            <a:custGeom>
              <a:avLst/>
              <a:gdLst>
                <a:gd name="T0" fmla="*/ 552 w 607"/>
                <a:gd name="T1" fmla="*/ 387 h 611"/>
                <a:gd name="T2" fmla="*/ 470 w 607"/>
                <a:gd name="T3" fmla="*/ 388 h 611"/>
                <a:gd name="T4" fmla="*/ 536 w 607"/>
                <a:gd name="T5" fmla="*/ 239 h 611"/>
                <a:gd name="T6" fmla="*/ 388 w 607"/>
                <a:gd name="T7" fmla="*/ 174 h 611"/>
                <a:gd name="T8" fmla="*/ 450 w 607"/>
                <a:gd name="T9" fmla="*/ 114 h 611"/>
                <a:gd name="T10" fmla="*/ 451 w 607"/>
                <a:gd name="T11" fmla="*/ 111 h 611"/>
                <a:gd name="T12" fmla="*/ 412 w 607"/>
                <a:gd name="T13" fmla="*/ 16 h 611"/>
                <a:gd name="T14" fmla="*/ 314 w 607"/>
                <a:gd name="T15" fmla="*/ 54 h 611"/>
                <a:gd name="T16" fmla="*/ 315 w 607"/>
                <a:gd name="T17" fmla="*/ 142 h 611"/>
                <a:gd name="T18" fmla="*/ 164 w 607"/>
                <a:gd name="T19" fmla="*/ 75 h 611"/>
                <a:gd name="T20" fmla="*/ 98 w 607"/>
                <a:gd name="T21" fmla="*/ 225 h 611"/>
                <a:gd name="T22" fmla="*/ 182 w 607"/>
                <a:gd name="T23" fmla="*/ 224 h 611"/>
                <a:gd name="T24" fmla="*/ 220 w 607"/>
                <a:gd name="T25" fmla="*/ 322 h 611"/>
                <a:gd name="T26" fmla="*/ 125 w 607"/>
                <a:gd name="T27" fmla="*/ 361 h 611"/>
                <a:gd name="T28" fmla="*/ 122 w 607"/>
                <a:gd name="T29" fmla="*/ 360 h 611"/>
                <a:gd name="T30" fmla="*/ 65 w 607"/>
                <a:gd name="T31" fmla="*/ 301 h 611"/>
                <a:gd name="T32" fmla="*/ 0 w 607"/>
                <a:gd name="T33" fmla="*/ 447 h 611"/>
                <a:gd name="T34" fmla="*/ 372 w 607"/>
                <a:gd name="T35" fmla="*/ 611 h 611"/>
                <a:gd name="T36" fmla="*/ 436 w 607"/>
                <a:gd name="T37" fmla="*/ 465 h 611"/>
                <a:gd name="T38" fmla="*/ 492 w 607"/>
                <a:gd name="T39" fmla="*/ 523 h 611"/>
                <a:gd name="T40" fmla="*/ 495 w 607"/>
                <a:gd name="T41" fmla="*/ 524 h 611"/>
                <a:gd name="T42" fmla="*/ 590 w 607"/>
                <a:gd name="T43" fmla="*/ 485 h 611"/>
                <a:gd name="T44" fmla="*/ 552 w 607"/>
                <a:gd name="T45" fmla="*/ 387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7" h="611">
                  <a:moveTo>
                    <a:pt x="552" y="387"/>
                  </a:moveTo>
                  <a:cubicBezTo>
                    <a:pt x="516" y="378"/>
                    <a:pt x="500" y="387"/>
                    <a:pt x="470" y="388"/>
                  </a:cubicBezTo>
                  <a:cubicBezTo>
                    <a:pt x="536" y="239"/>
                    <a:pt x="536" y="239"/>
                    <a:pt x="536" y="239"/>
                  </a:cubicBezTo>
                  <a:cubicBezTo>
                    <a:pt x="388" y="174"/>
                    <a:pt x="388" y="174"/>
                    <a:pt x="388" y="174"/>
                  </a:cubicBezTo>
                  <a:cubicBezTo>
                    <a:pt x="411" y="150"/>
                    <a:pt x="439" y="138"/>
                    <a:pt x="450" y="114"/>
                  </a:cubicBezTo>
                  <a:cubicBezTo>
                    <a:pt x="450" y="113"/>
                    <a:pt x="451" y="112"/>
                    <a:pt x="451" y="111"/>
                  </a:cubicBezTo>
                  <a:cubicBezTo>
                    <a:pt x="466" y="74"/>
                    <a:pt x="449" y="32"/>
                    <a:pt x="412" y="16"/>
                  </a:cubicBezTo>
                  <a:cubicBezTo>
                    <a:pt x="374" y="0"/>
                    <a:pt x="330" y="17"/>
                    <a:pt x="314" y="54"/>
                  </a:cubicBezTo>
                  <a:cubicBezTo>
                    <a:pt x="304" y="92"/>
                    <a:pt x="316" y="109"/>
                    <a:pt x="315" y="142"/>
                  </a:cubicBezTo>
                  <a:cubicBezTo>
                    <a:pt x="164" y="75"/>
                    <a:pt x="164" y="75"/>
                    <a:pt x="164" y="75"/>
                  </a:cubicBezTo>
                  <a:cubicBezTo>
                    <a:pt x="98" y="225"/>
                    <a:pt x="98" y="225"/>
                    <a:pt x="98" y="225"/>
                  </a:cubicBezTo>
                  <a:cubicBezTo>
                    <a:pt x="129" y="225"/>
                    <a:pt x="145" y="215"/>
                    <a:pt x="182" y="224"/>
                  </a:cubicBezTo>
                  <a:cubicBezTo>
                    <a:pt x="220" y="240"/>
                    <a:pt x="237" y="284"/>
                    <a:pt x="220" y="322"/>
                  </a:cubicBezTo>
                  <a:cubicBezTo>
                    <a:pt x="204" y="359"/>
                    <a:pt x="162" y="376"/>
                    <a:pt x="125" y="361"/>
                  </a:cubicBezTo>
                  <a:cubicBezTo>
                    <a:pt x="124" y="361"/>
                    <a:pt x="123" y="360"/>
                    <a:pt x="122" y="360"/>
                  </a:cubicBezTo>
                  <a:cubicBezTo>
                    <a:pt x="99" y="350"/>
                    <a:pt x="87" y="323"/>
                    <a:pt x="65" y="301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372" y="611"/>
                    <a:pt x="372" y="611"/>
                    <a:pt x="372" y="611"/>
                  </a:cubicBezTo>
                  <a:cubicBezTo>
                    <a:pt x="436" y="465"/>
                    <a:pt x="436" y="465"/>
                    <a:pt x="436" y="465"/>
                  </a:cubicBezTo>
                  <a:cubicBezTo>
                    <a:pt x="458" y="487"/>
                    <a:pt x="470" y="513"/>
                    <a:pt x="492" y="523"/>
                  </a:cubicBezTo>
                  <a:cubicBezTo>
                    <a:pt x="493" y="523"/>
                    <a:pt x="494" y="524"/>
                    <a:pt x="495" y="524"/>
                  </a:cubicBezTo>
                  <a:cubicBezTo>
                    <a:pt x="532" y="539"/>
                    <a:pt x="574" y="521"/>
                    <a:pt x="590" y="485"/>
                  </a:cubicBezTo>
                  <a:cubicBezTo>
                    <a:pt x="607" y="447"/>
                    <a:pt x="590" y="403"/>
                    <a:pt x="552" y="387"/>
                  </a:cubicBezTo>
                  <a:close/>
                </a:path>
              </a:pathLst>
            </a:custGeom>
            <a:solidFill>
              <a:srgbClr val="E6EB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9B386C59-D1F8-4DA6-8B0C-126EE4A72A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4479925"/>
              <a:ext cx="1558925" cy="1938338"/>
            </a:xfrm>
            <a:custGeom>
              <a:avLst/>
              <a:gdLst>
                <a:gd name="T0" fmla="*/ 246 w 540"/>
                <a:gd name="T1" fmla="*/ 68 h 673"/>
                <a:gd name="T2" fmla="*/ 179 w 540"/>
                <a:gd name="T3" fmla="*/ 11 h 673"/>
                <a:gd name="T4" fmla="*/ 117 w 540"/>
                <a:gd name="T5" fmla="*/ 300 h 673"/>
                <a:gd name="T6" fmla="*/ 63 w 540"/>
                <a:gd name="T7" fmla="*/ 457 h 673"/>
                <a:gd name="T8" fmla="*/ 0 w 540"/>
                <a:gd name="T9" fmla="*/ 532 h 673"/>
                <a:gd name="T10" fmla="*/ 166 w 540"/>
                <a:gd name="T11" fmla="*/ 673 h 673"/>
                <a:gd name="T12" fmla="*/ 222 w 540"/>
                <a:gd name="T13" fmla="*/ 606 h 673"/>
                <a:gd name="T14" fmla="*/ 336 w 540"/>
                <a:gd name="T15" fmla="*/ 532 h 673"/>
                <a:gd name="T16" fmla="*/ 540 w 540"/>
                <a:gd name="T17" fmla="*/ 350 h 673"/>
                <a:gd name="T18" fmla="*/ 255 w 540"/>
                <a:gd name="T19" fmla="*/ 278 h 673"/>
                <a:gd name="T20" fmla="*/ 246 w 540"/>
                <a:gd name="T21" fmla="*/ 68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0" h="673">
                  <a:moveTo>
                    <a:pt x="246" y="68"/>
                  </a:moveTo>
                  <a:cubicBezTo>
                    <a:pt x="225" y="30"/>
                    <a:pt x="184" y="0"/>
                    <a:pt x="179" y="11"/>
                  </a:cubicBezTo>
                  <a:cubicBezTo>
                    <a:pt x="174" y="23"/>
                    <a:pt x="138" y="239"/>
                    <a:pt x="117" y="300"/>
                  </a:cubicBezTo>
                  <a:cubicBezTo>
                    <a:pt x="105" y="334"/>
                    <a:pt x="63" y="457"/>
                    <a:pt x="63" y="457"/>
                  </a:cubicBezTo>
                  <a:cubicBezTo>
                    <a:pt x="0" y="532"/>
                    <a:pt x="0" y="532"/>
                    <a:pt x="0" y="532"/>
                  </a:cubicBezTo>
                  <a:cubicBezTo>
                    <a:pt x="166" y="673"/>
                    <a:pt x="166" y="673"/>
                    <a:pt x="166" y="673"/>
                  </a:cubicBezTo>
                  <a:cubicBezTo>
                    <a:pt x="222" y="606"/>
                    <a:pt x="222" y="606"/>
                    <a:pt x="222" y="606"/>
                  </a:cubicBezTo>
                  <a:cubicBezTo>
                    <a:pt x="222" y="606"/>
                    <a:pt x="309" y="558"/>
                    <a:pt x="336" y="532"/>
                  </a:cubicBezTo>
                  <a:cubicBezTo>
                    <a:pt x="368" y="501"/>
                    <a:pt x="540" y="350"/>
                    <a:pt x="540" y="350"/>
                  </a:cubicBezTo>
                  <a:cubicBezTo>
                    <a:pt x="255" y="278"/>
                    <a:pt x="255" y="278"/>
                    <a:pt x="255" y="278"/>
                  </a:cubicBezTo>
                  <a:cubicBezTo>
                    <a:pt x="255" y="278"/>
                    <a:pt x="268" y="106"/>
                    <a:pt x="246" y="68"/>
                  </a:cubicBezTo>
                  <a:close/>
                </a:path>
              </a:pathLst>
            </a:custGeom>
            <a:solidFill>
              <a:srgbClr val="FBC6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DF3F0FAE-C808-4270-8889-2074CC269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7975" y="5810250"/>
              <a:ext cx="820738" cy="763588"/>
            </a:xfrm>
            <a:custGeom>
              <a:avLst/>
              <a:gdLst>
                <a:gd name="T0" fmla="*/ 0 w 517"/>
                <a:gd name="T1" fmla="*/ 109 h 481"/>
                <a:gd name="T2" fmla="*/ 426 w 517"/>
                <a:gd name="T3" fmla="*/ 481 h 481"/>
                <a:gd name="T4" fmla="*/ 517 w 517"/>
                <a:gd name="T5" fmla="*/ 372 h 481"/>
                <a:gd name="T6" fmla="*/ 93 w 517"/>
                <a:gd name="T7" fmla="*/ 0 h 481"/>
                <a:gd name="T8" fmla="*/ 0 w 517"/>
                <a:gd name="T9" fmla="*/ 109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7" h="481">
                  <a:moveTo>
                    <a:pt x="0" y="109"/>
                  </a:moveTo>
                  <a:lnTo>
                    <a:pt x="426" y="481"/>
                  </a:lnTo>
                  <a:lnTo>
                    <a:pt x="517" y="372"/>
                  </a:lnTo>
                  <a:lnTo>
                    <a:pt x="93" y="0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9D97EE26-89CD-48CB-8EFF-39C10ADAF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6113" y="6103938"/>
              <a:ext cx="482600" cy="469900"/>
            </a:xfrm>
            <a:custGeom>
              <a:avLst/>
              <a:gdLst>
                <a:gd name="T0" fmla="*/ 0 w 304"/>
                <a:gd name="T1" fmla="*/ 111 h 296"/>
                <a:gd name="T2" fmla="*/ 211 w 304"/>
                <a:gd name="T3" fmla="*/ 296 h 296"/>
                <a:gd name="T4" fmla="*/ 304 w 304"/>
                <a:gd name="T5" fmla="*/ 185 h 296"/>
                <a:gd name="T6" fmla="*/ 93 w 304"/>
                <a:gd name="T7" fmla="*/ 0 h 296"/>
                <a:gd name="T8" fmla="*/ 0 w 304"/>
                <a:gd name="T9" fmla="*/ 111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4" h="296">
                  <a:moveTo>
                    <a:pt x="0" y="111"/>
                  </a:moveTo>
                  <a:lnTo>
                    <a:pt x="211" y="296"/>
                  </a:lnTo>
                  <a:lnTo>
                    <a:pt x="304" y="185"/>
                  </a:lnTo>
                  <a:lnTo>
                    <a:pt x="93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6032EDDA-1622-4C97-9DF6-F95DA2D62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4225" y="5926138"/>
              <a:ext cx="1530350" cy="927100"/>
            </a:xfrm>
            <a:custGeom>
              <a:avLst/>
              <a:gdLst>
                <a:gd name="T0" fmla="*/ 500 w 964"/>
                <a:gd name="T1" fmla="*/ 0 h 584"/>
                <a:gd name="T2" fmla="*/ 0 w 964"/>
                <a:gd name="T3" fmla="*/ 584 h 584"/>
                <a:gd name="T4" fmla="*/ 812 w 964"/>
                <a:gd name="T5" fmla="*/ 584 h 584"/>
                <a:gd name="T6" fmla="*/ 964 w 964"/>
                <a:gd name="T7" fmla="*/ 406 h 584"/>
                <a:gd name="T8" fmla="*/ 500 w 964"/>
                <a:gd name="T9" fmla="*/ 0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4" h="584">
                  <a:moveTo>
                    <a:pt x="500" y="0"/>
                  </a:moveTo>
                  <a:lnTo>
                    <a:pt x="0" y="584"/>
                  </a:lnTo>
                  <a:lnTo>
                    <a:pt x="812" y="584"/>
                  </a:lnTo>
                  <a:lnTo>
                    <a:pt x="964" y="406"/>
                  </a:lnTo>
                  <a:lnTo>
                    <a:pt x="500" y="0"/>
                  </a:lnTo>
                  <a:close/>
                </a:path>
              </a:pathLst>
            </a:custGeom>
            <a:solidFill>
              <a:srgbClr val="444F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FC6B844B-E9BB-4D80-9818-4CCD3DC7B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9713" y="6100763"/>
              <a:ext cx="100013" cy="101600"/>
            </a:xfrm>
            <a:custGeom>
              <a:avLst/>
              <a:gdLst>
                <a:gd name="T0" fmla="*/ 8 w 35"/>
                <a:gd name="T1" fmla="*/ 5 h 35"/>
                <a:gd name="T2" fmla="*/ 5 w 35"/>
                <a:gd name="T3" fmla="*/ 27 h 35"/>
                <a:gd name="T4" fmla="*/ 27 w 35"/>
                <a:gd name="T5" fmla="*/ 30 h 35"/>
                <a:gd name="T6" fmla="*/ 30 w 35"/>
                <a:gd name="T7" fmla="*/ 8 h 35"/>
                <a:gd name="T8" fmla="*/ 8 w 35"/>
                <a:gd name="T9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5">
                  <a:moveTo>
                    <a:pt x="8" y="5"/>
                  </a:moveTo>
                  <a:cubicBezTo>
                    <a:pt x="1" y="10"/>
                    <a:pt x="0" y="20"/>
                    <a:pt x="5" y="27"/>
                  </a:cubicBezTo>
                  <a:cubicBezTo>
                    <a:pt x="10" y="33"/>
                    <a:pt x="20" y="35"/>
                    <a:pt x="27" y="30"/>
                  </a:cubicBezTo>
                  <a:cubicBezTo>
                    <a:pt x="34" y="25"/>
                    <a:pt x="35" y="15"/>
                    <a:pt x="30" y="8"/>
                  </a:cubicBezTo>
                  <a:cubicBezTo>
                    <a:pt x="25" y="1"/>
                    <a:pt x="15" y="0"/>
                    <a:pt x="8" y="5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B260D29D-C5E5-42A1-8D58-671EB898B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1288" y="6216650"/>
              <a:ext cx="101600" cy="103188"/>
            </a:xfrm>
            <a:custGeom>
              <a:avLst/>
              <a:gdLst>
                <a:gd name="T0" fmla="*/ 8 w 35"/>
                <a:gd name="T1" fmla="*/ 6 h 36"/>
                <a:gd name="T2" fmla="*/ 5 w 35"/>
                <a:gd name="T3" fmla="*/ 27 h 36"/>
                <a:gd name="T4" fmla="*/ 27 w 35"/>
                <a:gd name="T5" fmla="*/ 30 h 36"/>
                <a:gd name="T6" fmla="*/ 30 w 35"/>
                <a:gd name="T7" fmla="*/ 9 h 36"/>
                <a:gd name="T8" fmla="*/ 8 w 35"/>
                <a:gd name="T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8" y="6"/>
                  </a:moveTo>
                  <a:cubicBezTo>
                    <a:pt x="1" y="11"/>
                    <a:pt x="0" y="20"/>
                    <a:pt x="5" y="27"/>
                  </a:cubicBezTo>
                  <a:cubicBezTo>
                    <a:pt x="10" y="34"/>
                    <a:pt x="20" y="36"/>
                    <a:pt x="27" y="30"/>
                  </a:cubicBezTo>
                  <a:cubicBezTo>
                    <a:pt x="34" y="25"/>
                    <a:pt x="35" y="16"/>
                    <a:pt x="30" y="9"/>
                  </a:cubicBezTo>
                  <a:cubicBezTo>
                    <a:pt x="25" y="2"/>
                    <a:pt x="15" y="0"/>
                    <a:pt x="8" y="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0F317D60-E248-4A15-976E-34368B05E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2863" y="6334125"/>
              <a:ext cx="101600" cy="101600"/>
            </a:xfrm>
            <a:custGeom>
              <a:avLst/>
              <a:gdLst>
                <a:gd name="T0" fmla="*/ 8 w 35"/>
                <a:gd name="T1" fmla="*/ 5 h 35"/>
                <a:gd name="T2" fmla="*/ 5 w 35"/>
                <a:gd name="T3" fmla="*/ 27 h 35"/>
                <a:gd name="T4" fmla="*/ 27 w 35"/>
                <a:gd name="T5" fmla="*/ 30 h 35"/>
                <a:gd name="T6" fmla="*/ 30 w 35"/>
                <a:gd name="T7" fmla="*/ 8 h 35"/>
                <a:gd name="T8" fmla="*/ 8 w 35"/>
                <a:gd name="T9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5">
                  <a:moveTo>
                    <a:pt x="8" y="5"/>
                  </a:moveTo>
                  <a:cubicBezTo>
                    <a:pt x="1" y="10"/>
                    <a:pt x="0" y="20"/>
                    <a:pt x="5" y="27"/>
                  </a:cubicBezTo>
                  <a:cubicBezTo>
                    <a:pt x="10" y="34"/>
                    <a:pt x="20" y="35"/>
                    <a:pt x="27" y="30"/>
                  </a:cubicBezTo>
                  <a:cubicBezTo>
                    <a:pt x="34" y="25"/>
                    <a:pt x="35" y="15"/>
                    <a:pt x="30" y="8"/>
                  </a:cubicBezTo>
                  <a:cubicBezTo>
                    <a:pt x="25" y="2"/>
                    <a:pt x="15" y="0"/>
                    <a:pt x="8" y="5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773D8504-17CE-4885-8D10-320CAD42C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0" y="6248400"/>
              <a:ext cx="885825" cy="604838"/>
            </a:xfrm>
            <a:custGeom>
              <a:avLst/>
              <a:gdLst>
                <a:gd name="T0" fmla="*/ 326 w 558"/>
                <a:gd name="T1" fmla="*/ 0 h 381"/>
                <a:gd name="T2" fmla="*/ 0 w 558"/>
                <a:gd name="T3" fmla="*/ 381 h 381"/>
                <a:gd name="T4" fmla="*/ 406 w 558"/>
                <a:gd name="T5" fmla="*/ 381 h 381"/>
                <a:gd name="T6" fmla="*/ 558 w 558"/>
                <a:gd name="T7" fmla="*/ 203 h 381"/>
                <a:gd name="T8" fmla="*/ 326 w 558"/>
                <a:gd name="T9" fmla="*/ 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8" h="381">
                  <a:moveTo>
                    <a:pt x="326" y="0"/>
                  </a:moveTo>
                  <a:lnTo>
                    <a:pt x="0" y="381"/>
                  </a:lnTo>
                  <a:lnTo>
                    <a:pt x="406" y="381"/>
                  </a:lnTo>
                  <a:lnTo>
                    <a:pt x="558" y="203"/>
                  </a:lnTo>
                  <a:lnTo>
                    <a:pt x="326" y="0"/>
                  </a:lnTo>
                  <a:close/>
                </a:path>
              </a:pathLst>
            </a:custGeom>
            <a:solidFill>
              <a:srgbClr val="323E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F4C0B3AE-BB65-43F0-A89D-38027481D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1425" y="1217613"/>
              <a:ext cx="1219200" cy="1624013"/>
            </a:xfrm>
            <a:custGeom>
              <a:avLst/>
              <a:gdLst>
                <a:gd name="T0" fmla="*/ 227 w 422"/>
                <a:gd name="T1" fmla="*/ 51 h 564"/>
                <a:gd name="T2" fmla="*/ 109 w 422"/>
                <a:gd name="T3" fmla="*/ 92 h 564"/>
                <a:gd name="T4" fmla="*/ 70 w 422"/>
                <a:gd name="T5" fmla="*/ 138 h 564"/>
                <a:gd name="T6" fmla="*/ 10 w 422"/>
                <a:gd name="T7" fmla="*/ 331 h 564"/>
                <a:gd name="T8" fmla="*/ 28 w 422"/>
                <a:gd name="T9" fmla="*/ 397 h 564"/>
                <a:gd name="T10" fmla="*/ 162 w 422"/>
                <a:gd name="T11" fmla="*/ 564 h 564"/>
                <a:gd name="T12" fmla="*/ 176 w 422"/>
                <a:gd name="T13" fmla="*/ 466 h 564"/>
                <a:gd name="T14" fmla="*/ 113 w 422"/>
                <a:gd name="T15" fmla="*/ 370 h 564"/>
                <a:gd name="T16" fmla="*/ 150 w 422"/>
                <a:gd name="T17" fmla="*/ 281 h 564"/>
                <a:gd name="T18" fmla="*/ 224 w 422"/>
                <a:gd name="T19" fmla="*/ 178 h 564"/>
                <a:gd name="T20" fmla="*/ 422 w 422"/>
                <a:gd name="T21" fmla="*/ 164 h 564"/>
                <a:gd name="T22" fmla="*/ 227 w 422"/>
                <a:gd name="T23" fmla="*/ 51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2" h="564">
                  <a:moveTo>
                    <a:pt x="227" y="51"/>
                  </a:moveTo>
                  <a:cubicBezTo>
                    <a:pt x="109" y="92"/>
                    <a:pt x="109" y="92"/>
                    <a:pt x="109" y="92"/>
                  </a:cubicBezTo>
                  <a:cubicBezTo>
                    <a:pt x="109" y="92"/>
                    <a:pt x="83" y="93"/>
                    <a:pt x="70" y="138"/>
                  </a:cubicBezTo>
                  <a:cubicBezTo>
                    <a:pt x="60" y="172"/>
                    <a:pt x="23" y="280"/>
                    <a:pt x="10" y="331"/>
                  </a:cubicBezTo>
                  <a:cubicBezTo>
                    <a:pt x="4" y="356"/>
                    <a:pt x="0" y="357"/>
                    <a:pt x="28" y="397"/>
                  </a:cubicBezTo>
                  <a:cubicBezTo>
                    <a:pt x="63" y="446"/>
                    <a:pt x="162" y="564"/>
                    <a:pt x="162" y="564"/>
                  </a:cubicBezTo>
                  <a:cubicBezTo>
                    <a:pt x="162" y="564"/>
                    <a:pt x="212" y="528"/>
                    <a:pt x="176" y="466"/>
                  </a:cubicBezTo>
                  <a:cubicBezTo>
                    <a:pt x="150" y="423"/>
                    <a:pt x="129" y="389"/>
                    <a:pt x="113" y="370"/>
                  </a:cubicBezTo>
                  <a:cubicBezTo>
                    <a:pt x="100" y="353"/>
                    <a:pt x="150" y="281"/>
                    <a:pt x="150" y="281"/>
                  </a:cubicBezTo>
                  <a:cubicBezTo>
                    <a:pt x="150" y="281"/>
                    <a:pt x="189" y="184"/>
                    <a:pt x="224" y="178"/>
                  </a:cubicBezTo>
                  <a:cubicBezTo>
                    <a:pt x="297" y="166"/>
                    <a:pt x="422" y="164"/>
                    <a:pt x="422" y="164"/>
                  </a:cubicBezTo>
                  <a:cubicBezTo>
                    <a:pt x="411" y="150"/>
                    <a:pt x="299" y="0"/>
                    <a:pt x="227" y="51"/>
                  </a:cubicBezTo>
                  <a:close/>
                </a:path>
              </a:pathLst>
            </a:custGeom>
            <a:solidFill>
              <a:srgbClr val="F2BA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A4479E0F-D6F0-4A75-BB6B-370E84D7A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2713" y="1082675"/>
              <a:ext cx="1074738" cy="1724025"/>
            </a:xfrm>
            <a:custGeom>
              <a:avLst/>
              <a:gdLst>
                <a:gd name="T0" fmla="*/ 148 w 372"/>
                <a:gd name="T1" fmla="*/ 69 h 599"/>
                <a:gd name="T2" fmla="*/ 41 w 372"/>
                <a:gd name="T3" fmla="*/ 141 h 599"/>
                <a:gd name="T4" fmla="*/ 14 w 372"/>
                <a:gd name="T5" fmla="*/ 197 h 599"/>
                <a:gd name="T6" fmla="*/ 3 w 372"/>
                <a:gd name="T7" fmla="*/ 405 h 599"/>
                <a:gd name="T8" fmla="*/ 38 w 372"/>
                <a:gd name="T9" fmla="*/ 466 h 599"/>
                <a:gd name="T10" fmla="*/ 215 w 372"/>
                <a:gd name="T11" fmla="*/ 599 h 599"/>
                <a:gd name="T12" fmla="*/ 203 w 372"/>
                <a:gd name="T13" fmla="*/ 497 h 599"/>
                <a:gd name="T14" fmla="*/ 116 w 372"/>
                <a:gd name="T15" fmla="*/ 417 h 599"/>
                <a:gd name="T16" fmla="*/ 130 w 372"/>
                <a:gd name="T17" fmla="*/ 319 h 599"/>
                <a:gd name="T18" fmla="*/ 173 w 372"/>
                <a:gd name="T19" fmla="*/ 275 h 599"/>
                <a:gd name="T20" fmla="*/ 314 w 372"/>
                <a:gd name="T21" fmla="*/ 302 h 599"/>
                <a:gd name="T22" fmla="*/ 372 w 372"/>
                <a:gd name="T23" fmla="*/ 132 h 599"/>
                <a:gd name="T24" fmla="*/ 148 w 372"/>
                <a:gd name="T25" fmla="*/ 69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2" h="599">
                  <a:moveTo>
                    <a:pt x="148" y="69"/>
                  </a:moveTo>
                  <a:cubicBezTo>
                    <a:pt x="41" y="141"/>
                    <a:pt x="41" y="141"/>
                    <a:pt x="41" y="141"/>
                  </a:cubicBezTo>
                  <a:cubicBezTo>
                    <a:pt x="41" y="141"/>
                    <a:pt x="15" y="149"/>
                    <a:pt x="14" y="197"/>
                  </a:cubicBezTo>
                  <a:cubicBezTo>
                    <a:pt x="13" y="234"/>
                    <a:pt x="3" y="351"/>
                    <a:pt x="3" y="405"/>
                  </a:cubicBezTo>
                  <a:cubicBezTo>
                    <a:pt x="3" y="432"/>
                    <a:pt x="0" y="434"/>
                    <a:pt x="38" y="466"/>
                  </a:cubicBezTo>
                  <a:cubicBezTo>
                    <a:pt x="86" y="507"/>
                    <a:pt x="215" y="599"/>
                    <a:pt x="215" y="599"/>
                  </a:cubicBezTo>
                  <a:cubicBezTo>
                    <a:pt x="215" y="599"/>
                    <a:pt x="256" y="550"/>
                    <a:pt x="203" y="497"/>
                  </a:cubicBezTo>
                  <a:cubicBezTo>
                    <a:pt x="167" y="461"/>
                    <a:pt x="137" y="433"/>
                    <a:pt x="116" y="417"/>
                  </a:cubicBezTo>
                  <a:cubicBezTo>
                    <a:pt x="98" y="404"/>
                    <a:pt x="130" y="319"/>
                    <a:pt x="130" y="319"/>
                  </a:cubicBezTo>
                  <a:cubicBezTo>
                    <a:pt x="130" y="319"/>
                    <a:pt x="140" y="290"/>
                    <a:pt x="173" y="275"/>
                  </a:cubicBezTo>
                  <a:cubicBezTo>
                    <a:pt x="243" y="244"/>
                    <a:pt x="314" y="302"/>
                    <a:pt x="314" y="302"/>
                  </a:cubicBezTo>
                  <a:cubicBezTo>
                    <a:pt x="372" y="132"/>
                    <a:pt x="372" y="132"/>
                    <a:pt x="372" y="132"/>
                  </a:cubicBezTo>
                  <a:cubicBezTo>
                    <a:pt x="358" y="120"/>
                    <a:pt x="206" y="0"/>
                    <a:pt x="148" y="69"/>
                  </a:cubicBezTo>
                  <a:close/>
                </a:path>
              </a:pathLst>
            </a:custGeom>
            <a:solidFill>
              <a:srgbClr val="FBC6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31845E27-A2FC-42A3-80B6-242D414F02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5238" y="1909763"/>
              <a:ext cx="1741488" cy="1727200"/>
            </a:xfrm>
            <a:custGeom>
              <a:avLst/>
              <a:gdLst>
                <a:gd name="T0" fmla="*/ 535 w 603"/>
                <a:gd name="T1" fmla="*/ 125 h 600"/>
                <a:gd name="T2" fmla="*/ 537 w 603"/>
                <a:gd name="T3" fmla="*/ 123 h 600"/>
                <a:gd name="T4" fmla="*/ 513 w 603"/>
                <a:gd name="T5" fmla="*/ 22 h 600"/>
                <a:gd name="T6" fmla="*/ 410 w 603"/>
                <a:gd name="T7" fmla="*/ 45 h 600"/>
                <a:gd name="T8" fmla="*/ 398 w 603"/>
                <a:gd name="T9" fmla="*/ 126 h 600"/>
                <a:gd name="T10" fmla="*/ 261 w 603"/>
                <a:gd name="T11" fmla="*/ 39 h 600"/>
                <a:gd name="T12" fmla="*/ 174 w 603"/>
                <a:gd name="T13" fmla="*/ 174 h 600"/>
                <a:gd name="T14" fmla="*/ 125 w 603"/>
                <a:gd name="T15" fmla="*/ 104 h 600"/>
                <a:gd name="T16" fmla="*/ 122 w 603"/>
                <a:gd name="T17" fmla="*/ 103 h 600"/>
                <a:gd name="T18" fmla="*/ 22 w 603"/>
                <a:gd name="T19" fmla="*/ 127 h 600"/>
                <a:gd name="T20" fmla="*/ 45 w 603"/>
                <a:gd name="T21" fmla="*/ 229 h 600"/>
                <a:gd name="T22" fmla="*/ 131 w 603"/>
                <a:gd name="T23" fmla="*/ 242 h 600"/>
                <a:gd name="T24" fmla="*/ 42 w 603"/>
                <a:gd name="T25" fmla="*/ 381 h 600"/>
                <a:gd name="T26" fmla="*/ 180 w 603"/>
                <a:gd name="T27" fmla="*/ 469 h 600"/>
                <a:gd name="T28" fmla="*/ 192 w 603"/>
                <a:gd name="T29" fmla="*/ 386 h 600"/>
                <a:gd name="T30" fmla="*/ 295 w 603"/>
                <a:gd name="T31" fmla="*/ 363 h 600"/>
                <a:gd name="T32" fmla="*/ 319 w 603"/>
                <a:gd name="T33" fmla="*/ 464 h 600"/>
                <a:gd name="T34" fmla="*/ 317 w 603"/>
                <a:gd name="T35" fmla="*/ 466 h 600"/>
                <a:gd name="T36" fmla="*/ 250 w 603"/>
                <a:gd name="T37" fmla="*/ 513 h 600"/>
                <a:gd name="T38" fmla="*/ 384 w 603"/>
                <a:gd name="T39" fmla="*/ 600 h 600"/>
                <a:gd name="T40" fmla="*/ 603 w 603"/>
                <a:gd name="T41" fmla="*/ 258 h 600"/>
                <a:gd name="T42" fmla="*/ 469 w 603"/>
                <a:gd name="T43" fmla="*/ 172 h 600"/>
                <a:gd name="T44" fmla="*/ 535 w 603"/>
                <a:gd name="T45" fmla="*/ 125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3" h="600">
                  <a:moveTo>
                    <a:pt x="535" y="125"/>
                  </a:moveTo>
                  <a:cubicBezTo>
                    <a:pt x="536" y="124"/>
                    <a:pt x="536" y="124"/>
                    <a:pt x="537" y="123"/>
                  </a:cubicBezTo>
                  <a:cubicBezTo>
                    <a:pt x="557" y="88"/>
                    <a:pt x="546" y="44"/>
                    <a:pt x="513" y="22"/>
                  </a:cubicBezTo>
                  <a:cubicBezTo>
                    <a:pt x="478" y="0"/>
                    <a:pt x="432" y="10"/>
                    <a:pt x="410" y="45"/>
                  </a:cubicBezTo>
                  <a:cubicBezTo>
                    <a:pt x="396" y="79"/>
                    <a:pt x="402" y="97"/>
                    <a:pt x="398" y="126"/>
                  </a:cubicBezTo>
                  <a:cubicBezTo>
                    <a:pt x="261" y="39"/>
                    <a:pt x="261" y="39"/>
                    <a:pt x="261" y="39"/>
                  </a:cubicBezTo>
                  <a:cubicBezTo>
                    <a:pt x="174" y="174"/>
                    <a:pt x="174" y="174"/>
                    <a:pt x="174" y="174"/>
                  </a:cubicBezTo>
                  <a:cubicBezTo>
                    <a:pt x="154" y="148"/>
                    <a:pt x="147" y="118"/>
                    <a:pt x="125" y="104"/>
                  </a:cubicBezTo>
                  <a:cubicBezTo>
                    <a:pt x="124" y="104"/>
                    <a:pt x="123" y="103"/>
                    <a:pt x="122" y="103"/>
                  </a:cubicBezTo>
                  <a:cubicBezTo>
                    <a:pt x="88" y="82"/>
                    <a:pt x="44" y="93"/>
                    <a:pt x="22" y="127"/>
                  </a:cubicBezTo>
                  <a:cubicBezTo>
                    <a:pt x="0" y="161"/>
                    <a:pt x="10" y="207"/>
                    <a:pt x="45" y="229"/>
                  </a:cubicBezTo>
                  <a:cubicBezTo>
                    <a:pt x="81" y="245"/>
                    <a:pt x="99" y="236"/>
                    <a:pt x="131" y="242"/>
                  </a:cubicBezTo>
                  <a:cubicBezTo>
                    <a:pt x="42" y="381"/>
                    <a:pt x="42" y="381"/>
                    <a:pt x="42" y="381"/>
                  </a:cubicBezTo>
                  <a:cubicBezTo>
                    <a:pt x="180" y="469"/>
                    <a:pt x="180" y="469"/>
                    <a:pt x="180" y="469"/>
                  </a:cubicBezTo>
                  <a:cubicBezTo>
                    <a:pt x="185" y="439"/>
                    <a:pt x="177" y="421"/>
                    <a:pt x="192" y="386"/>
                  </a:cubicBezTo>
                  <a:cubicBezTo>
                    <a:pt x="214" y="351"/>
                    <a:pt x="260" y="341"/>
                    <a:pt x="295" y="363"/>
                  </a:cubicBezTo>
                  <a:cubicBezTo>
                    <a:pt x="328" y="385"/>
                    <a:pt x="339" y="429"/>
                    <a:pt x="319" y="464"/>
                  </a:cubicBezTo>
                  <a:cubicBezTo>
                    <a:pt x="318" y="464"/>
                    <a:pt x="318" y="465"/>
                    <a:pt x="317" y="466"/>
                  </a:cubicBezTo>
                  <a:cubicBezTo>
                    <a:pt x="304" y="487"/>
                    <a:pt x="275" y="495"/>
                    <a:pt x="250" y="513"/>
                  </a:cubicBezTo>
                  <a:cubicBezTo>
                    <a:pt x="384" y="600"/>
                    <a:pt x="384" y="600"/>
                    <a:pt x="384" y="600"/>
                  </a:cubicBezTo>
                  <a:cubicBezTo>
                    <a:pt x="603" y="258"/>
                    <a:pt x="603" y="258"/>
                    <a:pt x="603" y="258"/>
                  </a:cubicBezTo>
                  <a:cubicBezTo>
                    <a:pt x="469" y="172"/>
                    <a:pt x="469" y="172"/>
                    <a:pt x="469" y="172"/>
                  </a:cubicBezTo>
                  <a:cubicBezTo>
                    <a:pt x="494" y="154"/>
                    <a:pt x="522" y="146"/>
                    <a:pt x="535" y="125"/>
                  </a:cubicBez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655FC676-DE45-4E9D-B585-6B4CFA1EE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6850" y="584200"/>
              <a:ext cx="1560513" cy="1938338"/>
            </a:xfrm>
            <a:custGeom>
              <a:avLst/>
              <a:gdLst>
                <a:gd name="T0" fmla="*/ 318 w 540"/>
                <a:gd name="T1" fmla="*/ 66 h 673"/>
                <a:gd name="T2" fmla="*/ 204 w 540"/>
                <a:gd name="T3" fmla="*/ 141 h 673"/>
                <a:gd name="T4" fmla="*/ 0 w 540"/>
                <a:gd name="T5" fmla="*/ 323 h 673"/>
                <a:gd name="T6" fmla="*/ 285 w 540"/>
                <a:gd name="T7" fmla="*/ 394 h 673"/>
                <a:gd name="T8" fmla="*/ 293 w 540"/>
                <a:gd name="T9" fmla="*/ 605 h 673"/>
                <a:gd name="T10" fmla="*/ 361 w 540"/>
                <a:gd name="T11" fmla="*/ 661 h 673"/>
                <a:gd name="T12" fmla="*/ 423 w 540"/>
                <a:gd name="T13" fmla="*/ 372 h 673"/>
                <a:gd name="T14" fmla="*/ 476 w 540"/>
                <a:gd name="T15" fmla="*/ 216 h 673"/>
                <a:gd name="T16" fmla="*/ 540 w 540"/>
                <a:gd name="T17" fmla="*/ 141 h 673"/>
                <a:gd name="T18" fmla="*/ 374 w 540"/>
                <a:gd name="T19" fmla="*/ 0 h 673"/>
                <a:gd name="T20" fmla="*/ 318 w 540"/>
                <a:gd name="T21" fmla="*/ 66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0" h="673">
                  <a:moveTo>
                    <a:pt x="318" y="66"/>
                  </a:moveTo>
                  <a:cubicBezTo>
                    <a:pt x="318" y="66"/>
                    <a:pt x="231" y="115"/>
                    <a:pt x="204" y="141"/>
                  </a:cubicBezTo>
                  <a:cubicBezTo>
                    <a:pt x="172" y="171"/>
                    <a:pt x="0" y="323"/>
                    <a:pt x="0" y="323"/>
                  </a:cubicBezTo>
                  <a:cubicBezTo>
                    <a:pt x="285" y="394"/>
                    <a:pt x="285" y="394"/>
                    <a:pt x="285" y="394"/>
                  </a:cubicBezTo>
                  <a:cubicBezTo>
                    <a:pt x="285" y="394"/>
                    <a:pt x="272" y="567"/>
                    <a:pt x="293" y="605"/>
                  </a:cubicBezTo>
                  <a:cubicBezTo>
                    <a:pt x="315" y="643"/>
                    <a:pt x="356" y="673"/>
                    <a:pt x="361" y="661"/>
                  </a:cubicBezTo>
                  <a:cubicBezTo>
                    <a:pt x="366" y="650"/>
                    <a:pt x="401" y="434"/>
                    <a:pt x="423" y="372"/>
                  </a:cubicBezTo>
                  <a:cubicBezTo>
                    <a:pt x="434" y="338"/>
                    <a:pt x="476" y="216"/>
                    <a:pt x="476" y="216"/>
                  </a:cubicBezTo>
                  <a:cubicBezTo>
                    <a:pt x="540" y="141"/>
                    <a:pt x="540" y="141"/>
                    <a:pt x="540" y="141"/>
                  </a:cubicBezTo>
                  <a:cubicBezTo>
                    <a:pt x="374" y="0"/>
                    <a:pt x="374" y="0"/>
                    <a:pt x="374" y="0"/>
                  </a:cubicBezTo>
                  <a:lnTo>
                    <a:pt x="318" y="66"/>
                  </a:lnTo>
                  <a:close/>
                </a:path>
              </a:pathLst>
            </a:custGeom>
            <a:solidFill>
              <a:srgbClr val="FBC6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D79F3BB8-B55B-4EAB-9D87-A90F295B5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0775" y="427038"/>
              <a:ext cx="820738" cy="765175"/>
            </a:xfrm>
            <a:custGeom>
              <a:avLst/>
              <a:gdLst>
                <a:gd name="T0" fmla="*/ 0 w 517"/>
                <a:gd name="T1" fmla="*/ 110 h 482"/>
                <a:gd name="T2" fmla="*/ 426 w 517"/>
                <a:gd name="T3" fmla="*/ 482 h 482"/>
                <a:gd name="T4" fmla="*/ 517 w 517"/>
                <a:gd name="T5" fmla="*/ 371 h 482"/>
                <a:gd name="T6" fmla="*/ 93 w 517"/>
                <a:gd name="T7" fmla="*/ 0 h 482"/>
                <a:gd name="T8" fmla="*/ 0 w 517"/>
                <a:gd name="T9" fmla="*/ 11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7" h="482">
                  <a:moveTo>
                    <a:pt x="0" y="110"/>
                  </a:moveTo>
                  <a:lnTo>
                    <a:pt x="426" y="482"/>
                  </a:lnTo>
                  <a:lnTo>
                    <a:pt x="517" y="371"/>
                  </a:lnTo>
                  <a:lnTo>
                    <a:pt x="93" y="0"/>
                  </a:lnTo>
                  <a:lnTo>
                    <a:pt x="0" y="110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C24CB6C0-85D1-4687-A90C-600DAF208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3950" y="428625"/>
              <a:ext cx="479425" cy="466725"/>
            </a:xfrm>
            <a:custGeom>
              <a:avLst/>
              <a:gdLst>
                <a:gd name="T0" fmla="*/ 0 w 302"/>
                <a:gd name="T1" fmla="*/ 109 h 294"/>
                <a:gd name="T2" fmla="*/ 211 w 302"/>
                <a:gd name="T3" fmla="*/ 294 h 294"/>
                <a:gd name="T4" fmla="*/ 302 w 302"/>
                <a:gd name="T5" fmla="*/ 185 h 294"/>
                <a:gd name="T6" fmla="*/ 91 w 302"/>
                <a:gd name="T7" fmla="*/ 0 h 294"/>
                <a:gd name="T8" fmla="*/ 0 w 302"/>
                <a:gd name="T9" fmla="*/ 109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2" h="294">
                  <a:moveTo>
                    <a:pt x="0" y="109"/>
                  </a:moveTo>
                  <a:lnTo>
                    <a:pt x="211" y="294"/>
                  </a:lnTo>
                  <a:lnTo>
                    <a:pt x="302" y="185"/>
                  </a:lnTo>
                  <a:lnTo>
                    <a:pt x="91" y="0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39438E61-9908-42A8-AE15-1E9A68F68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8088" y="-8033"/>
              <a:ext cx="1662037" cy="1084358"/>
            </a:xfrm>
            <a:custGeom>
              <a:avLst/>
              <a:gdLst>
                <a:gd name="T0" fmla="*/ 464 w 999"/>
                <a:gd name="T1" fmla="*/ 680 h 680"/>
                <a:gd name="T2" fmla="*/ 999 w 999"/>
                <a:gd name="T3" fmla="*/ 53 h 680"/>
                <a:gd name="T4" fmla="*/ 999 w 999"/>
                <a:gd name="T5" fmla="*/ 0 h 680"/>
                <a:gd name="T6" fmla="*/ 233 w 999"/>
                <a:gd name="T7" fmla="*/ 0 h 680"/>
                <a:gd name="T8" fmla="*/ 0 w 999"/>
                <a:gd name="T9" fmla="*/ 274 h 680"/>
                <a:gd name="T10" fmla="*/ 464 w 999"/>
                <a:gd name="T11" fmla="*/ 680 h 680"/>
                <a:gd name="connsiteX0" fmla="*/ 4645 w 10480"/>
                <a:gd name="connsiteY0" fmla="*/ 10045 h 10045"/>
                <a:gd name="connsiteX1" fmla="*/ 10480 w 10480"/>
                <a:gd name="connsiteY1" fmla="*/ 0 h 10045"/>
                <a:gd name="connsiteX2" fmla="*/ 10000 w 10480"/>
                <a:gd name="connsiteY2" fmla="*/ 45 h 10045"/>
                <a:gd name="connsiteX3" fmla="*/ 2332 w 10480"/>
                <a:gd name="connsiteY3" fmla="*/ 45 h 10045"/>
                <a:gd name="connsiteX4" fmla="*/ 0 w 10480"/>
                <a:gd name="connsiteY4" fmla="*/ 4074 h 10045"/>
                <a:gd name="connsiteX5" fmla="*/ 4645 w 10480"/>
                <a:gd name="connsiteY5" fmla="*/ 10045 h 10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80" h="10045">
                  <a:moveTo>
                    <a:pt x="4645" y="10045"/>
                  </a:moveTo>
                  <a:lnTo>
                    <a:pt x="10480" y="0"/>
                  </a:lnTo>
                  <a:lnTo>
                    <a:pt x="10000" y="45"/>
                  </a:lnTo>
                  <a:lnTo>
                    <a:pt x="2332" y="45"/>
                  </a:lnTo>
                  <a:lnTo>
                    <a:pt x="0" y="4074"/>
                  </a:lnTo>
                  <a:lnTo>
                    <a:pt x="4645" y="10045"/>
                  </a:lnTo>
                  <a:close/>
                </a:path>
              </a:pathLst>
            </a:custGeom>
            <a:solidFill>
              <a:srgbClr val="323E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1F3EA4D9-A370-420E-80B5-CC33C3B1A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99763" y="800100"/>
              <a:ext cx="104775" cy="101600"/>
            </a:xfrm>
            <a:custGeom>
              <a:avLst/>
              <a:gdLst>
                <a:gd name="T0" fmla="*/ 9 w 36"/>
                <a:gd name="T1" fmla="*/ 5 h 35"/>
                <a:gd name="T2" fmla="*/ 6 w 36"/>
                <a:gd name="T3" fmla="*/ 26 h 35"/>
                <a:gd name="T4" fmla="*/ 27 w 36"/>
                <a:gd name="T5" fmla="*/ 30 h 35"/>
                <a:gd name="T6" fmla="*/ 30 w 36"/>
                <a:gd name="T7" fmla="*/ 8 h 35"/>
                <a:gd name="T8" fmla="*/ 9 w 36"/>
                <a:gd name="T9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9" y="5"/>
                  </a:moveTo>
                  <a:cubicBezTo>
                    <a:pt x="2" y="10"/>
                    <a:pt x="0" y="20"/>
                    <a:pt x="6" y="26"/>
                  </a:cubicBezTo>
                  <a:cubicBezTo>
                    <a:pt x="11" y="33"/>
                    <a:pt x="20" y="35"/>
                    <a:pt x="27" y="30"/>
                  </a:cubicBezTo>
                  <a:cubicBezTo>
                    <a:pt x="34" y="24"/>
                    <a:pt x="36" y="15"/>
                    <a:pt x="30" y="8"/>
                  </a:cubicBezTo>
                  <a:cubicBezTo>
                    <a:pt x="25" y="1"/>
                    <a:pt x="16" y="0"/>
                    <a:pt x="9" y="5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75A07DE4-4968-4D9A-9F5F-14B6269E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01363" y="682625"/>
              <a:ext cx="101600" cy="100013"/>
            </a:xfrm>
            <a:custGeom>
              <a:avLst/>
              <a:gdLst>
                <a:gd name="T0" fmla="*/ 8 w 35"/>
                <a:gd name="T1" fmla="*/ 5 h 35"/>
                <a:gd name="T2" fmla="*/ 5 w 35"/>
                <a:gd name="T3" fmla="*/ 27 h 35"/>
                <a:gd name="T4" fmla="*/ 26 w 35"/>
                <a:gd name="T5" fmla="*/ 30 h 35"/>
                <a:gd name="T6" fmla="*/ 29 w 35"/>
                <a:gd name="T7" fmla="*/ 8 h 35"/>
                <a:gd name="T8" fmla="*/ 8 w 35"/>
                <a:gd name="T9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5">
                  <a:moveTo>
                    <a:pt x="8" y="5"/>
                  </a:moveTo>
                  <a:cubicBezTo>
                    <a:pt x="1" y="10"/>
                    <a:pt x="0" y="20"/>
                    <a:pt x="5" y="27"/>
                  </a:cubicBezTo>
                  <a:cubicBezTo>
                    <a:pt x="10" y="34"/>
                    <a:pt x="20" y="35"/>
                    <a:pt x="26" y="30"/>
                  </a:cubicBezTo>
                  <a:cubicBezTo>
                    <a:pt x="33" y="25"/>
                    <a:pt x="35" y="15"/>
                    <a:pt x="29" y="8"/>
                  </a:cubicBezTo>
                  <a:cubicBezTo>
                    <a:pt x="24" y="1"/>
                    <a:pt x="15" y="0"/>
                    <a:pt x="8" y="5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7C236EEA-5777-4A91-A4AB-89E2C8B9D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99788" y="565150"/>
              <a:ext cx="100013" cy="100013"/>
            </a:xfrm>
            <a:custGeom>
              <a:avLst/>
              <a:gdLst>
                <a:gd name="T0" fmla="*/ 8 w 35"/>
                <a:gd name="T1" fmla="*/ 5 h 35"/>
                <a:gd name="T2" fmla="*/ 5 w 35"/>
                <a:gd name="T3" fmla="*/ 27 h 35"/>
                <a:gd name="T4" fmla="*/ 26 w 35"/>
                <a:gd name="T5" fmla="*/ 30 h 35"/>
                <a:gd name="T6" fmla="*/ 30 w 35"/>
                <a:gd name="T7" fmla="*/ 8 h 35"/>
                <a:gd name="T8" fmla="*/ 8 w 35"/>
                <a:gd name="T9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5">
                  <a:moveTo>
                    <a:pt x="8" y="5"/>
                  </a:moveTo>
                  <a:cubicBezTo>
                    <a:pt x="1" y="10"/>
                    <a:pt x="0" y="20"/>
                    <a:pt x="5" y="27"/>
                  </a:cubicBezTo>
                  <a:cubicBezTo>
                    <a:pt x="10" y="34"/>
                    <a:pt x="20" y="35"/>
                    <a:pt x="26" y="30"/>
                  </a:cubicBezTo>
                  <a:cubicBezTo>
                    <a:pt x="33" y="25"/>
                    <a:pt x="35" y="15"/>
                    <a:pt x="30" y="8"/>
                  </a:cubicBezTo>
                  <a:cubicBezTo>
                    <a:pt x="24" y="2"/>
                    <a:pt x="15" y="0"/>
                    <a:pt x="8" y="5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62FE11B9-86B4-4301-963D-F41F28836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8088" y="-3175"/>
              <a:ext cx="1014413" cy="757238"/>
            </a:xfrm>
            <a:custGeom>
              <a:avLst/>
              <a:gdLst>
                <a:gd name="T0" fmla="*/ 231 w 639"/>
                <a:gd name="T1" fmla="*/ 477 h 477"/>
                <a:gd name="T2" fmla="*/ 639 w 639"/>
                <a:gd name="T3" fmla="*/ 0 h 477"/>
                <a:gd name="T4" fmla="*/ 233 w 639"/>
                <a:gd name="T5" fmla="*/ 0 h 477"/>
                <a:gd name="T6" fmla="*/ 0 w 639"/>
                <a:gd name="T7" fmla="*/ 274 h 477"/>
                <a:gd name="T8" fmla="*/ 231 w 639"/>
                <a:gd name="T9" fmla="*/ 477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9" h="477">
                  <a:moveTo>
                    <a:pt x="231" y="477"/>
                  </a:moveTo>
                  <a:lnTo>
                    <a:pt x="639" y="0"/>
                  </a:lnTo>
                  <a:lnTo>
                    <a:pt x="233" y="0"/>
                  </a:lnTo>
                  <a:lnTo>
                    <a:pt x="0" y="274"/>
                  </a:lnTo>
                  <a:lnTo>
                    <a:pt x="231" y="477"/>
                  </a:lnTo>
                  <a:close/>
                </a:path>
              </a:pathLst>
            </a:custGeom>
            <a:solidFill>
              <a:srgbClr val="444F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10F1F4C-E75F-4AC7-BDBB-F9F4F3415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GOVERNANCE</a:t>
            </a:r>
            <a:endParaRPr lang="en-US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A5A5E503-F21A-49D4-B447-C887D4CAA1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defTabSz="914363">
              <a:lnSpc>
                <a:spcPct val="90000"/>
              </a:lnSpc>
              <a:spcBef>
                <a:spcPct val="0"/>
              </a:spcBef>
            </a:pPr>
            <a:r>
              <a:rPr lang="en-US" sz="1400" cap="all" spc="60" dirty="0">
                <a:ln w="3175">
                  <a:noFill/>
                </a:ln>
                <a:solidFill>
                  <a:srgbClr val="7F9FD4"/>
                </a:solidFill>
              </a:rPr>
              <a:t>The million dollar question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70102F4E-96C4-4342-A000-C76E378AC190}"/>
              </a:ext>
            </a:extLst>
          </p:cNvPr>
          <p:cNvSpPr txBox="1">
            <a:spLocks/>
          </p:cNvSpPr>
          <p:nvPr/>
        </p:nvSpPr>
        <p:spPr>
          <a:xfrm>
            <a:off x="916753" y="1916113"/>
            <a:ext cx="5179247" cy="428625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50000"/>
              </a:lnSpc>
              <a:spcBef>
                <a:spcPts val="24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1100" kern="1200" cap="none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900" marR="0" indent="-342900" algn="l" defTabSz="9143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100" kern="1200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74669" marR="0" indent="-342900" algn="l" defTabSz="9143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798513" algn="l"/>
              </a:tabLst>
              <a:defRPr lang="en-US" sz="1100" kern="1200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00089" marR="0" indent="-342900" algn="l" defTabSz="9143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100" kern="1200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036622" marR="0" indent="-342900" algn="l" defTabSz="9143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1255713" algn="l"/>
              </a:tabLst>
              <a:defRPr lang="en-US" sz="1100" kern="1200" spc="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IN" sz="3200" b="1" dirty="0">
                <a:solidFill>
                  <a:srgbClr val="252F38"/>
                </a:solidFill>
              </a:rPr>
              <a:t>“This is all fine and dandy, but I’m an admin and letting everyone create their own everything sounds like madness. 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IN" sz="3200" b="1" dirty="0">
                <a:solidFill>
                  <a:srgbClr val="252F38"/>
                </a:solidFill>
              </a:rPr>
              <a:t>How do we govern the Power Platform?”</a:t>
            </a:r>
            <a:endParaRPr lang="en-IN" sz="3200" dirty="0">
              <a:solidFill>
                <a:srgbClr val="9297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75940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ounded Rectangle 32">
            <a:extLst>
              <a:ext uri="{FF2B5EF4-FFF2-40B4-BE49-F238E27FC236}">
                <a16:creationId xmlns:a16="http://schemas.microsoft.com/office/drawing/2014/main" id="{B4D3486C-7096-40FC-BDC1-285DD92EC695}"/>
              </a:ext>
            </a:extLst>
          </p:cNvPr>
          <p:cNvSpPr/>
          <p:nvPr/>
        </p:nvSpPr>
        <p:spPr>
          <a:xfrm>
            <a:off x="6403010" y="3040771"/>
            <a:ext cx="914976" cy="3818817"/>
          </a:xfrm>
          <a:custGeom>
            <a:avLst/>
            <a:gdLst>
              <a:gd name="connsiteX0" fmla="*/ 0 w 2011716"/>
              <a:gd name="connsiteY0" fmla="*/ 260698 h 4826000"/>
              <a:gd name="connsiteX1" fmla="*/ 260698 w 2011716"/>
              <a:gd name="connsiteY1" fmla="*/ 0 h 4826000"/>
              <a:gd name="connsiteX2" fmla="*/ 1751018 w 2011716"/>
              <a:gd name="connsiteY2" fmla="*/ 0 h 4826000"/>
              <a:gd name="connsiteX3" fmla="*/ 2011716 w 2011716"/>
              <a:gd name="connsiteY3" fmla="*/ 260698 h 4826000"/>
              <a:gd name="connsiteX4" fmla="*/ 2011716 w 2011716"/>
              <a:gd name="connsiteY4" fmla="*/ 4565302 h 4826000"/>
              <a:gd name="connsiteX5" fmla="*/ 1751018 w 2011716"/>
              <a:gd name="connsiteY5" fmla="*/ 4826000 h 4826000"/>
              <a:gd name="connsiteX6" fmla="*/ 260698 w 2011716"/>
              <a:gd name="connsiteY6" fmla="*/ 4826000 h 4826000"/>
              <a:gd name="connsiteX7" fmla="*/ 0 w 2011716"/>
              <a:gd name="connsiteY7" fmla="*/ 4565302 h 4826000"/>
              <a:gd name="connsiteX8" fmla="*/ 0 w 2011716"/>
              <a:gd name="connsiteY8" fmla="*/ 260698 h 4826000"/>
              <a:gd name="connsiteX0" fmla="*/ 2011716 w 2103156"/>
              <a:gd name="connsiteY0" fmla="*/ 4565302 h 4826000"/>
              <a:gd name="connsiteX1" fmla="*/ 1751018 w 2103156"/>
              <a:gd name="connsiteY1" fmla="*/ 4826000 h 4826000"/>
              <a:gd name="connsiteX2" fmla="*/ 260698 w 2103156"/>
              <a:gd name="connsiteY2" fmla="*/ 4826000 h 4826000"/>
              <a:gd name="connsiteX3" fmla="*/ 0 w 2103156"/>
              <a:gd name="connsiteY3" fmla="*/ 4565302 h 4826000"/>
              <a:gd name="connsiteX4" fmla="*/ 0 w 2103156"/>
              <a:gd name="connsiteY4" fmla="*/ 260698 h 4826000"/>
              <a:gd name="connsiteX5" fmla="*/ 260698 w 2103156"/>
              <a:gd name="connsiteY5" fmla="*/ 0 h 4826000"/>
              <a:gd name="connsiteX6" fmla="*/ 1751018 w 2103156"/>
              <a:gd name="connsiteY6" fmla="*/ 0 h 4826000"/>
              <a:gd name="connsiteX7" fmla="*/ 2011716 w 2103156"/>
              <a:gd name="connsiteY7" fmla="*/ 260698 h 4826000"/>
              <a:gd name="connsiteX8" fmla="*/ 2103156 w 2103156"/>
              <a:gd name="connsiteY8" fmla="*/ 4656742 h 4826000"/>
              <a:gd name="connsiteX0" fmla="*/ 2011716 w 2011716"/>
              <a:gd name="connsiteY0" fmla="*/ 4565302 h 4826000"/>
              <a:gd name="connsiteX1" fmla="*/ 1751018 w 2011716"/>
              <a:gd name="connsiteY1" fmla="*/ 4826000 h 4826000"/>
              <a:gd name="connsiteX2" fmla="*/ 260698 w 2011716"/>
              <a:gd name="connsiteY2" fmla="*/ 4826000 h 4826000"/>
              <a:gd name="connsiteX3" fmla="*/ 0 w 2011716"/>
              <a:gd name="connsiteY3" fmla="*/ 4565302 h 4826000"/>
              <a:gd name="connsiteX4" fmla="*/ 0 w 2011716"/>
              <a:gd name="connsiteY4" fmla="*/ 260698 h 4826000"/>
              <a:gd name="connsiteX5" fmla="*/ 260698 w 2011716"/>
              <a:gd name="connsiteY5" fmla="*/ 0 h 4826000"/>
              <a:gd name="connsiteX6" fmla="*/ 1751018 w 2011716"/>
              <a:gd name="connsiteY6" fmla="*/ 0 h 4826000"/>
              <a:gd name="connsiteX7" fmla="*/ 2011716 w 2011716"/>
              <a:gd name="connsiteY7" fmla="*/ 260698 h 4826000"/>
              <a:gd name="connsiteX0" fmla="*/ 1751018 w 2011716"/>
              <a:gd name="connsiteY0" fmla="*/ 4826000 h 4826000"/>
              <a:gd name="connsiteX1" fmla="*/ 260698 w 2011716"/>
              <a:gd name="connsiteY1" fmla="*/ 4826000 h 4826000"/>
              <a:gd name="connsiteX2" fmla="*/ 0 w 2011716"/>
              <a:gd name="connsiteY2" fmla="*/ 4565302 h 4826000"/>
              <a:gd name="connsiteX3" fmla="*/ 0 w 2011716"/>
              <a:gd name="connsiteY3" fmla="*/ 260698 h 4826000"/>
              <a:gd name="connsiteX4" fmla="*/ 260698 w 2011716"/>
              <a:gd name="connsiteY4" fmla="*/ 0 h 4826000"/>
              <a:gd name="connsiteX5" fmla="*/ 1751018 w 2011716"/>
              <a:gd name="connsiteY5" fmla="*/ 0 h 4826000"/>
              <a:gd name="connsiteX6" fmla="*/ 2011716 w 2011716"/>
              <a:gd name="connsiteY6" fmla="*/ 260698 h 4826000"/>
              <a:gd name="connsiteX0" fmla="*/ 260698 w 2011716"/>
              <a:gd name="connsiteY0" fmla="*/ 4826000 h 4826000"/>
              <a:gd name="connsiteX1" fmla="*/ 0 w 2011716"/>
              <a:gd name="connsiteY1" fmla="*/ 4565302 h 4826000"/>
              <a:gd name="connsiteX2" fmla="*/ 0 w 2011716"/>
              <a:gd name="connsiteY2" fmla="*/ 260698 h 4826000"/>
              <a:gd name="connsiteX3" fmla="*/ 260698 w 2011716"/>
              <a:gd name="connsiteY3" fmla="*/ 0 h 4826000"/>
              <a:gd name="connsiteX4" fmla="*/ 1751018 w 2011716"/>
              <a:gd name="connsiteY4" fmla="*/ 0 h 4826000"/>
              <a:gd name="connsiteX5" fmla="*/ 2011716 w 2011716"/>
              <a:gd name="connsiteY5" fmla="*/ 260698 h 4826000"/>
              <a:gd name="connsiteX0" fmla="*/ 0 w 2011716"/>
              <a:gd name="connsiteY0" fmla="*/ 4565302 h 4565302"/>
              <a:gd name="connsiteX1" fmla="*/ 0 w 2011716"/>
              <a:gd name="connsiteY1" fmla="*/ 260698 h 4565302"/>
              <a:gd name="connsiteX2" fmla="*/ 260698 w 2011716"/>
              <a:gd name="connsiteY2" fmla="*/ 0 h 4565302"/>
              <a:gd name="connsiteX3" fmla="*/ 1751018 w 2011716"/>
              <a:gd name="connsiteY3" fmla="*/ 0 h 4565302"/>
              <a:gd name="connsiteX4" fmla="*/ 2011716 w 2011716"/>
              <a:gd name="connsiteY4" fmla="*/ 260698 h 4565302"/>
              <a:gd name="connsiteX0" fmla="*/ 0 w 1751018"/>
              <a:gd name="connsiteY0" fmla="*/ 4565302 h 4565302"/>
              <a:gd name="connsiteX1" fmla="*/ 0 w 1751018"/>
              <a:gd name="connsiteY1" fmla="*/ 260698 h 4565302"/>
              <a:gd name="connsiteX2" fmla="*/ 260698 w 1751018"/>
              <a:gd name="connsiteY2" fmla="*/ 0 h 4565302"/>
              <a:gd name="connsiteX3" fmla="*/ 1751018 w 1751018"/>
              <a:gd name="connsiteY3" fmla="*/ 0 h 4565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1018" h="4565302">
                <a:moveTo>
                  <a:pt x="0" y="4565302"/>
                </a:moveTo>
                <a:lnTo>
                  <a:pt x="0" y="260698"/>
                </a:lnTo>
                <a:cubicBezTo>
                  <a:pt x="0" y="116718"/>
                  <a:pt x="116718" y="0"/>
                  <a:pt x="260698" y="0"/>
                </a:cubicBezTo>
                <a:lnTo>
                  <a:pt x="1751018" y="0"/>
                </a:lnTo>
              </a:path>
            </a:pathLst>
          </a:custGeom>
          <a:noFill/>
          <a:ln w="355600">
            <a:solidFill>
              <a:schemeClr val="accent4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55" name="Rounded Rectangle 32">
            <a:extLst>
              <a:ext uri="{FF2B5EF4-FFF2-40B4-BE49-F238E27FC236}">
                <a16:creationId xmlns:a16="http://schemas.microsoft.com/office/drawing/2014/main" id="{9490671D-050E-4C94-BA98-CF2DC4636BCA}"/>
              </a:ext>
            </a:extLst>
          </p:cNvPr>
          <p:cNvSpPr/>
          <p:nvPr/>
        </p:nvSpPr>
        <p:spPr>
          <a:xfrm>
            <a:off x="6720374" y="4526097"/>
            <a:ext cx="597612" cy="2333490"/>
          </a:xfrm>
          <a:custGeom>
            <a:avLst/>
            <a:gdLst>
              <a:gd name="connsiteX0" fmla="*/ 0 w 2011716"/>
              <a:gd name="connsiteY0" fmla="*/ 260698 h 4826000"/>
              <a:gd name="connsiteX1" fmla="*/ 260698 w 2011716"/>
              <a:gd name="connsiteY1" fmla="*/ 0 h 4826000"/>
              <a:gd name="connsiteX2" fmla="*/ 1751018 w 2011716"/>
              <a:gd name="connsiteY2" fmla="*/ 0 h 4826000"/>
              <a:gd name="connsiteX3" fmla="*/ 2011716 w 2011716"/>
              <a:gd name="connsiteY3" fmla="*/ 260698 h 4826000"/>
              <a:gd name="connsiteX4" fmla="*/ 2011716 w 2011716"/>
              <a:gd name="connsiteY4" fmla="*/ 4565302 h 4826000"/>
              <a:gd name="connsiteX5" fmla="*/ 1751018 w 2011716"/>
              <a:gd name="connsiteY5" fmla="*/ 4826000 h 4826000"/>
              <a:gd name="connsiteX6" fmla="*/ 260698 w 2011716"/>
              <a:gd name="connsiteY6" fmla="*/ 4826000 h 4826000"/>
              <a:gd name="connsiteX7" fmla="*/ 0 w 2011716"/>
              <a:gd name="connsiteY7" fmla="*/ 4565302 h 4826000"/>
              <a:gd name="connsiteX8" fmla="*/ 0 w 2011716"/>
              <a:gd name="connsiteY8" fmla="*/ 260698 h 4826000"/>
              <a:gd name="connsiteX0" fmla="*/ 2011716 w 2103156"/>
              <a:gd name="connsiteY0" fmla="*/ 4565302 h 4826000"/>
              <a:gd name="connsiteX1" fmla="*/ 1751018 w 2103156"/>
              <a:gd name="connsiteY1" fmla="*/ 4826000 h 4826000"/>
              <a:gd name="connsiteX2" fmla="*/ 260698 w 2103156"/>
              <a:gd name="connsiteY2" fmla="*/ 4826000 h 4826000"/>
              <a:gd name="connsiteX3" fmla="*/ 0 w 2103156"/>
              <a:gd name="connsiteY3" fmla="*/ 4565302 h 4826000"/>
              <a:gd name="connsiteX4" fmla="*/ 0 w 2103156"/>
              <a:gd name="connsiteY4" fmla="*/ 260698 h 4826000"/>
              <a:gd name="connsiteX5" fmla="*/ 260698 w 2103156"/>
              <a:gd name="connsiteY5" fmla="*/ 0 h 4826000"/>
              <a:gd name="connsiteX6" fmla="*/ 1751018 w 2103156"/>
              <a:gd name="connsiteY6" fmla="*/ 0 h 4826000"/>
              <a:gd name="connsiteX7" fmla="*/ 2011716 w 2103156"/>
              <a:gd name="connsiteY7" fmla="*/ 260698 h 4826000"/>
              <a:gd name="connsiteX8" fmla="*/ 2103156 w 2103156"/>
              <a:gd name="connsiteY8" fmla="*/ 4656742 h 4826000"/>
              <a:gd name="connsiteX0" fmla="*/ 2011716 w 2011716"/>
              <a:gd name="connsiteY0" fmla="*/ 4565302 h 4826000"/>
              <a:gd name="connsiteX1" fmla="*/ 1751018 w 2011716"/>
              <a:gd name="connsiteY1" fmla="*/ 4826000 h 4826000"/>
              <a:gd name="connsiteX2" fmla="*/ 260698 w 2011716"/>
              <a:gd name="connsiteY2" fmla="*/ 4826000 h 4826000"/>
              <a:gd name="connsiteX3" fmla="*/ 0 w 2011716"/>
              <a:gd name="connsiteY3" fmla="*/ 4565302 h 4826000"/>
              <a:gd name="connsiteX4" fmla="*/ 0 w 2011716"/>
              <a:gd name="connsiteY4" fmla="*/ 260698 h 4826000"/>
              <a:gd name="connsiteX5" fmla="*/ 260698 w 2011716"/>
              <a:gd name="connsiteY5" fmla="*/ 0 h 4826000"/>
              <a:gd name="connsiteX6" fmla="*/ 1751018 w 2011716"/>
              <a:gd name="connsiteY6" fmla="*/ 0 h 4826000"/>
              <a:gd name="connsiteX7" fmla="*/ 2011716 w 2011716"/>
              <a:gd name="connsiteY7" fmla="*/ 260698 h 4826000"/>
              <a:gd name="connsiteX0" fmla="*/ 1751018 w 2011716"/>
              <a:gd name="connsiteY0" fmla="*/ 4826000 h 4826000"/>
              <a:gd name="connsiteX1" fmla="*/ 260698 w 2011716"/>
              <a:gd name="connsiteY1" fmla="*/ 4826000 h 4826000"/>
              <a:gd name="connsiteX2" fmla="*/ 0 w 2011716"/>
              <a:gd name="connsiteY2" fmla="*/ 4565302 h 4826000"/>
              <a:gd name="connsiteX3" fmla="*/ 0 w 2011716"/>
              <a:gd name="connsiteY3" fmla="*/ 260698 h 4826000"/>
              <a:gd name="connsiteX4" fmla="*/ 260698 w 2011716"/>
              <a:gd name="connsiteY4" fmla="*/ 0 h 4826000"/>
              <a:gd name="connsiteX5" fmla="*/ 1751018 w 2011716"/>
              <a:gd name="connsiteY5" fmla="*/ 0 h 4826000"/>
              <a:gd name="connsiteX6" fmla="*/ 2011716 w 2011716"/>
              <a:gd name="connsiteY6" fmla="*/ 260698 h 4826000"/>
              <a:gd name="connsiteX0" fmla="*/ 260698 w 2011716"/>
              <a:gd name="connsiteY0" fmla="*/ 4826000 h 4826000"/>
              <a:gd name="connsiteX1" fmla="*/ 0 w 2011716"/>
              <a:gd name="connsiteY1" fmla="*/ 4565302 h 4826000"/>
              <a:gd name="connsiteX2" fmla="*/ 0 w 2011716"/>
              <a:gd name="connsiteY2" fmla="*/ 260698 h 4826000"/>
              <a:gd name="connsiteX3" fmla="*/ 260698 w 2011716"/>
              <a:gd name="connsiteY3" fmla="*/ 0 h 4826000"/>
              <a:gd name="connsiteX4" fmla="*/ 1751018 w 2011716"/>
              <a:gd name="connsiteY4" fmla="*/ 0 h 4826000"/>
              <a:gd name="connsiteX5" fmla="*/ 2011716 w 2011716"/>
              <a:gd name="connsiteY5" fmla="*/ 260698 h 4826000"/>
              <a:gd name="connsiteX0" fmla="*/ 0 w 2011716"/>
              <a:gd name="connsiteY0" fmla="*/ 4565302 h 4565302"/>
              <a:gd name="connsiteX1" fmla="*/ 0 w 2011716"/>
              <a:gd name="connsiteY1" fmla="*/ 260698 h 4565302"/>
              <a:gd name="connsiteX2" fmla="*/ 260698 w 2011716"/>
              <a:gd name="connsiteY2" fmla="*/ 0 h 4565302"/>
              <a:gd name="connsiteX3" fmla="*/ 1751018 w 2011716"/>
              <a:gd name="connsiteY3" fmla="*/ 0 h 4565302"/>
              <a:gd name="connsiteX4" fmla="*/ 2011716 w 2011716"/>
              <a:gd name="connsiteY4" fmla="*/ 260698 h 4565302"/>
              <a:gd name="connsiteX0" fmla="*/ 0 w 1751018"/>
              <a:gd name="connsiteY0" fmla="*/ 4565302 h 4565302"/>
              <a:gd name="connsiteX1" fmla="*/ 0 w 1751018"/>
              <a:gd name="connsiteY1" fmla="*/ 260698 h 4565302"/>
              <a:gd name="connsiteX2" fmla="*/ 260698 w 1751018"/>
              <a:gd name="connsiteY2" fmla="*/ 0 h 4565302"/>
              <a:gd name="connsiteX3" fmla="*/ 1751018 w 1751018"/>
              <a:gd name="connsiteY3" fmla="*/ 0 h 4565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1018" h="4565302">
                <a:moveTo>
                  <a:pt x="0" y="4565302"/>
                </a:moveTo>
                <a:lnTo>
                  <a:pt x="0" y="260698"/>
                </a:lnTo>
                <a:cubicBezTo>
                  <a:pt x="0" y="116718"/>
                  <a:pt x="116718" y="0"/>
                  <a:pt x="260698" y="0"/>
                </a:cubicBezTo>
                <a:lnTo>
                  <a:pt x="1751018" y="0"/>
                </a:lnTo>
              </a:path>
            </a:pathLst>
          </a:custGeom>
          <a:noFill/>
          <a:ln w="355600">
            <a:solidFill>
              <a:schemeClr val="accent4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56" name="Rounded Rectangle 32">
            <a:extLst>
              <a:ext uri="{FF2B5EF4-FFF2-40B4-BE49-F238E27FC236}">
                <a16:creationId xmlns:a16="http://schemas.microsoft.com/office/drawing/2014/main" id="{25E5F937-2E8A-449D-A1BD-65C340102A9E}"/>
              </a:ext>
            </a:extLst>
          </p:cNvPr>
          <p:cNvSpPr/>
          <p:nvPr/>
        </p:nvSpPr>
        <p:spPr>
          <a:xfrm flipH="1">
            <a:off x="4900625" y="2270250"/>
            <a:ext cx="1180236" cy="4589337"/>
          </a:xfrm>
          <a:custGeom>
            <a:avLst/>
            <a:gdLst>
              <a:gd name="connsiteX0" fmla="*/ 0 w 2011716"/>
              <a:gd name="connsiteY0" fmla="*/ 260698 h 4826000"/>
              <a:gd name="connsiteX1" fmla="*/ 260698 w 2011716"/>
              <a:gd name="connsiteY1" fmla="*/ 0 h 4826000"/>
              <a:gd name="connsiteX2" fmla="*/ 1751018 w 2011716"/>
              <a:gd name="connsiteY2" fmla="*/ 0 h 4826000"/>
              <a:gd name="connsiteX3" fmla="*/ 2011716 w 2011716"/>
              <a:gd name="connsiteY3" fmla="*/ 260698 h 4826000"/>
              <a:gd name="connsiteX4" fmla="*/ 2011716 w 2011716"/>
              <a:gd name="connsiteY4" fmla="*/ 4565302 h 4826000"/>
              <a:gd name="connsiteX5" fmla="*/ 1751018 w 2011716"/>
              <a:gd name="connsiteY5" fmla="*/ 4826000 h 4826000"/>
              <a:gd name="connsiteX6" fmla="*/ 260698 w 2011716"/>
              <a:gd name="connsiteY6" fmla="*/ 4826000 h 4826000"/>
              <a:gd name="connsiteX7" fmla="*/ 0 w 2011716"/>
              <a:gd name="connsiteY7" fmla="*/ 4565302 h 4826000"/>
              <a:gd name="connsiteX8" fmla="*/ 0 w 2011716"/>
              <a:gd name="connsiteY8" fmla="*/ 260698 h 4826000"/>
              <a:gd name="connsiteX0" fmla="*/ 2011716 w 2103156"/>
              <a:gd name="connsiteY0" fmla="*/ 4565302 h 4826000"/>
              <a:gd name="connsiteX1" fmla="*/ 1751018 w 2103156"/>
              <a:gd name="connsiteY1" fmla="*/ 4826000 h 4826000"/>
              <a:gd name="connsiteX2" fmla="*/ 260698 w 2103156"/>
              <a:gd name="connsiteY2" fmla="*/ 4826000 h 4826000"/>
              <a:gd name="connsiteX3" fmla="*/ 0 w 2103156"/>
              <a:gd name="connsiteY3" fmla="*/ 4565302 h 4826000"/>
              <a:gd name="connsiteX4" fmla="*/ 0 w 2103156"/>
              <a:gd name="connsiteY4" fmla="*/ 260698 h 4826000"/>
              <a:gd name="connsiteX5" fmla="*/ 260698 w 2103156"/>
              <a:gd name="connsiteY5" fmla="*/ 0 h 4826000"/>
              <a:gd name="connsiteX6" fmla="*/ 1751018 w 2103156"/>
              <a:gd name="connsiteY6" fmla="*/ 0 h 4826000"/>
              <a:gd name="connsiteX7" fmla="*/ 2011716 w 2103156"/>
              <a:gd name="connsiteY7" fmla="*/ 260698 h 4826000"/>
              <a:gd name="connsiteX8" fmla="*/ 2103156 w 2103156"/>
              <a:gd name="connsiteY8" fmla="*/ 4656742 h 4826000"/>
              <a:gd name="connsiteX0" fmla="*/ 2011716 w 2011716"/>
              <a:gd name="connsiteY0" fmla="*/ 4565302 h 4826000"/>
              <a:gd name="connsiteX1" fmla="*/ 1751018 w 2011716"/>
              <a:gd name="connsiteY1" fmla="*/ 4826000 h 4826000"/>
              <a:gd name="connsiteX2" fmla="*/ 260698 w 2011716"/>
              <a:gd name="connsiteY2" fmla="*/ 4826000 h 4826000"/>
              <a:gd name="connsiteX3" fmla="*/ 0 w 2011716"/>
              <a:gd name="connsiteY3" fmla="*/ 4565302 h 4826000"/>
              <a:gd name="connsiteX4" fmla="*/ 0 w 2011716"/>
              <a:gd name="connsiteY4" fmla="*/ 260698 h 4826000"/>
              <a:gd name="connsiteX5" fmla="*/ 260698 w 2011716"/>
              <a:gd name="connsiteY5" fmla="*/ 0 h 4826000"/>
              <a:gd name="connsiteX6" fmla="*/ 1751018 w 2011716"/>
              <a:gd name="connsiteY6" fmla="*/ 0 h 4826000"/>
              <a:gd name="connsiteX7" fmla="*/ 2011716 w 2011716"/>
              <a:gd name="connsiteY7" fmla="*/ 260698 h 4826000"/>
              <a:gd name="connsiteX0" fmla="*/ 1751018 w 2011716"/>
              <a:gd name="connsiteY0" fmla="*/ 4826000 h 4826000"/>
              <a:gd name="connsiteX1" fmla="*/ 260698 w 2011716"/>
              <a:gd name="connsiteY1" fmla="*/ 4826000 h 4826000"/>
              <a:gd name="connsiteX2" fmla="*/ 0 w 2011716"/>
              <a:gd name="connsiteY2" fmla="*/ 4565302 h 4826000"/>
              <a:gd name="connsiteX3" fmla="*/ 0 w 2011716"/>
              <a:gd name="connsiteY3" fmla="*/ 260698 h 4826000"/>
              <a:gd name="connsiteX4" fmla="*/ 260698 w 2011716"/>
              <a:gd name="connsiteY4" fmla="*/ 0 h 4826000"/>
              <a:gd name="connsiteX5" fmla="*/ 1751018 w 2011716"/>
              <a:gd name="connsiteY5" fmla="*/ 0 h 4826000"/>
              <a:gd name="connsiteX6" fmla="*/ 2011716 w 2011716"/>
              <a:gd name="connsiteY6" fmla="*/ 260698 h 4826000"/>
              <a:gd name="connsiteX0" fmla="*/ 260698 w 2011716"/>
              <a:gd name="connsiteY0" fmla="*/ 4826000 h 4826000"/>
              <a:gd name="connsiteX1" fmla="*/ 0 w 2011716"/>
              <a:gd name="connsiteY1" fmla="*/ 4565302 h 4826000"/>
              <a:gd name="connsiteX2" fmla="*/ 0 w 2011716"/>
              <a:gd name="connsiteY2" fmla="*/ 260698 h 4826000"/>
              <a:gd name="connsiteX3" fmla="*/ 260698 w 2011716"/>
              <a:gd name="connsiteY3" fmla="*/ 0 h 4826000"/>
              <a:gd name="connsiteX4" fmla="*/ 1751018 w 2011716"/>
              <a:gd name="connsiteY4" fmla="*/ 0 h 4826000"/>
              <a:gd name="connsiteX5" fmla="*/ 2011716 w 2011716"/>
              <a:gd name="connsiteY5" fmla="*/ 260698 h 4826000"/>
              <a:gd name="connsiteX0" fmla="*/ 0 w 2011716"/>
              <a:gd name="connsiteY0" fmla="*/ 4565302 h 4565302"/>
              <a:gd name="connsiteX1" fmla="*/ 0 w 2011716"/>
              <a:gd name="connsiteY1" fmla="*/ 260698 h 4565302"/>
              <a:gd name="connsiteX2" fmla="*/ 260698 w 2011716"/>
              <a:gd name="connsiteY2" fmla="*/ 0 h 4565302"/>
              <a:gd name="connsiteX3" fmla="*/ 1751018 w 2011716"/>
              <a:gd name="connsiteY3" fmla="*/ 0 h 4565302"/>
              <a:gd name="connsiteX4" fmla="*/ 2011716 w 2011716"/>
              <a:gd name="connsiteY4" fmla="*/ 260698 h 4565302"/>
              <a:gd name="connsiteX0" fmla="*/ 0 w 1751018"/>
              <a:gd name="connsiteY0" fmla="*/ 4565302 h 4565302"/>
              <a:gd name="connsiteX1" fmla="*/ 0 w 1751018"/>
              <a:gd name="connsiteY1" fmla="*/ 260698 h 4565302"/>
              <a:gd name="connsiteX2" fmla="*/ 260698 w 1751018"/>
              <a:gd name="connsiteY2" fmla="*/ 0 h 4565302"/>
              <a:gd name="connsiteX3" fmla="*/ 1751018 w 1751018"/>
              <a:gd name="connsiteY3" fmla="*/ 0 h 4565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1018" h="4565302">
                <a:moveTo>
                  <a:pt x="0" y="4565302"/>
                </a:moveTo>
                <a:lnTo>
                  <a:pt x="0" y="260698"/>
                </a:lnTo>
                <a:cubicBezTo>
                  <a:pt x="0" y="116718"/>
                  <a:pt x="116718" y="0"/>
                  <a:pt x="260698" y="0"/>
                </a:cubicBezTo>
                <a:lnTo>
                  <a:pt x="1751018" y="0"/>
                </a:lnTo>
              </a:path>
            </a:pathLst>
          </a:custGeom>
          <a:noFill/>
          <a:ln w="355600">
            <a:solidFill>
              <a:srgbClr val="2189D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57" name="Rounded Rectangle 32">
            <a:extLst>
              <a:ext uri="{FF2B5EF4-FFF2-40B4-BE49-F238E27FC236}">
                <a16:creationId xmlns:a16="http://schemas.microsoft.com/office/drawing/2014/main" id="{9E4918C8-4244-49F9-90FF-6024F78875B0}"/>
              </a:ext>
            </a:extLst>
          </p:cNvPr>
          <p:cNvSpPr/>
          <p:nvPr/>
        </p:nvSpPr>
        <p:spPr>
          <a:xfrm flipH="1">
            <a:off x="4875824" y="3617408"/>
            <a:ext cx="884269" cy="3242178"/>
          </a:xfrm>
          <a:custGeom>
            <a:avLst/>
            <a:gdLst>
              <a:gd name="connsiteX0" fmla="*/ 0 w 2011716"/>
              <a:gd name="connsiteY0" fmla="*/ 260698 h 4826000"/>
              <a:gd name="connsiteX1" fmla="*/ 260698 w 2011716"/>
              <a:gd name="connsiteY1" fmla="*/ 0 h 4826000"/>
              <a:gd name="connsiteX2" fmla="*/ 1751018 w 2011716"/>
              <a:gd name="connsiteY2" fmla="*/ 0 h 4826000"/>
              <a:gd name="connsiteX3" fmla="*/ 2011716 w 2011716"/>
              <a:gd name="connsiteY3" fmla="*/ 260698 h 4826000"/>
              <a:gd name="connsiteX4" fmla="*/ 2011716 w 2011716"/>
              <a:gd name="connsiteY4" fmla="*/ 4565302 h 4826000"/>
              <a:gd name="connsiteX5" fmla="*/ 1751018 w 2011716"/>
              <a:gd name="connsiteY5" fmla="*/ 4826000 h 4826000"/>
              <a:gd name="connsiteX6" fmla="*/ 260698 w 2011716"/>
              <a:gd name="connsiteY6" fmla="*/ 4826000 h 4826000"/>
              <a:gd name="connsiteX7" fmla="*/ 0 w 2011716"/>
              <a:gd name="connsiteY7" fmla="*/ 4565302 h 4826000"/>
              <a:gd name="connsiteX8" fmla="*/ 0 w 2011716"/>
              <a:gd name="connsiteY8" fmla="*/ 260698 h 4826000"/>
              <a:gd name="connsiteX0" fmla="*/ 2011716 w 2103156"/>
              <a:gd name="connsiteY0" fmla="*/ 4565302 h 4826000"/>
              <a:gd name="connsiteX1" fmla="*/ 1751018 w 2103156"/>
              <a:gd name="connsiteY1" fmla="*/ 4826000 h 4826000"/>
              <a:gd name="connsiteX2" fmla="*/ 260698 w 2103156"/>
              <a:gd name="connsiteY2" fmla="*/ 4826000 h 4826000"/>
              <a:gd name="connsiteX3" fmla="*/ 0 w 2103156"/>
              <a:gd name="connsiteY3" fmla="*/ 4565302 h 4826000"/>
              <a:gd name="connsiteX4" fmla="*/ 0 w 2103156"/>
              <a:gd name="connsiteY4" fmla="*/ 260698 h 4826000"/>
              <a:gd name="connsiteX5" fmla="*/ 260698 w 2103156"/>
              <a:gd name="connsiteY5" fmla="*/ 0 h 4826000"/>
              <a:gd name="connsiteX6" fmla="*/ 1751018 w 2103156"/>
              <a:gd name="connsiteY6" fmla="*/ 0 h 4826000"/>
              <a:gd name="connsiteX7" fmla="*/ 2011716 w 2103156"/>
              <a:gd name="connsiteY7" fmla="*/ 260698 h 4826000"/>
              <a:gd name="connsiteX8" fmla="*/ 2103156 w 2103156"/>
              <a:gd name="connsiteY8" fmla="*/ 4656742 h 4826000"/>
              <a:gd name="connsiteX0" fmla="*/ 2011716 w 2011716"/>
              <a:gd name="connsiteY0" fmla="*/ 4565302 h 4826000"/>
              <a:gd name="connsiteX1" fmla="*/ 1751018 w 2011716"/>
              <a:gd name="connsiteY1" fmla="*/ 4826000 h 4826000"/>
              <a:gd name="connsiteX2" fmla="*/ 260698 w 2011716"/>
              <a:gd name="connsiteY2" fmla="*/ 4826000 h 4826000"/>
              <a:gd name="connsiteX3" fmla="*/ 0 w 2011716"/>
              <a:gd name="connsiteY3" fmla="*/ 4565302 h 4826000"/>
              <a:gd name="connsiteX4" fmla="*/ 0 w 2011716"/>
              <a:gd name="connsiteY4" fmla="*/ 260698 h 4826000"/>
              <a:gd name="connsiteX5" fmla="*/ 260698 w 2011716"/>
              <a:gd name="connsiteY5" fmla="*/ 0 h 4826000"/>
              <a:gd name="connsiteX6" fmla="*/ 1751018 w 2011716"/>
              <a:gd name="connsiteY6" fmla="*/ 0 h 4826000"/>
              <a:gd name="connsiteX7" fmla="*/ 2011716 w 2011716"/>
              <a:gd name="connsiteY7" fmla="*/ 260698 h 4826000"/>
              <a:gd name="connsiteX0" fmla="*/ 1751018 w 2011716"/>
              <a:gd name="connsiteY0" fmla="*/ 4826000 h 4826000"/>
              <a:gd name="connsiteX1" fmla="*/ 260698 w 2011716"/>
              <a:gd name="connsiteY1" fmla="*/ 4826000 h 4826000"/>
              <a:gd name="connsiteX2" fmla="*/ 0 w 2011716"/>
              <a:gd name="connsiteY2" fmla="*/ 4565302 h 4826000"/>
              <a:gd name="connsiteX3" fmla="*/ 0 w 2011716"/>
              <a:gd name="connsiteY3" fmla="*/ 260698 h 4826000"/>
              <a:gd name="connsiteX4" fmla="*/ 260698 w 2011716"/>
              <a:gd name="connsiteY4" fmla="*/ 0 h 4826000"/>
              <a:gd name="connsiteX5" fmla="*/ 1751018 w 2011716"/>
              <a:gd name="connsiteY5" fmla="*/ 0 h 4826000"/>
              <a:gd name="connsiteX6" fmla="*/ 2011716 w 2011716"/>
              <a:gd name="connsiteY6" fmla="*/ 260698 h 4826000"/>
              <a:gd name="connsiteX0" fmla="*/ 260698 w 2011716"/>
              <a:gd name="connsiteY0" fmla="*/ 4826000 h 4826000"/>
              <a:gd name="connsiteX1" fmla="*/ 0 w 2011716"/>
              <a:gd name="connsiteY1" fmla="*/ 4565302 h 4826000"/>
              <a:gd name="connsiteX2" fmla="*/ 0 w 2011716"/>
              <a:gd name="connsiteY2" fmla="*/ 260698 h 4826000"/>
              <a:gd name="connsiteX3" fmla="*/ 260698 w 2011716"/>
              <a:gd name="connsiteY3" fmla="*/ 0 h 4826000"/>
              <a:gd name="connsiteX4" fmla="*/ 1751018 w 2011716"/>
              <a:gd name="connsiteY4" fmla="*/ 0 h 4826000"/>
              <a:gd name="connsiteX5" fmla="*/ 2011716 w 2011716"/>
              <a:gd name="connsiteY5" fmla="*/ 260698 h 4826000"/>
              <a:gd name="connsiteX0" fmla="*/ 0 w 2011716"/>
              <a:gd name="connsiteY0" fmla="*/ 4565302 h 4565302"/>
              <a:gd name="connsiteX1" fmla="*/ 0 w 2011716"/>
              <a:gd name="connsiteY1" fmla="*/ 260698 h 4565302"/>
              <a:gd name="connsiteX2" fmla="*/ 260698 w 2011716"/>
              <a:gd name="connsiteY2" fmla="*/ 0 h 4565302"/>
              <a:gd name="connsiteX3" fmla="*/ 1751018 w 2011716"/>
              <a:gd name="connsiteY3" fmla="*/ 0 h 4565302"/>
              <a:gd name="connsiteX4" fmla="*/ 2011716 w 2011716"/>
              <a:gd name="connsiteY4" fmla="*/ 260698 h 4565302"/>
              <a:gd name="connsiteX0" fmla="*/ 0 w 1751018"/>
              <a:gd name="connsiteY0" fmla="*/ 4565302 h 4565302"/>
              <a:gd name="connsiteX1" fmla="*/ 0 w 1751018"/>
              <a:gd name="connsiteY1" fmla="*/ 260698 h 4565302"/>
              <a:gd name="connsiteX2" fmla="*/ 260698 w 1751018"/>
              <a:gd name="connsiteY2" fmla="*/ 0 h 4565302"/>
              <a:gd name="connsiteX3" fmla="*/ 1751018 w 1751018"/>
              <a:gd name="connsiteY3" fmla="*/ 0 h 4565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1018" h="4565302">
                <a:moveTo>
                  <a:pt x="0" y="4565302"/>
                </a:moveTo>
                <a:lnTo>
                  <a:pt x="0" y="260698"/>
                </a:lnTo>
                <a:cubicBezTo>
                  <a:pt x="0" y="116718"/>
                  <a:pt x="116718" y="0"/>
                  <a:pt x="260698" y="0"/>
                </a:cubicBezTo>
                <a:lnTo>
                  <a:pt x="1751018" y="0"/>
                </a:lnTo>
              </a:path>
            </a:pathLst>
          </a:custGeom>
          <a:noFill/>
          <a:ln w="355600">
            <a:solidFill>
              <a:srgbClr val="0040A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58" name="Rounded Rectangle 32">
            <a:extLst>
              <a:ext uri="{FF2B5EF4-FFF2-40B4-BE49-F238E27FC236}">
                <a16:creationId xmlns:a16="http://schemas.microsoft.com/office/drawing/2014/main" id="{68BB5F67-A4A0-44C1-BD28-532436913CC9}"/>
              </a:ext>
            </a:extLst>
          </p:cNvPr>
          <p:cNvSpPr/>
          <p:nvPr/>
        </p:nvSpPr>
        <p:spPr>
          <a:xfrm flipH="1">
            <a:off x="4867427" y="5038046"/>
            <a:ext cx="572155" cy="1821542"/>
          </a:xfrm>
          <a:custGeom>
            <a:avLst/>
            <a:gdLst>
              <a:gd name="connsiteX0" fmla="*/ 0 w 2011716"/>
              <a:gd name="connsiteY0" fmla="*/ 260698 h 4826000"/>
              <a:gd name="connsiteX1" fmla="*/ 260698 w 2011716"/>
              <a:gd name="connsiteY1" fmla="*/ 0 h 4826000"/>
              <a:gd name="connsiteX2" fmla="*/ 1751018 w 2011716"/>
              <a:gd name="connsiteY2" fmla="*/ 0 h 4826000"/>
              <a:gd name="connsiteX3" fmla="*/ 2011716 w 2011716"/>
              <a:gd name="connsiteY3" fmla="*/ 260698 h 4826000"/>
              <a:gd name="connsiteX4" fmla="*/ 2011716 w 2011716"/>
              <a:gd name="connsiteY4" fmla="*/ 4565302 h 4826000"/>
              <a:gd name="connsiteX5" fmla="*/ 1751018 w 2011716"/>
              <a:gd name="connsiteY5" fmla="*/ 4826000 h 4826000"/>
              <a:gd name="connsiteX6" fmla="*/ 260698 w 2011716"/>
              <a:gd name="connsiteY6" fmla="*/ 4826000 h 4826000"/>
              <a:gd name="connsiteX7" fmla="*/ 0 w 2011716"/>
              <a:gd name="connsiteY7" fmla="*/ 4565302 h 4826000"/>
              <a:gd name="connsiteX8" fmla="*/ 0 w 2011716"/>
              <a:gd name="connsiteY8" fmla="*/ 260698 h 4826000"/>
              <a:gd name="connsiteX0" fmla="*/ 2011716 w 2103156"/>
              <a:gd name="connsiteY0" fmla="*/ 4565302 h 4826000"/>
              <a:gd name="connsiteX1" fmla="*/ 1751018 w 2103156"/>
              <a:gd name="connsiteY1" fmla="*/ 4826000 h 4826000"/>
              <a:gd name="connsiteX2" fmla="*/ 260698 w 2103156"/>
              <a:gd name="connsiteY2" fmla="*/ 4826000 h 4826000"/>
              <a:gd name="connsiteX3" fmla="*/ 0 w 2103156"/>
              <a:gd name="connsiteY3" fmla="*/ 4565302 h 4826000"/>
              <a:gd name="connsiteX4" fmla="*/ 0 w 2103156"/>
              <a:gd name="connsiteY4" fmla="*/ 260698 h 4826000"/>
              <a:gd name="connsiteX5" fmla="*/ 260698 w 2103156"/>
              <a:gd name="connsiteY5" fmla="*/ 0 h 4826000"/>
              <a:gd name="connsiteX6" fmla="*/ 1751018 w 2103156"/>
              <a:gd name="connsiteY6" fmla="*/ 0 h 4826000"/>
              <a:gd name="connsiteX7" fmla="*/ 2011716 w 2103156"/>
              <a:gd name="connsiteY7" fmla="*/ 260698 h 4826000"/>
              <a:gd name="connsiteX8" fmla="*/ 2103156 w 2103156"/>
              <a:gd name="connsiteY8" fmla="*/ 4656742 h 4826000"/>
              <a:gd name="connsiteX0" fmla="*/ 2011716 w 2011716"/>
              <a:gd name="connsiteY0" fmla="*/ 4565302 h 4826000"/>
              <a:gd name="connsiteX1" fmla="*/ 1751018 w 2011716"/>
              <a:gd name="connsiteY1" fmla="*/ 4826000 h 4826000"/>
              <a:gd name="connsiteX2" fmla="*/ 260698 w 2011716"/>
              <a:gd name="connsiteY2" fmla="*/ 4826000 h 4826000"/>
              <a:gd name="connsiteX3" fmla="*/ 0 w 2011716"/>
              <a:gd name="connsiteY3" fmla="*/ 4565302 h 4826000"/>
              <a:gd name="connsiteX4" fmla="*/ 0 w 2011716"/>
              <a:gd name="connsiteY4" fmla="*/ 260698 h 4826000"/>
              <a:gd name="connsiteX5" fmla="*/ 260698 w 2011716"/>
              <a:gd name="connsiteY5" fmla="*/ 0 h 4826000"/>
              <a:gd name="connsiteX6" fmla="*/ 1751018 w 2011716"/>
              <a:gd name="connsiteY6" fmla="*/ 0 h 4826000"/>
              <a:gd name="connsiteX7" fmla="*/ 2011716 w 2011716"/>
              <a:gd name="connsiteY7" fmla="*/ 260698 h 4826000"/>
              <a:gd name="connsiteX0" fmla="*/ 1751018 w 2011716"/>
              <a:gd name="connsiteY0" fmla="*/ 4826000 h 4826000"/>
              <a:gd name="connsiteX1" fmla="*/ 260698 w 2011716"/>
              <a:gd name="connsiteY1" fmla="*/ 4826000 h 4826000"/>
              <a:gd name="connsiteX2" fmla="*/ 0 w 2011716"/>
              <a:gd name="connsiteY2" fmla="*/ 4565302 h 4826000"/>
              <a:gd name="connsiteX3" fmla="*/ 0 w 2011716"/>
              <a:gd name="connsiteY3" fmla="*/ 260698 h 4826000"/>
              <a:gd name="connsiteX4" fmla="*/ 260698 w 2011716"/>
              <a:gd name="connsiteY4" fmla="*/ 0 h 4826000"/>
              <a:gd name="connsiteX5" fmla="*/ 1751018 w 2011716"/>
              <a:gd name="connsiteY5" fmla="*/ 0 h 4826000"/>
              <a:gd name="connsiteX6" fmla="*/ 2011716 w 2011716"/>
              <a:gd name="connsiteY6" fmla="*/ 260698 h 4826000"/>
              <a:gd name="connsiteX0" fmla="*/ 260698 w 2011716"/>
              <a:gd name="connsiteY0" fmla="*/ 4826000 h 4826000"/>
              <a:gd name="connsiteX1" fmla="*/ 0 w 2011716"/>
              <a:gd name="connsiteY1" fmla="*/ 4565302 h 4826000"/>
              <a:gd name="connsiteX2" fmla="*/ 0 w 2011716"/>
              <a:gd name="connsiteY2" fmla="*/ 260698 h 4826000"/>
              <a:gd name="connsiteX3" fmla="*/ 260698 w 2011716"/>
              <a:gd name="connsiteY3" fmla="*/ 0 h 4826000"/>
              <a:gd name="connsiteX4" fmla="*/ 1751018 w 2011716"/>
              <a:gd name="connsiteY4" fmla="*/ 0 h 4826000"/>
              <a:gd name="connsiteX5" fmla="*/ 2011716 w 2011716"/>
              <a:gd name="connsiteY5" fmla="*/ 260698 h 4826000"/>
              <a:gd name="connsiteX0" fmla="*/ 0 w 2011716"/>
              <a:gd name="connsiteY0" fmla="*/ 4565302 h 4565302"/>
              <a:gd name="connsiteX1" fmla="*/ 0 w 2011716"/>
              <a:gd name="connsiteY1" fmla="*/ 260698 h 4565302"/>
              <a:gd name="connsiteX2" fmla="*/ 260698 w 2011716"/>
              <a:gd name="connsiteY2" fmla="*/ 0 h 4565302"/>
              <a:gd name="connsiteX3" fmla="*/ 1751018 w 2011716"/>
              <a:gd name="connsiteY3" fmla="*/ 0 h 4565302"/>
              <a:gd name="connsiteX4" fmla="*/ 2011716 w 2011716"/>
              <a:gd name="connsiteY4" fmla="*/ 260698 h 4565302"/>
              <a:gd name="connsiteX0" fmla="*/ 0 w 1751018"/>
              <a:gd name="connsiteY0" fmla="*/ 4565302 h 4565302"/>
              <a:gd name="connsiteX1" fmla="*/ 0 w 1751018"/>
              <a:gd name="connsiteY1" fmla="*/ 260698 h 4565302"/>
              <a:gd name="connsiteX2" fmla="*/ 260698 w 1751018"/>
              <a:gd name="connsiteY2" fmla="*/ 0 h 4565302"/>
              <a:gd name="connsiteX3" fmla="*/ 1751018 w 1751018"/>
              <a:gd name="connsiteY3" fmla="*/ 0 h 4565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1018" h="4565302">
                <a:moveTo>
                  <a:pt x="0" y="4565302"/>
                </a:moveTo>
                <a:lnTo>
                  <a:pt x="0" y="260698"/>
                </a:lnTo>
                <a:cubicBezTo>
                  <a:pt x="0" y="116718"/>
                  <a:pt x="116718" y="0"/>
                  <a:pt x="260698" y="0"/>
                </a:cubicBezTo>
                <a:lnTo>
                  <a:pt x="1751018" y="0"/>
                </a:lnTo>
              </a:path>
            </a:pathLst>
          </a:custGeom>
          <a:noFill/>
          <a:ln w="355600">
            <a:solidFill>
              <a:srgbClr val="212A3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3C902A96-1EF0-4577-AD74-2E16D81F951B}"/>
              </a:ext>
            </a:extLst>
          </p:cNvPr>
          <p:cNvSpPr/>
          <p:nvPr/>
        </p:nvSpPr>
        <p:spPr>
          <a:xfrm>
            <a:off x="4157688" y="1869440"/>
            <a:ext cx="808001" cy="808293"/>
          </a:xfrm>
          <a:prstGeom prst="ellipse">
            <a:avLst/>
          </a:prstGeom>
          <a:solidFill>
            <a:srgbClr val="2189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94FD29D-8F8F-49A0-959E-AD85FD35704B}"/>
              </a:ext>
            </a:extLst>
          </p:cNvPr>
          <p:cNvSpPr/>
          <p:nvPr/>
        </p:nvSpPr>
        <p:spPr>
          <a:xfrm>
            <a:off x="4157688" y="3182916"/>
            <a:ext cx="808001" cy="808293"/>
          </a:xfrm>
          <a:prstGeom prst="ellipse">
            <a:avLst/>
          </a:prstGeom>
          <a:solidFill>
            <a:srgbClr val="0040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3200" dirty="0">
              <a:solidFill>
                <a:srgbClr val="434343"/>
              </a:solidFill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006A34C-BED6-459F-BFE2-EBEA2A541C75}"/>
              </a:ext>
            </a:extLst>
          </p:cNvPr>
          <p:cNvSpPr/>
          <p:nvPr/>
        </p:nvSpPr>
        <p:spPr>
          <a:xfrm>
            <a:off x="4157688" y="4617637"/>
            <a:ext cx="808001" cy="808293"/>
          </a:xfrm>
          <a:prstGeom prst="ellipse">
            <a:avLst/>
          </a:prstGeom>
          <a:solidFill>
            <a:srgbClr val="212A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3200" dirty="0">
              <a:solidFill>
                <a:srgbClr val="434343"/>
              </a:solidFill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7C637458-DA8E-44BB-A843-CA86880A0A06}"/>
              </a:ext>
            </a:extLst>
          </p:cNvPr>
          <p:cNvSpPr/>
          <p:nvPr/>
        </p:nvSpPr>
        <p:spPr>
          <a:xfrm>
            <a:off x="7259453" y="2657525"/>
            <a:ext cx="808001" cy="808293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3200" dirty="0">
              <a:solidFill>
                <a:srgbClr val="434343"/>
              </a:solidFill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F76DF4A9-AEDD-4EE1-B682-CBE3C5D830A8}"/>
              </a:ext>
            </a:extLst>
          </p:cNvPr>
          <p:cNvSpPr/>
          <p:nvPr/>
        </p:nvSpPr>
        <p:spPr>
          <a:xfrm>
            <a:off x="7259453" y="4125456"/>
            <a:ext cx="808001" cy="808293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3200" dirty="0">
              <a:solidFill>
                <a:srgbClr val="434343"/>
              </a:solidFill>
            </a:endParaRPr>
          </a:p>
        </p:txBody>
      </p:sp>
      <p:sp>
        <p:nvSpPr>
          <p:cNvPr id="70" name="Freeform 392">
            <a:extLst>
              <a:ext uri="{FF2B5EF4-FFF2-40B4-BE49-F238E27FC236}">
                <a16:creationId xmlns:a16="http://schemas.microsoft.com/office/drawing/2014/main" id="{79BB0000-61EF-4F6F-A42C-77DB56AEC5C9}"/>
              </a:ext>
            </a:extLst>
          </p:cNvPr>
          <p:cNvSpPr>
            <a:spLocks/>
          </p:cNvSpPr>
          <p:nvPr/>
        </p:nvSpPr>
        <p:spPr bwMode="auto">
          <a:xfrm>
            <a:off x="7484367" y="4328467"/>
            <a:ext cx="410572" cy="425918"/>
          </a:xfrm>
          <a:custGeom>
            <a:avLst/>
            <a:gdLst>
              <a:gd name="T0" fmla="*/ 65 w 107"/>
              <a:gd name="T1" fmla="*/ 111 h 111"/>
              <a:gd name="T2" fmla="*/ 65 w 107"/>
              <a:gd name="T3" fmla="*/ 77 h 111"/>
              <a:gd name="T4" fmla="*/ 42 w 107"/>
              <a:gd name="T5" fmla="*/ 77 h 111"/>
              <a:gd name="T6" fmla="*/ 42 w 107"/>
              <a:gd name="T7" fmla="*/ 111 h 111"/>
              <a:gd name="T8" fmla="*/ 12 w 107"/>
              <a:gd name="T9" fmla="*/ 111 h 111"/>
              <a:gd name="T10" fmla="*/ 12 w 107"/>
              <a:gd name="T11" fmla="*/ 61 h 111"/>
              <a:gd name="T12" fmla="*/ 0 w 107"/>
              <a:gd name="T13" fmla="*/ 61 h 111"/>
              <a:gd name="T14" fmla="*/ 15 w 107"/>
              <a:gd name="T15" fmla="*/ 38 h 111"/>
              <a:gd name="T16" fmla="*/ 15 w 107"/>
              <a:gd name="T17" fmla="*/ 16 h 111"/>
              <a:gd name="T18" fmla="*/ 31 w 107"/>
              <a:gd name="T19" fmla="*/ 16 h 111"/>
              <a:gd name="T20" fmla="*/ 31 w 107"/>
              <a:gd name="T21" fmla="*/ 23 h 111"/>
              <a:gd name="T22" fmla="*/ 53 w 107"/>
              <a:gd name="T23" fmla="*/ 0 h 111"/>
              <a:gd name="T24" fmla="*/ 107 w 107"/>
              <a:gd name="T25" fmla="*/ 61 h 111"/>
              <a:gd name="T26" fmla="*/ 95 w 107"/>
              <a:gd name="T27" fmla="*/ 61 h 111"/>
              <a:gd name="T28" fmla="*/ 95 w 107"/>
              <a:gd name="T29" fmla="*/ 111 h 111"/>
              <a:gd name="T30" fmla="*/ 65 w 107"/>
              <a:gd name="T31" fmla="*/ 111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07" h="111">
                <a:moveTo>
                  <a:pt x="65" y="111"/>
                </a:moveTo>
                <a:lnTo>
                  <a:pt x="65" y="77"/>
                </a:lnTo>
                <a:lnTo>
                  <a:pt x="42" y="77"/>
                </a:lnTo>
                <a:lnTo>
                  <a:pt x="42" y="111"/>
                </a:lnTo>
                <a:lnTo>
                  <a:pt x="12" y="111"/>
                </a:lnTo>
                <a:lnTo>
                  <a:pt x="12" y="61"/>
                </a:lnTo>
                <a:lnTo>
                  <a:pt x="0" y="61"/>
                </a:lnTo>
                <a:lnTo>
                  <a:pt x="15" y="38"/>
                </a:lnTo>
                <a:lnTo>
                  <a:pt x="15" y="16"/>
                </a:lnTo>
                <a:lnTo>
                  <a:pt x="31" y="16"/>
                </a:lnTo>
                <a:lnTo>
                  <a:pt x="31" y="23"/>
                </a:lnTo>
                <a:lnTo>
                  <a:pt x="53" y="0"/>
                </a:lnTo>
                <a:lnTo>
                  <a:pt x="107" y="61"/>
                </a:lnTo>
                <a:lnTo>
                  <a:pt x="95" y="61"/>
                </a:lnTo>
                <a:lnTo>
                  <a:pt x="95" y="111"/>
                </a:lnTo>
                <a:lnTo>
                  <a:pt x="65" y="111"/>
                </a:lnTo>
                <a:close/>
              </a:path>
            </a:pathLst>
          </a:custGeom>
          <a:noFill/>
          <a:ln w="12700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1" name="Gruppieren 28">
            <a:extLst>
              <a:ext uri="{FF2B5EF4-FFF2-40B4-BE49-F238E27FC236}">
                <a16:creationId xmlns:a16="http://schemas.microsoft.com/office/drawing/2014/main" id="{AF111D6F-C592-46A6-8E09-BB920B8A12AD}"/>
              </a:ext>
            </a:extLst>
          </p:cNvPr>
          <p:cNvGrpSpPr/>
          <p:nvPr/>
        </p:nvGrpSpPr>
        <p:grpSpPr>
          <a:xfrm>
            <a:off x="4312784" y="2054871"/>
            <a:ext cx="456615" cy="437430"/>
            <a:chOff x="1486693" y="2206859"/>
            <a:chExt cx="546367" cy="523411"/>
          </a:xfrm>
          <a:noFill/>
        </p:grpSpPr>
        <p:sp>
          <p:nvSpPr>
            <p:cNvPr id="76" name="Line 558">
              <a:extLst>
                <a:ext uri="{FF2B5EF4-FFF2-40B4-BE49-F238E27FC236}">
                  <a16:creationId xmlns:a16="http://schemas.microsoft.com/office/drawing/2014/main" id="{8648593A-1D7B-4EB4-982E-248BB573C4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5131" y="2206859"/>
              <a:ext cx="0" cy="348941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59">
              <a:extLst>
                <a:ext uri="{FF2B5EF4-FFF2-40B4-BE49-F238E27FC236}">
                  <a16:creationId xmlns:a16="http://schemas.microsoft.com/office/drawing/2014/main" id="{84E38158-816F-4079-BFB0-2842D41F3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789" y="2206859"/>
              <a:ext cx="243338" cy="280072"/>
            </a:xfrm>
            <a:custGeom>
              <a:avLst/>
              <a:gdLst>
                <a:gd name="T0" fmla="*/ 53 w 53"/>
                <a:gd name="T1" fmla="*/ 0 h 61"/>
                <a:gd name="T2" fmla="*/ 0 w 53"/>
                <a:gd name="T3" fmla="*/ 61 h 61"/>
                <a:gd name="T4" fmla="*/ 53 w 53"/>
                <a:gd name="T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" h="61">
                  <a:moveTo>
                    <a:pt x="53" y="0"/>
                  </a:moveTo>
                  <a:lnTo>
                    <a:pt x="0" y="61"/>
                  </a:lnTo>
                  <a:lnTo>
                    <a:pt x="53" y="61"/>
                  </a:ln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60">
              <a:extLst>
                <a:ext uri="{FF2B5EF4-FFF2-40B4-BE49-F238E27FC236}">
                  <a16:creationId xmlns:a16="http://schemas.microsoft.com/office/drawing/2014/main" id="{A3459376-4160-4765-A37A-31CBA6890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5131" y="2238999"/>
              <a:ext cx="174471" cy="266296"/>
            </a:xfrm>
            <a:custGeom>
              <a:avLst/>
              <a:gdLst>
                <a:gd name="T0" fmla="*/ 4 w 38"/>
                <a:gd name="T1" fmla="*/ 0 h 58"/>
                <a:gd name="T2" fmla="*/ 38 w 38"/>
                <a:gd name="T3" fmla="*/ 58 h 58"/>
                <a:gd name="T4" fmla="*/ 0 w 38"/>
                <a:gd name="T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" h="58">
                  <a:moveTo>
                    <a:pt x="4" y="0"/>
                  </a:moveTo>
                  <a:lnTo>
                    <a:pt x="38" y="58"/>
                  </a:lnTo>
                  <a:lnTo>
                    <a:pt x="0" y="58"/>
                  </a:ln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61">
              <a:extLst>
                <a:ext uri="{FF2B5EF4-FFF2-40B4-BE49-F238E27FC236}">
                  <a16:creationId xmlns:a16="http://schemas.microsoft.com/office/drawing/2014/main" id="{3487AA8B-0C91-4AB6-AB1E-0742C1A356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6693" y="2555799"/>
              <a:ext cx="546367" cy="174471"/>
            </a:xfrm>
            <a:custGeom>
              <a:avLst/>
              <a:gdLst>
                <a:gd name="T0" fmla="*/ 15 w 31"/>
                <a:gd name="T1" fmla="*/ 10 h 10"/>
                <a:gd name="T2" fmla="*/ 31 w 31"/>
                <a:gd name="T3" fmla="*/ 0 h 10"/>
                <a:gd name="T4" fmla="*/ 0 w 31"/>
                <a:gd name="T5" fmla="*/ 0 h 10"/>
                <a:gd name="T6" fmla="*/ 15 w 31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10">
                  <a:moveTo>
                    <a:pt x="15" y="10"/>
                  </a:moveTo>
                  <a:cubicBezTo>
                    <a:pt x="23" y="10"/>
                    <a:pt x="29" y="6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8" y="10"/>
                    <a:pt x="15" y="10"/>
                  </a:cubicBezTo>
                  <a:close/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0" name="Gruppieren 43">
            <a:extLst>
              <a:ext uri="{FF2B5EF4-FFF2-40B4-BE49-F238E27FC236}">
                <a16:creationId xmlns:a16="http://schemas.microsoft.com/office/drawing/2014/main" id="{5145800A-7C1E-423A-BCCF-4CC866C3BAF2}"/>
              </a:ext>
            </a:extLst>
          </p:cNvPr>
          <p:cNvGrpSpPr/>
          <p:nvPr/>
        </p:nvGrpSpPr>
        <p:grpSpPr>
          <a:xfrm>
            <a:off x="7518016" y="2848712"/>
            <a:ext cx="379875" cy="425920"/>
            <a:chOff x="8092430" y="2222931"/>
            <a:chExt cx="454542" cy="509638"/>
          </a:xfrm>
          <a:noFill/>
        </p:grpSpPr>
        <p:sp>
          <p:nvSpPr>
            <p:cNvPr id="81" name="Line 705">
              <a:extLst>
                <a:ext uri="{FF2B5EF4-FFF2-40B4-BE49-F238E27FC236}">
                  <a16:creationId xmlns:a16="http://schemas.microsoft.com/office/drawing/2014/main" id="{638A05B3-658E-40D7-881C-2E392FE288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78102" y="2397401"/>
              <a:ext cx="0" cy="0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Line 706">
              <a:extLst>
                <a:ext uri="{FF2B5EF4-FFF2-40B4-BE49-F238E27FC236}">
                  <a16:creationId xmlns:a16="http://schemas.microsoft.com/office/drawing/2014/main" id="{3BDBA081-3B6F-46BE-B53D-7DAA193912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99038" y="2222931"/>
              <a:ext cx="0" cy="0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707">
              <a:extLst>
                <a:ext uri="{FF2B5EF4-FFF2-40B4-BE49-F238E27FC236}">
                  <a16:creationId xmlns:a16="http://schemas.microsoft.com/office/drawing/2014/main" id="{86A9F4AC-E332-40C7-A813-6083BA31D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0795" y="2222931"/>
              <a:ext cx="367305" cy="367306"/>
            </a:xfrm>
            <a:custGeom>
              <a:avLst/>
              <a:gdLst>
                <a:gd name="T0" fmla="*/ 21 w 21"/>
                <a:gd name="T1" fmla="*/ 10 h 21"/>
                <a:gd name="T2" fmla="*/ 11 w 21"/>
                <a:gd name="T3" fmla="*/ 21 h 21"/>
                <a:gd name="T4" fmla="*/ 0 w 21"/>
                <a:gd name="T5" fmla="*/ 10 h 21"/>
                <a:gd name="T6" fmla="*/ 11 w 21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1">
                  <a:moveTo>
                    <a:pt x="21" y="10"/>
                  </a:moveTo>
                  <a:cubicBezTo>
                    <a:pt x="21" y="16"/>
                    <a:pt x="17" y="21"/>
                    <a:pt x="11" y="21"/>
                  </a:cubicBezTo>
                  <a:cubicBezTo>
                    <a:pt x="5" y="21"/>
                    <a:pt x="0" y="16"/>
                    <a:pt x="0" y="10"/>
                  </a:cubicBezTo>
                  <a:cubicBezTo>
                    <a:pt x="0" y="4"/>
                    <a:pt x="5" y="0"/>
                    <a:pt x="11" y="0"/>
                  </a:cubicBez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Oval 708">
              <a:extLst>
                <a:ext uri="{FF2B5EF4-FFF2-40B4-BE49-F238E27FC236}">
                  <a16:creationId xmlns:a16="http://schemas.microsoft.com/office/drawing/2014/main" id="{B95789E2-D8C0-497A-8C38-B9A46FC524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92430" y="2608602"/>
              <a:ext cx="119374" cy="123967"/>
            </a:xfrm>
            <a:prstGeom prst="ellipse">
              <a:avLst/>
            </a:prstGeom>
            <a:grpFill/>
            <a:ln w="12700" cap="rnd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Oval 709">
              <a:extLst>
                <a:ext uri="{FF2B5EF4-FFF2-40B4-BE49-F238E27FC236}">
                  <a16:creationId xmlns:a16="http://schemas.microsoft.com/office/drawing/2014/main" id="{311A0BDB-36B4-4BE3-AD25-76E6EC7ACE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2933" y="2663698"/>
              <a:ext cx="18365" cy="13776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Oval 710">
              <a:extLst>
                <a:ext uri="{FF2B5EF4-FFF2-40B4-BE49-F238E27FC236}">
                  <a16:creationId xmlns:a16="http://schemas.microsoft.com/office/drawing/2014/main" id="{784AFF9A-DF3A-426E-9BFD-AE459245AA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72500" y="2608602"/>
              <a:ext cx="119374" cy="123967"/>
            </a:xfrm>
            <a:prstGeom prst="ellipse">
              <a:avLst/>
            </a:prstGeom>
            <a:grpFill/>
            <a:ln w="12700" cap="rnd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Oval 711">
              <a:extLst>
                <a:ext uri="{FF2B5EF4-FFF2-40B4-BE49-F238E27FC236}">
                  <a16:creationId xmlns:a16="http://schemas.microsoft.com/office/drawing/2014/main" id="{FB206AE3-E08C-45F7-8068-7798615044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3006" y="2663698"/>
              <a:ext cx="18365" cy="13776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Line 712">
              <a:extLst>
                <a:ext uri="{FF2B5EF4-FFF2-40B4-BE49-F238E27FC236}">
                  <a16:creationId xmlns:a16="http://schemas.microsoft.com/office/drawing/2014/main" id="{288B1674-8E24-4E75-8064-E383A1580E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198029" y="2576461"/>
              <a:ext cx="13776" cy="32141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Line 713">
              <a:extLst>
                <a:ext uri="{FF2B5EF4-FFF2-40B4-BE49-F238E27FC236}">
                  <a16:creationId xmlns:a16="http://schemas.microsoft.com/office/drawing/2014/main" id="{3CD23593-5EAE-4D12-89C0-D58EACBE00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90864" y="2576461"/>
              <a:ext cx="13776" cy="32141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Line 714">
              <a:extLst>
                <a:ext uri="{FF2B5EF4-FFF2-40B4-BE49-F238E27FC236}">
                  <a16:creationId xmlns:a16="http://schemas.microsoft.com/office/drawing/2014/main" id="{CFCB3F12-1B4B-4CAC-B007-1433A01E32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04640" y="2608602"/>
              <a:ext cx="0" cy="0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Line 715">
              <a:extLst>
                <a:ext uri="{FF2B5EF4-FFF2-40B4-BE49-F238E27FC236}">
                  <a16:creationId xmlns:a16="http://schemas.microsoft.com/office/drawing/2014/main" id="{D1A9E025-6249-4B0D-8BD3-9F2D5F56C6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23006" y="2576461"/>
              <a:ext cx="0" cy="0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716">
              <a:extLst>
                <a:ext uri="{FF2B5EF4-FFF2-40B4-BE49-F238E27FC236}">
                  <a16:creationId xmlns:a16="http://schemas.microsoft.com/office/drawing/2014/main" id="{43C40214-6A90-4FA3-A78C-2793F547C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0795" y="2328529"/>
              <a:ext cx="436177" cy="68871"/>
            </a:xfrm>
            <a:custGeom>
              <a:avLst/>
              <a:gdLst>
                <a:gd name="T0" fmla="*/ 0 w 25"/>
                <a:gd name="T1" fmla="*/ 4 h 4"/>
                <a:gd name="T2" fmla="*/ 21 w 25"/>
                <a:gd name="T3" fmla="*/ 4 h 4"/>
                <a:gd name="T4" fmla="*/ 21 w 25"/>
                <a:gd name="T5" fmla="*/ 4 h 4"/>
                <a:gd name="T6" fmla="*/ 25 w 25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4">
                  <a:moveTo>
                    <a:pt x="0" y="4"/>
                  </a:move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2"/>
                    <a:pt x="23" y="0"/>
                    <a:pt x="25" y="0"/>
                  </a:cubicBez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Line 717">
              <a:extLst>
                <a:ext uri="{FF2B5EF4-FFF2-40B4-BE49-F238E27FC236}">
                  <a16:creationId xmlns:a16="http://schemas.microsoft.com/office/drawing/2014/main" id="{0923C4AF-0C89-4520-8216-1D48784BDD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99038" y="2222931"/>
              <a:ext cx="0" cy="174471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4" name="Gruppieren 57">
            <a:extLst>
              <a:ext uri="{FF2B5EF4-FFF2-40B4-BE49-F238E27FC236}">
                <a16:creationId xmlns:a16="http://schemas.microsoft.com/office/drawing/2014/main" id="{B026337C-3075-4A67-A9BC-361CBF42F302}"/>
              </a:ext>
            </a:extLst>
          </p:cNvPr>
          <p:cNvGrpSpPr/>
          <p:nvPr/>
        </p:nvGrpSpPr>
        <p:grpSpPr>
          <a:xfrm>
            <a:off x="4341055" y="3412473"/>
            <a:ext cx="441266" cy="349178"/>
            <a:chOff x="4110640" y="2238999"/>
            <a:chExt cx="528001" cy="417812"/>
          </a:xfrm>
          <a:noFill/>
        </p:grpSpPr>
        <p:sp>
          <p:nvSpPr>
            <p:cNvPr id="95" name="Freeform 785">
              <a:extLst>
                <a:ext uri="{FF2B5EF4-FFF2-40B4-BE49-F238E27FC236}">
                  <a16:creationId xmlns:a16="http://schemas.microsoft.com/office/drawing/2014/main" id="{F811EDF3-F226-4F7B-8817-89A69C6EBA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7876" y="2289503"/>
              <a:ext cx="353531" cy="123967"/>
            </a:xfrm>
            <a:custGeom>
              <a:avLst/>
              <a:gdLst>
                <a:gd name="T0" fmla="*/ 0 w 77"/>
                <a:gd name="T1" fmla="*/ 27 h 27"/>
                <a:gd name="T2" fmla="*/ 77 w 77"/>
                <a:gd name="T3" fmla="*/ 27 h 27"/>
                <a:gd name="T4" fmla="*/ 65 w 77"/>
                <a:gd name="T5" fmla="*/ 0 h 27"/>
                <a:gd name="T6" fmla="*/ 12 w 77"/>
                <a:gd name="T7" fmla="*/ 0 h 27"/>
                <a:gd name="T8" fmla="*/ 0 w 77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27">
                  <a:moveTo>
                    <a:pt x="0" y="27"/>
                  </a:moveTo>
                  <a:lnTo>
                    <a:pt x="77" y="27"/>
                  </a:lnTo>
                  <a:lnTo>
                    <a:pt x="65" y="0"/>
                  </a:lnTo>
                  <a:lnTo>
                    <a:pt x="12" y="0"/>
                  </a:lnTo>
                  <a:lnTo>
                    <a:pt x="0" y="27"/>
                  </a:lnTo>
                  <a:close/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Oval 786">
              <a:extLst>
                <a:ext uri="{FF2B5EF4-FFF2-40B4-BE49-F238E27FC236}">
                  <a16:creationId xmlns:a16="http://schemas.microsoft.com/office/drawing/2014/main" id="{961D13FC-E3D4-4196-B857-89C96F2876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7876" y="2450201"/>
              <a:ext cx="73462" cy="68871"/>
            </a:xfrm>
            <a:prstGeom prst="ellipse">
              <a:avLst/>
            </a:pr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Oval 787">
              <a:extLst>
                <a:ext uri="{FF2B5EF4-FFF2-40B4-BE49-F238E27FC236}">
                  <a16:creationId xmlns:a16="http://schemas.microsoft.com/office/drawing/2014/main" id="{B996DDD8-FD56-4872-AA52-760116FB27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7946" y="2450201"/>
              <a:ext cx="73462" cy="68871"/>
            </a:xfrm>
            <a:prstGeom prst="ellipse">
              <a:avLst/>
            </a:pr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788">
              <a:extLst>
                <a:ext uri="{FF2B5EF4-FFF2-40B4-BE49-F238E27FC236}">
                  <a16:creationId xmlns:a16="http://schemas.microsoft.com/office/drawing/2014/main" id="{06829CA6-B5FF-4642-A425-74A8B31CE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0640" y="2238999"/>
              <a:ext cx="528001" cy="417812"/>
            </a:xfrm>
            <a:custGeom>
              <a:avLst/>
              <a:gdLst>
                <a:gd name="T0" fmla="*/ 29 w 30"/>
                <a:gd name="T1" fmla="*/ 9 h 24"/>
                <a:gd name="T2" fmla="*/ 29 w 30"/>
                <a:gd name="T3" fmla="*/ 9 h 24"/>
                <a:gd name="T4" fmla="*/ 26 w 30"/>
                <a:gd name="T5" fmla="*/ 3 h 24"/>
                <a:gd name="T6" fmla="*/ 23 w 30"/>
                <a:gd name="T7" fmla="*/ 0 h 24"/>
                <a:gd name="T8" fmla="*/ 7 w 30"/>
                <a:gd name="T9" fmla="*/ 0 h 24"/>
                <a:gd name="T10" fmla="*/ 4 w 30"/>
                <a:gd name="T11" fmla="*/ 3 h 24"/>
                <a:gd name="T12" fmla="*/ 1 w 30"/>
                <a:gd name="T13" fmla="*/ 9 h 24"/>
                <a:gd name="T14" fmla="*/ 1 w 30"/>
                <a:gd name="T15" fmla="*/ 9 h 24"/>
                <a:gd name="T16" fmla="*/ 0 w 30"/>
                <a:gd name="T17" fmla="*/ 11 h 24"/>
                <a:gd name="T18" fmla="*/ 1 w 30"/>
                <a:gd name="T19" fmla="*/ 12 h 24"/>
                <a:gd name="T20" fmla="*/ 1 w 30"/>
                <a:gd name="T21" fmla="*/ 12 h 24"/>
                <a:gd name="T22" fmla="*/ 1 w 30"/>
                <a:gd name="T23" fmla="*/ 20 h 24"/>
                <a:gd name="T24" fmla="*/ 1 w 30"/>
                <a:gd name="T25" fmla="*/ 22 h 24"/>
                <a:gd name="T26" fmla="*/ 1 w 30"/>
                <a:gd name="T27" fmla="*/ 22 h 24"/>
                <a:gd name="T28" fmla="*/ 3 w 30"/>
                <a:gd name="T29" fmla="*/ 24 h 24"/>
                <a:gd name="T30" fmla="*/ 5 w 30"/>
                <a:gd name="T31" fmla="*/ 22 h 24"/>
                <a:gd name="T32" fmla="*/ 5 w 30"/>
                <a:gd name="T33" fmla="*/ 20 h 24"/>
                <a:gd name="T34" fmla="*/ 25 w 30"/>
                <a:gd name="T35" fmla="*/ 20 h 24"/>
                <a:gd name="T36" fmla="*/ 25 w 30"/>
                <a:gd name="T37" fmla="*/ 22 h 24"/>
                <a:gd name="T38" fmla="*/ 27 w 30"/>
                <a:gd name="T39" fmla="*/ 24 h 24"/>
                <a:gd name="T40" fmla="*/ 29 w 30"/>
                <a:gd name="T41" fmla="*/ 22 h 24"/>
                <a:gd name="T42" fmla="*/ 29 w 30"/>
                <a:gd name="T43" fmla="*/ 22 h 24"/>
                <a:gd name="T44" fmla="*/ 29 w 30"/>
                <a:gd name="T45" fmla="*/ 12 h 24"/>
                <a:gd name="T46" fmla="*/ 29 w 30"/>
                <a:gd name="T47" fmla="*/ 12 h 24"/>
                <a:gd name="T48" fmla="*/ 30 w 30"/>
                <a:gd name="T49" fmla="*/ 11 h 24"/>
                <a:gd name="T50" fmla="*/ 29 w 30"/>
                <a:gd name="T5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24">
                  <a:moveTo>
                    <a:pt x="29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1"/>
                    <a:pt x="24" y="0"/>
                    <a:pt x="2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4" y="1"/>
                    <a:pt x="4" y="3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2" y="24"/>
                    <a:pt x="3" y="24"/>
                  </a:cubicBezTo>
                  <a:cubicBezTo>
                    <a:pt x="4" y="24"/>
                    <a:pt x="5" y="23"/>
                    <a:pt x="5" y="22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5" y="23"/>
                    <a:pt x="26" y="24"/>
                    <a:pt x="27" y="24"/>
                  </a:cubicBezTo>
                  <a:cubicBezTo>
                    <a:pt x="28" y="24"/>
                    <a:pt x="29" y="23"/>
                    <a:pt x="29" y="22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0" y="12"/>
                    <a:pt x="30" y="11"/>
                    <a:pt x="30" y="11"/>
                  </a:cubicBezTo>
                  <a:cubicBezTo>
                    <a:pt x="30" y="10"/>
                    <a:pt x="30" y="9"/>
                    <a:pt x="29" y="9"/>
                  </a:cubicBezTo>
                  <a:close/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789">
              <a:extLst>
                <a:ext uri="{FF2B5EF4-FFF2-40B4-BE49-F238E27FC236}">
                  <a16:creationId xmlns:a16="http://schemas.microsoft.com/office/drawing/2014/main" id="{6346BC38-ACDF-45E5-AB2D-2071F12E9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206" y="2413470"/>
              <a:ext cx="68869" cy="174471"/>
            </a:xfrm>
            <a:custGeom>
              <a:avLst/>
              <a:gdLst>
                <a:gd name="T0" fmla="*/ 7 w 15"/>
                <a:gd name="T1" fmla="*/ 0 h 38"/>
                <a:gd name="T2" fmla="*/ 0 w 15"/>
                <a:gd name="T3" fmla="*/ 19 h 38"/>
                <a:gd name="T4" fmla="*/ 15 w 15"/>
                <a:gd name="T5" fmla="*/ 19 h 38"/>
                <a:gd name="T6" fmla="*/ 4 w 15"/>
                <a:gd name="T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8">
                  <a:moveTo>
                    <a:pt x="7" y="0"/>
                  </a:moveTo>
                  <a:lnTo>
                    <a:pt x="0" y="19"/>
                  </a:lnTo>
                  <a:lnTo>
                    <a:pt x="15" y="19"/>
                  </a:lnTo>
                  <a:lnTo>
                    <a:pt x="4" y="38"/>
                  </a:ln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0" name="Gruppieren 63">
            <a:extLst>
              <a:ext uri="{FF2B5EF4-FFF2-40B4-BE49-F238E27FC236}">
                <a16:creationId xmlns:a16="http://schemas.microsoft.com/office/drawing/2014/main" id="{1B0D5B3E-92D8-4A00-B328-350783D2AEA7}"/>
              </a:ext>
            </a:extLst>
          </p:cNvPr>
          <p:cNvGrpSpPr/>
          <p:nvPr/>
        </p:nvGrpSpPr>
        <p:grpSpPr>
          <a:xfrm>
            <a:off x="4314703" y="4824172"/>
            <a:ext cx="452778" cy="395221"/>
            <a:chOff x="5961527" y="2186200"/>
            <a:chExt cx="541775" cy="472905"/>
          </a:xfrm>
          <a:noFill/>
        </p:grpSpPr>
        <p:sp>
          <p:nvSpPr>
            <p:cNvPr id="101" name="Freeform 794">
              <a:extLst>
                <a:ext uri="{FF2B5EF4-FFF2-40B4-BE49-F238E27FC236}">
                  <a16:creationId xmlns:a16="http://schemas.microsoft.com/office/drawing/2014/main" id="{1E3059FA-85D6-45F5-BC97-79367C7DA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1527" y="2447904"/>
              <a:ext cx="229567" cy="105602"/>
            </a:xfrm>
            <a:custGeom>
              <a:avLst/>
              <a:gdLst>
                <a:gd name="T0" fmla="*/ 7 w 13"/>
                <a:gd name="T1" fmla="*/ 6 h 6"/>
                <a:gd name="T2" fmla="*/ 13 w 13"/>
                <a:gd name="T3" fmla="*/ 0 h 6"/>
                <a:gd name="T4" fmla="*/ 0 w 13"/>
                <a:gd name="T5" fmla="*/ 0 h 6"/>
                <a:gd name="T6" fmla="*/ 7 w 13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6">
                  <a:moveTo>
                    <a:pt x="7" y="6"/>
                  </a:moveTo>
                  <a:cubicBezTo>
                    <a:pt x="10" y="6"/>
                    <a:pt x="13" y="3"/>
                    <a:pt x="13" y="0"/>
                  </a:cubicBezTo>
                  <a:cubicBezTo>
                    <a:pt x="11" y="0"/>
                    <a:pt x="3" y="0"/>
                    <a:pt x="0" y="0"/>
                  </a:cubicBezTo>
                  <a:cubicBezTo>
                    <a:pt x="0" y="3"/>
                    <a:pt x="3" y="6"/>
                    <a:pt x="7" y="6"/>
                  </a:cubicBezTo>
                  <a:close/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795">
              <a:extLst>
                <a:ext uri="{FF2B5EF4-FFF2-40B4-BE49-F238E27FC236}">
                  <a16:creationId xmlns:a16="http://schemas.microsoft.com/office/drawing/2014/main" id="{8887D477-3F48-46C4-AD4C-624989F03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1527" y="2222931"/>
              <a:ext cx="229567" cy="224976"/>
            </a:xfrm>
            <a:custGeom>
              <a:avLst/>
              <a:gdLst>
                <a:gd name="T0" fmla="*/ 0 w 50"/>
                <a:gd name="T1" fmla="*/ 49 h 49"/>
                <a:gd name="T2" fmla="*/ 27 w 50"/>
                <a:gd name="T3" fmla="*/ 0 h 49"/>
                <a:gd name="T4" fmla="*/ 50 w 50"/>
                <a:gd name="T5" fmla="*/ 49 h 49"/>
                <a:gd name="T6" fmla="*/ 0 w 50"/>
                <a:gd name="T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49">
                  <a:moveTo>
                    <a:pt x="0" y="49"/>
                  </a:moveTo>
                  <a:lnTo>
                    <a:pt x="27" y="0"/>
                  </a:lnTo>
                  <a:lnTo>
                    <a:pt x="50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796">
              <a:extLst>
                <a:ext uri="{FF2B5EF4-FFF2-40B4-BE49-F238E27FC236}">
                  <a16:creationId xmlns:a16="http://schemas.microsoft.com/office/drawing/2014/main" id="{74B7D624-BB12-4218-83E9-8ACB2A0D58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2101" y="2447904"/>
              <a:ext cx="211201" cy="105602"/>
            </a:xfrm>
            <a:custGeom>
              <a:avLst/>
              <a:gdLst>
                <a:gd name="T0" fmla="*/ 6 w 12"/>
                <a:gd name="T1" fmla="*/ 6 h 6"/>
                <a:gd name="T2" fmla="*/ 0 w 12"/>
                <a:gd name="T3" fmla="*/ 0 h 6"/>
                <a:gd name="T4" fmla="*/ 12 w 12"/>
                <a:gd name="T5" fmla="*/ 0 h 6"/>
                <a:gd name="T6" fmla="*/ 6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6" y="6"/>
                  </a:moveTo>
                  <a:cubicBezTo>
                    <a:pt x="2" y="6"/>
                    <a:pt x="0" y="3"/>
                    <a:pt x="0" y="0"/>
                  </a:cubicBezTo>
                  <a:cubicBezTo>
                    <a:pt x="2" y="0"/>
                    <a:pt x="9" y="0"/>
                    <a:pt x="12" y="0"/>
                  </a:cubicBezTo>
                  <a:cubicBezTo>
                    <a:pt x="12" y="3"/>
                    <a:pt x="9" y="6"/>
                    <a:pt x="6" y="6"/>
                  </a:cubicBezTo>
                  <a:close/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797">
              <a:extLst>
                <a:ext uri="{FF2B5EF4-FFF2-40B4-BE49-F238E27FC236}">
                  <a16:creationId xmlns:a16="http://schemas.microsoft.com/office/drawing/2014/main" id="{D40F885D-9CBB-48AE-9256-F77E291E1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2101" y="2222931"/>
              <a:ext cx="211201" cy="224976"/>
            </a:xfrm>
            <a:custGeom>
              <a:avLst/>
              <a:gdLst>
                <a:gd name="T0" fmla="*/ 46 w 46"/>
                <a:gd name="T1" fmla="*/ 49 h 49"/>
                <a:gd name="T2" fmla="*/ 23 w 46"/>
                <a:gd name="T3" fmla="*/ 0 h 49"/>
                <a:gd name="T4" fmla="*/ 0 w 46"/>
                <a:gd name="T5" fmla="*/ 49 h 49"/>
                <a:gd name="T6" fmla="*/ 46 w 46"/>
                <a:gd name="T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49">
                  <a:moveTo>
                    <a:pt x="46" y="49"/>
                  </a:moveTo>
                  <a:lnTo>
                    <a:pt x="23" y="0"/>
                  </a:lnTo>
                  <a:lnTo>
                    <a:pt x="0" y="49"/>
                  </a:lnTo>
                  <a:lnTo>
                    <a:pt x="46" y="49"/>
                  </a:lnTo>
                  <a:close/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Line 798">
              <a:extLst>
                <a:ext uri="{FF2B5EF4-FFF2-40B4-BE49-F238E27FC236}">
                  <a16:creationId xmlns:a16="http://schemas.microsoft.com/office/drawing/2014/main" id="{BD5044DF-C04E-4EEB-8597-5643A6B204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16623" y="2222931"/>
              <a:ext cx="188245" cy="0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Line 799">
              <a:extLst>
                <a:ext uri="{FF2B5EF4-FFF2-40B4-BE49-F238E27FC236}">
                  <a16:creationId xmlns:a16="http://schemas.microsoft.com/office/drawing/2014/main" id="{BC42286B-2DA7-4C06-BA68-89B2E4E6630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241596" y="2255069"/>
              <a:ext cx="0" cy="385671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Line 800">
              <a:extLst>
                <a:ext uri="{FF2B5EF4-FFF2-40B4-BE49-F238E27FC236}">
                  <a16:creationId xmlns:a16="http://schemas.microsoft.com/office/drawing/2014/main" id="{7F3D2E0C-0486-4B21-89F5-87F35CC7C0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54362" y="2659105"/>
              <a:ext cx="156105" cy="0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Oval 801">
              <a:extLst>
                <a:ext uri="{FF2B5EF4-FFF2-40B4-BE49-F238E27FC236}">
                  <a16:creationId xmlns:a16="http://schemas.microsoft.com/office/drawing/2014/main" id="{0516B3F0-53FF-4D82-B160-91A7BEC5BF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4865" y="2186200"/>
              <a:ext cx="73462" cy="68871"/>
            </a:xfrm>
            <a:prstGeom prst="ellipse">
              <a:avLst/>
            </a:pr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Line 802">
              <a:extLst>
                <a:ext uri="{FF2B5EF4-FFF2-40B4-BE49-F238E27FC236}">
                  <a16:creationId xmlns:a16="http://schemas.microsoft.com/office/drawing/2014/main" id="{871E043E-5D4B-4D9C-B061-CB3EC1164F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78326" y="2222931"/>
              <a:ext cx="169880" cy="0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1B6AB531-D051-42FB-B0C3-B8D147759F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sz="4400" dirty="0"/>
              <a:t>Bring your own data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19947659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7">
            <a:extLst>
              <a:ext uri="{FF2B5EF4-FFF2-40B4-BE49-F238E27FC236}">
                <a16:creationId xmlns:a16="http://schemas.microsoft.com/office/drawing/2014/main" id="{7FE5E06D-08FA-4061-8AFF-471F590CDF4E}"/>
              </a:ext>
            </a:extLst>
          </p:cNvPr>
          <p:cNvSpPr txBox="1">
            <a:spLocks/>
          </p:cNvSpPr>
          <p:nvPr/>
        </p:nvSpPr>
        <p:spPr>
          <a:xfrm flipH="1">
            <a:off x="916755" y="1985406"/>
            <a:ext cx="4648555" cy="395819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IN" sz="2000" b="1" cap="none" spc="0" dirty="0">
                <a:solidFill>
                  <a:schemeClr val="accent2"/>
                </a:solidFill>
                <a:cs typeface="Arial" panose="020B0604020202020204" pitchFamily="34" charset="0"/>
              </a:rPr>
              <a:t>Valorem Events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IN" sz="2000" b="1" dirty="0">
                <a:solidFill>
                  <a:schemeClr val="accent2"/>
                </a:solidFill>
                <a:cs typeface="Arial" panose="020B0604020202020204" pitchFamily="34" charset="0"/>
              </a:rPr>
              <a:t>Power Platform tutorials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IN" sz="2000" b="1" dirty="0">
                <a:solidFill>
                  <a:schemeClr val="accent2"/>
                </a:solidFill>
                <a:cs typeface="Arial" panose="020B0604020202020204" pitchFamily="34" charset="0"/>
              </a:rPr>
              <a:t>Power Platform Adoption Framework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IN" sz="2000" b="1" cap="none" spc="0" dirty="0">
                <a:solidFill>
                  <a:schemeClr val="accent2"/>
                </a:solidFill>
                <a:cs typeface="Arial" panose="020B0604020202020204" pitchFamily="34" charset="0"/>
              </a:rPr>
              <a:t>Power Platform Community groups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IN" sz="2000" b="1" dirty="0">
                <a:solidFill>
                  <a:schemeClr val="accent2"/>
                </a:solidFill>
                <a:cs typeface="Arial" panose="020B0604020202020204" pitchFamily="34" charset="0"/>
              </a:rPr>
              <a:t>Partnering with Valorem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IN" sz="2000" b="1" cap="none" spc="0" dirty="0">
                <a:solidFill>
                  <a:schemeClr val="accent2"/>
                </a:solidFill>
                <a:cs typeface="Arial" panose="020B0604020202020204" pitchFamily="34" charset="0"/>
              </a:rPr>
              <a:t>This Not That </a:t>
            </a:r>
            <a:r>
              <a:rPr lang="en-IN" sz="2000" b="1" dirty="0">
                <a:solidFill>
                  <a:schemeClr val="accent2"/>
                </a:solidFill>
                <a:cs typeface="Arial" panose="020B0604020202020204" pitchFamily="34" charset="0"/>
              </a:rPr>
              <a:t>vlog</a:t>
            </a:r>
            <a:endParaRPr lang="en-US" sz="1600" b="1" cap="none" spc="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ACC295-228A-4111-A301-41A1C0986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ollow up &amp; resources</a:t>
            </a:r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CB533E7-8DDF-4A21-9BC4-E1F08804DD6E}"/>
              </a:ext>
            </a:extLst>
          </p:cNvPr>
          <p:cNvSpPr/>
          <p:nvPr/>
        </p:nvSpPr>
        <p:spPr>
          <a:xfrm>
            <a:off x="7635321" y="1575244"/>
            <a:ext cx="1431956" cy="1431956"/>
          </a:xfrm>
          <a:prstGeom prst="ellipse">
            <a:avLst/>
          </a:prstGeom>
          <a:solidFill>
            <a:schemeClr val="accent2">
              <a:lumMod val="40000"/>
              <a:lumOff val="60000"/>
              <a:alpha val="75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FDB245E-6E93-4CE1-8E11-C3B58FA56D18}"/>
              </a:ext>
            </a:extLst>
          </p:cNvPr>
          <p:cNvSpPr/>
          <p:nvPr/>
        </p:nvSpPr>
        <p:spPr>
          <a:xfrm>
            <a:off x="8726589" y="1532400"/>
            <a:ext cx="716912" cy="716912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763A7C2-EE49-4D48-B69B-B2827FB1AA60}"/>
              </a:ext>
            </a:extLst>
          </p:cNvPr>
          <p:cNvSpPr/>
          <p:nvPr/>
        </p:nvSpPr>
        <p:spPr>
          <a:xfrm>
            <a:off x="7069931" y="1830757"/>
            <a:ext cx="716912" cy="716912"/>
          </a:xfrm>
          <a:prstGeom prst="ellipse">
            <a:avLst/>
          </a:prstGeom>
          <a:solidFill>
            <a:schemeClr val="accent2">
              <a:lumMod val="40000"/>
              <a:lumOff val="60000"/>
              <a:alpha val="5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2908F0D8-0E73-478B-8C52-32A71991A143}"/>
              </a:ext>
            </a:extLst>
          </p:cNvPr>
          <p:cNvGrpSpPr/>
          <p:nvPr/>
        </p:nvGrpSpPr>
        <p:grpSpPr>
          <a:xfrm>
            <a:off x="8070171" y="1953656"/>
            <a:ext cx="560388" cy="565150"/>
            <a:chOff x="5597525" y="3889375"/>
            <a:chExt cx="560388" cy="565150"/>
          </a:xfrm>
          <a:solidFill>
            <a:schemeClr val="bg1"/>
          </a:solidFill>
        </p:grpSpPr>
        <p:sp>
          <p:nvSpPr>
            <p:cNvPr id="91" name="Freeform 28">
              <a:extLst>
                <a:ext uri="{FF2B5EF4-FFF2-40B4-BE49-F238E27FC236}">
                  <a16:creationId xmlns:a16="http://schemas.microsoft.com/office/drawing/2014/main" id="{38AD6508-5C02-4342-9DE7-C879363105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525" y="4243388"/>
              <a:ext cx="546100" cy="211137"/>
            </a:xfrm>
            <a:custGeom>
              <a:avLst/>
              <a:gdLst>
                <a:gd name="T0" fmla="*/ 242 w 251"/>
                <a:gd name="T1" fmla="*/ 20 h 97"/>
                <a:gd name="T2" fmla="*/ 231 w 251"/>
                <a:gd name="T3" fmla="*/ 20 h 97"/>
                <a:gd name="T4" fmla="*/ 178 w 251"/>
                <a:gd name="T5" fmla="*/ 43 h 97"/>
                <a:gd name="T6" fmla="*/ 178 w 251"/>
                <a:gd name="T7" fmla="*/ 41 h 97"/>
                <a:gd name="T8" fmla="*/ 165 w 251"/>
                <a:gd name="T9" fmla="*/ 27 h 97"/>
                <a:gd name="T10" fmla="*/ 165 w 251"/>
                <a:gd name="T11" fmla="*/ 27 h 97"/>
                <a:gd name="T12" fmla="*/ 165 w 251"/>
                <a:gd name="T13" fmla="*/ 27 h 97"/>
                <a:gd name="T14" fmla="*/ 165 w 251"/>
                <a:gd name="T15" fmla="*/ 27 h 97"/>
                <a:gd name="T16" fmla="*/ 165 w 251"/>
                <a:gd name="T17" fmla="*/ 27 h 97"/>
                <a:gd name="T18" fmla="*/ 128 w 251"/>
                <a:gd name="T19" fmla="*/ 27 h 97"/>
                <a:gd name="T20" fmla="*/ 100 w 251"/>
                <a:gd name="T21" fmla="*/ 14 h 97"/>
                <a:gd name="T22" fmla="*/ 81 w 251"/>
                <a:gd name="T23" fmla="*/ 10 h 97"/>
                <a:gd name="T24" fmla="*/ 59 w 251"/>
                <a:gd name="T25" fmla="*/ 10 h 97"/>
                <a:gd name="T26" fmla="*/ 59 w 251"/>
                <a:gd name="T27" fmla="*/ 0 h 97"/>
                <a:gd name="T28" fmla="*/ 0 w 251"/>
                <a:gd name="T29" fmla="*/ 0 h 97"/>
                <a:gd name="T30" fmla="*/ 0 w 251"/>
                <a:gd name="T31" fmla="*/ 6 h 97"/>
                <a:gd name="T32" fmla="*/ 54 w 251"/>
                <a:gd name="T33" fmla="*/ 6 h 97"/>
                <a:gd name="T34" fmla="*/ 54 w 251"/>
                <a:gd name="T35" fmla="*/ 82 h 97"/>
                <a:gd name="T36" fmla="*/ 11 w 251"/>
                <a:gd name="T37" fmla="*/ 82 h 97"/>
                <a:gd name="T38" fmla="*/ 11 w 251"/>
                <a:gd name="T39" fmla="*/ 88 h 97"/>
                <a:gd name="T40" fmla="*/ 60 w 251"/>
                <a:gd name="T41" fmla="*/ 88 h 97"/>
                <a:gd name="T42" fmla="*/ 60 w 251"/>
                <a:gd name="T43" fmla="*/ 78 h 97"/>
                <a:gd name="T44" fmla="*/ 76 w 251"/>
                <a:gd name="T45" fmla="*/ 78 h 97"/>
                <a:gd name="T46" fmla="*/ 127 w 251"/>
                <a:gd name="T47" fmla="*/ 95 h 97"/>
                <a:gd name="T48" fmla="*/ 137 w 251"/>
                <a:gd name="T49" fmla="*/ 97 h 97"/>
                <a:gd name="T50" fmla="*/ 153 w 251"/>
                <a:gd name="T51" fmla="*/ 93 h 97"/>
                <a:gd name="T52" fmla="*/ 242 w 251"/>
                <a:gd name="T53" fmla="*/ 47 h 97"/>
                <a:gd name="T54" fmla="*/ 250 w 251"/>
                <a:gd name="T55" fmla="*/ 39 h 97"/>
                <a:gd name="T56" fmla="*/ 250 w 251"/>
                <a:gd name="T57" fmla="*/ 28 h 97"/>
                <a:gd name="T58" fmla="*/ 242 w 251"/>
                <a:gd name="T59" fmla="*/ 20 h 97"/>
                <a:gd name="T60" fmla="*/ 244 w 251"/>
                <a:gd name="T61" fmla="*/ 37 h 97"/>
                <a:gd name="T62" fmla="*/ 239 w 251"/>
                <a:gd name="T63" fmla="*/ 41 h 97"/>
                <a:gd name="T64" fmla="*/ 150 w 251"/>
                <a:gd name="T65" fmla="*/ 88 h 97"/>
                <a:gd name="T66" fmla="*/ 129 w 251"/>
                <a:gd name="T67" fmla="*/ 89 h 97"/>
                <a:gd name="T68" fmla="*/ 77 w 251"/>
                <a:gd name="T69" fmla="*/ 72 h 97"/>
                <a:gd name="T70" fmla="*/ 60 w 251"/>
                <a:gd name="T71" fmla="*/ 72 h 97"/>
                <a:gd name="T72" fmla="*/ 60 w 251"/>
                <a:gd name="T73" fmla="*/ 16 h 97"/>
                <a:gd name="T74" fmla="*/ 81 w 251"/>
                <a:gd name="T75" fmla="*/ 16 h 97"/>
                <a:gd name="T76" fmla="*/ 97 w 251"/>
                <a:gd name="T77" fmla="*/ 20 h 97"/>
                <a:gd name="T78" fmla="*/ 127 w 251"/>
                <a:gd name="T79" fmla="*/ 33 h 97"/>
                <a:gd name="T80" fmla="*/ 165 w 251"/>
                <a:gd name="T81" fmla="*/ 33 h 97"/>
                <a:gd name="T82" fmla="*/ 173 w 251"/>
                <a:gd name="T83" fmla="*/ 41 h 97"/>
                <a:gd name="T84" fmla="*/ 165 w 251"/>
                <a:gd name="T85" fmla="*/ 49 h 97"/>
                <a:gd name="T86" fmla="*/ 120 w 251"/>
                <a:gd name="T87" fmla="*/ 49 h 97"/>
                <a:gd name="T88" fmla="*/ 119 w 251"/>
                <a:gd name="T89" fmla="*/ 49 h 97"/>
                <a:gd name="T90" fmla="*/ 107 w 251"/>
                <a:gd name="T91" fmla="*/ 61 h 97"/>
                <a:gd name="T92" fmla="*/ 113 w 251"/>
                <a:gd name="T93" fmla="*/ 61 h 97"/>
                <a:gd name="T94" fmla="*/ 120 w 251"/>
                <a:gd name="T95" fmla="*/ 55 h 97"/>
                <a:gd name="T96" fmla="*/ 165 w 251"/>
                <a:gd name="T97" fmla="*/ 55 h 97"/>
                <a:gd name="T98" fmla="*/ 165 w 251"/>
                <a:gd name="T99" fmla="*/ 55 h 97"/>
                <a:gd name="T100" fmla="*/ 171 w 251"/>
                <a:gd name="T101" fmla="*/ 53 h 97"/>
                <a:gd name="T102" fmla="*/ 171 w 251"/>
                <a:gd name="T103" fmla="*/ 53 h 97"/>
                <a:gd name="T104" fmla="*/ 233 w 251"/>
                <a:gd name="T105" fmla="*/ 25 h 97"/>
                <a:gd name="T106" fmla="*/ 244 w 251"/>
                <a:gd name="T107" fmla="*/ 30 h 97"/>
                <a:gd name="T108" fmla="*/ 244 w 251"/>
                <a:gd name="T109" fmla="*/ 3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97">
                  <a:moveTo>
                    <a:pt x="242" y="20"/>
                  </a:moveTo>
                  <a:cubicBezTo>
                    <a:pt x="238" y="18"/>
                    <a:pt x="234" y="18"/>
                    <a:pt x="231" y="20"/>
                  </a:cubicBezTo>
                  <a:cubicBezTo>
                    <a:pt x="178" y="43"/>
                    <a:pt x="178" y="43"/>
                    <a:pt x="178" y="43"/>
                  </a:cubicBezTo>
                  <a:cubicBezTo>
                    <a:pt x="178" y="43"/>
                    <a:pt x="178" y="42"/>
                    <a:pt x="178" y="41"/>
                  </a:cubicBezTo>
                  <a:cubicBezTo>
                    <a:pt x="178" y="33"/>
                    <a:pt x="172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28" y="27"/>
                    <a:pt x="128" y="27"/>
                    <a:pt x="128" y="27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94" y="11"/>
                    <a:pt x="87" y="10"/>
                    <a:pt x="81" y="1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11" y="82"/>
                    <a:pt x="11" y="82"/>
                    <a:pt x="11" y="82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127" y="95"/>
                    <a:pt x="127" y="95"/>
                    <a:pt x="127" y="95"/>
                  </a:cubicBezTo>
                  <a:cubicBezTo>
                    <a:pt x="131" y="97"/>
                    <a:pt x="134" y="97"/>
                    <a:pt x="137" y="97"/>
                  </a:cubicBezTo>
                  <a:cubicBezTo>
                    <a:pt x="143" y="97"/>
                    <a:pt x="148" y="96"/>
                    <a:pt x="153" y="93"/>
                  </a:cubicBezTo>
                  <a:cubicBezTo>
                    <a:pt x="242" y="47"/>
                    <a:pt x="242" y="47"/>
                    <a:pt x="242" y="47"/>
                  </a:cubicBezTo>
                  <a:cubicBezTo>
                    <a:pt x="245" y="45"/>
                    <a:pt x="248" y="43"/>
                    <a:pt x="250" y="39"/>
                  </a:cubicBezTo>
                  <a:cubicBezTo>
                    <a:pt x="251" y="35"/>
                    <a:pt x="251" y="31"/>
                    <a:pt x="250" y="28"/>
                  </a:cubicBezTo>
                  <a:cubicBezTo>
                    <a:pt x="248" y="24"/>
                    <a:pt x="245" y="21"/>
                    <a:pt x="242" y="20"/>
                  </a:cubicBezTo>
                  <a:close/>
                  <a:moveTo>
                    <a:pt x="244" y="37"/>
                  </a:moveTo>
                  <a:cubicBezTo>
                    <a:pt x="243" y="39"/>
                    <a:pt x="242" y="40"/>
                    <a:pt x="239" y="41"/>
                  </a:cubicBezTo>
                  <a:cubicBezTo>
                    <a:pt x="150" y="88"/>
                    <a:pt x="150" y="88"/>
                    <a:pt x="150" y="88"/>
                  </a:cubicBezTo>
                  <a:cubicBezTo>
                    <a:pt x="144" y="91"/>
                    <a:pt x="136" y="92"/>
                    <a:pt x="129" y="89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7" y="16"/>
                    <a:pt x="93" y="17"/>
                    <a:pt x="97" y="20"/>
                  </a:cubicBezTo>
                  <a:cubicBezTo>
                    <a:pt x="127" y="33"/>
                    <a:pt x="127" y="33"/>
                    <a:pt x="127" y="33"/>
                  </a:cubicBezTo>
                  <a:cubicBezTo>
                    <a:pt x="165" y="33"/>
                    <a:pt x="165" y="33"/>
                    <a:pt x="165" y="33"/>
                  </a:cubicBezTo>
                  <a:cubicBezTo>
                    <a:pt x="169" y="33"/>
                    <a:pt x="173" y="37"/>
                    <a:pt x="173" y="41"/>
                  </a:cubicBezTo>
                  <a:cubicBezTo>
                    <a:pt x="173" y="45"/>
                    <a:pt x="169" y="49"/>
                    <a:pt x="165" y="49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19" y="49"/>
                    <a:pt x="119" y="49"/>
                    <a:pt x="119" y="49"/>
                  </a:cubicBezTo>
                  <a:cubicBezTo>
                    <a:pt x="115" y="49"/>
                    <a:pt x="107" y="53"/>
                    <a:pt x="107" y="61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3" y="56"/>
                    <a:pt x="119" y="55"/>
                    <a:pt x="120" y="55"/>
                  </a:cubicBezTo>
                  <a:cubicBezTo>
                    <a:pt x="165" y="55"/>
                    <a:pt x="165" y="55"/>
                    <a:pt x="165" y="55"/>
                  </a:cubicBezTo>
                  <a:cubicBezTo>
                    <a:pt x="165" y="55"/>
                    <a:pt x="165" y="55"/>
                    <a:pt x="165" y="55"/>
                  </a:cubicBezTo>
                  <a:cubicBezTo>
                    <a:pt x="167" y="55"/>
                    <a:pt x="169" y="54"/>
                    <a:pt x="171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233" y="25"/>
                    <a:pt x="233" y="25"/>
                    <a:pt x="233" y="25"/>
                  </a:cubicBezTo>
                  <a:cubicBezTo>
                    <a:pt x="237" y="23"/>
                    <a:pt x="243" y="26"/>
                    <a:pt x="244" y="30"/>
                  </a:cubicBezTo>
                  <a:cubicBezTo>
                    <a:pt x="245" y="32"/>
                    <a:pt x="245" y="35"/>
                    <a:pt x="244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29">
              <a:extLst>
                <a:ext uri="{FF2B5EF4-FFF2-40B4-BE49-F238E27FC236}">
                  <a16:creationId xmlns:a16="http://schemas.microsoft.com/office/drawing/2014/main" id="{7D14D1A1-EF63-4816-BFB4-D25AE4FA7F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3088" y="4394200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">
              <a:extLst>
                <a:ext uri="{FF2B5EF4-FFF2-40B4-BE49-F238E27FC236}">
                  <a16:creationId xmlns:a16="http://schemas.microsoft.com/office/drawing/2014/main" id="{48410144-4BE5-436B-B32C-F97BE0A083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0075" y="4394200"/>
              <a:ext cx="14287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31">
              <a:extLst>
                <a:ext uri="{FF2B5EF4-FFF2-40B4-BE49-F238E27FC236}">
                  <a16:creationId xmlns:a16="http://schemas.microsoft.com/office/drawing/2014/main" id="{88706237-F193-4482-A7D6-0EAA51BBAC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4713" y="3889375"/>
              <a:ext cx="203200" cy="187325"/>
            </a:xfrm>
            <a:custGeom>
              <a:avLst/>
              <a:gdLst>
                <a:gd name="T0" fmla="*/ 93 w 94"/>
                <a:gd name="T1" fmla="*/ 54 h 86"/>
                <a:gd name="T2" fmla="*/ 85 w 94"/>
                <a:gd name="T3" fmla="*/ 46 h 86"/>
                <a:gd name="T4" fmla="*/ 81 w 94"/>
                <a:gd name="T5" fmla="*/ 45 h 86"/>
                <a:gd name="T6" fmla="*/ 87 w 94"/>
                <a:gd name="T7" fmla="*/ 30 h 86"/>
                <a:gd name="T8" fmla="*/ 72 w 94"/>
                <a:gd name="T9" fmla="*/ 23 h 86"/>
                <a:gd name="T10" fmla="*/ 74 w 94"/>
                <a:gd name="T11" fmla="*/ 19 h 86"/>
                <a:gd name="T12" fmla="*/ 67 w 94"/>
                <a:gd name="T13" fmla="*/ 1 h 86"/>
                <a:gd name="T14" fmla="*/ 61 w 94"/>
                <a:gd name="T15" fmla="*/ 0 h 86"/>
                <a:gd name="T16" fmla="*/ 48 w 94"/>
                <a:gd name="T17" fmla="*/ 9 h 86"/>
                <a:gd name="T18" fmla="*/ 47 w 94"/>
                <a:gd name="T19" fmla="*/ 13 h 86"/>
                <a:gd name="T20" fmla="*/ 31 w 94"/>
                <a:gd name="T21" fmla="*/ 7 h 86"/>
                <a:gd name="T22" fmla="*/ 25 w 94"/>
                <a:gd name="T23" fmla="*/ 22 h 86"/>
                <a:gd name="T24" fmla="*/ 21 w 94"/>
                <a:gd name="T25" fmla="*/ 20 h 86"/>
                <a:gd name="T26" fmla="*/ 15 w 94"/>
                <a:gd name="T27" fmla="*/ 19 h 86"/>
                <a:gd name="T28" fmla="*/ 3 w 94"/>
                <a:gd name="T29" fmla="*/ 28 h 86"/>
                <a:gd name="T30" fmla="*/ 10 w 94"/>
                <a:gd name="T31" fmla="*/ 46 h 86"/>
                <a:gd name="T32" fmla="*/ 15 w 94"/>
                <a:gd name="T33" fmla="*/ 47 h 86"/>
                <a:gd name="T34" fmla="*/ 8 w 94"/>
                <a:gd name="T35" fmla="*/ 63 h 86"/>
                <a:gd name="T36" fmla="*/ 64 w 94"/>
                <a:gd name="T37" fmla="*/ 86 h 86"/>
                <a:gd name="T38" fmla="*/ 70 w 94"/>
                <a:gd name="T39" fmla="*/ 70 h 86"/>
                <a:gd name="T40" fmla="*/ 74 w 94"/>
                <a:gd name="T41" fmla="*/ 73 h 86"/>
                <a:gd name="T42" fmla="*/ 80 w 94"/>
                <a:gd name="T43" fmla="*/ 74 h 86"/>
                <a:gd name="T44" fmla="*/ 93 w 94"/>
                <a:gd name="T45" fmla="*/ 65 h 86"/>
                <a:gd name="T46" fmla="*/ 93 w 94"/>
                <a:gd name="T47" fmla="*/ 54 h 86"/>
                <a:gd name="T48" fmla="*/ 87 w 94"/>
                <a:gd name="T49" fmla="*/ 63 h 86"/>
                <a:gd name="T50" fmla="*/ 77 w 94"/>
                <a:gd name="T51" fmla="*/ 67 h 86"/>
                <a:gd name="T52" fmla="*/ 72 w 94"/>
                <a:gd name="T53" fmla="*/ 63 h 86"/>
                <a:gd name="T54" fmla="*/ 69 w 94"/>
                <a:gd name="T55" fmla="*/ 57 h 86"/>
                <a:gd name="T56" fmla="*/ 61 w 94"/>
                <a:gd name="T57" fmla="*/ 78 h 86"/>
                <a:gd name="T58" fmla="*/ 16 w 94"/>
                <a:gd name="T59" fmla="*/ 59 h 86"/>
                <a:gd name="T60" fmla="*/ 25 w 94"/>
                <a:gd name="T61" fmla="*/ 38 h 86"/>
                <a:gd name="T62" fmla="*/ 19 w 94"/>
                <a:gd name="T63" fmla="*/ 40 h 86"/>
                <a:gd name="T64" fmla="*/ 13 w 94"/>
                <a:gd name="T65" fmla="*/ 40 h 86"/>
                <a:gd name="T66" fmla="*/ 8 w 94"/>
                <a:gd name="T67" fmla="*/ 30 h 86"/>
                <a:gd name="T68" fmla="*/ 19 w 94"/>
                <a:gd name="T69" fmla="*/ 25 h 86"/>
                <a:gd name="T70" fmla="*/ 23 w 94"/>
                <a:gd name="T71" fmla="*/ 29 h 86"/>
                <a:gd name="T72" fmla="*/ 26 w 94"/>
                <a:gd name="T73" fmla="*/ 36 h 86"/>
                <a:gd name="T74" fmla="*/ 35 w 94"/>
                <a:gd name="T75" fmla="*/ 14 h 86"/>
                <a:gd name="T76" fmla="*/ 56 w 94"/>
                <a:gd name="T77" fmla="*/ 23 h 86"/>
                <a:gd name="T78" fmla="*/ 54 w 94"/>
                <a:gd name="T79" fmla="*/ 17 h 86"/>
                <a:gd name="T80" fmla="*/ 54 w 94"/>
                <a:gd name="T81" fmla="*/ 11 h 86"/>
                <a:gd name="T82" fmla="*/ 65 w 94"/>
                <a:gd name="T83" fmla="*/ 6 h 86"/>
                <a:gd name="T84" fmla="*/ 69 w 94"/>
                <a:gd name="T85" fmla="*/ 17 h 86"/>
                <a:gd name="T86" fmla="*/ 65 w 94"/>
                <a:gd name="T87" fmla="*/ 21 h 86"/>
                <a:gd name="T88" fmla="*/ 59 w 94"/>
                <a:gd name="T89" fmla="*/ 24 h 86"/>
                <a:gd name="T90" fmla="*/ 80 w 94"/>
                <a:gd name="T91" fmla="*/ 33 h 86"/>
                <a:gd name="T92" fmla="*/ 71 w 94"/>
                <a:gd name="T93" fmla="*/ 54 h 86"/>
                <a:gd name="T94" fmla="*/ 77 w 94"/>
                <a:gd name="T95" fmla="*/ 52 h 86"/>
                <a:gd name="T96" fmla="*/ 83 w 94"/>
                <a:gd name="T97" fmla="*/ 52 h 86"/>
                <a:gd name="T98" fmla="*/ 88 w 94"/>
                <a:gd name="T99" fmla="*/ 56 h 86"/>
                <a:gd name="T100" fmla="*/ 87 w 94"/>
                <a:gd name="T101" fmla="*/ 6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4" h="86">
                  <a:moveTo>
                    <a:pt x="93" y="54"/>
                  </a:moveTo>
                  <a:cubicBezTo>
                    <a:pt x="91" y="50"/>
                    <a:pt x="89" y="48"/>
                    <a:pt x="85" y="46"/>
                  </a:cubicBezTo>
                  <a:cubicBezTo>
                    <a:pt x="84" y="46"/>
                    <a:pt x="83" y="46"/>
                    <a:pt x="81" y="45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3" y="22"/>
                    <a:pt x="74" y="21"/>
                    <a:pt x="74" y="19"/>
                  </a:cubicBezTo>
                  <a:cubicBezTo>
                    <a:pt x="77" y="12"/>
                    <a:pt x="74" y="4"/>
                    <a:pt x="67" y="1"/>
                  </a:cubicBezTo>
                  <a:cubicBezTo>
                    <a:pt x="65" y="0"/>
                    <a:pt x="63" y="0"/>
                    <a:pt x="61" y="0"/>
                  </a:cubicBezTo>
                  <a:cubicBezTo>
                    <a:pt x="55" y="0"/>
                    <a:pt x="50" y="3"/>
                    <a:pt x="48" y="9"/>
                  </a:cubicBezTo>
                  <a:cubicBezTo>
                    <a:pt x="47" y="10"/>
                    <a:pt x="47" y="12"/>
                    <a:pt x="47" y="13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4" y="21"/>
                    <a:pt x="23" y="20"/>
                    <a:pt x="21" y="20"/>
                  </a:cubicBezTo>
                  <a:cubicBezTo>
                    <a:pt x="19" y="19"/>
                    <a:pt x="17" y="19"/>
                    <a:pt x="15" y="19"/>
                  </a:cubicBezTo>
                  <a:cubicBezTo>
                    <a:pt x="10" y="19"/>
                    <a:pt x="5" y="22"/>
                    <a:pt x="3" y="28"/>
                  </a:cubicBezTo>
                  <a:cubicBezTo>
                    <a:pt x="0" y="35"/>
                    <a:pt x="3" y="43"/>
                    <a:pt x="10" y="46"/>
                  </a:cubicBezTo>
                  <a:cubicBezTo>
                    <a:pt x="12" y="47"/>
                    <a:pt x="13" y="47"/>
                    <a:pt x="15" y="47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64" y="86"/>
                    <a:pt x="64" y="86"/>
                    <a:pt x="64" y="86"/>
                  </a:cubicBezTo>
                  <a:cubicBezTo>
                    <a:pt x="70" y="70"/>
                    <a:pt x="70" y="70"/>
                    <a:pt x="70" y="70"/>
                  </a:cubicBezTo>
                  <a:cubicBezTo>
                    <a:pt x="71" y="72"/>
                    <a:pt x="73" y="72"/>
                    <a:pt x="74" y="73"/>
                  </a:cubicBezTo>
                  <a:cubicBezTo>
                    <a:pt x="76" y="74"/>
                    <a:pt x="78" y="74"/>
                    <a:pt x="80" y="74"/>
                  </a:cubicBezTo>
                  <a:cubicBezTo>
                    <a:pt x="85" y="74"/>
                    <a:pt x="91" y="71"/>
                    <a:pt x="93" y="65"/>
                  </a:cubicBezTo>
                  <a:cubicBezTo>
                    <a:pt x="94" y="62"/>
                    <a:pt x="94" y="58"/>
                    <a:pt x="93" y="54"/>
                  </a:cubicBezTo>
                  <a:close/>
                  <a:moveTo>
                    <a:pt x="87" y="63"/>
                  </a:moveTo>
                  <a:cubicBezTo>
                    <a:pt x="86" y="67"/>
                    <a:pt x="81" y="69"/>
                    <a:pt x="77" y="67"/>
                  </a:cubicBezTo>
                  <a:cubicBezTo>
                    <a:pt x="75" y="66"/>
                    <a:pt x="73" y="65"/>
                    <a:pt x="72" y="63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7" y="41"/>
                    <a:pt x="15" y="41"/>
                    <a:pt x="13" y="40"/>
                  </a:cubicBezTo>
                  <a:cubicBezTo>
                    <a:pt x="9" y="39"/>
                    <a:pt x="7" y="34"/>
                    <a:pt x="8" y="30"/>
                  </a:cubicBezTo>
                  <a:cubicBezTo>
                    <a:pt x="10" y="26"/>
                    <a:pt x="15" y="24"/>
                    <a:pt x="19" y="25"/>
                  </a:cubicBezTo>
                  <a:cubicBezTo>
                    <a:pt x="21" y="26"/>
                    <a:pt x="22" y="28"/>
                    <a:pt x="23" y="29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3" y="15"/>
                    <a:pt x="53" y="13"/>
                    <a:pt x="54" y="11"/>
                  </a:cubicBezTo>
                  <a:cubicBezTo>
                    <a:pt x="55" y="7"/>
                    <a:pt x="60" y="5"/>
                    <a:pt x="65" y="6"/>
                  </a:cubicBezTo>
                  <a:cubicBezTo>
                    <a:pt x="69" y="8"/>
                    <a:pt x="71" y="13"/>
                    <a:pt x="69" y="17"/>
                  </a:cubicBezTo>
                  <a:cubicBezTo>
                    <a:pt x="68" y="19"/>
                    <a:pt x="67" y="20"/>
                    <a:pt x="65" y="21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80" y="33"/>
                    <a:pt x="80" y="33"/>
                    <a:pt x="80" y="33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7" y="52"/>
                    <a:pt x="77" y="52"/>
                    <a:pt x="77" y="52"/>
                  </a:cubicBezTo>
                  <a:cubicBezTo>
                    <a:pt x="79" y="51"/>
                    <a:pt x="81" y="51"/>
                    <a:pt x="83" y="52"/>
                  </a:cubicBezTo>
                  <a:cubicBezTo>
                    <a:pt x="85" y="52"/>
                    <a:pt x="87" y="54"/>
                    <a:pt x="88" y="56"/>
                  </a:cubicBezTo>
                  <a:cubicBezTo>
                    <a:pt x="88" y="58"/>
                    <a:pt x="88" y="61"/>
                    <a:pt x="87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32">
              <a:extLst>
                <a:ext uri="{FF2B5EF4-FFF2-40B4-BE49-F238E27FC236}">
                  <a16:creationId xmlns:a16="http://schemas.microsoft.com/office/drawing/2014/main" id="{0924579E-0DF9-40A2-9DC2-BA02DF6546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5800" y="3921125"/>
              <a:ext cx="325437" cy="328612"/>
            </a:xfrm>
            <a:custGeom>
              <a:avLst/>
              <a:gdLst>
                <a:gd name="T0" fmla="*/ 14 w 150"/>
                <a:gd name="T1" fmla="*/ 89 h 152"/>
                <a:gd name="T2" fmla="*/ 18 w 150"/>
                <a:gd name="T3" fmla="*/ 116 h 152"/>
                <a:gd name="T4" fmla="*/ 34 w 150"/>
                <a:gd name="T5" fmla="*/ 138 h 152"/>
                <a:gd name="T6" fmla="*/ 61 w 150"/>
                <a:gd name="T7" fmla="*/ 133 h 152"/>
                <a:gd name="T8" fmla="*/ 89 w 150"/>
                <a:gd name="T9" fmla="*/ 133 h 152"/>
                <a:gd name="T10" fmla="*/ 116 w 150"/>
                <a:gd name="T11" fmla="*/ 138 h 152"/>
                <a:gd name="T12" fmla="*/ 132 w 150"/>
                <a:gd name="T13" fmla="*/ 116 h 152"/>
                <a:gd name="T14" fmla="*/ 136 w 150"/>
                <a:gd name="T15" fmla="*/ 89 h 152"/>
                <a:gd name="T16" fmla="*/ 78 w 150"/>
                <a:gd name="T17" fmla="*/ 73 h 152"/>
                <a:gd name="T18" fmla="*/ 68 w 150"/>
                <a:gd name="T19" fmla="*/ 57 h 152"/>
                <a:gd name="T20" fmla="*/ 73 w 150"/>
                <a:gd name="T21" fmla="*/ 43 h 152"/>
                <a:gd name="T22" fmla="*/ 62 w 150"/>
                <a:gd name="T23" fmla="*/ 18 h 152"/>
                <a:gd name="T24" fmla="*/ 34 w 150"/>
                <a:gd name="T25" fmla="*/ 14 h 152"/>
                <a:gd name="T26" fmla="*/ 18 w 150"/>
                <a:gd name="T27" fmla="*/ 35 h 152"/>
                <a:gd name="T28" fmla="*/ 14 w 150"/>
                <a:gd name="T29" fmla="*/ 62 h 152"/>
                <a:gd name="T30" fmla="*/ 18 w 150"/>
                <a:gd name="T31" fmla="*/ 79 h 152"/>
                <a:gd name="T32" fmla="*/ 54 w 150"/>
                <a:gd name="T33" fmla="*/ 132 h 152"/>
                <a:gd name="T34" fmla="*/ 40 w 150"/>
                <a:gd name="T35" fmla="*/ 138 h 152"/>
                <a:gd name="T36" fmla="*/ 24 w 150"/>
                <a:gd name="T37" fmla="*/ 127 h 152"/>
                <a:gd name="T38" fmla="*/ 13 w 150"/>
                <a:gd name="T39" fmla="*/ 111 h 152"/>
                <a:gd name="T40" fmla="*/ 19 w 150"/>
                <a:gd name="T41" fmla="*/ 97 h 152"/>
                <a:gd name="T42" fmla="*/ 72 w 150"/>
                <a:gd name="T43" fmla="*/ 79 h 152"/>
                <a:gd name="T44" fmla="*/ 62 w 150"/>
                <a:gd name="T45" fmla="*/ 90 h 152"/>
                <a:gd name="T46" fmla="*/ 72 w 150"/>
                <a:gd name="T47" fmla="*/ 116 h 152"/>
                <a:gd name="T48" fmla="*/ 127 w 150"/>
                <a:gd name="T49" fmla="*/ 79 h 152"/>
                <a:gd name="T50" fmla="*/ 138 w 150"/>
                <a:gd name="T51" fmla="*/ 94 h 152"/>
                <a:gd name="T52" fmla="*/ 132 w 150"/>
                <a:gd name="T53" fmla="*/ 108 h 152"/>
                <a:gd name="T54" fmla="*/ 104 w 150"/>
                <a:gd name="T55" fmla="*/ 127 h 152"/>
                <a:gd name="T56" fmla="*/ 103 w 150"/>
                <a:gd name="T57" fmla="*/ 146 h 152"/>
                <a:gd name="T58" fmla="*/ 102 w 150"/>
                <a:gd name="T59" fmla="*/ 127 h 152"/>
                <a:gd name="T60" fmla="*/ 78 w 150"/>
                <a:gd name="T61" fmla="*/ 104 h 152"/>
                <a:gd name="T62" fmla="*/ 71 w 150"/>
                <a:gd name="T63" fmla="*/ 110 h 152"/>
                <a:gd name="T64" fmla="*/ 65 w 150"/>
                <a:gd name="T65" fmla="*/ 95 h 152"/>
                <a:gd name="T66" fmla="*/ 79 w 150"/>
                <a:gd name="T67" fmla="*/ 101 h 152"/>
                <a:gd name="T68" fmla="*/ 79 w 150"/>
                <a:gd name="T69" fmla="*/ 79 h 152"/>
                <a:gd name="T70" fmla="*/ 24 w 150"/>
                <a:gd name="T71" fmla="*/ 50 h 152"/>
                <a:gd name="T72" fmla="*/ 5 w 150"/>
                <a:gd name="T73" fmla="*/ 49 h 152"/>
                <a:gd name="T74" fmla="*/ 24 w 150"/>
                <a:gd name="T75" fmla="*/ 48 h 152"/>
                <a:gd name="T76" fmla="*/ 42 w 150"/>
                <a:gd name="T77" fmla="*/ 19 h 152"/>
                <a:gd name="T78" fmla="*/ 56 w 150"/>
                <a:gd name="T79" fmla="*/ 14 h 152"/>
                <a:gd name="T80" fmla="*/ 72 w 150"/>
                <a:gd name="T81" fmla="*/ 25 h 152"/>
                <a:gd name="T82" fmla="*/ 54 w 150"/>
                <a:gd name="T83" fmla="*/ 49 h 152"/>
                <a:gd name="T84" fmla="*/ 72 w 150"/>
                <a:gd name="T85" fmla="*/ 73 h 152"/>
                <a:gd name="T86" fmla="*/ 40 w 150"/>
                <a:gd name="T87" fmla="*/ 7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0" h="152">
                  <a:moveTo>
                    <a:pt x="18" y="79"/>
                  </a:moveTo>
                  <a:cubicBezTo>
                    <a:pt x="18" y="90"/>
                    <a:pt x="18" y="90"/>
                    <a:pt x="18" y="90"/>
                  </a:cubicBezTo>
                  <a:cubicBezTo>
                    <a:pt x="16" y="89"/>
                    <a:pt x="15" y="89"/>
                    <a:pt x="14" y="89"/>
                  </a:cubicBezTo>
                  <a:cubicBezTo>
                    <a:pt x="6" y="89"/>
                    <a:pt x="0" y="95"/>
                    <a:pt x="0" y="103"/>
                  </a:cubicBezTo>
                  <a:cubicBezTo>
                    <a:pt x="0" y="110"/>
                    <a:pt x="6" y="117"/>
                    <a:pt x="14" y="117"/>
                  </a:cubicBezTo>
                  <a:cubicBezTo>
                    <a:pt x="15" y="117"/>
                    <a:pt x="17" y="116"/>
                    <a:pt x="18" y="116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35" y="133"/>
                    <a:pt x="35" y="133"/>
                    <a:pt x="35" y="133"/>
                  </a:cubicBezTo>
                  <a:cubicBezTo>
                    <a:pt x="34" y="134"/>
                    <a:pt x="34" y="136"/>
                    <a:pt x="34" y="138"/>
                  </a:cubicBezTo>
                  <a:cubicBezTo>
                    <a:pt x="34" y="145"/>
                    <a:pt x="40" y="152"/>
                    <a:pt x="48" y="152"/>
                  </a:cubicBezTo>
                  <a:cubicBezTo>
                    <a:pt x="56" y="152"/>
                    <a:pt x="62" y="145"/>
                    <a:pt x="62" y="138"/>
                  </a:cubicBezTo>
                  <a:cubicBezTo>
                    <a:pt x="62" y="136"/>
                    <a:pt x="62" y="134"/>
                    <a:pt x="61" y="133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8" y="134"/>
                    <a:pt x="88" y="136"/>
                    <a:pt x="88" y="138"/>
                  </a:cubicBezTo>
                  <a:cubicBezTo>
                    <a:pt x="88" y="145"/>
                    <a:pt x="94" y="152"/>
                    <a:pt x="102" y="152"/>
                  </a:cubicBezTo>
                  <a:cubicBezTo>
                    <a:pt x="110" y="152"/>
                    <a:pt x="116" y="145"/>
                    <a:pt x="116" y="138"/>
                  </a:cubicBezTo>
                  <a:cubicBezTo>
                    <a:pt x="116" y="136"/>
                    <a:pt x="116" y="134"/>
                    <a:pt x="115" y="133"/>
                  </a:cubicBezTo>
                  <a:cubicBezTo>
                    <a:pt x="132" y="133"/>
                    <a:pt x="132" y="133"/>
                    <a:pt x="132" y="133"/>
                  </a:cubicBezTo>
                  <a:cubicBezTo>
                    <a:pt x="132" y="116"/>
                    <a:pt x="132" y="116"/>
                    <a:pt x="132" y="116"/>
                  </a:cubicBezTo>
                  <a:cubicBezTo>
                    <a:pt x="134" y="116"/>
                    <a:pt x="135" y="117"/>
                    <a:pt x="136" y="117"/>
                  </a:cubicBezTo>
                  <a:cubicBezTo>
                    <a:pt x="144" y="117"/>
                    <a:pt x="150" y="110"/>
                    <a:pt x="150" y="103"/>
                  </a:cubicBezTo>
                  <a:cubicBezTo>
                    <a:pt x="150" y="95"/>
                    <a:pt x="144" y="89"/>
                    <a:pt x="136" y="89"/>
                  </a:cubicBezTo>
                  <a:cubicBezTo>
                    <a:pt x="135" y="89"/>
                    <a:pt x="133" y="89"/>
                    <a:pt x="132" y="90"/>
                  </a:cubicBezTo>
                  <a:cubicBezTo>
                    <a:pt x="132" y="73"/>
                    <a:pt x="132" y="73"/>
                    <a:pt x="132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2" y="56"/>
                    <a:pt x="70" y="57"/>
                    <a:pt x="68" y="57"/>
                  </a:cubicBezTo>
                  <a:cubicBezTo>
                    <a:pt x="63" y="57"/>
                    <a:pt x="60" y="53"/>
                    <a:pt x="60" y="49"/>
                  </a:cubicBezTo>
                  <a:cubicBezTo>
                    <a:pt x="60" y="44"/>
                    <a:pt x="63" y="41"/>
                    <a:pt x="68" y="41"/>
                  </a:cubicBezTo>
                  <a:cubicBezTo>
                    <a:pt x="70" y="41"/>
                    <a:pt x="72" y="42"/>
                    <a:pt x="73" y="43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7"/>
                    <a:pt x="62" y="16"/>
                    <a:pt x="62" y="14"/>
                  </a:cubicBezTo>
                  <a:cubicBezTo>
                    <a:pt x="62" y="6"/>
                    <a:pt x="56" y="0"/>
                    <a:pt x="48" y="0"/>
                  </a:cubicBezTo>
                  <a:cubicBezTo>
                    <a:pt x="40" y="0"/>
                    <a:pt x="34" y="6"/>
                    <a:pt x="34" y="14"/>
                  </a:cubicBezTo>
                  <a:cubicBezTo>
                    <a:pt x="34" y="16"/>
                    <a:pt x="34" y="17"/>
                    <a:pt x="35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6" y="35"/>
                    <a:pt x="15" y="34"/>
                    <a:pt x="14" y="34"/>
                  </a:cubicBezTo>
                  <a:cubicBezTo>
                    <a:pt x="6" y="34"/>
                    <a:pt x="0" y="41"/>
                    <a:pt x="0" y="48"/>
                  </a:cubicBezTo>
                  <a:cubicBezTo>
                    <a:pt x="0" y="56"/>
                    <a:pt x="6" y="62"/>
                    <a:pt x="14" y="62"/>
                  </a:cubicBezTo>
                  <a:cubicBezTo>
                    <a:pt x="15" y="62"/>
                    <a:pt x="17" y="62"/>
                    <a:pt x="18" y="62"/>
                  </a:cubicBezTo>
                  <a:cubicBezTo>
                    <a:pt x="18" y="72"/>
                    <a:pt x="18" y="72"/>
                    <a:pt x="18" y="72"/>
                  </a:cubicBezTo>
                  <a:lnTo>
                    <a:pt x="18" y="79"/>
                  </a:lnTo>
                  <a:close/>
                  <a:moveTo>
                    <a:pt x="72" y="127"/>
                  </a:moveTo>
                  <a:cubicBezTo>
                    <a:pt x="49" y="127"/>
                    <a:pt x="49" y="127"/>
                    <a:pt x="49" y="127"/>
                  </a:cubicBezTo>
                  <a:cubicBezTo>
                    <a:pt x="54" y="132"/>
                    <a:pt x="54" y="132"/>
                    <a:pt x="54" y="132"/>
                  </a:cubicBezTo>
                  <a:cubicBezTo>
                    <a:pt x="56" y="134"/>
                    <a:pt x="56" y="136"/>
                    <a:pt x="56" y="138"/>
                  </a:cubicBezTo>
                  <a:cubicBezTo>
                    <a:pt x="56" y="142"/>
                    <a:pt x="53" y="146"/>
                    <a:pt x="48" y="146"/>
                  </a:cubicBezTo>
                  <a:cubicBezTo>
                    <a:pt x="44" y="146"/>
                    <a:pt x="40" y="142"/>
                    <a:pt x="40" y="138"/>
                  </a:cubicBezTo>
                  <a:cubicBezTo>
                    <a:pt x="40" y="136"/>
                    <a:pt x="41" y="134"/>
                    <a:pt x="42" y="132"/>
                  </a:cubicBezTo>
                  <a:cubicBezTo>
                    <a:pt x="47" y="127"/>
                    <a:pt x="47" y="127"/>
                    <a:pt x="47" y="127"/>
                  </a:cubicBezTo>
                  <a:cubicBezTo>
                    <a:pt x="24" y="127"/>
                    <a:pt x="24" y="127"/>
                    <a:pt x="24" y="127"/>
                  </a:cubicBezTo>
                  <a:cubicBezTo>
                    <a:pt x="24" y="104"/>
                    <a:pt x="24" y="104"/>
                    <a:pt x="24" y="104"/>
                  </a:cubicBezTo>
                  <a:cubicBezTo>
                    <a:pt x="19" y="109"/>
                    <a:pt x="19" y="109"/>
                    <a:pt x="19" y="109"/>
                  </a:cubicBezTo>
                  <a:cubicBezTo>
                    <a:pt x="17" y="110"/>
                    <a:pt x="15" y="111"/>
                    <a:pt x="13" y="111"/>
                  </a:cubicBezTo>
                  <a:cubicBezTo>
                    <a:pt x="9" y="111"/>
                    <a:pt x="5" y="108"/>
                    <a:pt x="5" y="103"/>
                  </a:cubicBezTo>
                  <a:cubicBezTo>
                    <a:pt x="5" y="99"/>
                    <a:pt x="9" y="95"/>
                    <a:pt x="13" y="95"/>
                  </a:cubicBezTo>
                  <a:cubicBezTo>
                    <a:pt x="15" y="95"/>
                    <a:pt x="17" y="96"/>
                    <a:pt x="19" y="97"/>
                  </a:cubicBezTo>
                  <a:cubicBezTo>
                    <a:pt x="24" y="102"/>
                    <a:pt x="24" y="102"/>
                    <a:pt x="24" y="102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72" y="79"/>
                    <a:pt x="72" y="79"/>
                    <a:pt x="72" y="79"/>
                  </a:cubicBezTo>
                  <a:cubicBezTo>
                    <a:pt x="72" y="90"/>
                    <a:pt x="72" y="90"/>
                    <a:pt x="72" y="90"/>
                  </a:cubicBezTo>
                  <a:cubicBezTo>
                    <a:pt x="71" y="89"/>
                    <a:pt x="70" y="89"/>
                    <a:pt x="68" y="89"/>
                  </a:cubicBezTo>
                  <a:cubicBezTo>
                    <a:pt x="66" y="89"/>
                    <a:pt x="64" y="89"/>
                    <a:pt x="62" y="90"/>
                  </a:cubicBezTo>
                  <a:cubicBezTo>
                    <a:pt x="57" y="92"/>
                    <a:pt x="54" y="97"/>
                    <a:pt x="54" y="103"/>
                  </a:cubicBezTo>
                  <a:cubicBezTo>
                    <a:pt x="54" y="110"/>
                    <a:pt x="60" y="117"/>
                    <a:pt x="68" y="117"/>
                  </a:cubicBezTo>
                  <a:cubicBezTo>
                    <a:pt x="69" y="117"/>
                    <a:pt x="71" y="116"/>
                    <a:pt x="72" y="116"/>
                  </a:cubicBezTo>
                  <a:cubicBezTo>
                    <a:pt x="72" y="127"/>
                    <a:pt x="72" y="127"/>
                    <a:pt x="72" y="127"/>
                  </a:cubicBezTo>
                  <a:close/>
                  <a:moveTo>
                    <a:pt x="78" y="79"/>
                  </a:moveTo>
                  <a:cubicBezTo>
                    <a:pt x="127" y="79"/>
                    <a:pt x="127" y="79"/>
                    <a:pt x="127" y="79"/>
                  </a:cubicBezTo>
                  <a:cubicBezTo>
                    <a:pt x="127" y="102"/>
                    <a:pt x="127" y="102"/>
                    <a:pt x="127" y="102"/>
                  </a:cubicBezTo>
                  <a:cubicBezTo>
                    <a:pt x="132" y="97"/>
                    <a:pt x="132" y="97"/>
                    <a:pt x="132" y="97"/>
                  </a:cubicBezTo>
                  <a:cubicBezTo>
                    <a:pt x="133" y="96"/>
                    <a:pt x="135" y="94"/>
                    <a:pt x="138" y="94"/>
                  </a:cubicBezTo>
                  <a:cubicBezTo>
                    <a:pt x="142" y="94"/>
                    <a:pt x="146" y="98"/>
                    <a:pt x="146" y="102"/>
                  </a:cubicBezTo>
                  <a:cubicBezTo>
                    <a:pt x="146" y="107"/>
                    <a:pt x="142" y="110"/>
                    <a:pt x="138" y="110"/>
                  </a:cubicBezTo>
                  <a:cubicBezTo>
                    <a:pt x="136" y="110"/>
                    <a:pt x="134" y="110"/>
                    <a:pt x="132" y="108"/>
                  </a:cubicBezTo>
                  <a:cubicBezTo>
                    <a:pt x="127" y="104"/>
                    <a:pt x="127" y="104"/>
                    <a:pt x="127" y="104"/>
                  </a:cubicBezTo>
                  <a:cubicBezTo>
                    <a:pt x="127" y="127"/>
                    <a:pt x="127" y="127"/>
                    <a:pt x="127" y="127"/>
                  </a:cubicBezTo>
                  <a:cubicBezTo>
                    <a:pt x="104" y="127"/>
                    <a:pt x="104" y="127"/>
                    <a:pt x="104" y="127"/>
                  </a:cubicBezTo>
                  <a:cubicBezTo>
                    <a:pt x="108" y="132"/>
                    <a:pt x="108" y="132"/>
                    <a:pt x="108" y="132"/>
                  </a:cubicBezTo>
                  <a:cubicBezTo>
                    <a:pt x="110" y="134"/>
                    <a:pt x="111" y="136"/>
                    <a:pt x="111" y="138"/>
                  </a:cubicBezTo>
                  <a:cubicBezTo>
                    <a:pt x="111" y="142"/>
                    <a:pt x="107" y="146"/>
                    <a:pt x="103" y="146"/>
                  </a:cubicBezTo>
                  <a:cubicBezTo>
                    <a:pt x="98" y="146"/>
                    <a:pt x="95" y="142"/>
                    <a:pt x="95" y="138"/>
                  </a:cubicBezTo>
                  <a:cubicBezTo>
                    <a:pt x="95" y="136"/>
                    <a:pt x="96" y="134"/>
                    <a:pt x="97" y="132"/>
                  </a:cubicBezTo>
                  <a:cubicBezTo>
                    <a:pt x="102" y="127"/>
                    <a:pt x="102" y="127"/>
                    <a:pt x="102" y="127"/>
                  </a:cubicBezTo>
                  <a:cubicBezTo>
                    <a:pt x="78" y="127"/>
                    <a:pt x="78" y="127"/>
                    <a:pt x="78" y="127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3" y="108"/>
                    <a:pt x="73" y="108"/>
                    <a:pt x="73" y="108"/>
                  </a:cubicBezTo>
                  <a:cubicBezTo>
                    <a:pt x="72" y="109"/>
                    <a:pt x="72" y="110"/>
                    <a:pt x="71" y="110"/>
                  </a:cubicBezTo>
                  <a:cubicBezTo>
                    <a:pt x="70" y="110"/>
                    <a:pt x="69" y="110"/>
                    <a:pt x="68" y="110"/>
                  </a:cubicBezTo>
                  <a:cubicBezTo>
                    <a:pt x="64" y="110"/>
                    <a:pt x="60" y="107"/>
                    <a:pt x="60" y="102"/>
                  </a:cubicBezTo>
                  <a:cubicBezTo>
                    <a:pt x="60" y="99"/>
                    <a:pt x="62" y="96"/>
                    <a:pt x="65" y="95"/>
                  </a:cubicBezTo>
                  <a:cubicBezTo>
                    <a:pt x="66" y="94"/>
                    <a:pt x="67" y="94"/>
                    <a:pt x="68" y="94"/>
                  </a:cubicBezTo>
                  <a:cubicBezTo>
                    <a:pt x="70" y="94"/>
                    <a:pt x="72" y="95"/>
                    <a:pt x="74" y="96"/>
                  </a:cubicBezTo>
                  <a:cubicBezTo>
                    <a:pt x="79" y="101"/>
                    <a:pt x="79" y="101"/>
                    <a:pt x="79" y="101"/>
                  </a:cubicBezTo>
                  <a:cubicBezTo>
                    <a:pt x="79" y="101"/>
                    <a:pt x="79" y="101"/>
                    <a:pt x="79" y="101"/>
                  </a:cubicBezTo>
                  <a:cubicBezTo>
                    <a:pt x="79" y="101"/>
                    <a:pt x="79" y="101"/>
                    <a:pt x="79" y="101"/>
                  </a:cubicBezTo>
                  <a:cubicBezTo>
                    <a:pt x="79" y="79"/>
                    <a:pt x="79" y="79"/>
                    <a:pt x="79" y="79"/>
                  </a:cubicBezTo>
                  <a:lnTo>
                    <a:pt x="78" y="79"/>
                  </a:lnTo>
                  <a:close/>
                  <a:moveTo>
                    <a:pt x="24" y="7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7" y="56"/>
                    <a:pt x="15" y="57"/>
                    <a:pt x="13" y="57"/>
                  </a:cubicBezTo>
                  <a:cubicBezTo>
                    <a:pt x="9" y="57"/>
                    <a:pt x="5" y="53"/>
                    <a:pt x="5" y="49"/>
                  </a:cubicBezTo>
                  <a:cubicBezTo>
                    <a:pt x="5" y="44"/>
                    <a:pt x="9" y="41"/>
                    <a:pt x="13" y="41"/>
                  </a:cubicBezTo>
                  <a:cubicBezTo>
                    <a:pt x="15" y="41"/>
                    <a:pt x="17" y="42"/>
                    <a:pt x="19" y="4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1" y="18"/>
                    <a:pt x="40" y="16"/>
                    <a:pt x="40" y="14"/>
                  </a:cubicBezTo>
                  <a:cubicBezTo>
                    <a:pt x="40" y="10"/>
                    <a:pt x="44" y="6"/>
                    <a:pt x="48" y="6"/>
                  </a:cubicBezTo>
                  <a:cubicBezTo>
                    <a:pt x="52" y="6"/>
                    <a:pt x="56" y="10"/>
                    <a:pt x="56" y="14"/>
                  </a:cubicBezTo>
                  <a:cubicBezTo>
                    <a:pt x="56" y="16"/>
                    <a:pt x="55" y="18"/>
                    <a:pt x="54" y="20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70" y="35"/>
                    <a:pt x="69" y="35"/>
                    <a:pt x="68" y="35"/>
                  </a:cubicBezTo>
                  <a:cubicBezTo>
                    <a:pt x="60" y="35"/>
                    <a:pt x="54" y="41"/>
                    <a:pt x="54" y="49"/>
                  </a:cubicBezTo>
                  <a:cubicBezTo>
                    <a:pt x="54" y="56"/>
                    <a:pt x="60" y="63"/>
                    <a:pt x="68" y="63"/>
                  </a:cubicBezTo>
                  <a:cubicBezTo>
                    <a:pt x="69" y="63"/>
                    <a:pt x="71" y="62"/>
                    <a:pt x="72" y="62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0" y="73"/>
                    <a:pt x="40" y="73"/>
                    <a:pt x="40" y="73"/>
                  </a:cubicBezTo>
                  <a:lnTo>
                    <a:pt x="24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33">
              <a:extLst>
                <a:ext uri="{FF2B5EF4-FFF2-40B4-BE49-F238E27FC236}">
                  <a16:creationId xmlns:a16="http://schemas.microsoft.com/office/drawing/2014/main" id="{718D8C40-07A0-4972-8906-F2D3F6225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6000" y="4129088"/>
              <a:ext cx="12700" cy="0"/>
            </a:xfrm>
            <a:custGeom>
              <a:avLst/>
              <a:gdLst>
                <a:gd name="T0" fmla="*/ 0 w 8"/>
                <a:gd name="T1" fmla="*/ 0 w 8"/>
                <a:gd name="T2" fmla="*/ 8 w 8"/>
                <a:gd name="T3" fmla="*/ 0 w 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8">
                  <a:moveTo>
                    <a:pt x="0" y="0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81F3F5D6-9B24-4189-9235-373DE953D05E}"/>
              </a:ext>
            </a:extLst>
          </p:cNvPr>
          <p:cNvSpPr/>
          <p:nvPr/>
        </p:nvSpPr>
        <p:spPr>
          <a:xfrm>
            <a:off x="8275318" y="4682278"/>
            <a:ext cx="984470" cy="984470"/>
          </a:xfrm>
          <a:prstGeom prst="ellipse">
            <a:avLst/>
          </a:prstGeom>
          <a:solidFill>
            <a:schemeClr val="accent2">
              <a:lumMod val="40000"/>
              <a:lumOff val="60000"/>
              <a:alpha val="5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B96368F-B208-42CB-8352-A8AEB9EE175B}"/>
              </a:ext>
            </a:extLst>
          </p:cNvPr>
          <p:cNvSpPr/>
          <p:nvPr/>
        </p:nvSpPr>
        <p:spPr>
          <a:xfrm>
            <a:off x="7579909" y="3051781"/>
            <a:ext cx="2554863" cy="3817794"/>
          </a:xfrm>
          <a:custGeom>
            <a:avLst/>
            <a:gdLst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3943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3943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3943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3943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3943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3943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3943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3943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3943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3943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3943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3943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141457 w 2569580"/>
              <a:gd name="connsiteY7" fmla="*/ 151657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6991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6991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6991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6991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6991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6991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6991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6991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6991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6991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569580"/>
              <a:gd name="connsiteY0" fmla="*/ 3842795 h 3900668"/>
              <a:gd name="connsiteX1" fmla="*/ 1238492 w 2569580"/>
              <a:gd name="connsiteY1" fmla="*/ 3483979 h 3900668"/>
              <a:gd name="connsiteX2" fmla="*/ 1342664 w 2569580"/>
              <a:gd name="connsiteY2" fmla="*/ 1828800 h 3900668"/>
              <a:gd name="connsiteX3" fmla="*/ 1134319 w 2569580"/>
              <a:gd name="connsiteY3" fmla="*/ 1585731 h 3900668"/>
              <a:gd name="connsiteX4" fmla="*/ 0 w 2569580"/>
              <a:gd name="connsiteY4" fmla="*/ 1365812 h 3900668"/>
              <a:gd name="connsiteX5" fmla="*/ 902826 w 2569580"/>
              <a:gd name="connsiteY5" fmla="*/ 1435261 h 3900668"/>
              <a:gd name="connsiteX6" fmla="*/ 231494 w 2569580"/>
              <a:gd name="connsiteY6" fmla="*/ 0 h 3900668"/>
              <a:gd name="connsiteX7" fmla="*/ 1400537 w 2569580"/>
              <a:gd name="connsiteY7" fmla="*/ 1569913 h 3900668"/>
              <a:gd name="connsiteX8" fmla="*/ 1412112 w 2569580"/>
              <a:gd name="connsiteY8" fmla="*/ 520861 h 3900668"/>
              <a:gd name="connsiteX9" fmla="*/ 1689904 w 2569580"/>
              <a:gd name="connsiteY9" fmla="*/ 1562582 h 3900668"/>
              <a:gd name="connsiteX10" fmla="*/ 2569580 w 2569580"/>
              <a:gd name="connsiteY10" fmla="*/ 486136 h 3900668"/>
              <a:gd name="connsiteX11" fmla="*/ 1794076 w 2569580"/>
              <a:gd name="connsiteY11" fmla="*/ 1759352 h 3900668"/>
              <a:gd name="connsiteX12" fmla="*/ 1875099 w 2569580"/>
              <a:gd name="connsiteY12" fmla="*/ 3472405 h 3900668"/>
              <a:gd name="connsiteX13" fmla="*/ 2199190 w 2569580"/>
              <a:gd name="connsiteY13" fmla="*/ 3900668 h 3900668"/>
              <a:gd name="connsiteX14" fmla="*/ 740780 w 2569580"/>
              <a:gd name="connsiteY14" fmla="*/ 3842795 h 3900668"/>
              <a:gd name="connsiteX0" fmla="*/ 740780 w 2631292"/>
              <a:gd name="connsiteY0" fmla="*/ 3842795 h 3900668"/>
              <a:gd name="connsiteX1" fmla="*/ 1238492 w 2631292"/>
              <a:gd name="connsiteY1" fmla="*/ 3483979 h 3900668"/>
              <a:gd name="connsiteX2" fmla="*/ 1342664 w 2631292"/>
              <a:gd name="connsiteY2" fmla="*/ 1828800 h 3900668"/>
              <a:gd name="connsiteX3" fmla="*/ 1134319 w 2631292"/>
              <a:gd name="connsiteY3" fmla="*/ 1585731 h 3900668"/>
              <a:gd name="connsiteX4" fmla="*/ 0 w 2631292"/>
              <a:gd name="connsiteY4" fmla="*/ 1365812 h 3900668"/>
              <a:gd name="connsiteX5" fmla="*/ 902826 w 2631292"/>
              <a:gd name="connsiteY5" fmla="*/ 1435261 h 3900668"/>
              <a:gd name="connsiteX6" fmla="*/ 231494 w 2631292"/>
              <a:gd name="connsiteY6" fmla="*/ 0 h 3900668"/>
              <a:gd name="connsiteX7" fmla="*/ 1400537 w 2631292"/>
              <a:gd name="connsiteY7" fmla="*/ 1569913 h 3900668"/>
              <a:gd name="connsiteX8" fmla="*/ 1412112 w 2631292"/>
              <a:gd name="connsiteY8" fmla="*/ 520861 h 3900668"/>
              <a:gd name="connsiteX9" fmla="*/ 1689904 w 2631292"/>
              <a:gd name="connsiteY9" fmla="*/ 1562582 h 3900668"/>
              <a:gd name="connsiteX10" fmla="*/ 2569580 w 2631292"/>
              <a:gd name="connsiteY10" fmla="*/ 486136 h 3900668"/>
              <a:gd name="connsiteX11" fmla="*/ 1794076 w 2631292"/>
              <a:gd name="connsiteY11" fmla="*/ 1759352 h 3900668"/>
              <a:gd name="connsiteX12" fmla="*/ 1875099 w 2631292"/>
              <a:gd name="connsiteY12" fmla="*/ 3472405 h 3900668"/>
              <a:gd name="connsiteX13" fmla="*/ 2199190 w 2631292"/>
              <a:gd name="connsiteY13" fmla="*/ 3900668 h 3900668"/>
              <a:gd name="connsiteX14" fmla="*/ 740780 w 2631292"/>
              <a:gd name="connsiteY14" fmla="*/ 3842795 h 3900668"/>
              <a:gd name="connsiteX0" fmla="*/ 740780 w 2631292"/>
              <a:gd name="connsiteY0" fmla="*/ 3842795 h 3900668"/>
              <a:gd name="connsiteX1" fmla="*/ 1238492 w 2631292"/>
              <a:gd name="connsiteY1" fmla="*/ 3483979 h 3900668"/>
              <a:gd name="connsiteX2" fmla="*/ 1342664 w 2631292"/>
              <a:gd name="connsiteY2" fmla="*/ 1828800 h 3900668"/>
              <a:gd name="connsiteX3" fmla="*/ 1134319 w 2631292"/>
              <a:gd name="connsiteY3" fmla="*/ 1585731 h 3900668"/>
              <a:gd name="connsiteX4" fmla="*/ 0 w 2631292"/>
              <a:gd name="connsiteY4" fmla="*/ 1365812 h 3900668"/>
              <a:gd name="connsiteX5" fmla="*/ 902826 w 2631292"/>
              <a:gd name="connsiteY5" fmla="*/ 1435261 h 3900668"/>
              <a:gd name="connsiteX6" fmla="*/ 231494 w 2631292"/>
              <a:gd name="connsiteY6" fmla="*/ 0 h 3900668"/>
              <a:gd name="connsiteX7" fmla="*/ 1400537 w 2631292"/>
              <a:gd name="connsiteY7" fmla="*/ 1569913 h 3900668"/>
              <a:gd name="connsiteX8" fmla="*/ 1412112 w 2631292"/>
              <a:gd name="connsiteY8" fmla="*/ 520861 h 3900668"/>
              <a:gd name="connsiteX9" fmla="*/ 1689904 w 2631292"/>
              <a:gd name="connsiteY9" fmla="*/ 1562582 h 3900668"/>
              <a:gd name="connsiteX10" fmla="*/ 2569580 w 2631292"/>
              <a:gd name="connsiteY10" fmla="*/ 486136 h 3900668"/>
              <a:gd name="connsiteX11" fmla="*/ 1794076 w 2631292"/>
              <a:gd name="connsiteY11" fmla="*/ 1759352 h 3900668"/>
              <a:gd name="connsiteX12" fmla="*/ 1875099 w 2631292"/>
              <a:gd name="connsiteY12" fmla="*/ 3472405 h 3900668"/>
              <a:gd name="connsiteX13" fmla="*/ 2199190 w 2631292"/>
              <a:gd name="connsiteY13" fmla="*/ 3900668 h 3900668"/>
              <a:gd name="connsiteX14" fmla="*/ 740780 w 2631292"/>
              <a:gd name="connsiteY14" fmla="*/ 3842795 h 3900668"/>
              <a:gd name="connsiteX0" fmla="*/ 740780 w 2631292"/>
              <a:gd name="connsiteY0" fmla="*/ 3842795 h 3900668"/>
              <a:gd name="connsiteX1" fmla="*/ 1238492 w 2631292"/>
              <a:gd name="connsiteY1" fmla="*/ 3483979 h 3900668"/>
              <a:gd name="connsiteX2" fmla="*/ 1342664 w 2631292"/>
              <a:gd name="connsiteY2" fmla="*/ 1828800 h 3900668"/>
              <a:gd name="connsiteX3" fmla="*/ 1134319 w 2631292"/>
              <a:gd name="connsiteY3" fmla="*/ 1585731 h 3900668"/>
              <a:gd name="connsiteX4" fmla="*/ 0 w 2631292"/>
              <a:gd name="connsiteY4" fmla="*/ 1365812 h 3900668"/>
              <a:gd name="connsiteX5" fmla="*/ 902826 w 2631292"/>
              <a:gd name="connsiteY5" fmla="*/ 1435261 h 3900668"/>
              <a:gd name="connsiteX6" fmla="*/ 231494 w 2631292"/>
              <a:gd name="connsiteY6" fmla="*/ 0 h 3900668"/>
              <a:gd name="connsiteX7" fmla="*/ 1400537 w 2631292"/>
              <a:gd name="connsiteY7" fmla="*/ 1569913 h 3900668"/>
              <a:gd name="connsiteX8" fmla="*/ 1412112 w 2631292"/>
              <a:gd name="connsiteY8" fmla="*/ 520861 h 3900668"/>
              <a:gd name="connsiteX9" fmla="*/ 1689904 w 2631292"/>
              <a:gd name="connsiteY9" fmla="*/ 1562582 h 3900668"/>
              <a:gd name="connsiteX10" fmla="*/ 2569580 w 2631292"/>
              <a:gd name="connsiteY10" fmla="*/ 486136 h 3900668"/>
              <a:gd name="connsiteX11" fmla="*/ 1794076 w 2631292"/>
              <a:gd name="connsiteY11" fmla="*/ 1759352 h 3900668"/>
              <a:gd name="connsiteX12" fmla="*/ 1875099 w 2631292"/>
              <a:gd name="connsiteY12" fmla="*/ 3472405 h 3900668"/>
              <a:gd name="connsiteX13" fmla="*/ 2199190 w 2631292"/>
              <a:gd name="connsiteY13" fmla="*/ 3900668 h 3900668"/>
              <a:gd name="connsiteX14" fmla="*/ 740780 w 2631292"/>
              <a:gd name="connsiteY14" fmla="*/ 3842795 h 3900668"/>
              <a:gd name="connsiteX0" fmla="*/ 740780 w 2631292"/>
              <a:gd name="connsiteY0" fmla="*/ 3842795 h 3900668"/>
              <a:gd name="connsiteX1" fmla="*/ 1238492 w 2631292"/>
              <a:gd name="connsiteY1" fmla="*/ 3483979 h 3900668"/>
              <a:gd name="connsiteX2" fmla="*/ 1342664 w 2631292"/>
              <a:gd name="connsiteY2" fmla="*/ 1828800 h 3900668"/>
              <a:gd name="connsiteX3" fmla="*/ 1134319 w 2631292"/>
              <a:gd name="connsiteY3" fmla="*/ 1585731 h 3900668"/>
              <a:gd name="connsiteX4" fmla="*/ 0 w 2631292"/>
              <a:gd name="connsiteY4" fmla="*/ 1365812 h 3900668"/>
              <a:gd name="connsiteX5" fmla="*/ 902826 w 2631292"/>
              <a:gd name="connsiteY5" fmla="*/ 1435261 h 3900668"/>
              <a:gd name="connsiteX6" fmla="*/ 231494 w 2631292"/>
              <a:gd name="connsiteY6" fmla="*/ 0 h 3900668"/>
              <a:gd name="connsiteX7" fmla="*/ 1400537 w 2631292"/>
              <a:gd name="connsiteY7" fmla="*/ 1569913 h 3900668"/>
              <a:gd name="connsiteX8" fmla="*/ 1412112 w 2631292"/>
              <a:gd name="connsiteY8" fmla="*/ 520861 h 3900668"/>
              <a:gd name="connsiteX9" fmla="*/ 1689904 w 2631292"/>
              <a:gd name="connsiteY9" fmla="*/ 1562582 h 3900668"/>
              <a:gd name="connsiteX10" fmla="*/ 2569580 w 2631292"/>
              <a:gd name="connsiteY10" fmla="*/ 486136 h 3900668"/>
              <a:gd name="connsiteX11" fmla="*/ 1794076 w 2631292"/>
              <a:gd name="connsiteY11" fmla="*/ 1759352 h 3900668"/>
              <a:gd name="connsiteX12" fmla="*/ 1875099 w 2631292"/>
              <a:gd name="connsiteY12" fmla="*/ 3472405 h 3900668"/>
              <a:gd name="connsiteX13" fmla="*/ 2199190 w 2631292"/>
              <a:gd name="connsiteY13" fmla="*/ 3900668 h 3900668"/>
              <a:gd name="connsiteX14" fmla="*/ 740780 w 2631292"/>
              <a:gd name="connsiteY14" fmla="*/ 3842795 h 3900668"/>
              <a:gd name="connsiteX0" fmla="*/ 740780 w 2609887"/>
              <a:gd name="connsiteY0" fmla="*/ 3842795 h 3900668"/>
              <a:gd name="connsiteX1" fmla="*/ 1238492 w 2609887"/>
              <a:gd name="connsiteY1" fmla="*/ 3483979 h 3900668"/>
              <a:gd name="connsiteX2" fmla="*/ 1342664 w 2609887"/>
              <a:gd name="connsiteY2" fmla="*/ 1828800 h 3900668"/>
              <a:gd name="connsiteX3" fmla="*/ 1134319 w 2609887"/>
              <a:gd name="connsiteY3" fmla="*/ 1585731 h 3900668"/>
              <a:gd name="connsiteX4" fmla="*/ 0 w 2609887"/>
              <a:gd name="connsiteY4" fmla="*/ 1365812 h 3900668"/>
              <a:gd name="connsiteX5" fmla="*/ 902826 w 2609887"/>
              <a:gd name="connsiteY5" fmla="*/ 1435261 h 3900668"/>
              <a:gd name="connsiteX6" fmla="*/ 231494 w 2609887"/>
              <a:gd name="connsiteY6" fmla="*/ 0 h 3900668"/>
              <a:gd name="connsiteX7" fmla="*/ 1400537 w 2609887"/>
              <a:gd name="connsiteY7" fmla="*/ 1569913 h 3900668"/>
              <a:gd name="connsiteX8" fmla="*/ 1412112 w 2609887"/>
              <a:gd name="connsiteY8" fmla="*/ 520861 h 3900668"/>
              <a:gd name="connsiteX9" fmla="*/ 1689904 w 2609887"/>
              <a:gd name="connsiteY9" fmla="*/ 1562582 h 3900668"/>
              <a:gd name="connsiteX10" fmla="*/ 2569580 w 2609887"/>
              <a:gd name="connsiteY10" fmla="*/ 486136 h 3900668"/>
              <a:gd name="connsiteX11" fmla="*/ 1794076 w 2609887"/>
              <a:gd name="connsiteY11" fmla="*/ 1759352 h 3900668"/>
              <a:gd name="connsiteX12" fmla="*/ 1875099 w 2609887"/>
              <a:gd name="connsiteY12" fmla="*/ 3472405 h 3900668"/>
              <a:gd name="connsiteX13" fmla="*/ 2199190 w 2609887"/>
              <a:gd name="connsiteY13" fmla="*/ 3900668 h 3900668"/>
              <a:gd name="connsiteX14" fmla="*/ 740780 w 2609887"/>
              <a:gd name="connsiteY14" fmla="*/ 3842795 h 3900668"/>
              <a:gd name="connsiteX0" fmla="*/ 740780 w 2609887"/>
              <a:gd name="connsiteY0" fmla="*/ 3842795 h 3900668"/>
              <a:gd name="connsiteX1" fmla="*/ 1238492 w 2609887"/>
              <a:gd name="connsiteY1" fmla="*/ 3483979 h 3900668"/>
              <a:gd name="connsiteX2" fmla="*/ 1342664 w 2609887"/>
              <a:gd name="connsiteY2" fmla="*/ 1828800 h 3900668"/>
              <a:gd name="connsiteX3" fmla="*/ 1134319 w 2609887"/>
              <a:gd name="connsiteY3" fmla="*/ 1585731 h 3900668"/>
              <a:gd name="connsiteX4" fmla="*/ 0 w 2609887"/>
              <a:gd name="connsiteY4" fmla="*/ 1365812 h 3900668"/>
              <a:gd name="connsiteX5" fmla="*/ 902826 w 2609887"/>
              <a:gd name="connsiteY5" fmla="*/ 1435261 h 3900668"/>
              <a:gd name="connsiteX6" fmla="*/ 231494 w 2609887"/>
              <a:gd name="connsiteY6" fmla="*/ 0 h 3900668"/>
              <a:gd name="connsiteX7" fmla="*/ 1400537 w 2609887"/>
              <a:gd name="connsiteY7" fmla="*/ 1569913 h 3900668"/>
              <a:gd name="connsiteX8" fmla="*/ 1412112 w 2609887"/>
              <a:gd name="connsiteY8" fmla="*/ 520861 h 3900668"/>
              <a:gd name="connsiteX9" fmla="*/ 1689904 w 2609887"/>
              <a:gd name="connsiteY9" fmla="*/ 1562582 h 3900668"/>
              <a:gd name="connsiteX10" fmla="*/ 2569580 w 2609887"/>
              <a:gd name="connsiteY10" fmla="*/ 486136 h 3900668"/>
              <a:gd name="connsiteX11" fmla="*/ 1794076 w 2609887"/>
              <a:gd name="connsiteY11" fmla="*/ 1759352 h 3900668"/>
              <a:gd name="connsiteX12" fmla="*/ 1875099 w 2609887"/>
              <a:gd name="connsiteY12" fmla="*/ 3472405 h 3900668"/>
              <a:gd name="connsiteX13" fmla="*/ 2199190 w 2609887"/>
              <a:gd name="connsiteY13" fmla="*/ 3900668 h 3900668"/>
              <a:gd name="connsiteX14" fmla="*/ 740780 w 2609887"/>
              <a:gd name="connsiteY14" fmla="*/ 3842795 h 3900668"/>
              <a:gd name="connsiteX0" fmla="*/ 740780 w 2609887"/>
              <a:gd name="connsiteY0" fmla="*/ 3842795 h 3900668"/>
              <a:gd name="connsiteX1" fmla="*/ 1238492 w 2609887"/>
              <a:gd name="connsiteY1" fmla="*/ 3483979 h 3900668"/>
              <a:gd name="connsiteX2" fmla="*/ 1342664 w 2609887"/>
              <a:gd name="connsiteY2" fmla="*/ 1828800 h 3900668"/>
              <a:gd name="connsiteX3" fmla="*/ 1134319 w 2609887"/>
              <a:gd name="connsiteY3" fmla="*/ 1585731 h 3900668"/>
              <a:gd name="connsiteX4" fmla="*/ 0 w 2609887"/>
              <a:gd name="connsiteY4" fmla="*/ 1365812 h 3900668"/>
              <a:gd name="connsiteX5" fmla="*/ 902826 w 2609887"/>
              <a:gd name="connsiteY5" fmla="*/ 1435261 h 3900668"/>
              <a:gd name="connsiteX6" fmla="*/ 231494 w 2609887"/>
              <a:gd name="connsiteY6" fmla="*/ 0 h 3900668"/>
              <a:gd name="connsiteX7" fmla="*/ 1400537 w 2609887"/>
              <a:gd name="connsiteY7" fmla="*/ 1569913 h 3900668"/>
              <a:gd name="connsiteX8" fmla="*/ 1412112 w 2609887"/>
              <a:gd name="connsiteY8" fmla="*/ 520861 h 3900668"/>
              <a:gd name="connsiteX9" fmla="*/ 1689904 w 2609887"/>
              <a:gd name="connsiteY9" fmla="*/ 1562582 h 3900668"/>
              <a:gd name="connsiteX10" fmla="*/ 2569580 w 2609887"/>
              <a:gd name="connsiteY10" fmla="*/ 486136 h 3900668"/>
              <a:gd name="connsiteX11" fmla="*/ 1794076 w 2609887"/>
              <a:gd name="connsiteY11" fmla="*/ 1759352 h 3900668"/>
              <a:gd name="connsiteX12" fmla="*/ 1875099 w 2609887"/>
              <a:gd name="connsiteY12" fmla="*/ 3472405 h 3900668"/>
              <a:gd name="connsiteX13" fmla="*/ 2199190 w 2609887"/>
              <a:gd name="connsiteY13" fmla="*/ 3900668 h 3900668"/>
              <a:gd name="connsiteX14" fmla="*/ 740780 w 2609887"/>
              <a:gd name="connsiteY14" fmla="*/ 3842795 h 3900668"/>
              <a:gd name="connsiteX0" fmla="*/ 740780 w 2609887"/>
              <a:gd name="connsiteY0" fmla="*/ 3842795 h 3900668"/>
              <a:gd name="connsiteX1" fmla="*/ 1238492 w 2609887"/>
              <a:gd name="connsiteY1" fmla="*/ 3483979 h 3900668"/>
              <a:gd name="connsiteX2" fmla="*/ 1342664 w 2609887"/>
              <a:gd name="connsiteY2" fmla="*/ 1828800 h 3900668"/>
              <a:gd name="connsiteX3" fmla="*/ 1134319 w 2609887"/>
              <a:gd name="connsiteY3" fmla="*/ 1585731 h 3900668"/>
              <a:gd name="connsiteX4" fmla="*/ 0 w 2609887"/>
              <a:gd name="connsiteY4" fmla="*/ 1365812 h 3900668"/>
              <a:gd name="connsiteX5" fmla="*/ 902826 w 2609887"/>
              <a:gd name="connsiteY5" fmla="*/ 1435261 h 3900668"/>
              <a:gd name="connsiteX6" fmla="*/ 231494 w 2609887"/>
              <a:gd name="connsiteY6" fmla="*/ 0 h 3900668"/>
              <a:gd name="connsiteX7" fmla="*/ 1400537 w 2609887"/>
              <a:gd name="connsiteY7" fmla="*/ 1569913 h 3900668"/>
              <a:gd name="connsiteX8" fmla="*/ 1412112 w 2609887"/>
              <a:gd name="connsiteY8" fmla="*/ 520861 h 3900668"/>
              <a:gd name="connsiteX9" fmla="*/ 1689904 w 2609887"/>
              <a:gd name="connsiteY9" fmla="*/ 1562582 h 3900668"/>
              <a:gd name="connsiteX10" fmla="*/ 2569580 w 2609887"/>
              <a:gd name="connsiteY10" fmla="*/ 486136 h 3900668"/>
              <a:gd name="connsiteX11" fmla="*/ 1794076 w 2609887"/>
              <a:gd name="connsiteY11" fmla="*/ 1759352 h 3900668"/>
              <a:gd name="connsiteX12" fmla="*/ 1875099 w 2609887"/>
              <a:gd name="connsiteY12" fmla="*/ 3472405 h 3900668"/>
              <a:gd name="connsiteX13" fmla="*/ 2199190 w 2609887"/>
              <a:gd name="connsiteY13" fmla="*/ 3900668 h 3900668"/>
              <a:gd name="connsiteX14" fmla="*/ 740780 w 2609887"/>
              <a:gd name="connsiteY14" fmla="*/ 3842795 h 3900668"/>
              <a:gd name="connsiteX0" fmla="*/ 740780 w 2609887"/>
              <a:gd name="connsiteY0" fmla="*/ 3842795 h 3900668"/>
              <a:gd name="connsiteX1" fmla="*/ 1238492 w 2609887"/>
              <a:gd name="connsiteY1" fmla="*/ 3483979 h 3900668"/>
              <a:gd name="connsiteX2" fmla="*/ 1342664 w 2609887"/>
              <a:gd name="connsiteY2" fmla="*/ 1828800 h 3900668"/>
              <a:gd name="connsiteX3" fmla="*/ 1134319 w 2609887"/>
              <a:gd name="connsiteY3" fmla="*/ 1585731 h 3900668"/>
              <a:gd name="connsiteX4" fmla="*/ 0 w 2609887"/>
              <a:gd name="connsiteY4" fmla="*/ 1365812 h 3900668"/>
              <a:gd name="connsiteX5" fmla="*/ 902826 w 2609887"/>
              <a:gd name="connsiteY5" fmla="*/ 1435261 h 3900668"/>
              <a:gd name="connsiteX6" fmla="*/ 231494 w 2609887"/>
              <a:gd name="connsiteY6" fmla="*/ 0 h 3900668"/>
              <a:gd name="connsiteX7" fmla="*/ 1400537 w 2609887"/>
              <a:gd name="connsiteY7" fmla="*/ 1569913 h 3900668"/>
              <a:gd name="connsiteX8" fmla="*/ 1412112 w 2609887"/>
              <a:gd name="connsiteY8" fmla="*/ 520861 h 3900668"/>
              <a:gd name="connsiteX9" fmla="*/ 1689904 w 2609887"/>
              <a:gd name="connsiteY9" fmla="*/ 1562582 h 3900668"/>
              <a:gd name="connsiteX10" fmla="*/ 2569580 w 2609887"/>
              <a:gd name="connsiteY10" fmla="*/ 486136 h 3900668"/>
              <a:gd name="connsiteX11" fmla="*/ 1794076 w 2609887"/>
              <a:gd name="connsiteY11" fmla="*/ 1759352 h 3900668"/>
              <a:gd name="connsiteX12" fmla="*/ 1875099 w 2609887"/>
              <a:gd name="connsiteY12" fmla="*/ 3472405 h 3900668"/>
              <a:gd name="connsiteX13" fmla="*/ 2199190 w 2609887"/>
              <a:gd name="connsiteY13" fmla="*/ 3900668 h 3900668"/>
              <a:gd name="connsiteX14" fmla="*/ 740780 w 2609887"/>
              <a:gd name="connsiteY14" fmla="*/ 3842795 h 3900668"/>
              <a:gd name="connsiteX0" fmla="*/ 740780 w 2609887"/>
              <a:gd name="connsiteY0" fmla="*/ 3842795 h 3900668"/>
              <a:gd name="connsiteX1" fmla="*/ 1238492 w 2609887"/>
              <a:gd name="connsiteY1" fmla="*/ 3483979 h 3900668"/>
              <a:gd name="connsiteX2" fmla="*/ 1342664 w 2609887"/>
              <a:gd name="connsiteY2" fmla="*/ 1828800 h 3900668"/>
              <a:gd name="connsiteX3" fmla="*/ 1134319 w 2609887"/>
              <a:gd name="connsiteY3" fmla="*/ 1585731 h 3900668"/>
              <a:gd name="connsiteX4" fmla="*/ 0 w 2609887"/>
              <a:gd name="connsiteY4" fmla="*/ 1365812 h 3900668"/>
              <a:gd name="connsiteX5" fmla="*/ 902826 w 2609887"/>
              <a:gd name="connsiteY5" fmla="*/ 1435261 h 3900668"/>
              <a:gd name="connsiteX6" fmla="*/ 231494 w 2609887"/>
              <a:gd name="connsiteY6" fmla="*/ 0 h 3900668"/>
              <a:gd name="connsiteX7" fmla="*/ 1400537 w 2609887"/>
              <a:gd name="connsiteY7" fmla="*/ 1569913 h 3900668"/>
              <a:gd name="connsiteX8" fmla="*/ 1412112 w 2609887"/>
              <a:gd name="connsiteY8" fmla="*/ 520861 h 3900668"/>
              <a:gd name="connsiteX9" fmla="*/ 1689904 w 2609887"/>
              <a:gd name="connsiteY9" fmla="*/ 1562582 h 3900668"/>
              <a:gd name="connsiteX10" fmla="*/ 2569580 w 2609887"/>
              <a:gd name="connsiteY10" fmla="*/ 486136 h 3900668"/>
              <a:gd name="connsiteX11" fmla="*/ 1794076 w 2609887"/>
              <a:gd name="connsiteY11" fmla="*/ 1759352 h 3900668"/>
              <a:gd name="connsiteX12" fmla="*/ 1875099 w 2609887"/>
              <a:gd name="connsiteY12" fmla="*/ 3472405 h 3900668"/>
              <a:gd name="connsiteX13" fmla="*/ 2199190 w 2609887"/>
              <a:gd name="connsiteY13" fmla="*/ 3900668 h 3900668"/>
              <a:gd name="connsiteX14" fmla="*/ 740780 w 2609887"/>
              <a:gd name="connsiteY14" fmla="*/ 3842795 h 3900668"/>
              <a:gd name="connsiteX0" fmla="*/ 740780 w 2609887"/>
              <a:gd name="connsiteY0" fmla="*/ 3842795 h 3900668"/>
              <a:gd name="connsiteX1" fmla="*/ 1238492 w 2609887"/>
              <a:gd name="connsiteY1" fmla="*/ 3483979 h 3900668"/>
              <a:gd name="connsiteX2" fmla="*/ 1342664 w 2609887"/>
              <a:gd name="connsiteY2" fmla="*/ 1828800 h 3900668"/>
              <a:gd name="connsiteX3" fmla="*/ 1134319 w 2609887"/>
              <a:gd name="connsiteY3" fmla="*/ 1585731 h 3900668"/>
              <a:gd name="connsiteX4" fmla="*/ 0 w 2609887"/>
              <a:gd name="connsiteY4" fmla="*/ 1365812 h 3900668"/>
              <a:gd name="connsiteX5" fmla="*/ 902826 w 2609887"/>
              <a:gd name="connsiteY5" fmla="*/ 1435261 h 3900668"/>
              <a:gd name="connsiteX6" fmla="*/ 231494 w 2609887"/>
              <a:gd name="connsiteY6" fmla="*/ 0 h 3900668"/>
              <a:gd name="connsiteX7" fmla="*/ 1400537 w 2609887"/>
              <a:gd name="connsiteY7" fmla="*/ 1569913 h 3900668"/>
              <a:gd name="connsiteX8" fmla="*/ 1412112 w 2609887"/>
              <a:gd name="connsiteY8" fmla="*/ 520861 h 3900668"/>
              <a:gd name="connsiteX9" fmla="*/ 1689904 w 2609887"/>
              <a:gd name="connsiteY9" fmla="*/ 1562582 h 3900668"/>
              <a:gd name="connsiteX10" fmla="*/ 2569580 w 2609887"/>
              <a:gd name="connsiteY10" fmla="*/ 486136 h 3900668"/>
              <a:gd name="connsiteX11" fmla="*/ 1794076 w 2609887"/>
              <a:gd name="connsiteY11" fmla="*/ 1759352 h 3900668"/>
              <a:gd name="connsiteX12" fmla="*/ 1875099 w 2609887"/>
              <a:gd name="connsiteY12" fmla="*/ 3472405 h 3900668"/>
              <a:gd name="connsiteX13" fmla="*/ 2199190 w 2609887"/>
              <a:gd name="connsiteY13" fmla="*/ 3900668 h 3900668"/>
              <a:gd name="connsiteX14" fmla="*/ 740780 w 2609887"/>
              <a:gd name="connsiteY14" fmla="*/ 3842795 h 3900668"/>
              <a:gd name="connsiteX0" fmla="*/ 740780 w 2609887"/>
              <a:gd name="connsiteY0" fmla="*/ 3842795 h 3900668"/>
              <a:gd name="connsiteX1" fmla="*/ 1238492 w 2609887"/>
              <a:gd name="connsiteY1" fmla="*/ 3483979 h 3900668"/>
              <a:gd name="connsiteX2" fmla="*/ 1342664 w 2609887"/>
              <a:gd name="connsiteY2" fmla="*/ 1889760 h 3900668"/>
              <a:gd name="connsiteX3" fmla="*/ 1134319 w 2609887"/>
              <a:gd name="connsiteY3" fmla="*/ 1585731 h 3900668"/>
              <a:gd name="connsiteX4" fmla="*/ 0 w 2609887"/>
              <a:gd name="connsiteY4" fmla="*/ 1365812 h 3900668"/>
              <a:gd name="connsiteX5" fmla="*/ 902826 w 2609887"/>
              <a:gd name="connsiteY5" fmla="*/ 1435261 h 3900668"/>
              <a:gd name="connsiteX6" fmla="*/ 231494 w 2609887"/>
              <a:gd name="connsiteY6" fmla="*/ 0 h 3900668"/>
              <a:gd name="connsiteX7" fmla="*/ 1400537 w 2609887"/>
              <a:gd name="connsiteY7" fmla="*/ 1569913 h 3900668"/>
              <a:gd name="connsiteX8" fmla="*/ 1412112 w 2609887"/>
              <a:gd name="connsiteY8" fmla="*/ 520861 h 3900668"/>
              <a:gd name="connsiteX9" fmla="*/ 1689904 w 2609887"/>
              <a:gd name="connsiteY9" fmla="*/ 1562582 h 3900668"/>
              <a:gd name="connsiteX10" fmla="*/ 2569580 w 2609887"/>
              <a:gd name="connsiteY10" fmla="*/ 486136 h 3900668"/>
              <a:gd name="connsiteX11" fmla="*/ 1794076 w 2609887"/>
              <a:gd name="connsiteY11" fmla="*/ 1759352 h 3900668"/>
              <a:gd name="connsiteX12" fmla="*/ 1875099 w 2609887"/>
              <a:gd name="connsiteY12" fmla="*/ 3472405 h 3900668"/>
              <a:gd name="connsiteX13" fmla="*/ 2199190 w 2609887"/>
              <a:gd name="connsiteY13" fmla="*/ 3900668 h 3900668"/>
              <a:gd name="connsiteX14" fmla="*/ 740780 w 2609887"/>
              <a:gd name="connsiteY14" fmla="*/ 3842795 h 3900668"/>
              <a:gd name="connsiteX0" fmla="*/ 740780 w 2609887"/>
              <a:gd name="connsiteY0" fmla="*/ 3842795 h 3900668"/>
              <a:gd name="connsiteX1" fmla="*/ 1238492 w 2609887"/>
              <a:gd name="connsiteY1" fmla="*/ 3483979 h 3900668"/>
              <a:gd name="connsiteX2" fmla="*/ 1323614 w 2609887"/>
              <a:gd name="connsiteY2" fmla="*/ 1889760 h 3900668"/>
              <a:gd name="connsiteX3" fmla="*/ 1134319 w 2609887"/>
              <a:gd name="connsiteY3" fmla="*/ 1585731 h 3900668"/>
              <a:gd name="connsiteX4" fmla="*/ 0 w 2609887"/>
              <a:gd name="connsiteY4" fmla="*/ 1365812 h 3900668"/>
              <a:gd name="connsiteX5" fmla="*/ 902826 w 2609887"/>
              <a:gd name="connsiteY5" fmla="*/ 1435261 h 3900668"/>
              <a:gd name="connsiteX6" fmla="*/ 231494 w 2609887"/>
              <a:gd name="connsiteY6" fmla="*/ 0 h 3900668"/>
              <a:gd name="connsiteX7" fmla="*/ 1400537 w 2609887"/>
              <a:gd name="connsiteY7" fmla="*/ 1569913 h 3900668"/>
              <a:gd name="connsiteX8" fmla="*/ 1412112 w 2609887"/>
              <a:gd name="connsiteY8" fmla="*/ 520861 h 3900668"/>
              <a:gd name="connsiteX9" fmla="*/ 1689904 w 2609887"/>
              <a:gd name="connsiteY9" fmla="*/ 1562582 h 3900668"/>
              <a:gd name="connsiteX10" fmla="*/ 2569580 w 2609887"/>
              <a:gd name="connsiteY10" fmla="*/ 486136 h 3900668"/>
              <a:gd name="connsiteX11" fmla="*/ 1794076 w 2609887"/>
              <a:gd name="connsiteY11" fmla="*/ 1759352 h 3900668"/>
              <a:gd name="connsiteX12" fmla="*/ 1875099 w 2609887"/>
              <a:gd name="connsiteY12" fmla="*/ 3472405 h 3900668"/>
              <a:gd name="connsiteX13" fmla="*/ 2199190 w 2609887"/>
              <a:gd name="connsiteY13" fmla="*/ 3900668 h 3900668"/>
              <a:gd name="connsiteX14" fmla="*/ 740780 w 2609887"/>
              <a:gd name="connsiteY14" fmla="*/ 3842795 h 3900668"/>
              <a:gd name="connsiteX0" fmla="*/ 740780 w 2609887"/>
              <a:gd name="connsiteY0" fmla="*/ 3842795 h 3900668"/>
              <a:gd name="connsiteX1" fmla="*/ 1238492 w 2609887"/>
              <a:gd name="connsiteY1" fmla="*/ 3483979 h 3900668"/>
              <a:gd name="connsiteX2" fmla="*/ 1323614 w 2609887"/>
              <a:gd name="connsiteY2" fmla="*/ 1889760 h 3900668"/>
              <a:gd name="connsiteX3" fmla="*/ 1134319 w 2609887"/>
              <a:gd name="connsiteY3" fmla="*/ 1585731 h 3900668"/>
              <a:gd name="connsiteX4" fmla="*/ 0 w 2609887"/>
              <a:gd name="connsiteY4" fmla="*/ 1365812 h 3900668"/>
              <a:gd name="connsiteX5" fmla="*/ 902826 w 2609887"/>
              <a:gd name="connsiteY5" fmla="*/ 1435261 h 3900668"/>
              <a:gd name="connsiteX6" fmla="*/ 231494 w 2609887"/>
              <a:gd name="connsiteY6" fmla="*/ 0 h 3900668"/>
              <a:gd name="connsiteX7" fmla="*/ 1400537 w 2609887"/>
              <a:gd name="connsiteY7" fmla="*/ 1569913 h 3900668"/>
              <a:gd name="connsiteX8" fmla="*/ 1412112 w 2609887"/>
              <a:gd name="connsiteY8" fmla="*/ 520861 h 3900668"/>
              <a:gd name="connsiteX9" fmla="*/ 1689904 w 2609887"/>
              <a:gd name="connsiteY9" fmla="*/ 1562582 h 3900668"/>
              <a:gd name="connsiteX10" fmla="*/ 2569580 w 2609887"/>
              <a:gd name="connsiteY10" fmla="*/ 486136 h 3900668"/>
              <a:gd name="connsiteX11" fmla="*/ 1794076 w 2609887"/>
              <a:gd name="connsiteY11" fmla="*/ 1759352 h 3900668"/>
              <a:gd name="connsiteX12" fmla="*/ 1875099 w 2609887"/>
              <a:gd name="connsiteY12" fmla="*/ 3472405 h 3900668"/>
              <a:gd name="connsiteX13" fmla="*/ 2199190 w 2609887"/>
              <a:gd name="connsiteY13" fmla="*/ 3900668 h 3900668"/>
              <a:gd name="connsiteX14" fmla="*/ 740780 w 2609887"/>
              <a:gd name="connsiteY14" fmla="*/ 3842795 h 3900668"/>
              <a:gd name="connsiteX0" fmla="*/ 740780 w 2610322"/>
              <a:gd name="connsiteY0" fmla="*/ 3842795 h 3900668"/>
              <a:gd name="connsiteX1" fmla="*/ 1238492 w 2610322"/>
              <a:gd name="connsiteY1" fmla="*/ 3483979 h 3900668"/>
              <a:gd name="connsiteX2" fmla="*/ 1323614 w 2610322"/>
              <a:gd name="connsiteY2" fmla="*/ 1889760 h 3900668"/>
              <a:gd name="connsiteX3" fmla="*/ 1134319 w 2610322"/>
              <a:gd name="connsiteY3" fmla="*/ 1585731 h 3900668"/>
              <a:gd name="connsiteX4" fmla="*/ 0 w 2610322"/>
              <a:gd name="connsiteY4" fmla="*/ 1365812 h 3900668"/>
              <a:gd name="connsiteX5" fmla="*/ 902826 w 2610322"/>
              <a:gd name="connsiteY5" fmla="*/ 1435261 h 3900668"/>
              <a:gd name="connsiteX6" fmla="*/ 231494 w 2610322"/>
              <a:gd name="connsiteY6" fmla="*/ 0 h 3900668"/>
              <a:gd name="connsiteX7" fmla="*/ 1400537 w 2610322"/>
              <a:gd name="connsiteY7" fmla="*/ 1569913 h 3900668"/>
              <a:gd name="connsiteX8" fmla="*/ 1412112 w 2610322"/>
              <a:gd name="connsiteY8" fmla="*/ 520861 h 3900668"/>
              <a:gd name="connsiteX9" fmla="*/ 1689904 w 2610322"/>
              <a:gd name="connsiteY9" fmla="*/ 1562582 h 3900668"/>
              <a:gd name="connsiteX10" fmla="*/ 2569580 w 2610322"/>
              <a:gd name="connsiteY10" fmla="*/ 486136 h 3900668"/>
              <a:gd name="connsiteX11" fmla="*/ 1797886 w 2610322"/>
              <a:gd name="connsiteY11" fmla="*/ 1786022 h 3900668"/>
              <a:gd name="connsiteX12" fmla="*/ 1875099 w 2610322"/>
              <a:gd name="connsiteY12" fmla="*/ 3472405 h 3900668"/>
              <a:gd name="connsiteX13" fmla="*/ 2199190 w 2610322"/>
              <a:gd name="connsiteY13" fmla="*/ 3900668 h 3900668"/>
              <a:gd name="connsiteX14" fmla="*/ 740780 w 2610322"/>
              <a:gd name="connsiteY14" fmla="*/ 3842795 h 3900668"/>
              <a:gd name="connsiteX0" fmla="*/ 740780 w 2610322"/>
              <a:gd name="connsiteY0" fmla="*/ 3842795 h 3900668"/>
              <a:gd name="connsiteX1" fmla="*/ 1238492 w 2610322"/>
              <a:gd name="connsiteY1" fmla="*/ 3483979 h 3900668"/>
              <a:gd name="connsiteX2" fmla="*/ 1323614 w 2610322"/>
              <a:gd name="connsiteY2" fmla="*/ 1889760 h 3900668"/>
              <a:gd name="connsiteX3" fmla="*/ 1134319 w 2610322"/>
              <a:gd name="connsiteY3" fmla="*/ 1585731 h 3900668"/>
              <a:gd name="connsiteX4" fmla="*/ 0 w 2610322"/>
              <a:gd name="connsiteY4" fmla="*/ 1365812 h 3900668"/>
              <a:gd name="connsiteX5" fmla="*/ 902826 w 2610322"/>
              <a:gd name="connsiteY5" fmla="*/ 1435261 h 3900668"/>
              <a:gd name="connsiteX6" fmla="*/ 231494 w 2610322"/>
              <a:gd name="connsiteY6" fmla="*/ 0 h 3900668"/>
              <a:gd name="connsiteX7" fmla="*/ 1400537 w 2610322"/>
              <a:gd name="connsiteY7" fmla="*/ 1569913 h 3900668"/>
              <a:gd name="connsiteX8" fmla="*/ 1412112 w 2610322"/>
              <a:gd name="connsiteY8" fmla="*/ 520861 h 3900668"/>
              <a:gd name="connsiteX9" fmla="*/ 1689904 w 2610322"/>
              <a:gd name="connsiteY9" fmla="*/ 1562582 h 3900668"/>
              <a:gd name="connsiteX10" fmla="*/ 2569580 w 2610322"/>
              <a:gd name="connsiteY10" fmla="*/ 486136 h 3900668"/>
              <a:gd name="connsiteX11" fmla="*/ 1797886 w 2610322"/>
              <a:gd name="connsiteY11" fmla="*/ 1786022 h 3900668"/>
              <a:gd name="connsiteX12" fmla="*/ 1875099 w 2610322"/>
              <a:gd name="connsiteY12" fmla="*/ 3472405 h 3900668"/>
              <a:gd name="connsiteX13" fmla="*/ 2199190 w 2610322"/>
              <a:gd name="connsiteY13" fmla="*/ 3900668 h 3900668"/>
              <a:gd name="connsiteX14" fmla="*/ 740780 w 2610322"/>
              <a:gd name="connsiteY14" fmla="*/ 3842795 h 3900668"/>
              <a:gd name="connsiteX0" fmla="*/ 740780 w 2610322"/>
              <a:gd name="connsiteY0" fmla="*/ 3893167 h 3900668"/>
              <a:gd name="connsiteX1" fmla="*/ 1238492 w 2610322"/>
              <a:gd name="connsiteY1" fmla="*/ 3483979 h 3900668"/>
              <a:gd name="connsiteX2" fmla="*/ 1323614 w 2610322"/>
              <a:gd name="connsiteY2" fmla="*/ 1889760 h 3900668"/>
              <a:gd name="connsiteX3" fmla="*/ 1134319 w 2610322"/>
              <a:gd name="connsiteY3" fmla="*/ 1585731 h 3900668"/>
              <a:gd name="connsiteX4" fmla="*/ 0 w 2610322"/>
              <a:gd name="connsiteY4" fmla="*/ 1365812 h 3900668"/>
              <a:gd name="connsiteX5" fmla="*/ 902826 w 2610322"/>
              <a:gd name="connsiteY5" fmla="*/ 1435261 h 3900668"/>
              <a:gd name="connsiteX6" fmla="*/ 231494 w 2610322"/>
              <a:gd name="connsiteY6" fmla="*/ 0 h 3900668"/>
              <a:gd name="connsiteX7" fmla="*/ 1400537 w 2610322"/>
              <a:gd name="connsiteY7" fmla="*/ 1569913 h 3900668"/>
              <a:gd name="connsiteX8" fmla="*/ 1412112 w 2610322"/>
              <a:gd name="connsiteY8" fmla="*/ 520861 h 3900668"/>
              <a:gd name="connsiteX9" fmla="*/ 1689904 w 2610322"/>
              <a:gd name="connsiteY9" fmla="*/ 1562582 h 3900668"/>
              <a:gd name="connsiteX10" fmla="*/ 2569580 w 2610322"/>
              <a:gd name="connsiteY10" fmla="*/ 486136 h 3900668"/>
              <a:gd name="connsiteX11" fmla="*/ 1797886 w 2610322"/>
              <a:gd name="connsiteY11" fmla="*/ 1786022 h 3900668"/>
              <a:gd name="connsiteX12" fmla="*/ 1875099 w 2610322"/>
              <a:gd name="connsiteY12" fmla="*/ 3472405 h 3900668"/>
              <a:gd name="connsiteX13" fmla="*/ 2199190 w 2610322"/>
              <a:gd name="connsiteY13" fmla="*/ 3900668 h 3900668"/>
              <a:gd name="connsiteX14" fmla="*/ 740780 w 2610322"/>
              <a:gd name="connsiteY14" fmla="*/ 3893167 h 3900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610322" h="3900668">
                <a:moveTo>
                  <a:pt x="740780" y="3893167"/>
                </a:moveTo>
                <a:cubicBezTo>
                  <a:pt x="1097184" y="3811662"/>
                  <a:pt x="1125928" y="3832184"/>
                  <a:pt x="1238492" y="3483979"/>
                </a:cubicBezTo>
                <a:cubicBezTo>
                  <a:pt x="1357036" y="2917013"/>
                  <a:pt x="1319370" y="2540546"/>
                  <a:pt x="1323614" y="1889760"/>
                </a:cubicBezTo>
                <a:cubicBezTo>
                  <a:pt x="1284646" y="1717297"/>
                  <a:pt x="1257107" y="1651514"/>
                  <a:pt x="1134319" y="1585731"/>
                </a:cubicBezTo>
                <a:lnTo>
                  <a:pt x="0" y="1365812"/>
                </a:lnTo>
                <a:cubicBezTo>
                  <a:pt x="300942" y="1388962"/>
                  <a:pt x="586644" y="1358771"/>
                  <a:pt x="902826" y="1435261"/>
                </a:cubicBezTo>
                <a:cubicBezTo>
                  <a:pt x="473309" y="751101"/>
                  <a:pt x="356211" y="547000"/>
                  <a:pt x="231494" y="0"/>
                </a:cubicBezTo>
                <a:cubicBezTo>
                  <a:pt x="849775" y="1145604"/>
                  <a:pt x="1010856" y="1056769"/>
                  <a:pt x="1400537" y="1569913"/>
                </a:cubicBezTo>
                <a:cubicBezTo>
                  <a:pt x="1450115" y="1243089"/>
                  <a:pt x="1408254" y="870545"/>
                  <a:pt x="1412112" y="520861"/>
                </a:cubicBezTo>
                <a:cubicBezTo>
                  <a:pt x="1504709" y="868101"/>
                  <a:pt x="1582067" y="956262"/>
                  <a:pt x="1689904" y="1562582"/>
                </a:cubicBezTo>
                <a:cubicBezTo>
                  <a:pt x="2021229" y="1386647"/>
                  <a:pt x="2489715" y="1370731"/>
                  <a:pt x="2569580" y="486136"/>
                </a:cubicBezTo>
                <a:cubicBezTo>
                  <a:pt x="2692079" y="979121"/>
                  <a:pt x="2566927" y="1567357"/>
                  <a:pt x="1797886" y="1786022"/>
                </a:cubicBezTo>
                <a:cubicBezTo>
                  <a:pt x="1779174" y="1785540"/>
                  <a:pt x="1710931" y="2741367"/>
                  <a:pt x="1875099" y="3472405"/>
                </a:cubicBezTo>
                <a:cubicBezTo>
                  <a:pt x="1945029" y="3660879"/>
                  <a:pt x="1885420" y="3773154"/>
                  <a:pt x="2199190" y="3900668"/>
                </a:cubicBezTo>
                <a:lnTo>
                  <a:pt x="740780" y="3893167"/>
                </a:lnTo>
                <a:close/>
              </a:path>
            </a:pathLst>
          </a:custGeom>
          <a:solidFill>
            <a:srgbClr val="212A32">
              <a:alpha val="95000"/>
            </a:srgb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870F5E7-F0F1-4B38-A2DE-D3183CDE6712}"/>
              </a:ext>
            </a:extLst>
          </p:cNvPr>
          <p:cNvSpPr/>
          <p:nvPr/>
        </p:nvSpPr>
        <p:spPr>
          <a:xfrm>
            <a:off x="7476111" y="4763647"/>
            <a:ext cx="394062" cy="394062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949CE68-9F9E-416A-A27D-DCFB25222CCD}"/>
              </a:ext>
            </a:extLst>
          </p:cNvPr>
          <p:cNvSpPr/>
          <p:nvPr/>
        </p:nvSpPr>
        <p:spPr>
          <a:xfrm>
            <a:off x="9546960" y="2962659"/>
            <a:ext cx="989943" cy="989943"/>
          </a:xfrm>
          <a:prstGeom prst="ellipse">
            <a:avLst/>
          </a:prstGeom>
          <a:solidFill>
            <a:schemeClr val="accent2">
              <a:alpha val="5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0E18AEF-FCE5-4F72-A8AB-724F3BA78F7E}"/>
              </a:ext>
            </a:extLst>
          </p:cNvPr>
          <p:cNvSpPr/>
          <p:nvPr/>
        </p:nvSpPr>
        <p:spPr>
          <a:xfrm>
            <a:off x="7428387" y="2407794"/>
            <a:ext cx="1431956" cy="1431956"/>
          </a:xfrm>
          <a:prstGeom prst="ellipse">
            <a:avLst/>
          </a:prstGeom>
          <a:solidFill>
            <a:schemeClr val="accent2">
              <a:lumMod val="40000"/>
              <a:lumOff val="60000"/>
              <a:alpha val="85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AA0F4FF-BD8D-491F-AD69-915F544A248F}"/>
              </a:ext>
            </a:extLst>
          </p:cNvPr>
          <p:cNvSpPr/>
          <p:nvPr/>
        </p:nvSpPr>
        <p:spPr>
          <a:xfrm>
            <a:off x="6712409" y="3528722"/>
            <a:ext cx="1431956" cy="1431956"/>
          </a:xfrm>
          <a:prstGeom prst="ellipse">
            <a:avLst/>
          </a:prstGeom>
          <a:solidFill>
            <a:schemeClr val="accent2">
              <a:lumMod val="75000"/>
              <a:alpha val="5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F33CCDB-1875-49CF-91CA-E074F7484E09}"/>
              </a:ext>
            </a:extLst>
          </p:cNvPr>
          <p:cNvSpPr/>
          <p:nvPr/>
        </p:nvSpPr>
        <p:spPr>
          <a:xfrm>
            <a:off x="6147953" y="2280009"/>
            <a:ext cx="1431956" cy="1431956"/>
          </a:xfrm>
          <a:prstGeom prst="ellipse">
            <a:avLst/>
          </a:prstGeom>
          <a:solidFill>
            <a:schemeClr val="accent4">
              <a:lumMod val="75000"/>
              <a:alpha val="5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D398F2E-0C74-4F83-A179-DE00AFD1B656}"/>
              </a:ext>
            </a:extLst>
          </p:cNvPr>
          <p:cNvSpPr/>
          <p:nvPr/>
        </p:nvSpPr>
        <p:spPr>
          <a:xfrm>
            <a:off x="8436097" y="2733245"/>
            <a:ext cx="1431956" cy="1431956"/>
          </a:xfrm>
          <a:prstGeom prst="ellipse">
            <a:avLst/>
          </a:prstGeom>
          <a:solidFill>
            <a:schemeClr val="accent4">
              <a:alpha val="9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ED1788E-53AD-4713-9013-1CC0374CC31C}"/>
              </a:ext>
            </a:extLst>
          </p:cNvPr>
          <p:cNvSpPr/>
          <p:nvPr/>
        </p:nvSpPr>
        <p:spPr>
          <a:xfrm>
            <a:off x="9285435" y="1778607"/>
            <a:ext cx="1431956" cy="1431956"/>
          </a:xfrm>
          <a:prstGeom prst="ellipse">
            <a:avLst/>
          </a:prstGeom>
          <a:solidFill>
            <a:schemeClr val="accent4">
              <a:lumMod val="75000"/>
              <a:alpha val="75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CADCC42-0023-4FA5-999D-63B4B2C49215}"/>
              </a:ext>
            </a:extLst>
          </p:cNvPr>
          <p:cNvSpPr/>
          <p:nvPr/>
        </p:nvSpPr>
        <p:spPr>
          <a:xfrm>
            <a:off x="10252044" y="2494585"/>
            <a:ext cx="1431956" cy="1431956"/>
          </a:xfrm>
          <a:prstGeom prst="ellipse">
            <a:avLst/>
          </a:prstGeom>
          <a:solidFill>
            <a:schemeClr val="accent2">
              <a:lumMod val="40000"/>
              <a:lumOff val="60000"/>
              <a:alpha val="5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D2A302C-09CB-42BA-B811-7804F4C327F6}"/>
              </a:ext>
            </a:extLst>
          </p:cNvPr>
          <p:cNvSpPr/>
          <p:nvPr/>
        </p:nvSpPr>
        <p:spPr>
          <a:xfrm>
            <a:off x="9985326" y="3588855"/>
            <a:ext cx="1431956" cy="1431956"/>
          </a:xfrm>
          <a:prstGeom prst="ellipse">
            <a:avLst/>
          </a:prstGeom>
          <a:solidFill>
            <a:schemeClr val="accent2">
              <a:alpha val="8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C44DC56-57EA-4C58-AB3C-CC323D24DBF3}"/>
              </a:ext>
            </a:extLst>
          </p:cNvPr>
          <p:cNvSpPr/>
          <p:nvPr/>
        </p:nvSpPr>
        <p:spPr>
          <a:xfrm>
            <a:off x="9494261" y="4729945"/>
            <a:ext cx="529525" cy="529525"/>
          </a:xfrm>
          <a:prstGeom prst="ellipse">
            <a:avLst/>
          </a:prstGeom>
          <a:solidFill>
            <a:schemeClr val="accent2">
              <a:lumMod val="40000"/>
              <a:lumOff val="60000"/>
              <a:alpha val="5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D7608BF-D9AE-408A-BA93-09EBC0AA221A}"/>
              </a:ext>
            </a:extLst>
          </p:cNvPr>
          <p:cNvSpPr/>
          <p:nvPr/>
        </p:nvSpPr>
        <p:spPr>
          <a:xfrm>
            <a:off x="7815275" y="4935378"/>
            <a:ext cx="716912" cy="716912"/>
          </a:xfrm>
          <a:prstGeom prst="ellipse">
            <a:avLst/>
          </a:prstGeom>
          <a:solidFill>
            <a:schemeClr val="accent2">
              <a:lumMod val="40000"/>
              <a:lumOff val="60000"/>
              <a:alpha val="5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7608C15-17BA-49A0-AAD3-F64E06F8E830}"/>
              </a:ext>
            </a:extLst>
          </p:cNvPr>
          <p:cNvGrpSpPr/>
          <p:nvPr/>
        </p:nvGrpSpPr>
        <p:grpSpPr>
          <a:xfrm>
            <a:off x="7133906" y="3951012"/>
            <a:ext cx="588963" cy="587376"/>
            <a:chOff x="6459745" y="3952602"/>
            <a:chExt cx="588963" cy="587376"/>
          </a:xfrm>
          <a:solidFill>
            <a:schemeClr val="bg1"/>
          </a:solidFill>
        </p:grpSpPr>
        <p:sp>
          <p:nvSpPr>
            <p:cNvPr id="59" name="Freeform 10">
              <a:extLst>
                <a:ext uri="{FF2B5EF4-FFF2-40B4-BE49-F238E27FC236}">
                  <a16:creationId xmlns:a16="http://schemas.microsoft.com/office/drawing/2014/main" id="{1B5FEF3E-BBD8-49BB-A1BA-AFA95C3202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59745" y="3952602"/>
              <a:ext cx="588963" cy="587376"/>
            </a:xfrm>
            <a:custGeom>
              <a:avLst/>
              <a:gdLst>
                <a:gd name="T0" fmla="*/ 228 w 253"/>
                <a:gd name="T1" fmla="*/ 81 h 253"/>
                <a:gd name="T2" fmla="*/ 82 w 253"/>
                <a:gd name="T3" fmla="*/ 19 h 253"/>
                <a:gd name="T4" fmla="*/ 76 w 253"/>
                <a:gd name="T5" fmla="*/ 212 h 253"/>
                <a:gd name="T6" fmla="*/ 72 w 253"/>
                <a:gd name="T7" fmla="*/ 228 h 253"/>
                <a:gd name="T8" fmla="*/ 94 w 253"/>
                <a:gd name="T9" fmla="*/ 218 h 253"/>
                <a:gd name="T10" fmla="*/ 88 w 253"/>
                <a:gd name="T11" fmla="*/ 236 h 253"/>
                <a:gd name="T12" fmla="*/ 115 w 253"/>
                <a:gd name="T13" fmla="*/ 221 h 253"/>
                <a:gd name="T14" fmla="*/ 116 w 253"/>
                <a:gd name="T15" fmla="*/ 232 h 253"/>
                <a:gd name="T16" fmla="*/ 130 w 253"/>
                <a:gd name="T17" fmla="*/ 220 h 253"/>
                <a:gd name="T18" fmla="*/ 114 w 253"/>
                <a:gd name="T19" fmla="*/ 246 h 253"/>
                <a:gd name="T20" fmla="*/ 141 w 253"/>
                <a:gd name="T21" fmla="*/ 231 h 253"/>
                <a:gd name="T22" fmla="*/ 148 w 253"/>
                <a:gd name="T23" fmla="*/ 232 h 253"/>
                <a:gd name="T24" fmla="*/ 157 w 253"/>
                <a:gd name="T25" fmla="*/ 249 h 253"/>
                <a:gd name="T26" fmla="*/ 164 w 253"/>
                <a:gd name="T27" fmla="*/ 252 h 253"/>
                <a:gd name="T28" fmla="*/ 208 w 253"/>
                <a:gd name="T29" fmla="*/ 175 h 253"/>
                <a:gd name="T30" fmla="*/ 253 w 253"/>
                <a:gd name="T31" fmla="*/ 105 h 253"/>
                <a:gd name="T32" fmla="*/ 249 w 253"/>
                <a:gd name="T33" fmla="*/ 81 h 253"/>
                <a:gd name="T34" fmla="*/ 172 w 253"/>
                <a:gd name="T35" fmla="*/ 38 h 253"/>
                <a:gd name="T36" fmla="*/ 75 w 253"/>
                <a:gd name="T37" fmla="*/ 45 h 253"/>
                <a:gd name="T38" fmla="*/ 75 w 253"/>
                <a:gd name="T39" fmla="*/ 73 h 253"/>
                <a:gd name="T40" fmla="*/ 137 w 253"/>
                <a:gd name="T41" fmla="*/ 83 h 253"/>
                <a:gd name="T42" fmla="*/ 45 w 253"/>
                <a:gd name="T43" fmla="*/ 93 h 253"/>
                <a:gd name="T44" fmla="*/ 45 w 253"/>
                <a:gd name="T45" fmla="*/ 125 h 253"/>
                <a:gd name="T46" fmla="*/ 61 w 253"/>
                <a:gd name="T47" fmla="*/ 129 h 253"/>
                <a:gd name="T48" fmla="*/ 22 w 253"/>
                <a:gd name="T49" fmla="*/ 133 h 253"/>
                <a:gd name="T50" fmla="*/ 117 w 253"/>
                <a:gd name="T51" fmla="*/ 21 h 253"/>
                <a:gd name="T52" fmla="*/ 57 w 253"/>
                <a:gd name="T53" fmla="*/ 141 h 253"/>
                <a:gd name="T54" fmla="*/ 57 w 253"/>
                <a:gd name="T55" fmla="*/ 117 h 253"/>
                <a:gd name="T56" fmla="*/ 37 w 253"/>
                <a:gd name="T57" fmla="*/ 109 h 253"/>
                <a:gd name="T58" fmla="*/ 127 w 253"/>
                <a:gd name="T59" fmla="*/ 101 h 253"/>
                <a:gd name="T60" fmla="*/ 127 w 253"/>
                <a:gd name="T61" fmla="*/ 65 h 253"/>
                <a:gd name="T62" fmla="*/ 69 w 253"/>
                <a:gd name="T63" fmla="*/ 59 h 253"/>
                <a:gd name="T64" fmla="*/ 153 w 253"/>
                <a:gd name="T65" fmla="*/ 53 h 253"/>
                <a:gd name="T66" fmla="*/ 207 w 253"/>
                <a:gd name="T67" fmla="*/ 84 h 253"/>
                <a:gd name="T68" fmla="*/ 157 w 253"/>
                <a:gd name="T69" fmla="*/ 123 h 253"/>
                <a:gd name="T70" fmla="*/ 74 w 253"/>
                <a:gd name="T71" fmla="*/ 166 h 253"/>
                <a:gd name="T72" fmla="*/ 77 w 253"/>
                <a:gd name="T73" fmla="*/ 173 h 253"/>
                <a:gd name="T74" fmla="*/ 98 w 253"/>
                <a:gd name="T75" fmla="*/ 182 h 253"/>
                <a:gd name="T76" fmla="*/ 99 w 253"/>
                <a:gd name="T77" fmla="*/ 189 h 253"/>
                <a:gd name="T78" fmla="*/ 24 w 253"/>
                <a:gd name="T79" fmla="*/ 141 h 253"/>
                <a:gd name="T80" fmla="*/ 115 w 253"/>
                <a:gd name="T81" fmla="*/ 165 h 253"/>
                <a:gd name="T82" fmla="*/ 114 w 253"/>
                <a:gd name="T83" fmla="*/ 132 h 253"/>
                <a:gd name="T84" fmla="*/ 118 w 253"/>
                <a:gd name="T85" fmla="*/ 162 h 253"/>
                <a:gd name="T86" fmla="*/ 105 w 253"/>
                <a:gd name="T87" fmla="*/ 195 h 253"/>
                <a:gd name="T88" fmla="*/ 101 w 253"/>
                <a:gd name="T89" fmla="*/ 212 h 253"/>
                <a:gd name="T90" fmla="*/ 117 w 253"/>
                <a:gd name="T91" fmla="*/ 207 h 253"/>
                <a:gd name="T92" fmla="*/ 117 w 253"/>
                <a:gd name="T93" fmla="*/ 213 h 253"/>
                <a:gd name="T94" fmla="*/ 117 w 253"/>
                <a:gd name="T95" fmla="*/ 207 h 253"/>
                <a:gd name="T96" fmla="*/ 107 w 253"/>
                <a:gd name="T97" fmla="*/ 185 h 253"/>
                <a:gd name="T98" fmla="*/ 159 w 253"/>
                <a:gd name="T99" fmla="*/ 209 h 253"/>
                <a:gd name="T100" fmla="*/ 206 w 253"/>
                <a:gd name="T101" fmla="*/ 196 h 253"/>
                <a:gd name="T102" fmla="*/ 165 w 253"/>
                <a:gd name="T103" fmla="*/ 241 h 253"/>
                <a:gd name="T104" fmla="*/ 168 w 253"/>
                <a:gd name="T105" fmla="*/ 212 h 253"/>
                <a:gd name="T106" fmla="*/ 206 w 253"/>
                <a:gd name="T107" fmla="*/ 196 h 253"/>
                <a:gd name="T108" fmla="*/ 225 w 253"/>
                <a:gd name="T109" fmla="*/ 149 h 253"/>
                <a:gd name="T110" fmla="*/ 127 w 253"/>
                <a:gd name="T111" fmla="*/ 165 h 253"/>
                <a:gd name="T112" fmla="*/ 228 w 253"/>
                <a:gd name="T113" fmla="*/ 89 h 253"/>
                <a:gd name="T114" fmla="*/ 245 w 253"/>
                <a:gd name="T115" fmla="*/ 105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3" h="253">
                  <a:moveTo>
                    <a:pt x="249" y="81"/>
                  </a:moveTo>
                  <a:cubicBezTo>
                    <a:pt x="228" y="81"/>
                    <a:pt x="228" y="81"/>
                    <a:pt x="228" y="81"/>
                  </a:cubicBezTo>
                  <a:cubicBezTo>
                    <a:pt x="223" y="81"/>
                    <a:pt x="219" y="81"/>
                    <a:pt x="215" y="82"/>
                  </a:cubicBezTo>
                  <a:cubicBezTo>
                    <a:pt x="196" y="28"/>
                    <a:pt x="136" y="0"/>
                    <a:pt x="82" y="19"/>
                  </a:cubicBezTo>
                  <a:cubicBezTo>
                    <a:pt x="28" y="38"/>
                    <a:pt x="0" y="98"/>
                    <a:pt x="19" y="152"/>
                  </a:cubicBezTo>
                  <a:cubicBezTo>
                    <a:pt x="29" y="179"/>
                    <a:pt x="49" y="201"/>
                    <a:pt x="76" y="212"/>
                  </a:cubicBezTo>
                  <a:cubicBezTo>
                    <a:pt x="66" y="222"/>
                    <a:pt x="66" y="222"/>
                    <a:pt x="66" y="222"/>
                  </a:cubicBezTo>
                  <a:cubicBezTo>
                    <a:pt x="72" y="228"/>
                    <a:pt x="72" y="228"/>
                    <a:pt x="72" y="228"/>
                  </a:cubicBezTo>
                  <a:cubicBezTo>
                    <a:pt x="84" y="216"/>
                    <a:pt x="84" y="216"/>
                    <a:pt x="84" y="216"/>
                  </a:cubicBezTo>
                  <a:cubicBezTo>
                    <a:pt x="87" y="217"/>
                    <a:pt x="91" y="218"/>
                    <a:pt x="94" y="218"/>
                  </a:cubicBezTo>
                  <a:cubicBezTo>
                    <a:pt x="82" y="230"/>
                    <a:pt x="82" y="230"/>
                    <a:pt x="82" y="230"/>
                  </a:cubicBezTo>
                  <a:cubicBezTo>
                    <a:pt x="88" y="236"/>
                    <a:pt x="88" y="236"/>
                    <a:pt x="88" y="236"/>
                  </a:cubicBezTo>
                  <a:cubicBezTo>
                    <a:pt x="104" y="220"/>
                    <a:pt x="104" y="220"/>
                    <a:pt x="104" y="220"/>
                  </a:cubicBezTo>
                  <a:cubicBezTo>
                    <a:pt x="107" y="221"/>
                    <a:pt x="111" y="221"/>
                    <a:pt x="115" y="221"/>
                  </a:cubicBezTo>
                  <a:cubicBezTo>
                    <a:pt x="110" y="226"/>
                    <a:pt x="110" y="226"/>
                    <a:pt x="110" y="226"/>
                  </a:cubicBezTo>
                  <a:cubicBezTo>
                    <a:pt x="116" y="232"/>
                    <a:pt x="116" y="232"/>
                    <a:pt x="116" y="232"/>
                  </a:cubicBezTo>
                  <a:cubicBezTo>
                    <a:pt x="127" y="220"/>
                    <a:pt x="127" y="220"/>
                    <a:pt x="127" y="220"/>
                  </a:cubicBezTo>
                  <a:cubicBezTo>
                    <a:pt x="128" y="220"/>
                    <a:pt x="129" y="220"/>
                    <a:pt x="130" y="220"/>
                  </a:cubicBezTo>
                  <a:cubicBezTo>
                    <a:pt x="135" y="225"/>
                    <a:pt x="135" y="225"/>
                    <a:pt x="135" y="225"/>
                  </a:cubicBezTo>
                  <a:cubicBezTo>
                    <a:pt x="114" y="246"/>
                    <a:pt x="114" y="246"/>
                    <a:pt x="114" y="246"/>
                  </a:cubicBezTo>
                  <a:cubicBezTo>
                    <a:pt x="120" y="252"/>
                    <a:pt x="120" y="252"/>
                    <a:pt x="120" y="252"/>
                  </a:cubicBezTo>
                  <a:cubicBezTo>
                    <a:pt x="141" y="231"/>
                    <a:pt x="141" y="231"/>
                    <a:pt x="141" y="231"/>
                  </a:cubicBezTo>
                  <a:cubicBezTo>
                    <a:pt x="142" y="232"/>
                    <a:pt x="142" y="232"/>
                    <a:pt x="142" y="232"/>
                  </a:cubicBezTo>
                  <a:cubicBezTo>
                    <a:pt x="144" y="233"/>
                    <a:pt x="146" y="233"/>
                    <a:pt x="148" y="232"/>
                  </a:cubicBezTo>
                  <a:cubicBezTo>
                    <a:pt x="157" y="223"/>
                    <a:pt x="157" y="223"/>
                    <a:pt x="157" y="223"/>
                  </a:cubicBezTo>
                  <a:cubicBezTo>
                    <a:pt x="157" y="249"/>
                    <a:pt x="157" y="249"/>
                    <a:pt x="157" y="249"/>
                  </a:cubicBezTo>
                  <a:cubicBezTo>
                    <a:pt x="157" y="251"/>
                    <a:pt x="159" y="253"/>
                    <a:pt x="161" y="253"/>
                  </a:cubicBezTo>
                  <a:cubicBezTo>
                    <a:pt x="162" y="253"/>
                    <a:pt x="163" y="253"/>
                    <a:pt x="164" y="252"/>
                  </a:cubicBezTo>
                  <a:cubicBezTo>
                    <a:pt x="201" y="221"/>
                    <a:pt x="201" y="221"/>
                    <a:pt x="201" y="221"/>
                  </a:cubicBezTo>
                  <a:cubicBezTo>
                    <a:pt x="215" y="210"/>
                    <a:pt x="218" y="190"/>
                    <a:pt x="208" y="175"/>
                  </a:cubicBezTo>
                  <a:cubicBezTo>
                    <a:pt x="231" y="155"/>
                    <a:pt x="231" y="155"/>
                    <a:pt x="231" y="155"/>
                  </a:cubicBezTo>
                  <a:cubicBezTo>
                    <a:pt x="245" y="142"/>
                    <a:pt x="253" y="124"/>
                    <a:pt x="253" y="105"/>
                  </a:cubicBezTo>
                  <a:cubicBezTo>
                    <a:pt x="253" y="85"/>
                    <a:pt x="253" y="85"/>
                    <a:pt x="253" y="85"/>
                  </a:cubicBezTo>
                  <a:cubicBezTo>
                    <a:pt x="253" y="83"/>
                    <a:pt x="251" y="81"/>
                    <a:pt x="249" y="81"/>
                  </a:cubicBezTo>
                  <a:close/>
                  <a:moveTo>
                    <a:pt x="117" y="21"/>
                  </a:moveTo>
                  <a:cubicBezTo>
                    <a:pt x="137" y="21"/>
                    <a:pt x="156" y="27"/>
                    <a:pt x="172" y="38"/>
                  </a:cubicBezTo>
                  <a:cubicBezTo>
                    <a:pt x="167" y="43"/>
                    <a:pt x="160" y="45"/>
                    <a:pt x="153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68" y="45"/>
                    <a:pt x="61" y="51"/>
                    <a:pt x="61" y="59"/>
                  </a:cubicBezTo>
                  <a:cubicBezTo>
                    <a:pt x="61" y="67"/>
                    <a:pt x="68" y="73"/>
                    <a:pt x="75" y="73"/>
                  </a:cubicBezTo>
                  <a:cubicBezTo>
                    <a:pt x="127" y="73"/>
                    <a:pt x="127" y="73"/>
                    <a:pt x="127" y="73"/>
                  </a:cubicBezTo>
                  <a:cubicBezTo>
                    <a:pt x="133" y="73"/>
                    <a:pt x="137" y="77"/>
                    <a:pt x="137" y="83"/>
                  </a:cubicBezTo>
                  <a:cubicBezTo>
                    <a:pt x="137" y="89"/>
                    <a:pt x="133" y="93"/>
                    <a:pt x="127" y="93"/>
                  </a:cubicBezTo>
                  <a:cubicBezTo>
                    <a:pt x="45" y="93"/>
                    <a:pt x="45" y="93"/>
                    <a:pt x="45" y="93"/>
                  </a:cubicBezTo>
                  <a:cubicBezTo>
                    <a:pt x="37" y="93"/>
                    <a:pt x="29" y="100"/>
                    <a:pt x="29" y="109"/>
                  </a:cubicBezTo>
                  <a:cubicBezTo>
                    <a:pt x="29" y="118"/>
                    <a:pt x="37" y="125"/>
                    <a:pt x="45" y="125"/>
                  </a:cubicBezTo>
                  <a:cubicBezTo>
                    <a:pt x="57" y="125"/>
                    <a:pt x="57" y="125"/>
                    <a:pt x="57" y="125"/>
                  </a:cubicBezTo>
                  <a:cubicBezTo>
                    <a:pt x="60" y="125"/>
                    <a:pt x="61" y="127"/>
                    <a:pt x="61" y="129"/>
                  </a:cubicBezTo>
                  <a:cubicBezTo>
                    <a:pt x="61" y="131"/>
                    <a:pt x="60" y="133"/>
                    <a:pt x="57" y="133"/>
                  </a:cubicBezTo>
                  <a:cubicBezTo>
                    <a:pt x="22" y="133"/>
                    <a:pt x="22" y="133"/>
                    <a:pt x="22" y="133"/>
                  </a:cubicBezTo>
                  <a:cubicBezTo>
                    <a:pt x="13" y="81"/>
                    <a:pt x="49" y="31"/>
                    <a:pt x="101" y="22"/>
                  </a:cubicBezTo>
                  <a:cubicBezTo>
                    <a:pt x="106" y="21"/>
                    <a:pt x="112" y="21"/>
                    <a:pt x="117" y="21"/>
                  </a:cubicBezTo>
                  <a:close/>
                  <a:moveTo>
                    <a:pt x="24" y="141"/>
                  </a:moveTo>
                  <a:cubicBezTo>
                    <a:pt x="57" y="141"/>
                    <a:pt x="57" y="141"/>
                    <a:pt x="57" y="141"/>
                  </a:cubicBezTo>
                  <a:cubicBezTo>
                    <a:pt x="64" y="141"/>
                    <a:pt x="69" y="136"/>
                    <a:pt x="69" y="129"/>
                  </a:cubicBezTo>
                  <a:cubicBezTo>
                    <a:pt x="69" y="122"/>
                    <a:pt x="64" y="117"/>
                    <a:pt x="57" y="117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41" y="117"/>
                    <a:pt x="37" y="113"/>
                    <a:pt x="37" y="109"/>
                  </a:cubicBezTo>
                  <a:cubicBezTo>
                    <a:pt x="37" y="105"/>
                    <a:pt x="41" y="101"/>
                    <a:pt x="45" y="101"/>
                  </a:cubicBezTo>
                  <a:cubicBezTo>
                    <a:pt x="127" y="101"/>
                    <a:pt x="127" y="101"/>
                    <a:pt x="127" y="101"/>
                  </a:cubicBezTo>
                  <a:cubicBezTo>
                    <a:pt x="137" y="101"/>
                    <a:pt x="145" y="93"/>
                    <a:pt x="145" y="83"/>
                  </a:cubicBezTo>
                  <a:cubicBezTo>
                    <a:pt x="145" y="73"/>
                    <a:pt x="137" y="65"/>
                    <a:pt x="127" y="65"/>
                  </a:cubicBezTo>
                  <a:cubicBezTo>
                    <a:pt x="75" y="65"/>
                    <a:pt x="75" y="65"/>
                    <a:pt x="75" y="65"/>
                  </a:cubicBezTo>
                  <a:cubicBezTo>
                    <a:pt x="72" y="65"/>
                    <a:pt x="69" y="62"/>
                    <a:pt x="69" y="59"/>
                  </a:cubicBezTo>
                  <a:cubicBezTo>
                    <a:pt x="69" y="56"/>
                    <a:pt x="72" y="53"/>
                    <a:pt x="75" y="53"/>
                  </a:cubicBezTo>
                  <a:cubicBezTo>
                    <a:pt x="153" y="53"/>
                    <a:pt x="153" y="53"/>
                    <a:pt x="153" y="53"/>
                  </a:cubicBezTo>
                  <a:cubicBezTo>
                    <a:pt x="163" y="53"/>
                    <a:pt x="172" y="49"/>
                    <a:pt x="178" y="43"/>
                  </a:cubicBezTo>
                  <a:cubicBezTo>
                    <a:pt x="191" y="54"/>
                    <a:pt x="201" y="68"/>
                    <a:pt x="207" y="84"/>
                  </a:cubicBezTo>
                  <a:cubicBezTo>
                    <a:pt x="197" y="87"/>
                    <a:pt x="187" y="93"/>
                    <a:pt x="179" y="101"/>
                  </a:cubicBezTo>
                  <a:cubicBezTo>
                    <a:pt x="157" y="123"/>
                    <a:pt x="157" y="123"/>
                    <a:pt x="157" y="123"/>
                  </a:cubicBezTo>
                  <a:cubicBezTo>
                    <a:pt x="143" y="111"/>
                    <a:pt x="121" y="113"/>
                    <a:pt x="108" y="127"/>
                  </a:cubicBezTo>
                  <a:cubicBezTo>
                    <a:pt x="74" y="166"/>
                    <a:pt x="74" y="166"/>
                    <a:pt x="74" y="166"/>
                  </a:cubicBezTo>
                  <a:cubicBezTo>
                    <a:pt x="73" y="168"/>
                    <a:pt x="73" y="171"/>
                    <a:pt x="74" y="172"/>
                  </a:cubicBezTo>
                  <a:cubicBezTo>
                    <a:pt x="75" y="173"/>
                    <a:pt x="76" y="173"/>
                    <a:pt x="77" y="173"/>
                  </a:cubicBezTo>
                  <a:cubicBezTo>
                    <a:pt x="107" y="173"/>
                    <a:pt x="107" y="173"/>
                    <a:pt x="107" y="173"/>
                  </a:cubicBezTo>
                  <a:cubicBezTo>
                    <a:pt x="98" y="182"/>
                    <a:pt x="98" y="182"/>
                    <a:pt x="98" y="182"/>
                  </a:cubicBezTo>
                  <a:cubicBezTo>
                    <a:pt x="97" y="184"/>
                    <a:pt x="97" y="186"/>
                    <a:pt x="98" y="188"/>
                  </a:cubicBezTo>
                  <a:cubicBezTo>
                    <a:pt x="99" y="189"/>
                    <a:pt x="99" y="189"/>
                    <a:pt x="99" y="189"/>
                  </a:cubicBezTo>
                  <a:cubicBezTo>
                    <a:pt x="82" y="206"/>
                    <a:pt x="82" y="206"/>
                    <a:pt x="82" y="206"/>
                  </a:cubicBezTo>
                  <a:cubicBezTo>
                    <a:pt x="53" y="195"/>
                    <a:pt x="32" y="171"/>
                    <a:pt x="24" y="141"/>
                  </a:cubicBezTo>
                  <a:close/>
                  <a:moveTo>
                    <a:pt x="118" y="162"/>
                  </a:moveTo>
                  <a:cubicBezTo>
                    <a:pt x="115" y="165"/>
                    <a:pt x="115" y="165"/>
                    <a:pt x="115" y="165"/>
                  </a:cubicBezTo>
                  <a:cubicBezTo>
                    <a:pt x="86" y="165"/>
                    <a:pt x="86" y="165"/>
                    <a:pt x="86" y="165"/>
                  </a:cubicBezTo>
                  <a:cubicBezTo>
                    <a:pt x="114" y="132"/>
                    <a:pt x="114" y="132"/>
                    <a:pt x="114" y="132"/>
                  </a:cubicBezTo>
                  <a:cubicBezTo>
                    <a:pt x="124" y="121"/>
                    <a:pt x="140" y="120"/>
                    <a:pt x="151" y="129"/>
                  </a:cubicBezTo>
                  <a:lnTo>
                    <a:pt x="118" y="162"/>
                  </a:lnTo>
                  <a:close/>
                  <a:moveTo>
                    <a:pt x="90" y="209"/>
                  </a:moveTo>
                  <a:cubicBezTo>
                    <a:pt x="105" y="195"/>
                    <a:pt x="105" y="195"/>
                    <a:pt x="105" y="195"/>
                  </a:cubicBezTo>
                  <a:cubicBezTo>
                    <a:pt x="111" y="201"/>
                    <a:pt x="111" y="201"/>
                    <a:pt x="111" y="201"/>
                  </a:cubicBezTo>
                  <a:cubicBezTo>
                    <a:pt x="101" y="212"/>
                    <a:pt x="101" y="212"/>
                    <a:pt x="101" y="212"/>
                  </a:cubicBezTo>
                  <a:cubicBezTo>
                    <a:pt x="97" y="211"/>
                    <a:pt x="94" y="210"/>
                    <a:pt x="90" y="209"/>
                  </a:cubicBezTo>
                  <a:close/>
                  <a:moveTo>
                    <a:pt x="117" y="207"/>
                  </a:moveTo>
                  <a:cubicBezTo>
                    <a:pt x="123" y="213"/>
                    <a:pt x="123" y="213"/>
                    <a:pt x="123" y="213"/>
                  </a:cubicBezTo>
                  <a:cubicBezTo>
                    <a:pt x="121" y="213"/>
                    <a:pt x="119" y="213"/>
                    <a:pt x="117" y="213"/>
                  </a:cubicBezTo>
                  <a:cubicBezTo>
                    <a:pt x="115" y="213"/>
                    <a:pt x="113" y="213"/>
                    <a:pt x="111" y="213"/>
                  </a:cubicBezTo>
                  <a:lnTo>
                    <a:pt x="117" y="207"/>
                  </a:lnTo>
                  <a:close/>
                  <a:moveTo>
                    <a:pt x="145" y="223"/>
                  </a:moveTo>
                  <a:cubicBezTo>
                    <a:pt x="107" y="185"/>
                    <a:pt x="107" y="185"/>
                    <a:pt x="107" y="185"/>
                  </a:cubicBezTo>
                  <a:cubicBezTo>
                    <a:pt x="121" y="171"/>
                    <a:pt x="121" y="171"/>
                    <a:pt x="121" y="171"/>
                  </a:cubicBezTo>
                  <a:cubicBezTo>
                    <a:pt x="159" y="209"/>
                    <a:pt x="159" y="209"/>
                    <a:pt x="159" y="209"/>
                  </a:cubicBezTo>
                  <a:lnTo>
                    <a:pt x="145" y="223"/>
                  </a:lnTo>
                  <a:close/>
                  <a:moveTo>
                    <a:pt x="206" y="196"/>
                  </a:moveTo>
                  <a:cubicBezTo>
                    <a:pt x="206" y="204"/>
                    <a:pt x="202" y="211"/>
                    <a:pt x="196" y="215"/>
                  </a:cubicBezTo>
                  <a:cubicBezTo>
                    <a:pt x="165" y="241"/>
                    <a:pt x="165" y="241"/>
                    <a:pt x="165" y="241"/>
                  </a:cubicBezTo>
                  <a:cubicBezTo>
                    <a:pt x="165" y="215"/>
                    <a:pt x="165" y="215"/>
                    <a:pt x="165" y="215"/>
                  </a:cubicBezTo>
                  <a:cubicBezTo>
                    <a:pt x="168" y="212"/>
                    <a:pt x="168" y="212"/>
                    <a:pt x="168" y="212"/>
                  </a:cubicBezTo>
                  <a:cubicBezTo>
                    <a:pt x="202" y="181"/>
                    <a:pt x="202" y="181"/>
                    <a:pt x="202" y="181"/>
                  </a:cubicBezTo>
                  <a:cubicBezTo>
                    <a:pt x="205" y="185"/>
                    <a:pt x="206" y="191"/>
                    <a:pt x="206" y="196"/>
                  </a:cubicBezTo>
                  <a:close/>
                  <a:moveTo>
                    <a:pt x="245" y="105"/>
                  </a:moveTo>
                  <a:cubicBezTo>
                    <a:pt x="245" y="122"/>
                    <a:pt x="238" y="138"/>
                    <a:pt x="225" y="149"/>
                  </a:cubicBezTo>
                  <a:cubicBezTo>
                    <a:pt x="165" y="203"/>
                    <a:pt x="165" y="203"/>
                    <a:pt x="165" y="203"/>
                  </a:cubicBezTo>
                  <a:cubicBezTo>
                    <a:pt x="127" y="165"/>
                    <a:pt x="127" y="165"/>
                    <a:pt x="127" y="165"/>
                  </a:cubicBezTo>
                  <a:cubicBezTo>
                    <a:pt x="185" y="107"/>
                    <a:pt x="185" y="107"/>
                    <a:pt x="185" y="107"/>
                  </a:cubicBezTo>
                  <a:cubicBezTo>
                    <a:pt x="196" y="95"/>
                    <a:pt x="212" y="89"/>
                    <a:pt x="228" y="89"/>
                  </a:cubicBezTo>
                  <a:cubicBezTo>
                    <a:pt x="245" y="89"/>
                    <a:pt x="245" y="89"/>
                    <a:pt x="245" y="89"/>
                  </a:cubicBezTo>
                  <a:lnTo>
                    <a:pt x="245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F29F74CD-4B43-4BC1-B705-C9C5A02A36AC}"/>
                </a:ext>
              </a:extLst>
            </p:cNvPr>
            <p:cNvGrpSpPr/>
            <p:nvPr/>
          </p:nvGrpSpPr>
          <p:grpSpPr>
            <a:xfrm>
              <a:off x="6489907" y="3982765"/>
              <a:ext cx="558801" cy="554038"/>
              <a:chOff x="7142163" y="3981450"/>
              <a:chExt cx="558801" cy="554038"/>
            </a:xfrm>
            <a:grpFill/>
          </p:grpSpPr>
          <p:sp>
            <p:nvSpPr>
              <p:cNvPr id="61" name="Rectangle 5">
                <a:extLst>
                  <a:ext uri="{FF2B5EF4-FFF2-40B4-BE49-F238E27FC236}">
                    <a16:creationId xmlns:a16="http://schemas.microsoft.com/office/drawing/2014/main" id="{B80106CC-6AC9-4C3E-B14E-B9D2DD122D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70788" y="3981450"/>
                <a:ext cx="19050" cy="174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6">
                <a:extLst>
                  <a:ext uri="{FF2B5EF4-FFF2-40B4-BE49-F238E27FC236}">
                    <a16:creationId xmlns:a16="http://schemas.microsoft.com/office/drawing/2014/main" id="{FBA6D68D-4051-4B44-A87C-B17C00546F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64451" y="4416425"/>
                <a:ext cx="19050" cy="190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7">
                <a:extLst>
                  <a:ext uri="{FF2B5EF4-FFF2-40B4-BE49-F238E27FC236}">
                    <a16:creationId xmlns:a16="http://schemas.microsoft.com/office/drawing/2014/main" id="{1616783A-8352-41D5-A3B0-A5D4400900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45401" y="4435475"/>
                <a:ext cx="19050" cy="190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8">
                <a:extLst>
                  <a:ext uri="{FF2B5EF4-FFF2-40B4-BE49-F238E27FC236}">
                    <a16:creationId xmlns:a16="http://schemas.microsoft.com/office/drawing/2014/main" id="{0403DCCB-436A-4A9D-B93D-DF4C0614D5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83501" y="4435475"/>
                <a:ext cx="17463" cy="190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Rectangle 9">
                <a:extLst>
                  <a:ext uri="{FF2B5EF4-FFF2-40B4-BE49-F238E27FC236}">
                    <a16:creationId xmlns:a16="http://schemas.microsoft.com/office/drawing/2014/main" id="{120EC5F1-DC34-410E-B2E1-4B76DE3C1D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64451" y="4454525"/>
                <a:ext cx="19050" cy="190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11">
                <a:extLst>
                  <a:ext uri="{FF2B5EF4-FFF2-40B4-BE49-F238E27FC236}">
                    <a16:creationId xmlns:a16="http://schemas.microsoft.com/office/drawing/2014/main" id="{E223EEEB-A326-4D79-A9B7-E845B0FE6F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53326" y="4194175"/>
                <a:ext cx="92075" cy="93663"/>
              </a:xfrm>
              <a:custGeom>
                <a:avLst/>
                <a:gdLst>
                  <a:gd name="T0" fmla="*/ 20 w 40"/>
                  <a:gd name="T1" fmla="*/ 0 h 40"/>
                  <a:gd name="T2" fmla="*/ 0 w 40"/>
                  <a:gd name="T3" fmla="*/ 20 h 40"/>
                  <a:gd name="T4" fmla="*/ 20 w 40"/>
                  <a:gd name="T5" fmla="*/ 40 h 40"/>
                  <a:gd name="T6" fmla="*/ 40 w 40"/>
                  <a:gd name="T7" fmla="*/ 20 h 40"/>
                  <a:gd name="T8" fmla="*/ 20 w 40"/>
                  <a:gd name="T9" fmla="*/ 0 h 40"/>
                  <a:gd name="T10" fmla="*/ 20 w 40"/>
                  <a:gd name="T11" fmla="*/ 32 h 40"/>
                  <a:gd name="T12" fmla="*/ 8 w 40"/>
                  <a:gd name="T13" fmla="*/ 20 h 40"/>
                  <a:gd name="T14" fmla="*/ 20 w 40"/>
                  <a:gd name="T15" fmla="*/ 8 h 40"/>
                  <a:gd name="T16" fmla="*/ 32 w 40"/>
                  <a:gd name="T17" fmla="*/ 20 h 40"/>
                  <a:gd name="T18" fmla="*/ 20 w 40"/>
                  <a:gd name="T19" fmla="*/ 3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cubicBezTo>
                      <a:pt x="9" y="0"/>
                      <a:pt x="0" y="9"/>
                      <a:pt x="0" y="20"/>
                    </a:cubicBezTo>
                    <a:cubicBezTo>
                      <a:pt x="0" y="31"/>
                      <a:pt x="9" y="40"/>
                      <a:pt x="20" y="40"/>
                    </a:cubicBezTo>
                    <a:cubicBezTo>
                      <a:pt x="31" y="40"/>
                      <a:pt x="40" y="31"/>
                      <a:pt x="40" y="20"/>
                    </a:cubicBezTo>
                    <a:cubicBezTo>
                      <a:pt x="40" y="9"/>
                      <a:pt x="31" y="0"/>
                      <a:pt x="20" y="0"/>
                    </a:cubicBezTo>
                    <a:close/>
                    <a:moveTo>
                      <a:pt x="20" y="32"/>
                    </a:moveTo>
                    <a:cubicBezTo>
                      <a:pt x="13" y="32"/>
                      <a:pt x="8" y="27"/>
                      <a:pt x="8" y="20"/>
                    </a:cubicBezTo>
                    <a:cubicBezTo>
                      <a:pt x="8" y="13"/>
                      <a:pt x="13" y="8"/>
                      <a:pt x="20" y="8"/>
                    </a:cubicBezTo>
                    <a:cubicBezTo>
                      <a:pt x="27" y="8"/>
                      <a:pt x="32" y="13"/>
                      <a:pt x="32" y="20"/>
                    </a:cubicBezTo>
                    <a:cubicBezTo>
                      <a:pt x="32" y="27"/>
                      <a:pt x="27" y="32"/>
                      <a:pt x="20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12">
                <a:extLst>
                  <a:ext uri="{FF2B5EF4-FFF2-40B4-BE49-F238E27FC236}">
                    <a16:creationId xmlns:a16="http://schemas.microsoft.com/office/drawing/2014/main" id="{475B42D5-C419-4CC2-B84A-5FBEFC173C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6338" y="4279900"/>
                <a:ext cx="33338" cy="33338"/>
              </a:xfrm>
              <a:custGeom>
                <a:avLst/>
                <a:gdLst>
                  <a:gd name="T0" fmla="*/ 0 w 21"/>
                  <a:gd name="T1" fmla="*/ 12 h 21"/>
                  <a:gd name="T2" fmla="*/ 12 w 21"/>
                  <a:gd name="T3" fmla="*/ 0 h 21"/>
                  <a:gd name="T4" fmla="*/ 21 w 21"/>
                  <a:gd name="T5" fmla="*/ 9 h 21"/>
                  <a:gd name="T6" fmla="*/ 9 w 21"/>
                  <a:gd name="T7" fmla="*/ 21 h 21"/>
                  <a:gd name="T8" fmla="*/ 0 w 21"/>
                  <a:gd name="T9" fmla="*/ 1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1">
                    <a:moveTo>
                      <a:pt x="0" y="12"/>
                    </a:moveTo>
                    <a:lnTo>
                      <a:pt x="12" y="0"/>
                    </a:lnTo>
                    <a:lnTo>
                      <a:pt x="21" y="9"/>
                    </a:lnTo>
                    <a:lnTo>
                      <a:pt x="9" y="21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13">
                <a:extLst>
                  <a:ext uri="{FF2B5EF4-FFF2-40B4-BE49-F238E27FC236}">
                    <a16:creationId xmlns:a16="http://schemas.microsoft.com/office/drawing/2014/main" id="{1C5467CA-6016-4503-B2F8-3A946ED041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9826" y="4318000"/>
                <a:ext cx="33338" cy="31750"/>
              </a:xfrm>
              <a:custGeom>
                <a:avLst/>
                <a:gdLst>
                  <a:gd name="T0" fmla="*/ 0 w 21"/>
                  <a:gd name="T1" fmla="*/ 11 h 20"/>
                  <a:gd name="T2" fmla="*/ 12 w 21"/>
                  <a:gd name="T3" fmla="*/ 0 h 20"/>
                  <a:gd name="T4" fmla="*/ 21 w 21"/>
                  <a:gd name="T5" fmla="*/ 8 h 20"/>
                  <a:gd name="T6" fmla="*/ 9 w 21"/>
                  <a:gd name="T7" fmla="*/ 20 h 20"/>
                  <a:gd name="T8" fmla="*/ 0 w 21"/>
                  <a:gd name="T9" fmla="*/ 11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0">
                    <a:moveTo>
                      <a:pt x="0" y="11"/>
                    </a:moveTo>
                    <a:lnTo>
                      <a:pt x="12" y="0"/>
                    </a:lnTo>
                    <a:lnTo>
                      <a:pt x="21" y="8"/>
                    </a:lnTo>
                    <a:lnTo>
                      <a:pt x="9" y="2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14">
                <a:extLst>
                  <a:ext uri="{FF2B5EF4-FFF2-40B4-BE49-F238E27FC236}">
                    <a16:creationId xmlns:a16="http://schemas.microsoft.com/office/drawing/2014/main" id="{1476B5A1-F5DF-412D-AC73-7769DBA89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19951" y="4484688"/>
                <a:ext cx="41275" cy="41275"/>
              </a:xfrm>
              <a:custGeom>
                <a:avLst/>
                <a:gdLst>
                  <a:gd name="T0" fmla="*/ 0 w 26"/>
                  <a:gd name="T1" fmla="*/ 17 h 26"/>
                  <a:gd name="T2" fmla="*/ 17 w 26"/>
                  <a:gd name="T3" fmla="*/ 0 h 26"/>
                  <a:gd name="T4" fmla="*/ 26 w 26"/>
                  <a:gd name="T5" fmla="*/ 9 h 26"/>
                  <a:gd name="T6" fmla="*/ 9 w 26"/>
                  <a:gd name="T7" fmla="*/ 26 h 26"/>
                  <a:gd name="T8" fmla="*/ 0 w 26"/>
                  <a:gd name="T9" fmla="*/ 17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6">
                    <a:moveTo>
                      <a:pt x="0" y="17"/>
                    </a:moveTo>
                    <a:lnTo>
                      <a:pt x="17" y="0"/>
                    </a:lnTo>
                    <a:lnTo>
                      <a:pt x="26" y="9"/>
                    </a:lnTo>
                    <a:lnTo>
                      <a:pt x="9" y="26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15">
                <a:extLst>
                  <a:ext uri="{FF2B5EF4-FFF2-40B4-BE49-F238E27FC236}">
                    <a16:creationId xmlns:a16="http://schemas.microsoft.com/office/drawing/2014/main" id="{D3FE3774-C3C8-4B9F-826E-B17401C3A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5988" y="4503738"/>
                <a:ext cx="33338" cy="31750"/>
              </a:xfrm>
              <a:custGeom>
                <a:avLst/>
                <a:gdLst>
                  <a:gd name="T0" fmla="*/ 0 w 21"/>
                  <a:gd name="T1" fmla="*/ 11 h 20"/>
                  <a:gd name="T2" fmla="*/ 12 w 21"/>
                  <a:gd name="T3" fmla="*/ 0 h 20"/>
                  <a:gd name="T4" fmla="*/ 21 w 21"/>
                  <a:gd name="T5" fmla="*/ 8 h 20"/>
                  <a:gd name="T6" fmla="*/ 9 w 21"/>
                  <a:gd name="T7" fmla="*/ 20 h 20"/>
                  <a:gd name="T8" fmla="*/ 0 w 21"/>
                  <a:gd name="T9" fmla="*/ 11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0">
                    <a:moveTo>
                      <a:pt x="0" y="11"/>
                    </a:moveTo>
                    <a:lnTo>
                      <a:pt x="12" y="0"/>
                    </a:lnTo>
                    <a:lnTo>
                      <a:pt x="21" y="8"/>
                    </a:lnTo>
                    <a:lnTo>
                      <a:pt x="9" y="2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16">
                <a:extLst>
                  <a:ext uri="{FF2B5EF4-FFF2-40B4-BE49-F238E27FC236}">
                    <a16:creationId xmlns:a16="http://schemas.microsoft.com/office/drawing/2014/main" id="{F0358B53-CDC2-4EEB-BD69-3FF2D1308F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31076" y="4494213"/>
                <a:ext cx="33338" cy="31750"/>
              </a:xfrm>
              <a:custGeom>
                <a:avLst/>
                <a:gdLst>
                  <a:gd name="T0" fmla="*/ 0 w 21"/>
                  <a:gd name="T1" fmla="*/ 11 h 20"/>
                  <a:gd name="T2" fmla="*/ 12 w 21"/>
                  <a:gd name="T3" fmla="*/ 0 h 20"/>
                  <a:gd name="T4" fmla="*/ 21 w 21"/>
                  <a:gd name="T5" fmla="*/ 9 h 20"/>
                  <a:gd name="T6" fmla="*/ 9 w 21"/>
                  <a:gd name="T7" fmla="*/ 20 h 20"/>
                  <a:gd name="T8" fmla="*/ 0 w 21"/>
                  <a:gd name="T9" fmla="*/ 11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0">
                    <a:moveTo>
                      <a:pt x="0" y="11"/>
                    </a:moveTo>
                    <a:lnTo>
                      <a:pt x="12" y="0"/>
                    </a:lnTo>
                    <a:lnTo>
                      <a:pt x="21" y="9"/>
                    </a:lnTo>
                    <a:lnTo>
                      <a:pt x="9" y="2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17">
                <a:extLst>
                  <a:ext uri="{FF2B5EF4-FFF2-40B4-BE49-F238E27FC236}">
                    <a16:creationId xmlns:a16="http://schemas.microsoft.com/office/drawing/2014/main" id="{9F42CFE6-E0AB-4C5C-9C66-A7161ED5DF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64451" y="4017963"/>
                <a:ext cx="19050" cy="190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18">
                <a:extLst>
                  <a:ext uri="{FF2B5EF4-FFF2-40B4-BE49-F238E27FC236}">
                    <a16:creationId xmlns:a16="http://schemas.microsoft.com/office/drawing/2014/main" id="{16B1BE81-D890-4F4B-A3E7-A68D810D6E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45401" y="4037013"/>
                <a:ext cx="19050" cy="174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19">
                <a:extLst>
                  <a:ext uri="{FF2B5EF4-FFF2-40B4-BE49-F238E27FC236}">
                    <a16:creationId xmlns:a16="http://schemas.microsoft.com/office/drawing/2014/main" id="{CBDBA55A-B153-4C5E-98D9-7BF8A145C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83501" y="4037013"/>
                <a:ext cx="17463" cy="174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0">
                <a:extLst>
                  <a:ext uri="{FF2B5EF4-FFF2-40B4-BE49-F238E27FC236}">
                    <a16:creationId xmlns:a16="http://schemas.microsoft.com/office/drawing/2014/main" id="{45116C91-288A-4E3D-8F78-F9301C9F07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64451" y="4054475"/>
                <a:ext cx="19050" cy="190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1">
                <a:extLst>
                  <a:ext uri="{FF2B5EF4-FFF2-40B4-BE49-F238E27FC236}">
                    <a16:creationId xmlns:a16="http://schemas.microsoft.com/office/drawing/2014/main" id="{53D7D931-118A-4DA0-90BB-05B664B192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69188" y="4092575"/>
                <a:ext cx="92075" cy="55563"/>
              </a:xfrm>
              <a:custGeom>
                <a:avLst/>
                <a:gdLst>
                  <a:gd name="T0" fmla="*/ 12 w 40"/>
                  <a:gd name="T1" fmla="*/ 24 h 24"/>
                  <a:gd name="T2" fmla="*/ 28 w 40"/>
                  <a:gd name="T3" fmla="*/ 24 h 24"/>
                  <a:gd name="T4" fmla="*/ 40 w 40"/>
                  <a:gd name="T5" fmla="*/ 12 h 24"/>
                  <a:gd name="T6" fmla="*/ 28 w 40"/>
                  <a:gd name="T7" fmla="*/ 0 h 24"/>
                  <a:gd name="T8" fmla="*/ 12 w 40"/>
                  <a:gd name="T9" fmla="*/ 0 h 24"/>
                  <a:gd name="T10" fmla="*/ 0 w 40"/>
                  <a:gd name="T11" fmla="*/ 12 h 24"/>
                  <a:gd name="T12" fmla="*/ 12 w 40"/>
                  <a:gd name="T13" fmla="*/ 24 h 24"/>
                  <a:gd name="T14" fmla="*/ 12 w 40"/>
                  <a:gd name="T15" fmla="*/ 8 h 24"/>
                  <a:gd name="T16" fmla="*/ 28 w 40"/>
                  <a:gd name="T17" fmla="*/ 8 h 24"/>
                  <a:gd name="T18" fmla="*/ 32 w 40"/>
                  <a:gd name="T19" fmla="*/ 12 h 24"/>
                  <a:gd name="T20" fmla="*/ 28 w 40"/>
                  <a:gd name="T21" fmla="*/ 16 h 24"/>
                  <a:gd name="T22" fmla="*/ 12 w 40"/>
                  <a:gd name="T23" fmla="*/ 16 h 24"/>
                  <a:gd name="T24" fmla="*/ 8 w 40"/>
                  <a:gd name="T25" fmla="*/ 12 h 24"/>
                  <a:gd name="T26" fmla="*/ 12 w 40"/>
                  <a:gd name="T27" fmla="*/ 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24">
                    <a:moveTo>
                      <a:pt x="12" y="24"/>
                    </a:moveTo>
                    <a:cubicBezTo>
                      <a:pt x="28" y="24"/>
                      <a:pt x="28" y="24"/>
                      <a:pt x="28" y="24"/>
                    </a:cubicBezTo>
                    <a:cubicBezTo>
                      <a:pt x="35" y="24"/>
                      <a:pt x="40" y="19"/>
                      <a:pt x="40" y="12"/>
                    </a:cubicBezTo>
                    <a:cubicBezTo>
                      <a:pt x="40" y="5"/>
                      <a:pt x="35" y="0"/>
                      <a:pt x="28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5"/>
                      <a:pt x="0" y="12"/>
                    </a:cubicBezTo>
                    <a:cubicBezTo>
                      <a:pt x="0" y="19"/>
                      <a:pt x="5" y="24"/>
                      <a:pt x="12" y="24"/>
                    </a:cubicBezTo>
                    <a:close/>
                    <a:moveTo>
                      <a:pt x="12" y="8"/>
                    </a:moveTo>
                    <a:cubicBezTo>
                      <a:pt x="28" y="8"/>
                      <a:pt x="28" y="8"/>
                      <a:pt x="28" y="8"/>
                    </a:cubicBezTo>
                    <a:cubicBezTo>
                      <a:pt x="30" y="8"/>
                      <a:pt x="32" y="10"/>
                      <a:pt x="32" y="12"/>
                    </a:cubicBezTo>
                    <a:cubicBezTo>
                      <a:pt x="32" y="14"/>
                      <a:pt x="30" y="16"/>
                      <a:pt x="28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0" y="16"/>
                      <a:pt x="8" y="14"/>
                      <a:pt x="8" y="12"/>
                    </a:cubicBezTo>
                    <a:cubicBezTo>
                      <a:pt x="8" y="10"/>
                      <a:pt x="10" y="8"/>
                      <a:pt x="1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2">
                <a:extLst>
                  <a:ext uri="{FF2B5EF4-FFF2-40B4-BE49-F238E27FC236}">
                    <a16:creationId xmlns:a16="http://schemas.microsoft.com/office/drawing/2014/main" id="{DAB0D6CF-35E4-4BE2-B1B5-BC21E7ACD3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42163" y="4389438"/>
                <a:ext cx="19050" cy="190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3">
                <a:extLst>
                  <a:ext uri="{FF2B5EF4-FFF2-40B4-BE49-F238E27FC236}">
                    <a16:creationId xmlns:a16="http://schemas.microsoft.com/office/drawing/2014/main" id="{F61955F3-F4E2-46EE-9D91-62CA1FEBF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26301" y="4129088"/>
                <a:ext cx="19050" cy="190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4">
                <a:extLst>
                  <a:ext uri="{FF2B5EF4-FFF2-40B4-BE49-F238E27FC236}">
                    <a16:creationId xmlns:a16="http://schemas.microsoft.com/office/drawing/2014/main" id="{4F8C20C6-509F-4BDC-8152-C3924C04FB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0438" y="4222750"/>
                <a:ext cx="19050" cy="174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5D54CC72-2BE6-49E8-98A8-28CEDC3EC32A}"/>
              </a:ext>
            </a:extLst>
          </p:cNvPr>
          <p:cNvGrpSpPr/>
          <p:nvPr/>
        </p:nvGrpSpPr>
        <p:grpSpPr>
          <a:xfrm>
            <a:off x="10683860" y="2938307"/>
            <a:ext cx="568324" cy="544513"/>
            <a:chOff x="5311776" y="4181475"/>
            <a:chExt cx="568324" cy="544513"/>
          </a:xfrm>
          <a:solidFill>
            <a:schemeClr val="bg1"/>
          </a:solidFill>
        </p:grpSpPr>
        <p:sp>
          <p:nvSpPr>
            <p:cNvPr id="105" name="Freeform 37">
              <a:extLst>
                <a:ext uri="{FF2B5EF4-FFF2-40B4-BE49-F238E27FC236}">
                  <a16:creationId xmlns:a16="http://schemas.microsoft.com/office/drawing/2014/main" id="{B5027D06-FF14-4E59-8E03-C7A281D7A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3063" y="4568825"/>
              <a:ext cx="85725" cy="69850"/>
            </a:xfrm>
            <a:custGeom>
              <a:avLst/>
              <a:gdLst>
                <a:gd name="T0" fmla="*/ 54 w 54"/>
                <a:gd name="T1" fmla="*/ 6 h 44"/>
                <a:gd name="T2" fmla="*/ 49 w 54"/>
                <a:gd name="T3" fmla="*/ 0 h 44"/>
                <a:gd name="T4" fmla="*/ 16 w 54"/>
                <a:gd name="T5" fmla="*/ 32 h 44"/>
                <a:gd name="T6" fmla="*/ 5 w 54"/>
                <a:gd name="T7" fmla="*/ 21 h 44"/>
                <a:gd name="T8" fmla="*/ 0 w 54"/>
                <a:gd name="T9" fmla="*/ 28 h 44"/>
                <a:gd name="T10" fmla="*/ 16 w 54"/>
                <a:gd name="T11" fmla="*/ 44 h 44"/>
                <a:gd name="T12" fmla="*/ 54 w 54"/>
                <a:gd name="T13" fmla="*/ 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44">
                  <a:moveTo>
                    <a:pt x="54" y="6"/>
                  </a:moveTo>
                  <a:lnTo>
                    <a:pt x="49" y="0"/>
                  </a:lnTo>
                  <a:lnTo>
                    <a:pt x="16" y="32"/>
                  </a:lnTo>
                  <a:lnTo>
                    <a:pt x="5" y="21"/>
                  </a:lnTo>
                  <a:lnTo>
                    <a:pt x="0" y="28"/>
                  </a:lnTo>
                  <a:lnTo>
                    <a:pt x="16" y="44"/>
                  </a:lnTo>
                  <a:lnTo>
                    <a:pt x="54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8">
              <a:extLst>
                <a:ext uri="{FF2B5EF4-FFF2-40B4-BE49-F238E27FC236}">
                  <a16:creationId xmlns:a16="http://schemas.microsoft.com/office/drawing/2014/main" id="{88CD4CE7-FC3A-42DE-8870-9FEE656C4B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13375" y="4519613"/>
              <a:ext cx="165100" cy="161925"/>
            </a:xfrm>
            <a:custGeom>
              <a:avLst/>
              <a:gdLst>
                <a:gd name="T0" fmla="*/ 38 w 76"/>
                <a:gd name="T1" fmla="*/ 75 h 75"/>
                <a:gd name="T2" fmla="*/ 76 w 76"/>
                <a:gd name="T3" fmla="*/ 38 h 75"/>
                <a:gd name="T4" fmla="*/ 38 w 76"/>
                <a:gd name="T5" fmla="*/ 0 h 75"/>
                <a:gd name="T6" fmla="*/ 0 w 76"/>
                <a:gd name="T7" fmla="*/ 38 h 75"/>
                <a:gd name="T8" fmla="*/ 38 w 76"/>
                <a:gd name="T9" fmla="*/ 75 h 75"/>
                <a:gd name="T10" fmla="*/ 38 w 76"/>
                <a:gd name="T11" fmla="*/ 6 h 75"/>
                <a:gd name="T12" fmla="*/ 70 w 76"/>
                <a:gd name="T13" fmla="*/ 37 h 75"/>
                <a:gd name="T14" fmla="*/ 38 w 76"/>
                <a:gd name="T15" fmla="*/ 69 h 75"/>
                <a:gd name="T16" fmla="*/ 6 w 76"/>
                <a:gd name="T17" fmla="*/ 37 h 75"/>
                <a:gd name="T18" fmla="*/ 38 w 76"/>
                <a:gd name="T19" fmla="*/ 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75">
                  <a:moveTo>
                    <a:pt x="38" y="75"/>
                  </a:moveTo>
                  <a:cubicBezTo>
                    <a:pt x="59" y="75"/>
                    <a:pt x="76" y="59"/>
                    <a:pt x="76" y="38"/>
                  </a:cubicBezTo>
                  <a:cubicBezTo>
                    <a:pt x="76" y="17"/>
                    <a:pt x="59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5"/>
                    <a:pt x="38" y="75"/>
                  </a:cubicBezTo>
                  <a:close/>
                  <a:moveTo>
                    <a:pt x="38" y="6"/>
                  </a:moveTo>
                  <a:cubicBezTo>
                    <a:pt x="56" y="6"/>
                    <a:pt x="70" y="20"/>
                    <a:pt x="70" y="37"/>
                  </a:cubicBezTo>
                  <a:cubicBezTo>
                    <a:pt x="70" y="55"/>
                    <a:pt x="55" y="69"/>
                    <a:pt x="38" y="69"/>
                  </a:cubicBezTo>
                  <a:cubicBezTo>
                    <a:pt x="20" y="69"/>
                    <a:pt x="6" y="55"/>
                    <a:pt x="6" y="37"/>
                  </a:cubicBezTo>
                  <a:cubicBezTo>
                    <a:pt x="6" y="20"/>
                    <a:pt x="20" y="6"/>
                    <a:pt x="3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9">
              <a:extLst>
                <a:ext uri="{FF2B5EF4-FFF2-40B4-BE49-F238E27FC236}">
                  <a16:creationId xmlns:a16="http://schemas.microsoft.com/office/drawing/2014/main" id="{C1E0C8A6-B725-4C38-A101-22ED9D253D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1776" y="4181475"/>
              <a:ext cx="568324" cy="544513"/>
            </a:xfrm>
            <a:custGeom>
              <a:avLst/>
              <a:gdLst>
                <a:gd name="T0" fmla="*/ 208 w 262"/>
                <a:gd name="T1" fmla="*/ 32 h 251"/>
                <a:gd name="T2" fmla="*/ 123 w 262"/>
                <a:gd name="T3" fmla="*/ 30 h 251"/>
                <a:gd name="T4" fmla="*/ 89 w 262"/>
                <a:gd name="T5" fmla="*/ 45 h 251"/>
                <a:gd name="T6" fmla="*/ 25 w 262"/>
                <a:gd name="T7" fmla="*/ 105 h 251"/>
                <a:gd name="T8" fmla="*/ 19 w 262"/>
                <a:gd name="T9" fmla="*/ 138 h 251"/>
                <a:gd name="T10" fmla="*/ 0 w 262"/>
                <a:gd name="T11" fmla="*/ 232 h 251"/>
                <a:gd name="T12" fmla="*/ 151 w 262"/>
                <a:gd name="T13" fmla="*/ 251 h 251"/>
                <a:gd name="T14" fmla="*/ 170 w 262"/>
                <a:gd name="T15" fmla="*/ 156 h 251"/>
                <a:gd name="T16" fmla="*/ 145 w 262"/>
                <a:gd name="T17" fmla="*/ 137 h 251"/>
                <a:gd name="T18" fmla="*/ 168 w 262"/>
                <a:gd name="T19" fmla="*/ 129 h 251"/>
                <a:gd name="T20" fmla="*/ 217 w 262"/>
                <a:gd name="T21" fmla="*/ 121 h 251"/>
                <a:gd name="T22" fmla="*/ 217 w 262"/>
                <a:gd name="T23" fmla="*/ 31 h 251"/>
                <a:gd name="T24" fmla="*/ 85 w 262"/>
                <a:gd name="T25" fmla="*/ 50 h 251"/>
                <a:gd name="T26" fmla="*/ 139 w 262"/>
                <a:gd name="T27" fmla="*/ 137 h 251"/>
                <a:gd name="T28" fmla="*/ 122 w 262"/>
                <a:gd name="T29" fmla="*/ 104 h 251"/>
                <a:gd name="T30" fmla="*/ 82 w 262"/>
                <a:gd name="T31" fmla="*/ 67 h 251"/>
                <a:gd name="T32" fmla="*/ 47 w 262"/>
                <a:gd name="T33" fmla="*/ 137 h 251"/>
                <a:gd name="T34" fmla="*/ 31 w 262"/>
                <a:gd name="T35" fmla="*/ 104 h 251"/>
                <a:gd name="T36" fmla="*/ 164 w 262"/>
                <a:gd name="T37" fmla="*/ 169 h 251"/>
                <a:gd name="T38" fmla="*/ 151 w 262"/>
                <a:gd name="T39" fmla="*/ 175 h 251"/>
                <a:gd name="T40" fmla="*/ 164 w 262"/>
                <a:gd name="T41" fmla="*/ 193 h 251"/>
                <a:gd name="T42" fmla="*/ 151 w 262"/>
                <a:gd name="T43" fmla="*/ 199 h 251"/>
                <a:gd name="T44" fmla="*/ 164 w 262"/>
                <a:gd name="T45" fmla="*/ 217 h 251"/>
                <a:gd name="T46" fmla="*/ 151 w 262"/>
                <a:gd name="T47" fmla="*/ 223 h 251"/>
                <a:gd name="T48" fmla="*/ 164 w 262"/>
                <a:gd name="T49" fmla="*/ 231 h 251"/>
                <a:gd name="T50" fmla="*/ 19 w 262"/>
                <a:gd name="T51" fmla="*/ 244 h 251"/>
                <a:gd name="T52" fmla="*/ 5 w 262"/>
                <a:gd name="T53" fmla="*/ 223 h 251"/>
                <a:gd name="T54" fmla="*/ 18 w 262"/>
                <a:gd name="T55" fmla="*/ 217 h 251"/>
                <a:gd name="T56" fmla="*/ 6 w 262"/>
                <a:gd name="T57" fmla="*/ 199 h 251"/>
                <a:gd name="T58" fmla="*/ 19 w 262"/>
                <a:gd name="T59" fmla="*/ 193 h 251"/>
                <a:gd name="T60" fmla="*/ 6 w 262"/>
                <a:gd name="T61" fmla="*/ 175 h 251"/>
                <a:gd name="T62" fmla="*/ 19 w 262"/>
                <a:gd name="T63" fmla="*/ 169 h 251"/>
                <a:gd name="T64" fmla="*/ 6 w 262"/>
                <a:gd name="T65" fmla="*/ 156 h 251"/>
                <a:gd name="T66" fmla="*/ 151 w 262"/>
                <a:gd name="T67" fmla="*/ 143 h 251"/>
                <a:gd name="T68" fmla="*/ 54 w 262"/>
                <a:gd name="T69" fmla="*/ 137 h 251"/>
                <a:gd name="T70" fmla="*/ 83 w 262"/>
                <a:gd name="T71" fmla="*/ 73 h 251"/>
                <a:gd name="T72" fmla="*/ 117 w 262"/>
                <a:gd name="T73" fmla="*/ 104 h 251"/>
                <a:gd name="T74" fmla="*/ 54 w 262"/>
                <a:gd name="T75" fmla="*/ 137 h 251"/>
                <a:gd name="T76" fmla="*/ 196 w 262"/>
                <a:gd name="T77" fmla="*/ 108 h 251"/>
                <a:gd name="T78" fmla="*/ 192 w 262"/>
                <a:gd name="T79" fmla="*/ 109 h 251"/>
                <a:gd name="T80" fmla="*/ 145 w 262"/>
                <a:gd name="T81" fmla="*/ 111 h 251"/>
                <a:gd name="T82" fmla="*/ 95 w 262"/>
                <a:gd name="T83" fmla="*/ 45 h 251"/>
                <a:gd name="T84" fmla="*/ 122 w 262"/>
                <a:gd name="T85" fmla="*/ 35 h 251"/>
                <a:gd name="T86" fmla="*/ 127 w 262"/>
                <a:gd name="T87" fmla="*/ 45 h 251"/>
                <a:gd name="T88" fmla="*/ 165 w 262"/>
                <a:gd name="T89" fmla="*/ 6 h 251"/>
                <a:gd name="T90" fmla="*/ 204 w 262"/>
                <a:gd name="T91" fmla="*/ 39 h 251"/>
                <a:gd name="T92" fmla="*/ 217 w 262"/>
                <a:gd name="T93" fmla="*/ 37 h 251"/>
                <a:gd name="T94" fmla="*/ 217 w 262"/>
                <a:gd name="T95" fmla="*/ 114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2" h="251">
                  <a:moveTo>
                    <a:pt x="217" y="31"/>
                  </a:moveTo>
                  <a:cubicBezTo>
                    <a:pt x="215" y="31"/>
                    <a:pt x="211" y="31"/>
                    <a:pt x="208" y="32"/>
                  </a:cubicBezTo>
                  <a:cubicBezTo>
                    <a:pt x="203" y="13"/>
                    <a:pt x="185" y="0"/>
                    <a:pt x="165" y="0"/>
                  </a:cubicBezTo>
                  <a:cubicBezTo>
                    <a:pt x="146" y="0"/>
                    <a:pt x="129" y="12"/>
                    <a:pt x="123" y="30"/>
                  </a:cubicBezTo>
                  <a:cubicBezTo>
                    <a:pt x="121" y="29"/>
                    <a:pt x="118" y="29"/>
                    <a:pt x="115" y="29"/>
                  </a:cubicBezTo>
                  <a:cubicBezTo>
                    <a:pt x="103" y="29"/>
                    <a:pt x="94" y="35"/>
                    <a:pt x="89" y="45"/>
                  </a:cubicBezTo>
                  <a:cubicBezTo>
                    <a:pt x="88" y="45"/>
                    <a:pt x="87" y="45"/>
                    <a:pt x="85" y="45"/>
                  </a:cubicBezTo>
                  <a:cubicBezTo>
                    <a:pt x="52" y="45"/>
                    <a:pt x="25" y="71"/>
                    <a:pt x="25" y="105"/>
                  </a:cubicBezTo>
                  <a:cubicBezTo>
                    <a:pt x="25" y="138"/>
                    <a:pt x="25" y="138"/>
                    <a:pt x="25" y="138"/>
                  </a:cubicBezTo>
                  <a:cubicBezTo>
                    <a:pt x="19" y="138"/>
                    <a:pt x="19" y="138"/>
                    <a:pt x="19" y="138"/>
                  </a:cubicBezTo>
                  <a:cubicBezTo>
                    <a:pt x="9" y="138"/>
                    <a:pt x="0" y="146"/>
                    <a:pt x="0" y="157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0" y="243"/>
                    <a:pt x="8" y="251"/>
                    <a:pt x="19" y="251"/>
                  </a:cubicBezTo>
                  <a:cubicBezTo>
                    <a:pt x="151" y="251"/>
                    <a:pt x="151" y="251"/>
                    <a:pt x="151" y="251"/>
                  </a:cubicBezTo>
                  <a:cubicBezTo>
                    <a:pt x="161" y="251"/>
                    <a:pt x="170" y="243"/>
                    <a:pt x="170" y="232"/>
                  </a:cubicBezTo>
                  <a:cubicBezTo>
                    <a:pt x="170" y="156"/>
                    <a:pt x="170" y="156"/>
                    <a:pt x="170" y="156"/>
                  </a:cubicBezTo>
                  <a:cubicBezTo>
                    <a:pt x="170" y="146"/>
                    <a:pt x="162" y="137"/>
                    <a:pt x="151" y="137"/>
                  </a:cubicBezTo>
                  <a:cubicBezTo>
                    <a:pt x="145" y="137"/>
                    <a:pt x="145" y="137"/>
                    <a:pt x="145" y="137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50" y="125"/>
                    <a:pt x="157" y="129"/>
                    <a:pt x="168" y="129"/>
                  </a:cubicBezTo>
                  <a:cubicBezTo>
                    <a:pt x="185" y="129"/>
                    <a:pt x="193" y="120"/>
                    <a:pt x="196" y="115"/>
                  </a:cubicBezTo>
                  <a:cubicBezTo>
                    <a:pt x="202" y="119"/>
                    <a:pt x="210" y="121"/>
                    <a:pt x="217" y="121"/>
                  </a:cubicBezTo>
                  <a:cubicBezTo>
                    <a:pt x="242" y="121"/>
                    <a:pt x="262" y="101"/>
                    <a:pt x="262" y="76"/>
                  </a:cubicBezTo>
                  <a:cubicBezTo>
                    <a:pt x="262" y="51"/>
                    <a:pt x="242" y="31"/>
                    <a:pt x="217" y="31"/>
                  </a:cubicBezTo>
                  <a:close/>
                  <a:moveTo>
                    <a:pt x="31" y="104"/>
                  </a:moveTo>
                  <a:cubicBezTo>
                    <a:pt x="31" y="74"/>
                    <a:pt x="55" y="50"/>
                    <a:pt x="85" y="50"/>
                  </a:cubicBezTo>
                  <a:cubicBezTo>
                    <a:pt x="115" y="50"/>
                    <a:pt x="139" y="74"/>
                    <a:pt x="139" y="104"/>
                  </a:cubicBezTo>
                  <a:cubicBezTo>
                    <a:pt x="139" y="137"/>
                    <a:pt x="139" y="137"/>
                    <a:pt x="139" y="137"/>
                  </a:cubicBezTo>
                  <a:cubicBezTo>
                    <a:pt x="122" y="137"/>
                    <a:pt x="122" y="137"/>
                    <a:pt x="122" y="137"/>
                  </a:cubicBezTo>
                  <a:cubicBezTo>
                    <a:pt x="122" y="104"/>
                    <a:pt x="122" y="104"/>
                    <a:pt x="122" y="104"/>
                  </a:cubicBezTo>
                  <a:cubicBezTo>
                    <a:pt x="122" y="93"/>
                    <a:pt x="118" y="84"/>
                    <a:pt x="110" y="77"/>
                  </a:cubicBezTo>
                  <a:cubicBezTo>
                    <a:pt x="103" y="69"/>
                    <a:pt x="93" y="66"/>
                    <a:pt x="82" y="67"/>
                  </a:cubicBezTo>
                  <a:cubicBezTo>
                    <a:pt x="63" y="68"/>
                    <a:pt x="47" y="85"/>
                    <a:pt x="47" y="105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31" y="137"/>
                    <a:pt x="31" y="137"/>
                    <a:pt x="31" y="137"/>
                  </a:cubicBezTo>
                  <a:lnTo>
                    <a:pt x="31" y="104"/>
                  </a:lnTo>
                  <a:close/>
                  <a:moveTo>
                    <a:pt x="164" y="156"/>
                  </a:moveTo>
                  <a:cubicBezTo>
                    <a:pt x="164" y="169"/>
                    <a:pt x="164" y="169"/>
                    <a:pt x="164" y="169"/>
                  </a:cubicBezTo>
                  <a:cubicBezTo>
                    <a:pt x="151" y="169"/>
                    <a:pt x="151" y="169"/>
                    <a:pt x="151" y="169"/>
                  </a:cubicBezTo>
                  <a:cubicBezTo>
                    <a:pt x="151" y="175"/>
                    <a:pt x="151" y="175"/>
                    <a:pt x="151" y="175"/>
                  </a:cubicBezTo>
                  <a:cubicBezTo>
                    <a:pt x="164" y="175"/>
                    <a:pt x="164" y="175"/>
                    <a:pt x="164" y="175"/>
                  </a:cubicBezTo>
                  <a:cubicBezTo>
                    <a:pt x="164" y="193"/>
                    <a:pt x="164" y="193"/>
                    <a:pt x="164" y="193"/>
                  </a:cubicBezTo>
                  <a:cubicBezTo>
                    <a:pt x="151" y="193"/>
                    <a:pt x="151" y="193"/>
                    <a:pt x="151" y="193"/>
                  </a:cubicBezTo>
                  <a:cubicBezTo>
                    <a:pt x="151" y="199"/>
                    <a:pt x="151" y="199"/>
                    <a:pt x="151" y="199"/>
                  </a:cubicBezTo>
                  <a:cubicBezTo>
                    <a:pt x="164" y="199"/>
                    <a:pt x="164" y="199"/>
                    <a:pt x="164" y="199"/>
                  </a:cubicBezTo>
                  <a:cubicBezTo>
                    <a:pt x="164" y="217"/>
                    <a:pt x="164" y="217"/>
                    <a:pt x="164" y="217"/>
                  </a:cubicBezTo>
                  <a:cubicBezTo>
                    <a:pt x="151" y="217"/>
                    <a:pt x="151" y="217"/>
                    <a:pt x="151" y="217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64" y="223"/>
                    <a:pt x="164" y="223"/>
                    <a:pt x="164" y="223"/>
                  </a:cubicBezTo>
                  <a:cubicBezTo>
                    <a:pt x="164" y="231"/>
                    <a:pt x="164" y="231"/>
                    <a:pt x="164" y="231"/>
                  </a:cubicBezTo>
                  <a:cubicBezTo>
                    <a:pt x="164" y="238"/>
                    <a:pt x="158" y="244"/>
                    <a:pt x="151" y="244"/>
                  </a:cubicBezTo>
                  <a:cubicBezTo>
                    <a:pt x="19" y="244"/>
                    <a:pt x="19" y="244"/>
                    <a:pt x="19" y="244"/>
                  </a:cubicBezTo>
                  <a:cubicBezTo>
                    <a:pt x="11" y="244"/>
                    <a:pt x="5" y="238"/>
                    <a:pt x="5" y="231"/>
                  </a:cubicBezTo>
                  <a:cubicBezTo>
                    <a:pt x="5" y="223"/>
                    <a:pt x="5" y="223"/>
                    <a:pt x="5" y="223"/>
                  </a:cubicBezTo>
                  <a:cubicBezTo>
                    <a:pt x="18" y="223"/>
                    <a:pt x="18" y="223"/>
                    <a:pt x="18" y="223"/>
                  </a:cubicBezTo>
                  <a:cubicBezTo>
                    <a:pt x="18" y="217"/>
                    <a:pt x="18" y="217"/>
                    <a:pt x="18" y="217"/>
                  </a:cubicBezTo>
                  <a:cubicBezTo>
                    <a:pt x="6" y="217"/>
                    <a:pt x="6" y="217"/>
                    <a:pt x="6" y="217"/>
                  </a:cubicBezTo>
                  <a:cubicBezTo>
                    <a:pt x="6" y="199"/>
                    <a:pt x="6" y="199"/>
                    <a:pt x="6" y="199"/>
                  </a:cubicBezTo>
                  <a:cubicBezTo>
                    <a:pt x="19" y="199"/>
                    <a:pt x="19" y="199"/>
                    <a:pt x="19" y="199"/>
                  </a:cubicBezTo>
                  <a:cubicBezTo>
                    <a:pt x="19" y="193"/>
                    <a:pt x="19" y="193"/>
                    <a:pt x="19" y="193"/>
                  </a:cubicBezTo>
                  <a:cubicBezTo>
                    <a:pt x="6" y="193"/>
                    <a:pt x="6" y="193"/>
                    <a:pt x="6" y="193"/>
                  </a:cubicBezTo>
                  <a:cubicBezTo>
                    <a:pt x="6" y="175"/>
                    <a:pt x="6" y="175"/>
                    <a:pt x="6" y="175"/>
                  </a:cubicBezTo>
                  <a:cubicBezTo>
                    <a:pt x="19" y="175"/>
                    <a:pt x="19" y="175"/>
                    <a:pt x="19" y="175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6" y="169"/>
                    <a:pt x="6" y="169"/>
                    <a:pt x="6" y="169"/>
                  </a:cubicBezTo>
                  <a:cubicBezTo>
                    <a:pt x="6" y="156"/>
                    <a:pt x="6" y="156"/>
                    <a:pt x="6" y="156"/>
                  </a:cubicBezTo>
                  <a:cubicBezTo>
                    <a:pt x="6" y="149"/>
                    <a:pt x="12" y="143"/>
                    <a:pt x="19" y="143"/>
                  </a:cubicBezTo>
                  <a:cubicBezTo>
                    <a:pt x="151" y="143"/>
                    <a:pt x="151" y="143"/>
                    <a:pt x="151" y="143"/>
                  </a:cubicBezTo>
                  <a:cubicBezTo>
                    <a:pt x="158" y="143"/>
                    <a:pt x="164" y="149"/>
                    <a:pt x="164" y="156"/>
                  </a:cubicBezTo>
                  <a:close/>
                  <a:moveTo>
                    <a:pt x="54" y="137"/>
                  </a:moveTo>
                  <a:cubicBezTo>
                    <a:pt x="54" y="105"/>
                    <a:pt x="54" y="105"/>
                    <a:pt x="54" y="105"/>
                  </a:cubicBezTo>
                  <a:cubicBezTo>
                    <a:pt x="54" y="88"/>
                    <a:pt x="67" y="74"/>
                    <a:pt x="83" y="73"/>
                  </a:cubicBezTo>
                  <a:cubicBezTo>
                    <a:pt x="92" y="72"/>
                    <a:pt x="100" y="75"/>
                    <a:pt x="107" y="81"/>
                  </a:cubicBezTo>
                  <a:cubicBezTo>
                    <a:pt x="113" y="87"/>
                    <a:pt x="117" y="95"/>
                    <a:pt x="117" y="104"/>
                  </a:cubicBezTo>
                  <a:cubicBezTo>
                    <a:pt x="117" y="137"/>
                    <a:pt x="117" y="137"/>
                    <a:pt x="117" y="137"/>
                  </a:cubicBezTo>
                  <a:lnTo>
                    <a:pt x="54" y="137"/>
                  </a:lnTo>
                  <a:close/>
                  <a:moveTo>
                    <a:pt x="217" y="114"/>
                  </a:moveTo>
                  <a:cubicBezTo>
                    <a:pt x="210" y="114"/>
                    <a:pt x="203" y="112"/>
                    <a:pt x="196" y="108"/>
                  </a:cubicBezTo>
                  <a:cubicBezTo>
                    <a:pt x="193" y="106"/>
                    <a:pt x="193" y="106"/>
                    <a:pt x="193" y="106"/>
                  </a:cubicBezTo>
                  <a:cubicBezTo>
                    <a:pt x="192" y="109"/>
                    <a:pt x="192" y="109"/>
                    <a:pt x="192" y="109"/>
                  </a:cubicBezTo>
                  <a:cubicBezTo>
                    <a:pt x="191" y="110"/>
                    <a:pt x="186" y="123"/>
                    <a:pt x="168" y="123"/>
                  </a:cubicBezTo>
                  <a:cubicBezTo>
                    <a:pt x="155" y="123"/>
                    <a:pt x="147" y="115"/>
                    <a:pt x="145" y="111"/>
                  </a:cubicBezTo>
                  <a:cubicBezTo>
                    <a:pt x="145" y="104"/>
                    <a:pt x="145" y="104"/>
                    <a:pt x="145" y="104"/>
                  </a:cubicBezTo>
                  <a:cubicBezTo>
                    <a:pt x="145" y="74"/>
                    <a:pt x="123" y="49"/>
                    <a:pt x="95" y="45"/>
                  </a:cubicBezTo>
                  <a:cubicBezTo>
                    <a:pt x="99" y="38"/>
                    <a:pt x="105" y="34"/>
                    <a:pt x="115" y="34"/>
                  </a:cubicBezTo>
                  <a:cubicBezTo>
                    <a:pt x="117" y="34"/>
                    <a:pt x="119" y="35"/>
                    <a:pt x="122" y="35"/>
                  </a:cubicBezTo>
                  <a:cubicBezTo>
                    <a:pt x="121" y="38"/>
                    <a:pt x="121" y="41"/>
                    <a:pt x="121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1"/>
                    <a:pt x="127" y="38"/>
                    <a:pt x="128" y="35"/>
                  </a:cubicBezTo>
                  <a:cubicBezTo>
                    <a:pt x="132" y="18"/>
                    <a:pt x="148" y="6"/>
                    <a:pt x="165" y="6"/>
                  </a:cubicBezTo>
                  <a:cubicBezTo>
                    <a:pt x="183" y="6"/>
                    <a:pt x="199" y="19"/>
                    <a:pt x="203" y="36"/>
                  </a:cubicBezTo>
                  <a:cubicBezTo>
                    <a:pt x="204" y="39"/>
                    <a:pt x="204" y="39"/>
                    <a:pt x="204" y="39"/>
                  </a:cubicBezTo>
                  <a:cubicBezTo>
                    <a:pt x="207" y="38"/>
                    <a:pt x="207" y="38"/>
                    <a:pt x="207" y="38"/>
                  </a:cubicBezTo>
                  <a:cubicBezTo>
                    <a:pt x="209" y="38"/>
                    <a:pt x="214" y="37"/>
                    <a:pt x="217" y="37"/>
                  </a:cubicBezTo>
                  <a:cubicBezTo>
                    <a:pt x="239" y="37"/>
                    <a:pt x="256" y="54"/>
                    <a:pt x="256" y="75"/>
                  </a:cubicBezTo>
                  <a:cubicBezTo>
                    <a:pt x="256" y="97"/>
                    <a:pt x="239" y="114"/>
                    <a:pt x="217" y="1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8A297A0A-5DD1-4C31-96FC-70220260ECB0}"/>
              </a:ext>
            </a:extLst>
          </p:cNvPr>
          <p:cNvGrpSpPr/>
          <p:nvPr/>
        </p:nvGrpSpPr>
        <p:grpSpPr>
          <a:xfrm>
            <a:off x="10440267" y="4041597"/>
            <a:ext cx="510292" cy="509394"/>
            <a:chOff x="5246688" y="3883025"/>
            <a:chExt cx="901700" cy="900113"/>
          </a:xfrm>
          <a:solidFill>
            <a:schemeClr val="bg1"/>
          </a:solidFill>
        </p:grpSpPr>
        <p:sp>
          <p:nvSpPr>
            <p:cNvPr id="124" name="Freeform 43">
              <a:extLst>
                <a:ext uri="{FF2B5EF4-FFF2-40B4-BE49-F238E27FC236}">
                  <a16:creationId xmlns:a16="http://schemas.microsoft.com/office/drawing/2014/main" id="{30454440-8545-4390-8662-027C9B12D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6688" y="4483100"/>
              <a:ext cx="901700" cy="300038"/>
            </a:xfrm>
            <a:custGeom>
              <a:avLst/>
              <a:gdLst>
                <a:gd name="T0" fmla="*/ 96 w 96"/>
                <a:gd name="T1" fmla="*/ 30 h 32"/>
                <a:gd name="T2" fmla="*/ 93 w 96"/>
                <a:gd name="T3" fmla="*/ 17 h 32"/>
                <a:gd name="T4" fmla="*/ 88 w 96"/>
                <a:gd name="T5" fmla="*/ 11 h 32"/>
                <a:gd name="T6" fmla="*/ 67 w 96"/>
                <a:gd name="T7" fmla="*/ 0 h 32"/>
                <a:gd name="T8" fmla="*/ 65 w 96"/>
                <a:gd name="T9" fmla="*/ 0 h 32"/>
                <a:gd name="T10" fmla="*/ 64 w 96"/>
                <a:gd name="T11" fmla="*/ 1 h 32"/>
                <a:gd name="T12" fmla="*/ 54 w 96"/>
                <a:gd name="T13" fmla="*/ 25 h 32"/>
                <a:gd name="T14" fmla="*/ 52 w 96"/>
                <a:gd name="T15" fmla="*/ 22 h 32"/>
                <a:gd name="T16" fmla="*/ 56 w 96"/>
                <a:gd name="T17" fmla="*/ 14 h 32"/>
                <a:gd name="T18" fmla="*/ 48 w 96"/>
                <a:gd name="T19" fmla="*/ 8 h 32"/>
                <a:gd name="T20" fmla="*/ 40 w 96"/>
                <a:gd name="T21" fmla="*/ 14 h 32"/>
                <a:gd name="T22" fmla="*/ 44 w 96"/>
                <a:gd name="T23" fmla="*/ 22 h 32"/>
                <a:gd name="T24" fmla="*/ 42 w 96"/>
                <a:gd name="T25" fmla="*/ 25 h 32"/>
                <a:gd name="T26" fmla="*/ 32 w 96"/>
                <a:gd name="T27" fmla="*/ 1 h 32"/>
                <a:gd name="T28" fmla="*/ 31 w 96"/>
                <a:gd name="T29" fmla="*/ 0 h 32"/>
                <a:gd name="T30" fmla="*/ 29 w 96"/>
                <a:gd name="T31" fmla="*/ 0 h 32"/>
                <a:gd name="T32" fmla="*/ 8 w 96"/>
                <a:gd name="T33" fmla="*/ 11 h 32"/>
                <a:gd name="T34" fmla="*/ 3 w 96"/>
                <a:gd name="T35" fmla="*/ 17 h 32"/>
                <a:gd name="T36" fmla="*/ 0 w 96"/>
                <a:gd name="T37" fmla="*/ 30 h 32"/>
                <a:gd name="T38" fmla="*/ 0 w 96"/>
                <a:gd name="T39" fmla="*/ 31 h 32"/>
                <a:gd name="T40" fmla="*/ 2 w 96"/>
                <a:gd name="T41" fmla="*/ 32 h 32"/>
                <a:gd name="T42" fmla="*/ 94 w 96"/>
                <a:gd name="T43" fmla="*/ 32 h 32"/>
                <a:gd name="T44" fmla="*/ 96 w 96"/>
                <a:gd name="T45" fmla="*/ 31 h 32"/>
                <a:gd name="T46" fmla="*/ 96 w 96"/>
                <a:gd name="T47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32">
                  <a:moveTo>
                    <a:pt x="96" y="30"/>
                  </a:moveTo>
                  <a:cubicBezTo>
                    <a:pt x="93" y="17"/>
                    <a:pt x="93" y="17"/>
                    <a:pt x="93" y="17"/>
                  </a:cubicBezTo>
                  <a:cubicBezTo>
                    <a:pt x="92" y="14"/>
                    <a:pt x="90" y="12"/>
                    <a:pt x="88" y="11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6" y="0"/>
                    <a:pt x="66" y="0"/>
                    <a:pt x="65" y="0"/>
                  </a:cubicBezTo>
                  <a:cubicBezTo>
                    <a:pt x="65" y="0"/>
                    <a:pt x="64" y="1"/>
                    <a:pt x="64" y="1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52" y="22"/>
                    <a:pt x="52" y="22"/>
                    <a:pt x="52" y="22"/>
                  </a:cubicBezTo>
                  <a:cubicBezTo>
                    <a:pt x="54" y="20"/>
                    <a:pt x="56" y="17"/>
                    <a:pt x="56" y="14"/>
                  </a:cubicBezTo>
                  <a:cubicBezTo>
                    <a:pt x="56" y="10"/>
                    <a:pt x="53" y="8"/>
                    <a:pt x="48" y="8"/>
                  </a:cubicBezTo>
                  <a:cubicBezTo>
                    <a:pt x="43" y="8"/>
                    <a:pt x="40" y="10"/>
                    <a:pt x="40" y="14"/>
                  </a:cubicBezTo>
                  <a:cubicBezTo>
                    <a:pt x="40" y="17"/>
                    <a:pt x="42" y="20"/>
                    <a:pt x="44" y="22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1" y="0"/>
                    <a:pt x="31" y="0"/>
                  </a:cubicBezTo>
                  <a:cubicBezTo>
                    <a:pt x="30" y="0"/>
                    <a:pt x="30" y="0"/>
                    <a:pt x="29" y="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6" y="12"/>
                    <a:pt x="4" y="14"/>
                    <a:pt x="3" y="1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0"/>
                    <a:pt x="0" y="31"/>
                    <a:pt x="0" y="31"/>
                  </a:cubicBezTo>
                  <a:cubicBezTo>
                    <a:pt x="1" y="32"/>
                    <a:pt x="1" y="32"/>
                    <a:pt x="2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5" y="32"/>
                    <a:pt x="95" y="32"/>
                    <a:pt x="96" y="31"/>
                  </a:cubicBezTo>
                  <a:cubicBezTo>
                    <a:pt x="96" y="31"/>
                    <a:pt x="96" y="30"/>
                    <a:pt x="9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44">
              <a:extLst>
                <a:ext uri="{FF2B5EF4-FFF2-40B4-BE49-F238E27FC236}">
                  <a16:creationId xmlns:a16="http://schemas.microsoft.com/office/drawing/2014/main" id="{C8DCB0B3-E970-4A12-AD55-7177A586E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4013" y="4173538"/>
              <a:ext cx="527050" cy="347663"/>
            </a:xfrm>
            <a:custGeom>
              <a:avLst/>
              <a:gdLst>
                <a:gd name="T0" fmla="*/ 28 w 56"/>
                <a:gd name="T1" fmla="*/ 37 h 37"/>
                <a:gd name="T2" fmla="*/ 6 w 56"/>
                <a:gd name="T3" fmla="*/ 17 h 37"/>
                <a:gd name="T4" fmla="*/ 0 w 56"/>
                <a:gd name="T5" fmla="*/ 7 h 37"/>
                <a:gd name="T6" fmla="*/ 1 w 56"/>
                <a:gd name="T7" fmla="*/ 2 h 37"/>
                <a:gd name="T8" fmla="*/ 3 w 56"/>
                <a:gd name="T9" fmla="*/ 1 h 37"/>
                <a:gd name="T10" fmla="*/ 5 w 56"/>
                <a:gd name="T11" fmla="*/ 3 h 37"/>
                <a:gd name="T12" fmla="*/ 4 w 56"/>
                <a:gd name="T13" fmla="*/ 7 h 37"/>
                <a:gd name="T14" fmla="*/ 6 w 56"/>
                <a:gd name="T15" fmla="*/ 13 h 37"/>
                <a:gd name="T16" fmla="*/ 8 w 56"/>
                <a:gd name="T17" fmla="*/ 13 h 37"/>
                <a:gd name="T18" fmla="*/ 9 w 56"/>
                <a:gd name="T19" fmla="*/ 14 h 37"/>
                <a:gd name="T20" fmla="*/ 28 w 56"/>
                <a:gd name="T21" fmla="*/ 33 h 37"/>
                <a:gd name="T22" fmla="*/ 47 w 56"/>
                <a:gd name="T23" fmla="*/ 14 h 37"/>
                <a:gd name="T24" fmla="*/ 48 w 56"/>
                <a:gd name="T25" fmla="*/ 13 h 37"/>
                <a:gd name="T26" fmla="*/ 50 w 56"/>
                <a:gd name="T27" fmla="*/ 13 h 37"/>
                <a:gd name="T28" fmla="*/ 52 w 56"/>
                <a:gd name="T29" fmla="*/ 7 h 37"/>
                <a:gd name="T30" fmla="*/ 51 w 56"/>
                <a:gd name="T31" fmla="*/ 3 h 37"/>
                <a:gd name="T32" fmla="*/ 53 w 56"/>
                <a:gd name="T33" fmla="*/ 1 h 37"/>
                <a:gd name="T34" fmla="*/ 55 w 56"/>
                <a:gd name="T35" fmla="*/ 2 h 37"/>
                <a:gd name="T36" fmla="*/ 56 w 56"/>
                <a:gd name="T37" fmla="*/ 7 h 37"/>
                <a:gd name="T38" fmla="*/ 50 w 56"/>
                <a:gd name="T39" fmla="*/ 17 h 37"/>
                <a:gd name="T40" fmla="*/ 28 w 56"/>
                <a:gd name="T4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6" h="37">
                  <a:moveTo>
                    <a:pt x="28" y="37"/>
                  </a:moveTo>
                  <a:cubicBezTo>
                    <a:pt x="18" y="37"/>
                    <a:pt x="9" y="29"/>
                    <a:pt x="6" y="17"/>
                  </a:cubicBezTo>
                  <a:cubicBezTo>
                    <a:pt x="2" y="17"/>
                    <a:pt x="0" y="13"/>
                    <a:pt x="0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1" y="1"/>
                    <a:pt x="2" y="0"/>
                    <a:pt x="3" y="1"/>
                  </a:cubicBezTo>
                  <a:cubicBezTo>
                    <a:pt x="4" y="1"/>
                    <a:pt x="5" y="2"/>
                    <a:pt x="5" y="3"/>
                  </a:cubicBezTo>
                  <a:cubicBezTo>
                    <a:pt x="4" y="4"/>
                    <a:pt x="4" y="6"/>
                    <a:pt x="4" y="7"/>
                  </a:cubicBezTo>
                  <a:cubicBezTo>
                    <a:pt x="4" y="11"/>
                    <a:pt x="6" y="13"/>
                    <a:pt x="6" y="13"/>
                  </a:cubicBezTo>
                  <a:cubicBezTo>
                    <a:pt x="7" y="13"/>
                    <a:pt x="7" y="13"/>
                    <a:pt x="8" y="13"/>
                  </a:cubicBezTo>
                  <a:cubicBezTo>
                    <a:pt x="8" y="13"/>
                    <a:pt x="9" y="14"/>
                    <a:pt x="9" y="14"/>
                  </a:cubicBezTo>
                  <a:cubicBezTo>
                    <a:pt x="12" y="25"/>
                    <a:pt x="20" y="33"/>
                    <a:pt x="28" y="33"/>
                  </a:cubicBezTo>
                  <a:cubicBezTo>
                    <a:pt x="36" y="33"/>
                    <a:pt x="44" y="25"/>
                    <a:pt x="47" y="14"/>
                  </a:cubicBezTo>
                  <a:cubicBezTo>
                    <a:pt x="47" y="14"/>
                    <a:pt x="47" y="13"/>
                    <a:pt x="48" y="13"/>
                  </a:cubicBezTo>
                  <a:cubicBezTo>
                    <a:pt x="49" y="13"/>
                    <a:pt x="49" y="13"/>
                    <a:pt x="50" y="13"/>
                  </a:cubicBezTo>
                  <a:cubicBezTo>
                    <a:pt x="51" y="13"/>
                    <a:pt x="52" y="11"/>
                    <a:pt x="52" y="7"/>
                  </a:cubicBezTo>
                  <a:cubicBezTo>
                    <a:pt x="52" y="6"/>
                    <a:pt x="52" y="4"/>
                    <a:pt x="51" y="3"/>
                  </a:cubicBezTo>
                  <a:cubicBezTo>
                    <a:pt x="51" y="2"/>
                    <a:pt x="52" y="1"/>
                    <a:pt x="53" y="1"/>
                  </a:cubicBezTo>
                  <a:cubicBezTo>
                    <a:pt x="54" y="0"/>
                    <a:pt x="55" y="1"/>
                    <a:pt x="55" y="2"/>
                  </a:cubicBezTo>
                  <a:cubicBezTo>
                    <a:pt x="56" y="3"/>
                    <a:pt x="56" y="5"/>
                    <a:pt x="56" y="7"/>
                  </a:cubicBezTo>
                  <a:cubicBezTo>
                    <a:pt x="56" y="13"/>
                    <a:pt x="54" y="17"/>
                    <a:pt x="50" y="17"/>
                  </a:cubicBezTo>
                  <a:cubicBezTo>
                    <a:pt x="47" y="29"/>
                    <a:pt x="38" y="37"/>
                    <a:pt x="28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45">
              <a:extLst>
                <a:ext uri="{FF2B5EF4-FFF2-40B4-BE49-F238E27FC236}">
                  <a16:creationId xmlns:a16="http://schemas.microsoft.com/office/drawing/2014/main" id="{8D34F7B8-A116-4866-B7C3-A88374B9AB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4013" y="3883025"/>
              <a:ext cx="527050" cy="338138"/>
            </a:xfrm>
            <a:custGeom>
              <a:avLst/>
              <a:gdLst>
                <a:gd name="T0" fmla="*/ 28 w 56"/>
                <a:gd name="T1" fmla="*/ 0 h 36"/>
                <a:gd name="T2" fmla="*/ 0 w 56"/>
                <a:gd name="T3" fmla="*/ 28 h 36"/>
                <a:gd name="T4" fmla="*/ 1 w 56"/>
                <a:gd name="T5" fmla="*/ 34 h 36"/>
                <a:gd name="T6" fmla="*/ 3 w 56"/>
                <a:gd name="T7" fmla="*/ 36 h 36"/>
                <a:gd name="T8" fmla="*/ 8 w 56"/>
                <a:gd name="T9" fmla="*/ 36 h 36"/>
                <a:gd name="T10" fmla="*/ 8 w 56"/>
                <a:gd name="T11" fmla="*/ 36 h 36"/>
                <a:gd name="T12" fmla="*/ 10 w 56"/>
                <a:gd name="T13" fmla="*/ 34 h 36"/>
                <a:gd name="T14" fmla="*/ 10 w 56"/>
                <a:gd name="T15" fmla="*/ 33 h 36"/>
                <a:gd name="T16" fmla="*/ 11 w 56"/>
                <a:gd name="T17" fmla="*/ 24 h 36"/>
                <a:gd name="T18" fmla="*/ 11 w 56"/>
                <a:gd name="T19" fmla="*/ 24 h 36"/>
                <a:gd name="T20" fmla="*/ 23 w 56"/>
                <a:gd name="T21" fmla="*/ 19 h 36"/>
                <a:gd name="T22" fmla="*/ 44 w 56"/>
                <a:gd name="T23" fmla="*/ 28 h 36"/>
                <a:gd name="T24" fmla="*/ 46 w 56"/>
                <a:gd name="T25" fmla="*/ 35 h 36"/>
                <a:gd name="T26" fmla="*/ 48 w 56"/>
                <a:gd name="T27" fmla="*/ 36 h 36"/>
                <a:gd name="T28" fmla="*/ 48 w 56"/>
                <a:gd name="T29" fmla="*/ 36 h 36"/>
                <a:gd name="T30" fmla="*/ 53 w 56"/>
                <a:gd name="T31" fmla="*/ 36 h 36"/>
                <a:gd name="T32" fmla="*/ 55 w 56"/>
                <a:gd name="T33" fmla="*/ 34 h 36"/>
                <a:gd name="T34" fmla="*/ 56 w 56"/>
                <a:gd name="T35" fmla="*/ 28 h 36"/>
                <a:gd name="T36" fmla="*/ 28 w 56"/>
                <a:gd name="T3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" h="36">
                  <a:moveTo>
                    <a:pt x="28" y="0"/>
                  </a:moveTo>
                  <a:cubicBezTo>
                    <a:pt x="13" y="0"/>
                    <a:pt x="0" y="13"/>
                    <a:pt x="0" y="28"/>
                  </a:cubicBezTo>
                  <a:cubicBezTo>
                    <a:pt x="0" y="30"/>
                    <a:pt x="0" y="32"/>
                    <a:pt x="1" y="34"/>
                  </a:cubicBezTo>
                  <a:cubicBezTo>
                    <a:pt x="1" y="35"/>
                    <a:pt x="2" y="36"/>
                    <a:pt x="3" y="36"/>
                  </a:cubicBezTo>
                  <a:cubicBezTo>
                    <a:pt x="5" y="36"/>
                    <a:pt x="8" y="36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9" y="36"/>
                    <a:pt x="10" y="35"/>
                    <a:pt x="10" y="34"/>
                  </a:cubicBezTo>
                  <a:cubicBezTo>
                    <a:pt x="10" y="34"/>
                    <a:pt x="10" y="34"/>
                    <a:pt x="10" y="33"/>
                  </a:cubicBezTo>
                  <a:cubicBezTo>
                    <a:pt x="10" y="29"/>
                    <a:pt x="10" y="25"/>
                    <a:pt x="11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8" y="24"/>
                    <a:pt x="21" y="22"/>
                    <a:pt x="23" y="19"/>
                  </a:cubicBezTo>
                  <a:cubicBezTo>
                    <a:pt x="27" y="23"/>
                    <a:pt x="36" y="27"/>
                    <a:pt x="44" y="28"/>
                  </a:cubicBezTo>
                  <a:cubicBezTo>
                    <a:pt x="45" y="31"/>
                    <a:pt x="46" y="35"/>
                    <a:pt x="46" y="35"/>
                  </a:cubicBezTo>
                  <a:cubicBezTo>
                    <a:pt x="46" y="36"/>
                    <a:pt x="47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4" y="35"/>
                    <a:pt x="55" y="35"/>
                    <a:pt x="55" y="34"/>
                  </a:cubicBezTo>
                  <a:cubicBezTo>
                    <a:pt x="56" y="32"/>
                    <a:pt x="56" y="30"/>
                    <a:pt x="56" y="28"/>
                  </a:cubicBezTo>
                  <a:cubicBezTo>
                    <a:pt x="56" y="13"/>
                    <a:pt x="43" y="0"/>
                    <a:pt x="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46">
              <a:extLst>
                <a:ext uri="{FF2B5EF4-FFF2-40B4-BE49-F238E27FC236}">
                  <a16:creationId xmlns:a16="http://schemas.microsoft.com/office/drawing/2014/main" id="{ED7B4E1D-7062-41A3-ABD9-29C9409ED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4826" y="4221163"/>
              <a:ext cx="74613" cy="36513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47">
              <a:extLst>
                <a:ext uri="{FF2B5EF4-FFF2-40B4-BE49-F238E27FC236}">
                  <a16:creationId xmlns:a16="http://schemas.microsoft.com/office/drawing/2014/main" id="{DBB295BF-3160-49AC-A396-56F46C668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5638" y="4221163"/>
              <a:ext cx="74613" cy="36513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A9E46942-296F-4E02-A04E-909DEBFD37DF}"/>
              </a:ext>
            </a:extLst>
          </p:cNvPr>
          <p:cNvGrpSpPr/>
          <p:nvPr/>
        </p:nvGrpSpPr>
        <p:grpSpPr>
          <a:xfrm>
            <a:off x="7896715" y="2873741"/>
            <a:ext cx="495301" cy="500063"/>
            <a:chOff x="5092700" y="3805238"/>
            <a:chExt cx="495301" cy="500063"/>
          </a:xfrm>
          <a:solidFill>
            <a:schemeClr val="bg1"/>
          </a:solidFill>
        </p:grpSpPr>
        <p:sp>
          <p:nvSpPr>
            <p:cNvPr id="132" name="Rectangle 51">
              <a:extLst>
                <a:ext uri="{FF2B5EF4-FFF2-40B4-BE49-F238E27FC236}">
                  <a16:creationId xmlns:a16="http://schemas.microsoft.com/office/drawing/2014/main" id="{1C3ABD96-0879-461F-9D5F-F231D1595C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250" y="4200525"/>
              <a:ext cx="746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52">
              <a:extLst>
                <a:ext uri="{FF2B5EF4-FFF2-40B4-BE49-F238E27FC236}">
                  <a16:creationId xmlns:a16="http://schemas.microsoft.com/office/drawing/2014/main" id="{84A82FED-6328-4E2E-8DFF-AA66002879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4138" y="3892550"/>
              <a:ext cx="41275" cy="42863"/>
            </a:xfrm>
            <a:custGeom>
              <a:avLst/>
              <a:gdLst>
                <a:gd name="T0" fmla="*/ 13 w 27"/>
                <a:gd name="T1" fmla="*/ 28 h 28"/>
                <a:gd name="T2" fmla="*/ 27 w 27"/>
                <a:gd name="T3" fmla="*/ 14 h 28"/>
                <a:gd name="T4" fmla="*/ 13 w 27"/>
                <a:gd name="T5" fmla="*/ 0 h 28"/>
                <a:gd name="T6" fmla="*/ 0 w 27"/>
                <a:gd name="T7" fmla="*/ 14 h 28"/>
                <a:gd name="T8" fmla="*/ 13 w 27"/>
                <a:gd name="T9" fmla="*/ 28 h 28"/>
                <a:gd name="T10" fmla="*/ 13 w 27"/>
                <a:gd name="T11" fmla="*/ 8 h 28"/>
                <a:gd name="T12" fmla="*/ 19 w 27"/>
                <a:gd name="T13" fmla="*/ 14 h 28"/>
                <a:gd name="T14" fmla="*/ 13 w 27"/>
                <a:gd name="T15" fmla="*/ 20 h 28"/>
                <a:gd name="T16" fmla="*/ 8 w 27"/>
                <a:gd name="T17" fmla="*/ 14 h 28"/>
                <a:gd name="T18" fmla="*/ 13 w 27"/>
                <a:gd name="T19" fmla="*/ 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8">
                  <a:moveTo>
                    <a:pt x="13" y="28"/>
                  </a:moveTo>
                  <a:cubicBezTo>
                    <a:pt x="21" y="28"/>
                    <a:pt x="27" y="21"/>
                    <a:pt x="27" y="14"/>
                  </a:cubicBezTo>
                  <a:cubicBezTo>
                    <a:pt x="27" y="6"/>
                    <a:pt x="21" y="0"/>
                    <a:pt x="13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1"/>
                    <a:pt x="6" y="28"/>
                    <a:pt x="13" y="28"/>
                  </a:cubicBezTo>
                  <a:close/>
                  <a:moveTo>
                    <a:pt x="13" y="8"/>
                  </a:moveTo>
                  <a:cubicBezTo>
                    <a:pt x="16" y="8"/>
                    <a:pt x="19" y="11"/>
                    <a:pt x="19" y="14"/>
                  </a:cubicBezTo>
                  <a:cubicBezTo>
                    <a:pt x="19" y="17"/>
                    <a:pt x="16" y="20"/>
                    <a:pt x="13" y="20"/>
                  </a:cubicBezTo>
                  <a:cubicBezTo>
                    <a:pt x="10" y="20"/>
                    <a:pt x="8" y="17"/>
                    <a:pt x="8" y="14"/>
                  </a:cubicBezTo>
                  <a:cubicBezTo>
                    <a:pt x="8" y="11"/>
                    <a:pt x="10" y="8"/>
                    <a:pt x="1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53">
              <a:extLst>
                <a:ext uri="{FF2B5EF4-FFF2-40B4-BE49-F238E27FC236}">
                  <a16:creationId xmlns:a16="http://schemas.microsoft.com/office/drawing/2014/main" id="{0743E4C7-DB14-4168-AB91-B09A264A8C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0175" y="3898900"/>
              <a:ext cx="41275" cy="39688"/>
            </a:xfrm>
            <a:custGeom>
              <a:avLst/>
              <a:gdLst>
                <a:gd name="T0" fmla="*/ 14 w 27"/>
                <a:gd name="T1" fmla="*/ 27 h 27"/>
                <a:gd name="T2" fmla="*/ 27 w 27"/>
                <a:gd name="T3" fmla="*/ 14 h 27"/>
                <a:gd name="T4" fmla="*/ 14 w 27"/>
                <a:gd name="T5" fmla="*/ 0 h 27"/>
                <a:gd name="T6" fmla="*/ 0 w 27"/>
                <a:gd name="T7" fmla="*/ 14 h 27"/>
                <a:gd name="T8" fmla="*/ 14 w 27"/>
                <a:gd name="T9" fmla="*/ 27 h 27"/>
                <a:gd name="T10" fmla="*/ 14 w 27"/>
                <a:gd name="T11" fmla="*/ 8 h 27"/>
                <a:gd name="T12" fmla="*/ 19 w 27"/>
                <a:gd name="T13" fmla="*/ 14 h 27"/>
                <a:gd name="T14" fmla="*/ 14 w 27"/>
                <a:gd name="T15" fmla="*/ 19 h 27"/>
                <a:gd name="T16" fmla="*/ 8 w 27"/>
                <a:gd name="T17" fmla="*/ 14 h 27"/>
                <a:gd name="T18" fmla="*/ 14 w 27"/>
                <a:gd name="T19" fmla="*/ 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7">
                  <a:moveTo>
                    <a:pt x="14" y="27"/>
                  </a:moveTo>
                  <a:cubicBezTo>
                    <a:pt x="21" y="27"/>
                    <a:pt x="27" y="21"/>
                    <a:pt x="27" y="14"/>
                  </a:cubicBezTo>
                  <a:cubicBezTo>
                    <a:pt x="27" y="6"/>
                    <a:pt x="21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1"/>
                    <a:pt x="6" y="27"/>
                    <a:pt x="14" y="27"/>
                  </a:cubicBezTo>
                  <a:close/>
                  <a:moveTo>
                    <a:pt x="14" y="8"/>
                  </a:moveTo>
                  <a:cubicBezTo>
                    <a:pt x="17" y="8"/>
                    <a:pt x="19" y="11"/>
                    <a:pt x="19" y="14"/>
                  </a:cubicBezTo>
                  <a:cubicBezTo>
                    <a:pt x="19" y="17"/>
                    <a:pt x="17" y="19"/>
                    <a:pt x="14" y="19"/>
                  </a:cubicBezTo>
                  <a:cubicBezTo>
                    <a:pt x="11" y="19"/>
                    <a:pt x="8" y="17"/>
                    <a:pt x="8" y="14"/>
                  </a:cubicBezTo>
                  <a:cubicBezTo>
                    <a:pt x="8" y="11"/>
                    <a:pt x="11" y="8"/>
                    <a:pt x="1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54">
              <a:extLst>
                <a:ext uri="{FF2B5EF4-FFF2-40B4-BE49-F238E27FC236}">
                  <a16:creationId xmlns:a16="http://schemas.microsoft.com/office/drawing/2014/main" id="{FE953793-884D-4E58-AB30-561ECFD4E8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8463" y="3892550"/>
              <a:ext cx="41275" cy="42863"/>
            </a:xfrm>
            <a:custGeom>
              <a:avLst/>
              <a:gdLst>
                <a:gd name="T0" fmla="*/ 14 w 27"/>
                <a:gd name="T1" fmla="*/ 28 h 28"/>
                <a:gd name="T2" fmla="*/ 27 w 27"/>
                <a:gd name="T3" fmla="*/ 14 h 28"/>
                <a:gd name="T4" fmla="*/ 14 w 27"/>
                <a:gd name="T5" fmla="*/ 0 h 28"/>
                <a:gd name="T6" fmla="*/ 0 w 27"/>
                <a:gd name="T7" fmla="*/ 14 h 28"/>
                <a:gd name="T8" fmla="*/ 14 w 27"/>
                <a:gd name="T9" fmla="*/ 28 h 28"/>
                <a:gd name="T10" fmla="*/ 14 w 27"/>
                <a:gd name="T11" fmla="*/ 8 h 28"/>
                <a:gd name="T12" fmla="*/ 19 w 27"/>
                <a:gd name="T13" fmla="*/ 14 h 28"/>
                <a:gd name="T14" fmla="*/ 14 w 27"/>
                <a:gd name="T15" fmla="*/ 20 h 28"/>
                <a:gd name="T16" fmla="*/ 8 w 27"/>
                <a:gd name="T17" fmla="*/ 14 h 28"/>
                <a:gd name="T18" fmla="*/ 14 w 27"/>
                <a:gd name="T19" fmla="*/ 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8">
                  <a:moveTo>
                    <a:pt x="14" y="28"/>
                  </a:moveTo>
                  <a:cubicBezTo>
                    <a:pt x="21" y="28"/>
                    <a:pt x="27" y="21"/>
                    <a:pt x="27" y="14"/>
                  </a:cubicBezTo>
                  <a:cubicBezTo>
                    <a:pt x="27" y="6"/>
                    <a:pt x="21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1"/>
                    <a:pt x="6" y="28"/>
                    <a:pt x="14" y="28"/>
                  </a:cubicBezTo>
                  <a:close/>
                  <a:moveTo>
                    <a:pt x="14" y="8"/>
                  </a:moveTo>
                  <a:cubicBezTo>
                    <a:pt x="17" y="8"/>
                    <a:pt x="19" y="11"/>
                    <a:pt x="19" y="14"/>
                  </a:cubicBezTo>
                  <a:cubicBezTo>
                    <a:pt x="19" y="17"/>
                    <a:pt x="17" y="20"/>
                    <a:pt x="14" y="20"/>
                  </a:cubicBezTo>
                  <a:cubicBezTo>
                    <a:pt x="11" y="20"/>
                    <a:pt x="8" y="17"/>
                    <a:pt x="8" y="14"/>
                  </a:cubicBezTo>
                  <a:cubicBezTo>
                    <a:pt x="8" y="11"/>
                    <a:pt x="11" y="8"/>
                    <a:pt x="1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55">
              <a:extLst>
                <a:ext uri="{FF2B5EF4-FFF2-40B4-BE49-F238E27FC236}">
                  <a16:creationId xmlns:a16="http://schemas.microsoft.com/office/drawing/2014/main" id="{0BBFBEA1-9D83-4706-BFF8-5053A23A91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2425" y="3898900"/>
              <a:ext cx="41275" cy="39688"/>
            </a:xfrm>
            <a:custGeom>
              <a:avLst/>
              <a:gdLst>
                <a:gd name="T0" fmla="*/ 13 w 27"/>
                <a:gd name="T1" fmla="*/ 27 h 27"/>
                <a:gd name="T2" fmla="*/ 27 w 27"/>
                <a:gd name="T3" fmla="*/ 14 h 27"/>
                <a:gd name="T4" fmla="*/ 13 w 27"/>
                <a:gd name="T5" fmla="*/ 0 h 27"/>
                <a:gd name="T6" fmla="*/ 0 w 27"/>
                <a:gd name="T7" fmla="*/ 14 h 27"/>
                <a:gd name="T8" fmla="*/ 13 w 27"/>
                <a:gd name="T9" fmla="*/ 27 h 27"/>
                <a:gd name="T10" fmla="*/ 13 w 27"/>
                <a:gd name="T11" fmla="*/ 8 h 27"/>
                <a:gd name="T12" fmla="*/ 19 w 27"/>
                <a:gd name="T13" fmla="*/ 14 h 27"/>
                <a:gd name="T14" fmla="*/ 13 w 27"/>
                <a:gd name="T15" fmla="*/ 19 h 27"/>
                <a:gd name="T16" fmla="*/ 8 w 27"/>
                <a:gd name="T17" fmla="*/ 14 h 27"/>
                <a:gd name="T18" fmla="*/ 13 w 27"/>
                <a:gd name="T19" fmla="*/ 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7">
                  <a:moveTo>
                    <a:pt x="13" y="27"/>
                  </a:moveTo>
                  <a:cubicBezTo>
                    <a:pt x="21" y="27"/>
                    <a:pt x="27" y="21"/>
                    <a:pt x="27" y="14"/>
                  </a:cubicBezTo>
                  <a:cubicBezTo>
                    <a:pt x="27" y="6"/>
                    <a:pt x="21" y="0"/>
                    <a:pt x="13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1"/>
                    <a:pt x="6" y="27"/>
                    <a:pt x="13" y="27"/>
                  </a:cubicBezTo>
                  <a:close/>
                  <a:moveTo>
                    <a:pt x="13" y="8"/>
                  </a:moveTo>
                  <a:cubicBezTo>
                    <a:pt x="16" y="8"/>
                    <a:pt x="19" y="11"/>
                    <a:pt x="19" y="14"/>
                  </a:cubicBezTo>
                  <a:cubicBezTo>
                    <a:pt x="19" y="17"/>
                    <a:pt x="16" y="19"/>
                    <a:pt x="13" y="19"/>
                  </a:cubicBezTo>
                  <a:cubicBezTo>
                    <a:pt x="10" y="19"/>
                    <a:pt x="8" y="17"/>
                    <a:pt x="8" y="14"/>
                  </a:cubicBezTo>
                  <a:cubicBezTo>
                    <a:pt x="8" y="11"/>
                    <a:pt x="10" y="8"/>
                    <a:pt x="1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56">
              <a:extLst>
                <a:ext uri="{FF2B5EF4-FFF2-40B4-BE49-F238E27FC236}">
                  <a16:creationId xmlns:a16="http://schemas.microsoft.com/office/drawing/2014/main" id="{7AAFA053-99E7-499B-A337-F081ECAF36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2700" y="3805238"/>
              <a:ext cx="495301" cy="500063"/>
            </a:xfrm>
            <a:custGeom>
              <a:avLst/>
              <a:gdLst>
                <a:gd name="T0" fmla="*/ 329 w 332"/>
                <a:gd name="T1" fmla="*/ 92 h 336"/>
                <a:gd name="T2" fmla="*/ 329 w 332"/>
                <a:gd name="T3" fmla="*/ 92 h 336"/>
                <a:gd name="T4" fmla="*/ 300 w 332"/>
                <a:gd name="T5" fmla="*/ 39 h 336"/>
                <a:gd name="T6" fmla="*/ 187 w 332"/>
                <a:gd name="T7" fmla="*/ 1 h 336"/>
                <a:gd name="T8" fmla="*/ 62 w 332"/>
                <a:gd name="T9" fmla="*/ 34 h 336"/>
                <a:gd name="T10" fmla="*/ 32 w 332"/>
                <a:gd name="T11" fmla="*/ 39 h 336"/>
                <a:gd name="T12" fmla="*/ 3 w 332"/>
                <a:gd name="T13" fmla="*/ 92 h 336"/>
                <a:gd name="T14" fmla="*/ 2 w 332"/>
                <a:gd name="T15" fmla="*/ 100 h 336"/>
                <a:gd name="T16" fmla="*/ 40 w 332"/>
                <a:gd name="T17" fmla="*/ 208 h 336"/>
                <a:gd name="T18" fmla="*/ 75 w 332"/>
                <a:gd name="T19" fmla="*/ 297 h 336"/>
                <a:gd name="T20" fmla="*/ 121 w 332"/>
                <a:gd name="T21" fmla="*/ 334 h 336"/>
                <a:gd name="T22" fmla="*/ 166 w 332"/>
                <a:gd name="T23" fmla="*/ 336 h 336"/>
                <a:gd name="T24" fmla="*/ 211 w 332"/>
                <a:gd name="T25" fmla="*/ 334 h 336"/>
                <a:gd name="T26" fmla="*/ 257 w 332"/>
                <a:gd name="T27" fmla="*/ 297 h 336"/>
                <a:gd name="T28" fmla="*/ 292 w 332"/>
                <a:gd name="T29" fmla="*/ 208 h 336"/>
                <a:gd name="T30" fmla="*/ 330 w 332"/>
                <a:gd name="T31" fmla="*/ 100 h 336"/>
                <a:gd name="T32" fmla="*/ 187 w 332"/>
                <a:gd name="T33" fmla="*/ 9 h 336"/>
                <a:gd name="T34" fmla="*/ 166 w 332"/>
                <a:gd name="T35" fmla="*/ 31 h 336"/>
                <a:gd name="T36" fmla="*/ 146 w 332"/>
                <a:gd name="T37" fmla="*/ 9 h 336"/>
                <a:gd name="T38" fmla="*/ 166 w 332"/>
                <a:gd name="T39" fmla="*/ 39 h 336"/>
                <a:gd name="T40" fmla="*/ 321 w 332"/>
                <a:gd name="T41" fmla="*/ 92 h 336"/>
                <a:gd name="T42" fmla="*/ 166 w 332"/>
                <a:gd name="T43" fmla="*/ 106 h 336"/>
                <a:gd name="T44" fmla="*/ 15 w 332"/>
                <a:gd name="T45" fmla="*/ 97 h 336"/>
                <a:gd name="T46" fmla="*/ 34 w 332"/>
                <a:gd name="T47" fmla="*/ 46 h 336"/>
                <a:gd name="T48" fmla="*/ 250 w 332"/>
                <a:gd name="T49" fmla="*/ 292 h 336"/>
                <a:gd name="T50" fmla="*/ 209 w 332"/>
                <a:gd name="T51" fmla="*/ 326 h 336"/>
                <a:gd name="T52" fmla="*/ 166 w 332"/>
                <a:gd name="T53" fmla="*/ 328 h 336"/>
                <a:gd name="T54" fmla="*/ 90 w 332"/>
                <a:gd name="T55" fmla="*/ 302 h 336"/>
                <a:gd name="T56" fmla="*/ 50 w 332"/>
                <a:gd name="T57" fmla="*/ 229 h 336"/>
                <a:gd name="T58" fmla="*/ 130 w 332"/>
                <a:gd name="T59" fmla="*/ 225 h 336"/>
                <a:gd name="T60" fmla="*/ 150 w 332"/>
                <a:gd name="T61" fmla="*/ 217 h 336"/>
                <a:gd name="T62" fmla="*/ 182 w 332"/>
                <a:gd name="T63" fmla="*/ 217 h 336"/>
                <a:gd name="T64" fmla="*/ 202 w 332"/>
                <a:gd name="T65" fmla="*/ 225 h 336"/>
                <a:gd name="T66" fmla="*/ 282 w 332"/>
                <a:gd name="T67" fmla="*/ 229 h 336"/>
                <a:gd name="T68" fmla="*/ 187 w 332"/>
                <a:gd name="T69" fmla="*/ 210 h 336"/>
                <a:gd name="T70" fmla="*/ 145 w 332"/>
                <a:gd name="T71" fmla="*/ 210 h 336"/>
                <a:gd name="T72" fmla="*/ 31 w 332"/>
                <a:gd name="T73" fmla="*/ 191 h 336"/>
                <a:gd name="T74" fmla="*/ 14 w 332"/>
                <a:gd name="T75" fmla="*/ 105 h 336"/>
                <a:gd name="T76" fmla="*/ 166 w 332"/>
                <a:gd name="T77" fmla="*/ 114 h 336"/>
                <a:gd name="T78" fmla="*/ 318 w 332"/>
                <a:gd name="T79" fmla="*/ 105 h 336"/>
                <a:gd name="T80" fmla="*/ 301 w 332"/>
                <a:gd name="T81" fmla="*/ 191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2" h="336">
                  <a:moveTo>
                    <a:pt x="330" y="100"/>
                  </a:moveTo>
                  <a:cubicBezTo>
                    <a:pt x="330" y="98"/>
                    <a:pt x="329" y="95"/>
                    <a:pt x="329" y="92"/>
                  </a:cubicBezTo>
                  <a:cubicBezTo>
                    <a:pt x="329" y="92"/>
                    <a:pt x="329" y="92"/>
                    <a:pt x="329" y="92"/>
                  </a:cubicBezTo>
                  <a:cubicBezTo>
                    <a:pt x="329" y="92"/>
                    <a:pt x="329" y="92"/>
                    <a:pt x="329" y="92"/>
                  </a:cubicBezTo>
                  <a:cubicBezTo>
                    <a:pt x="325" y="73"/>
                    <a:pt x="315" y="44"/>
                    <a:pt x="300" y="39"/>
                  </a:cubicBezTo>
                  <a:cubicBezTo>
                    <a:pt x="300" y="39"/>
                    <a:pt x="300" y="39"/>
                    <a:pt x="300" y="39"/>
                  </a:cubicBezTo>
                  <a:cubicBezTo>
                    <a:pt x="291" y="37"/>
                    <a:pt x="281" y="35"/>
                    <a:pt x="271" y="34"/>
                  </a:cubicBezTo>
                  <a:cubicBezTo>
                    <a:pt x="255" y="14"/>
                    <a:pt x="217" y="3"/>
                    <a:pt x="187" y="1"/>
                  </a:cubicBezTo>
                  <a:cubicBezTo>
                    <a:pt x="176" y="0"/>
                    <a:pt x="156" y="0"/>
                    <a:pt x="145" y="1"/>
                  </a:cubicBezTo>
                  <a:cubicBezTo>
                    <a:pt x="116" y="3"/>
                    <a:pt x="79" y="13"/>
                    <a:pt x="62" y="34"/>
                  </a:cubicBezTo>
                  <a:cubicBezTo>
                    <a:pt x="51" y="35"/>
                    <a:pt x="41" y="37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17" y="44"/>
                    <a:pt x="7" y="73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5"/>
                    <a:pt x="2" y="98"/>
                    <a:pt x="2" y="100"/>
                  </a:cubicBezTo>
                  <a:cubicBezTo>
                    <a:pt x="0" y="147"/>
                    <a:pt x="8" y="177"/>
                    <a:pt x="25" y="196"/>
                  </a:cubicBezTo>
                  <a:cubicBezTo>
                    <a:pt x="29" y="201"/>
                    <a:pt x="34" y="205"/>
                    <a:pt x="40" y="208"/>
                  </a:cubicBezTo>
                  <a:cubicBezTo>
                    <a:pt x="40" y="214"/>
                    <a:pt x="41" y="225"/>
                    <a:pt x="42" y="230"/>
                  </a:cubicBezTo>
                  <a:cubicBezTo>
                    <a:pt x="47" y="260"/>
                    <a:pt x="59" y="276"/>
                    <a:pt x="75" y="297"/>
                  </a:cubicBezTo>
                  <a:cubicBezTo>
                    <a:pt x="78" y="300"/>
                    <a:pt x="81" y="304"/>
                    <a:pt x="83" y="307"/>
                  </a:cubicBezTo>
                  <a:cubicBezTo>
                    <a:pt x="97" y="325"/>
                    <a:pt x="107" y="330"/>
                    <a:pt x="121" y="334"/>
                  </a:cubicBezTo>
                  <a:cubicBezTo>
                    <a:pt x="128" y="335"/>
                    <a:pt x="140" y="336"/>
                    <a:pt x="159" y="336"/>
                  </a:cubicBezTo>
                  <a:cubicBezTo>
                    <a:pt x="161" y="336"/>
                    <a:pt x="164" y="336"/>
                    <a:pt x="166" y="336"/>
                  </a:cubicBezTo>
                  <a:cubicBezTo>
                    <a:pt x="168" y="336"/>
                    <a:pt x="171" y="336"/>
                    <a:pt x="173" y="336"/>
                  </a:cubicBezTo>
                  <a:cubicBezTo>
                    <a:pt x="192" y="336"/>
                    <a:pt x="204" y="335"/>
                    <a:pt x="211" y="334"/>
                  </a:cubicBezTo>
                  <a:cubicBezTo>
                    <a:pt x="225" y="330"/>
                    <a:pt x="235" y="325"/>
                    <a:pt x="249" y="307"/>
                  </a:cubicBezTo>
                  <a:cubicBezTo>
                    <a:pt x="251" y="304"/>
                    <a:pt x="254" y="300"/>
                    <a:pt x="257" y="297"/>
                  </a:cubicBezTo>
                  <a:cubicBezTo>
                    <a:pt x="273" y="276"/>
                    <a:pt x="285" y="260"/>
                    <a:pt x="290" y="230"/>
                  </a:cubicBezTo>
                  <a:cubicBezTo>
                    <a:pt x="291" y="225"/>
                    <a:pt x="292" y="214"/>
                    <a:pt x="292" y="208"/>
                  </a:cubicBezTo>
                  <a:cubicBezTo>
                    <a:pt x="298" y="205"/>
                    <a:pt x="303" y="201"/>
                    <a:pt x="307" y="196"/>
                  </a:cubicBezTo>
                  <a:cubicBezTo>
                    <a:pt x="324" y="177"/>
                    <a:pt x="332" y="147"/>
                    <a:pt x="330" y="100"/>
                  </a:cubicBezTo>
                  <a:close/>
                  <a:moveTo>
                    <a:pt x="146" y="9"/>
                  </a:moveTo>
                  <a:cubicBezTo>
                    <a:pt x="156" y="8"/>
                    <a:pt x="176" y="8"/>
                    <a:pt x="187" y="9"/>
                  </a:cubicBezTo>
                  <a:cubicBezTo>
                    <a:pt x="211" y="10"/>
                    <a:pt x="242" y="19"/>
                    <a:pt x="259" y="33"/>
                  </a:cubicBezTo>
                  <a:cubicBezTo>
                    <a:pt x="232" y="31"/>
                    <a:pt x="200" y="31"/>
                    <a:pt x="166" y="31"/>
                  </a:cubicBezTo>
                  <a:cubicBezTo>
                    <a:pt x="132" y="31"/>
                    <a:pt x="101" y="31"/>
                    <a:pt x="74" y="33"/>
                  </a:cubicBezTo>
                  <a:cubicBezTo>
                    <a:pt x="89" y="20"/>
                    <a:pt x="115" y="11"/>
                    <a:pt x="146" y="9"/>
                  </a:cubicBezTo>
                  <a:close/>
                  <a:moveTo>
                    <a:pt x="34" y="46"/>
                  </a:moveTo>
                  <a:cubicBezTo>
                    <a:pt x="68" y="39"/>
                    <a:pt x="113" y="39"/>
                    <a:pt x="166" y="39"/>
                  </a:cubicBezTo>
                  <a:cubicBezTo>
                    <a:pt x="219" y="39"/>
                    <a:pt x="264" y="39"/>
                    <a:pt x="298" y="46"/>
                  </a:cubicBezTo>
                  <a:cubicBezTo>
                    <a:pt x="308" y="50"/>
                    <a:pt x="317" y="75"/>
                    <a:pt x="321" y="92"/>
                  </a:cubicBezTo>
                  <a:cubicBezTo>
                    <a:pt x="320" y="95"/>
                    <a:pt x="319" y="97"/>
                    <a:pt x="317" y="97"/>
                  </a:cubicBezTo>
                  <a:cubicBezTo>
                    <a:pt x="285" y="102"/>
                    <a:pt x="223" y="106"/>
                    <a:pt x="166" y="106"/>
                  </a:cubicBezTo>
                  <a:cubicBezTo>
                    <a:pt x="166" y="106"/>
                    <a:pt x="166" y="106"/>
                    <a:pt x="166" y="106"/>
                  </a:cubicBezTo>
                  <a:cubicBezTo>
                    <a:pt x="109" y="106"/>
                    <a:pt x="47" y="102"/>
                    <a:pt x="15" y="97"/>
                  </a:cubicBezTo>
                  <a:cubicBezTo>
                    <a:pt x="13" y="97"/>
                    <a:pt x="12" y="95"/>
                    <a:pt x="11" y="92"/>
                  </a:cubicBezTo>
                  <a:cubicBezTo>
                    <a:pt x="15" y="75"/>
                    <a:pt x="24" y="50"/>
                    <a:pt x="34" y="46"/>
                  </a:cubicBezTo>
                  <a:close/>
                  <a:moveTo>
                    <a:pt x="282" y="229"/>
                  </a:moveTo>
                  <a:cubicBezTo>
                    <a:pt x="278" y="257"/>
                    <a:pt x="266" y="272"/>
                    <a:pt x="250" y="292"/>
                  </a:cubicBezTo>
                  <a:cubicBezTo>
                    <a:pt x="248" y="295"/>
                    <a:pt x="245" y="299"/>
                    <a:pt x="242" y="302"/>
                  </a:cubicBezTo>
                  <a:cubicBezTo>
                    <a:pt x="230" y="318"/>
                    <a:pt x="222" y="323"/>
                    <a:pt x="209" y="326"/>
                  </a:cubicBezTo>
                  <a:cubicBezTo>
                    <a:pt x="204" y="327"/>
                    <a:pt x="193" y="328"/>
                    <a:pt x="166" y="328"/>
                  </a:cubicBezTo>
                  <a:cubicBezTo>
                    <a:pt x="166" y="328"/>
                    <a:pt x="166" y="328"/>
                    <a:pt x="166" y="328"/>
                  </a:cubicBezTo>
                  <a:cubicBezTo>
                    <a:pt x="139" y="328"/>
                    <a:pt x="128" y="327"/>
                    <a:pt x="123" y="326"/>
                  </a:cubicBezTo>
                  <a:cubicBezTo>
                    <a:pt x="110" y="323"/>
                    <a:pt x="102" y="318"/>
                    <a:pt x="90" y="302"/>
                  </a:cubicBezTo>
                  <a:cubicBezTo>
                    <a:pt x="87" y="299"/>
                    <a:pt x="84" y="295"/>
                    <a:pt x="82" y="292"/>
                  </a:cubicBezTo>
                  <a:cubicBezTo>
                    <a:pt x="66" y="272"/>
                    <a:pt x="54" y="257"/>
                    <a:pt x="50" y="229"/>
                  </a:cubicBezTo>
                  <a:cubicBezTo>
                    <a:pt x="49" y="225"/>
                    <a:pt x="48" y="218"/>
                    <a:pt x="48" y="212"/>
                  </a:cubicBezTo>
                  <a:cubicBezTo>
                    <a:pt x="69" y="222"/>
                    <a:pt x="97" y="224"/>
                    <a:pt x="130" y="225"/>
                  </a:cubicBezTo>
                  <a:cubicBezTo>
                    <a:pt x="130" y="225"/>
                    <a:pt x="130" y="225"/>
                    <a:pt x="130" y="225"/>
                  </a:cubicBezTo>
                  <a:cubicBezTo>
                    <a:pt x="137" y="225"/>
                    <a:pt x="143" y="221"/>
                    <a:pt x="150" y="217"/>
                  </a:cubicBezTo>
                  <a:cubicBezTo>
                    <a:pt x="155" y="213"/>
                    <a:pt x="161" y="209"/>
                    <a:pt x="166" y="209"/>
                  </a:cubicBezTo>
                  <a:cubicBezTo>
                    <a:pt x="171" y="209"/>
                    <a:pt x="177" y="213"/>
                    <a:pt x="182" y="217"/>
                  </a:cubicBezTo>
                  <a:cubicBezTo>
                    <a:pt x="189" y="221"/>
                    <a:pt x="195" y="225"/>
                    <a:pt x="202" y="225"/>
                  </a:cubicBezTo>
                  <a:cubicBezTo>
                    <a:pt x="202" y="225"/>
                    <a:pt x="202" y="225"/>
                    <a:pt x="202" y="225"/>
                  </a:cubicBezTo>
                  <a:cubicBezTo>
                    <a:pt x="235" y="224"/>
                    <a:pt x="263" y="222"/>
                    <a:pt x="284" y="212"/>
                  </a:cubicBezTo>
                  <a:cubicBezTo>
                    <a:pt x="284" y="218"/>
                    <a:pt x="283" y="225"/>
                    <a:pt x="282" y="229"/>
                  </a:cubicBezTo>
                  <a:close/>
                  <a:moveTo>
                    <a:pt x="202" y="217"/>
                  </a:moveTo>
                  <a:cubicBezTo>
                    <a:pt x="198" y="217"/>
                    <a:pt x="192" y="213"/>
                    <a:pt x="187" y="210"/>
                  </a:cubicBezTo>
                  <a:cubicBezTo>
                    <a:pt x="180" y="206"/>
                    <a:pt x="173" y="201"/>
                    <a:pt x="166" y="201"/>
                  </a:cubicBezTo>
                  <a:cubicBezTo>
                    <a:pt x="159" y="201"/>
                    <a:pt x="152" y="206"/>
                    <a:pt x="145" y="210"/>
                  </a:cubicBezTo>
                  <a:cubicBezTo>
                    <a:pt x="140" y="213"/>
                    <a:pt x="134" y="217"/>
                    <a:pt x="130" y="217"/>
                  </a:cubicBezTo>
                  <a:cubicBezTo>
                    <a:pt x="86" y="215"/>
                    <a:pt x="51" y="212"/>
                    <a:pt x="31" y="191"/>
                  </a:cubicBezTo>
                  <a:cubicBezTo>
                    <a:pt x="15" y="174"/>
                    <a:pt x="9" y="146"/>
                    <a:pt x="10" y="104"/>
                  </a:cubicBezTo>
                  <a:cubicBezTo>
                    <a:pt x="11" y="105"/>
                    <a:pt x="13" y="105"/>
                    <a:pt x="14" y="105"/>
                  </a:cubicBezTo>
                  <a:cubicBezTo>
                    <a:pt x="46" y="110"/>
                    <a:pt x="105" y="114"/>
                    <a:pt x="161" y="114"/>
                  </a:cubicBezTo>
                  <a:cubicBezTo>
                    <a:pt x="163" y="114"/>
                    <a:pt x="164" y="114"/>
                    <a:pt x="166" y="114"/>
                  </a:cubicBezTo>
                  <a:cubicBezTo>
                    <a:pt x="168" y="114"/>
                    <a:pt x="169" y="114"/>
                    <a:pt x="171" y="114"/>
                  </a:cubicBezTo>
                  <a:cubicBezTo>
                    <a:pt x="227" y="114"/>
                    <a:pt x="286" y="110"/>
                    <a:pt x="318" y="105"/>
                  </a:cubicBezTo>
                  <a:cubicBezTo>
                    <a:pt x="319" y="105"/>
                    <a:pt x="321" y="105"/>
                    <a:pt x="322" y="104"/>
                  </a:cubicBezTo>
                  <a:cubicBezTo>
                    <a:pt x="323" y="146"/>
                    <a:pt x="317" y="174"/>
                    <a:pt x="301" y="191"/>
                  </a:cubicBezTo>
                  <a:cubicBezTo>
                    <a:pt x="281" y="212"/>
                    <a:pt x="246" y="215"/>
                    <a:pt x="202" y="2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57">
              <a:extLst>
                <a:ext uri="{FF2B5EF4-FFF2-40B4-BE49-F238E27FC236}">
                  <a16:creationId xmlns:a16="http://schemas.microsoft.com/office/drawing/2014/main" id="{4A6D02D2-345B-4321-B651-9787554FD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3700" y="4002088"/>
              <a:ext cx="41275" cy="50800"/>
            </a:xfrm>
            <a:custGeom>
              <a:avLst/>
              <a:gdLst>
                <a:gd name="T0" fmla="*/ 6 w 27"/>
                <a:gd name="T1" fmla="*/ 34 h 34"/>
                <a:gd name="T2" fmla="*/ 0 w 27"/>
                <a:gd name="T3" fmla="*/ 28 h 34"/>
                <a:gd name="T4" fmla="*/ 20 w 27"/>
                <a:gd name="T5" fmla="*/ 0 h 34"/>
                <a:gd name="T6" fmla="*/ 27 w 27"/>
                <a:gd name="T7" fmla="*/ 4 h 34"/>
                <a:gd name="T8" fmla="*/ 6 w 27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34">
                  <a:moveTo>
                    <a:pt x="6" y="34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12" y="15"/>
                    <a:pt x="20" y="0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18" y="19"/>
                    <a:pt x="6" y="33"/>
                    <a:pt x="6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58">
              <a:extLst>
                <a:ext uri="{FF2B5EF4-FFF2-40B4-BE49-F238E27FC236}">
                  <a16:creationId xmlns:a16="http://schemas.microsoft.com/office/drawing/2014/main" id="{21C3C0D5-D036-49DA-A2FF-7DE6631D6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3225" y="4006850"/>
              <a:ext cx="60325" cy="77788"/>
            </a:xfrm>
            <a:custGeom>
              <a:avLst/>
              <a:gdLst>
                <a:gd name="T0" fmla="*/ 6 w 40"/>
                <a:gd name="T1" fmla="*/ 52 h 52"/>
                <a:gd name="T2" fmla="*/ 0 w 40"/>
                <a:gd name="T3" fmla="*/ 47 h 52"/>
                <a:gd name="T4" fmla="*/ 33 w 40"/>
                <a:gd name="T5" fmla="*/ 0 h 52"/>
                <a:gd name="T6" fmla="*/ 40 w 40"/>
                <a:gd name="T7" fmla="*/ 4 h 52"/>
                <a:gd name="T8" fmla="*/ 6 w 40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52">
                  <a:moveTo>
                    <a:pt x="6" y="52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1" y="46"/>
                    <a:pt x="20" y="24"/>
                    <a:pt x="33" y="0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26" y="29"/>
                    <a:pt x="7" y="51"/>
                    <a:pt x="6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B63301B0-6417-456B-8563-ACCD48E126B2}"/>
              </a:ext>
            </a:extLst>
          </p:cNvPr>
          <p:cNvGrpSpPr/>
          <p:nvPr/>
        </p:nvGrpSpPr>
        <p:grpSpPr>
          <a:xfrm>
            <a:off x="9800391" y="3293220"/>
            <a:ext cx="483082" cy="328820"/>
            <a:chOff x="5716588" y="3171825"/>
            <a:chExt cx="755650" cy="514350"/>
          </a:xfrm>
          <a:solidFill>
            <a:schemeClr val="bg1"/>
          </a:solidFill>
        </p:grpSpPr>
        <p:sp>
          <p:nvSpPr>
            <p:cNvPr id="157" name="Freeform 62">
              <a:extLst>
                <a:ext uri="{FF2B5EF4-FFF2-40B4-BE49-F238E27FC236}">
                  <a16:creationId xmlns:a16="http://schemas.microsoft.com/office/drawing/2014/main" id="{60B907EC-4ABC-406F-8D80-7F295AD9F9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975" y="3362325"/>
              <a:ext cx="82550" cy="69850"/>
            </a:xfrm>
            <a:custGeom>
              <a:avLst/>
              <a:gdLst>
                <a:gd name="T0" fmla="*/ 4 w 38"/>
                <a:gd name="T1" fmla="*/ 32 h 32"/>
                <a:gd name="T2" fmla="*/ 6 w 38"/>
                <a:gd name="T3" fmla="*/ 31 h 32"/>
                <a:gd name="T4" fmla="*/ 19 w 38"/>
                <a:gd name="T5" fmla="*/ 24 h 32"/>
                <a:gd name="T6" fmla="*/ 33 w 38"/>
                <a:gd name="T7" fmla="*/ 28 h 32"/>
                <a:gd name="T8" fmla="*/ 34 w 38"/>
                <a:gd name="T9" fmla="*/ 28 h 32"/>
                <a:gd name="T10" fmla="*/ 38 w 38"/>
                <a:gd name="T11" fmla="*/ 25 h 32"/>
                <a:gd name="T12" fmla="*/ 35 w 38"/>
                <a:gd name="T13" fmla="*/ 20 h 32"/>
                <a:gd name="T14" fmla="*/ 23 w 38"/>
                <a:gd name="T15" fmla="*/ 17 h 32"/>
                <a:gd name="T16" fmla="*/ 23 w 38"/>
                <a:gd name="T17" fmla="*/ 4 h 32"/>
                <a:gd name="T18" fmla="*/ 19 w 38"/>
                <a:gd name="T19" fmla="*/ 0 h 32"/>
                <a:gd name="T20" fmla="*/ 15 w 38"/>
                <a:gd name="T21" fmla="*/ 4 h 32"/>
                <a:gd name="T22" fmla="*/ 15 w 38"/>
                <a:gd name="T23" fmla="*/ 18 h 32"/>
                <a:gd name="T24" fmla="*/ 3 w 38"/>
                <a:gd name="T25" fmla="*/ 24 h 32"/>
                <a:gd name="T26" fmla="*/ 1 w 38"/>
                <a:gd name="T27" fmla="*/ 30 h 32"/>
                <a:gd name="T28" fmla="*/ 4 w 38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" h="32">
                  <a:moveTo>
                    <a:pt x="4" y="32"/>
                  </a:moveTo>
                  <a:cubicBezTo>
                    <a:pt x="5" y="32"/>
                    <a:pt x="5" y="32"/>
                    <a:pt x="6" y="31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3" y="28"/>
                    <a:pt x="34" y="28"/>
                    <a:pt x="34" y="28"/>
                  </a:cubicBezTo>
                  <a:cubicBezTo>
                    <a:pt x="35" y="28"/>
                    <a:pt x="37" y="27"/>
                    <a:pt x="38" y="25"/>
                  </a:cubicBezTo>
                  <a:cubicBezTo>
                    <a:pt x="38" y="23"/>
                    <a:pt x="37" y="20"/>
                    <a:pt x="35" y="2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2"/>
                    <a:pt x="21" y="0"/>
                    <a:pt x="19" y="0"/>
                  </a:cubicBezTo>
                  <a:cubicBezTo>
                    <a:pt x="16" y="0"/>
                    <a:pt x="15" y="2"/>
                    <a:pt x="15" y="4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1" y="26"/>
                    <a:pt x="0" y="28"/>
                    <a:pt x="1" y="30"/>
                  </a:cubicBezTo>
                  <a:cubicBezTo>
                    <a:pt x="1" y="31"/>
                    <a:pt x="3" y="32"/>
                    <a:pt x="4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63">
              <a:extLst>
                <a:ext uri="{FF2B5EF4-FFF2-40B4-BE49-F238E27FC236}">
                  <a16:creationId xmlns:a16="http://schemas.microsoft.com/office/drawing/2014/main" id="{BBCA48C8-B94B-4B53-A807-BD450C325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4713" y="3430588"/>
              <a:ext cx="52388" cy="36513"/>
            </a:xfrm>
            <a:custGeom>
              <a:avLst/>
              <a:gdLst>
                <a:gd name="T0" fmla="*/ 4 w 24"/>
                <a:gd name="T1" fmla="*/ 17 h 17"/>
                <a:gd name="T2" fmla="*/ 6 w 24"/>
                <a:gd name="T3" fmla="*/ 16 h 17"/>
                <a:gd name="T4" fmla="*/ 22 w 24"/>
                <a:gd name="T5" fmla="*/ 8 h 17"/>
                <a:gd name="T6" fmla="*/ 23 w 24"/>
                <a:gd name="T7" fmla="*/ 3 h 17"/>
                <a:gd name="T8" fmla="*/ 18 w 24"/>
                <a:gd name="T9" fmla="*/ 1 h 17"/>
                <a:gd name="T10" fmla="*/ 3 w 24"/>
                <a:gd name="T11" fmla="*/ 9 h 17"/>
                <a:gd name="T12" fmla="*/ 1 w 24"/>
                <a:gd name="T13" fmla="*/ 15 h 17"/>
                <a:gd name="T14" fmla="*/ 4 w 24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7">
                  <a:moveTo>
                    <a:pt x="4" y="17"/>
                  </a:moveTo>
                  <a:cubicBezTo>
                    <a:pt x="5" y="17"/>
                    <a:pt x="6" y="17"/>
                    <a:pt x="6" y="16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4" y="7"/>
                    <a:pt x="24" y="5"/>
                    <a:pt x="23" y="3"/>
                  </a:cubicBezTo>
                  <a:cubicBezTo>
                    <a:pt x="22" y="1"/>
                    <a:pt x="20" y="0"/>
                    <a:pt x="18" y="1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11"/>
                    <a:pt x="0" y="13"/>
                    <a:pt x="1" y="15"/>
                  </a:cubicBezTo>
                  <a:cubicBezTo>
                    <a:pt x="2" y="16"/>
                    <a:pt x="3" y="17"/>
                    <a:pt x="4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64">
              <a:extLst>
                <a:ext uri="{FF2B5EF4-FFF2-40B4-BE49-F238E27FC236}">
                  <a16:creationId xmlns:a16="http://schemas.microsoft.com/office/drawing/2014/main" id="{3527D1E2-AC9A-4D86-A6A5-6D072A9FAE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91213" y="3171825"/>
              <a:ext cx="428625" cy="388938"/>
            </a:xfrm>
            <a:custGeom>
              <a:avLst/>
              <a:gdLst>
                <a:gd name="T0" fmla="*/ 1 w 197"/>
                <a:gd name="T1" fmla="*/ 149 h 179"/>
                <a:gd name="T2" fmla="*/ 1 w 197"/>
                <a:gd name="T3" fmla="*/ 150 h 179"/>
                <a:gd name="T4" fmla="*/ 2 w 197"/>
                <a:gd name="T5" fmla="*/ 150 h 179"/>
                <a:gd name="T6" fmla="*/ 4 w 197"/>
                <a:gd name="T7" fmla="*/ 151 h 179"/>
                <a:gd name="T8" fmla="*/ 118 w 197"/>
                <a:gd name="T9" fmla="*/ 179 h 179"/>
                <a:gd name="T10" fmla="*/ 119 w 197"/>
                <a:gd name="T11" fmla="*/ 179 h 179"/>
                <a:gd name="T12" fmla="*/ 120 w 197"/>
                <a:gd name="T13" fmla="*/ 179 h 179"/>
                <a:gd name="T14" fmla="*/ 121 w 197"/>
                <a:gd name="T15" fmla="*/ 179 h 179"/>
                <a:gd name="T16" fmla="*/ 196 w 197"/>
                <a:gd name="T17" fmla="*/ 140 h 179"/>
                <a:gd name="T18" fmla="*/ 196 w 197"/>
                <a:gd name="T19" fmla="*/ 140 h 179"/>
                <a:gd name="T20" fmla="*/ 197 w 197"/>
                <a:gd name="T21" fmla="*/ 139 h 179"/>
                <a:gd name="T22" fmla="*/ 197 w 197"/>
                <a:gd name="T23" fmla="*/ 138 h 179"/>
                <a:gd name="T24" fmla="*/ 197 w 197"/>
                <a:gd name="T25" fmla="*/ 137 h 179"/>
                <a:gd name="T26" fmla="*/ 197 w 197"/>
                <a:gd name="T27" fmla="*/ 92 h 179"/>
                <a:gd name="T28" fmla="*/ 197 w 197"/>
                <a:gd name="T29" fmla="*/ 36 h 179"/>
                <a:gd name="T30" fmla="*/ 197 w 197"/>
                <a:gd name="T31" fmla="*/ 18 h 179"/>
                <a:gd name="T32" fmla="*/ 197 w 197"/>
                <a:gd name="T33" fmla="*/ 18 h 179"/>
                <a:gd name="T34" fmla="*/ 196 w 197"/>
                <a:gd name="T35" fmla="*/ 16 h 179"/>
                <a:gd name="T36" fmla="*/ 194 w 197"/>
                <a:gd name="T37" fmla="*/ 15 h 179"/>
                <a:gd name="T38" fmla="*/ 178 w 197"/>
                <a:gd name="T39" fmla="*/ 13 h 179"/>
                <a:gd name="T40" fmla="*/ 150 w 197"/>
                <a:gd name="T41" fmla="*/ 10 h 179"/>
                <a:gd name="T42" fmla="*/ 137 w 197"/>
                <a:gd name="T43" fmla="*/ 8 h 179"/>
                <a:gd name="T44" fmla="*/ 79 w 197"/>
                <a:gd name="T45" fmla="*/ 0 h 179"/>
                <a:gd name="T46" fmla="*/ 78 w 197"/>
                <a:gd name="T47" fmla="*/ 0 h 179"/>
                <a:gd name="T48" fmla="*/ 78 w 197"/>
                <a:gd name="T49" fmla="*/ 0 h 179"/>
                <a:gd name="T50" fmla="*/ 2 w 197"/>
                <a:gd name="T51" fmla="*/ 26 h 179"/>
                <a:gd name="T52" fmla="*/ 1 w 197"/>
                <a:gd name="T53" fmla="*/ 27 h 179"/>
                <a:gd name="T54" fmla="*/ 1 w 197"/>
                <a:gd name="T55" fmla="*/ 28 h 179"/>
                <a:gd name="T56" fmla="*/ 0 w 197"/>
                <a:gd name="T57" fmla="*/ 30 h 179"/>
                <a:gd name="T58" fmla="*/ 0 w 197"/>
                <a:gd name="T59" fmla="*/ 147 h 179"/>
                <a:gd name="T60" fmla="*/ 189 w 197"/>
                <a:gd name="T61" fmla="*/ 25 h 179"/>
                <a:gd name="T62" fmla="*/ 189 w 197"/>
                <a:gd name="T63" fmla="*/ 63 h 179"/>
                <a:gd name="T64" fmla="*/ 189 w 197"/>
                <a:gd name="T65" fmla="*/ 120 h 179"/>
                <a:gd name="T66" fmla="*/ 178 w 197"/>
                <a:gd name="T67" fmla="*/ 128 h 179"/>
                <a:gd name="T68" fmla="*/ 176 w 197"/>
                <a:gd name="T69" fmla="*/ 136 h 179"/>
                <a:gd name="T70" fmla="*/ 122 w 197"/>
                <a:gd name="T71" fmla="*/ 168 h 179"/>
                <a:gd name="T72" fmla="*/ 148 w 197"/>
                <a:gd name="T73" fmla="*/ 130 h 179"/>
                <a:gd name="T74" fmla="*/ 153 w 197"/>
                <a:gd name="T75" fmla="*/ 126 h 179"/>
                <a:gd name="T76" fmla="*/ 123 w 197"/>
                <a:gd name="T77" fmla="*/ 115 h 179"/>
                <a:gd name="T78" fmla="*/ 122 w 197"/>
                <a:gd name="T79" fmla="*/ 51 h 179"/>
                <a:gd name="T80" fmla="*/ 74 w 197"/>
                <a:gd name="T81" fmla="*/ 9 h 179"/>
                <a:gd name="T82" fmla="*/ 78 w 197"/>
                <a:gd name="T83" fmla="*/ 24 h 179"/>
                <a:gd name="T84" fmla="*/ 82 w 197"/>
                <a:gd name="T85" fmla="*/ 8 h 179"/>
                <a:gd name="T86" fmla="*/ 93 w 197"/>
                <a:gd name="T87" fmla="*/ 10 h 179"/>
                <a:gd name="T88" fmla="*/ 177 w 197"/>
                <a:gd name="T89" fmla="*/ 21 h 179"/>
                <a:gd name="T90" fmla="*/ 20 w 197"/>
                <a:gd name="T91" fmla="*/ 28 h 179"/>
                <a:gd name="T92" fmla="*/ 8 w 197"/>
                <a:gd name="T93" fmla="*/ 34 h 179"/>
                <a:gd name="T94" fmla="*/ 74 w 197"/>
                <a:gd name="T95" fmla="*/ 68 h 179"/>
                <a:gd name="T96" fmla="*/ 82 w 197"/>
                <a:gd name="T97" fmla="*/ 68 h 179"/>
                <a:gd name="T98" fmla="*/ 114 w 197"/>
                <a:gd name="T99" fmla="*/ 52 h 179"/>
                <a:gd name="T100" fmla="*/ 15 w 197"/>
                <a:gd name="T101" fmla="*/ 146 h 179"/>
                <a:gd name="T102" fmla="*/ 21 w 197"/>
                <a:gd name="T103" fmla="*/ 138 h 179"/>
                <a:gd name="T104" fmla="*/ 8 w 197"/>
                <a:gd name="T105" fmla="*/ 141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7" h="179">
                  <a:moveTo>
                    <a:pt x="0" y="148"/>
                  </a:moveTo>
                  <a:cubicBezTo>
                    <a:pt x="0" y="148"/>
                    <a:pt x="0" y="149"/>
                    <a:pt x="1" y="149"/>
                  </a:cubicBezTo>
                  <a:cubicBezTo>
                    <a:pt x="1" y="149"/>
                    <a:pt x="1" y="149"/>
                    <a:pt x="1" y="149"/>
                  </a:cubicBezTo>
                  <a:cubicBezTo>
                    <a:pt x="1" y="149"/>
                    <a:pt x="1" y="150"/>
                    <a:pt x="1" y="150"/>
                  </a:cubicBezTo>
                  <a:cubicBezTo>
                    <a:pt x="1" y="150"/>
                    <a:pt x="1" y="150"/>
                    <a:pt x="1" y="150"/>
                  </a:cubicBezTo>
                  <a:cubicBezTo>
                    <a:pt x="1" y="150"/>
                    <a:pt x="2" y="150"/>
                    <a:pt x="2" y="150"/>
                  </a:cubicBezTo>
                  <a:cubicBezTo>
                    <a:pt x="2" y="150"/>
                    <a:pt x="2" y="150"/>
                    <a:pt x="3" y="151"/>
                  </a:cubicBezTo>
                  <a:cubicBezTo>
                    <a:pt x="3" y="151"/>
                    <a:pt x="3" y="151"/>
                    <a:pt x="4" y="151"/>
                  </a:cubicBezTo>
                  <a:cubicBezTo>
                    <a:pt x="4" y="151"/>
                    <a:pt x="4" y="151"/>
                    <a:pt x="4" y="151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9"/>
                    <a:pt x="120" y="179"/>
                    <a:pt x="120" y="179"/>
                  </a:cubicBezTo>
                  <a:cubicBezTo>
                    <a:pt x="121" y="179"/>
                    <a:pt x="121" y="179"/>
                    <a:pt x="121" y="179"/>
                  </a:cubicBezTo>
                  <a:cubicBezTo>
                    <a:pt x="121" y="179"/>
                    <a:pt x="121" y="179"/>
                    <a:pt x="121" y="179"/>
                  </a:cubicBezTo>
                  <a:cubicBezTo>
                    <a:pt x="195" y="140"/>
                    <a:pt x="195" y="140"/>
                    <a:pt x="195" y="140"/>
                  </a:cubicBezTo>
                  <a:cubicBezTo>
                    <a:pt x="195" y="140"/>
                    <a:pt x="195" y="140"/>
                    <a:pt x="196" y="140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6" y="140"/>
                    <a:pt x="197" y="140"/>
                    <a:pt x="197" y="140"/>
                  </a:cubicBezTo>
                  <a:cubicBezTo>
                    <a:pt x="197" y="140"/>
                    <a:pt x="197" y="139"/>
                    <a:pt x="197" y="139"/>
                  </a:cubicBezTo>
                  <a:cubicBezTo>
                    <a:pt x="197" y="139"/>
                    <a:pt x="197" y="138"/>
                    <a:pt x="197" y="138"/>
                  </a:cubicBezTo>
                  <a:cubicBezTo>
                    <a:pt x="197" y="138"/>
                    <a:pt x="197" y="138"/>
                    <a:pt x="197" y="138"/>
                  </a:cubicBezTo>
                  <a:cubicBezTo>
                    <a:pt x="197" y="138"/>
                    <a:pt x="197" y="138"/>
                    <a:pt x="197" y="137"/>
                  </a:cubicBezTo>
                  <a:cubicBezTo>
                    <a:pt x="197" y="137"/>
                    <a:pt x="197" y="137"/>
                    <a:pt x="197" y="137"/>
                  </a:cubicBezTo>
                  <a:cubicBezTo>
                    <a:pt x="197" y="121"/>
                    <a:pt x="197" y="121"/>
                    <a:pt x="197" y="121"/>
                  </a:cubicBezTo>
                  <a:cubicBezTo>
                    <a:pt x="197" y="92"/>
                    <a:pt x="197" y="92"/>
                    <a:pt x="197" y="92"/>
                  </a:cubicBezTo>
                  <a:cubicBezTo>
                    <a:pt x="197" y="64"/>
                    <a:pt x="197" y="64"/>
                    <a:pt x="197" y="64"/>
                  </a:cubicBezTo>
                  <a:cubicBezTo>
                    <a:pt x="197" y="36"/>
                    <a:pt x="197" y="36"/>
                    <a:pt x="197" y="36"/>
                  </a:cubicBezTo>
                  <a:cubicBezTo>
                    <a:pt x="197" y="20"/>
                    <a:pt x="197" y="20"/>
                    <a:pt x="197" y="20"/>
                  </a:cubicBezTo>
                  <a:cubicBezTo>
                    <a:pt x="197" y="19"/>
                    <a:pt x="197" y="19"/>
                    <a:pt x="197" y="18"/>
                  </a:cubicBezTo>
                  <a:cubicBezTo>
                    <a:pt x="197" y="18"/>
                    <a:pt x="197" y="18"/>
                    <a:pt x="197" y="18"/>
                  </a:cubicBezTo>
                  <a:cubicBezTo>
                    <a:pt x="197" y="18"/>
                    <a:pt x="197" y="18"/>
                    <a:pt x="197" y="18"/>
                  </a:cubicBezTo>
                  <a:cubicBezTo>
                    <a:pt x="197" y="17"/>
                    <a:pt x="197" y="17"/>
                    <a:pt x="196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5" y="16"/>
                    <a:pt x="195" y="16"/>
                    <a:pt x="194" y="15"/>
                  </a:cubicBezTo>
                  <a:cubicBezTo>
                    <a:pt x="194" y="15"/>
                    <a:pt x="194" y="15"/>
                    <a:pt x="194" y="15"/>
                  </a:cubicBezTo>
                  <a:cubicBezTo>
                    <a:pt x="178" y="13"/>
                    <a:pt x="178" y="13"/>
                    <a:pt x="178" y="13"/>
                  </a:cubicBezTo>
                  <a:cubicBezTo>
                    <a:pt x="178" y="13"/>
                    <a:pt x="178" y="13"/>
                    <a:pt x="178" y="13"/>
                  </a:cubicBezTo>
                  <a:cubicBezTo>
                    <a:pt x="150" y="10"/>
                    <a:pt x="150" y="10"/>
                    <a:pt x="150" y="10"/>
                  </a:cubicBezTo>
                  <a:cubicBezTo>
                    <a:pt x="150" y="10"/>
                    <a:pt x="150" y="10"/>
                    <a:pt x="150" y="10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26"/>
                    <a:pt x="1" y="26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9"/>
                    <a:pt x="0" y="29"/>
                    <a:pt x="0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8"/>
                    <a:pt x="0" y="148"/>
                    <a:pt x="0" y="148"/>
                  </a:cubicBezTo>
                  <a:close/>
                  <a:moveTo>
                    <a:pt x="189" y="25"/>
                  </a:moveTo>
                  <a:cubicBezTo>
                    <a:pt x="189" y="35"/>
                    <a:pt x="189" y="35"/>
                    <a:pt x="189" y="35"/>
                  </a:cubicBezTo>
                  <a:cubicBezTo>
                    <a:pt x="189" y="63"/>
                    <a:pt x="189" y="63"/>
                    <a:pt x="189" y="63"/>
                  </a:cubicBezTo>
                  <a:cubicBezTo>
                    <a:pt x="189" y="92"/>
                    <a:pt x="189" y="92"/>
                    <a:pt x="189" y="92"/>
                  </a:cubicBezTo>
                  <a:cubicBezTo>
                    <a:pt x="189" y="120"/>
                    <a:pt x="189" y="120"/>
                    <a:pt x="189" y="120"/>
                  </a:cubicBezTo>
                  <a:cubicBezTo>
                    <a:pt x="189" y="131"/>
                    <a:pt x="189" y="131"/>
                    <a:pt x="189" y="131"/>
                  </a:cubicBezTo>
                  <a:cubicBezTo>
                    <a:pt x="178" y="128"/>
                    <a:pt x="178" y="128"/>
                    <a:pt x="178" y="128"/>
                  </a:cubicBezTo>
                  <a:cubicBezTo>
                    <a:pt x="176" y="128"/>
                    <a:pt x="174" y="129"/>
                    <a:pt x="173" y="131"/>
                  </a:cubicBezTo>
                  <a:cubicBezTo>
                    <a:pt x="173" y="133"/>
                    <a:pt x="174" y="135"/>
                    <a:pt x="176" y="136"/>
                  </a:cubicBezTo>
                  <a:cubicBezTo>
                    <a:pt x="181" y="137"/>
                    <a:pt x="181" y="137"/>
                    <a:pt x="181" y="137"/>
                  </a:cubicBezTo>
                  <a:cubicBezTo>
                    <a:pt x="122" y="168"/>
                    <a:pt x="122" y="168"/>
                    <a:pt x="122" y="168"/>
                  </a:cubicBezTo>
                  <a:cubicBezTo>
                    <a:pt x="122" y="123"/>
                    <a:pt x="122" y="123"/>
                    <a:pt x="122" y="123"/>
                  </a:cubicBezTo>
                  <a:cubicBezTo>
                    <a:pt x="148" y="130"/>
                    <a:pt x="148" y="130"/>
                    <a:pt x="148" y="130"/>
                  </a:cubicBezTo>
                  <a:cubicBezTo>
                    <a:pt x="149" y="130"/>
                    <a:pt x="149" y="130"/>
                    <a:pt x="149" y="130"/>
                  </a:cubicBezTo>
                  <a:cubicBezTo>
                    <a:pt x="151" y="130"/>
                    <a:pt x="153" y="128"/>
                    <a:pt x="153" y="126"/>
                  </a:cubicBezTo>
                  <a:cubicBezTo>
                    <a:pt x="153" y="124"/>
                    <a:pt x="152" y="122"/>
                    <a:pt x="150" y="122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3" y="115"/>
                    <a:pt x="123" y="115"/>
                    <a:pt x="122" y="115"/>
                  </a:cubicBezTo>
                  <a:cubicBezTo>
                    <a:pt x="122" y="51"/>
                    <a:pt x="122" y="51"/>
                    <a:pt x="122" y="51"/>
                  </a:cubicBezTo>
                  <a:lnTo>
                    <a:pt x="189" y="25"/>
                  </a:lnTo>
                  <a:close/>
                  <a:moveTo>
                    <a:pt x="74" y="9"/>
                  </a:moveTo>
                  <a:cubicBezTo>
                    <a:pt x="74" y="20"/>
                    <a:pt x="74" y="20"/>
                    <a:pt x="74" y="20"/>
                  </a:cubicBezTo>
                  <a:cubicBezTo>
                    <a:pt x="74" y="22"/>
                    <a:pt x="76" y="24"/>
                    <a:pt x="78" y="24"/>
                  </a:cubicBezTo>
                  <a:cubicBezTo>
                    <a:pt x="81" y="24"/>
                    <a:pt x="82" y="22"/>
                    <a:pt x="82" y="20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177" y="21"/>
                    <a:pt x="177" y="21"/>
                    <a:pt x="177" y="21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20" y="28"/>
                    <a:pt x="20" y="28"/>
                    <a:pt x="20" y="28"/>
                  </a:cubicBezTo>
                  <a:lnTo>
                    <a:pt x="74" y="9"/>
                  </a:lnTo>
                  <a:close/>
                  <a:moveTo>
                    <a:pt x="8" y="34"/>
                  </a:moveTo>
                  <a:cubicBezTo>
                    <a:pt x="74" y="45"/>
                    <a:pt x="74" y="45"/>
                    <a:pt x="74" y="45"/>
                  </a:cubicBezTo>
                  <a:cubicBezTo>
                    <a:pt x="74" y="68"/>
                    <a:pt x="74" y="68"/>
                    <a:pt x="74" y="68"/>
                  </a:cubicBezTo>
                  <a:cubicBezTo>
                    <a:pt x="74" y="70"/>
                    <a:pt x="76" y="72"/>
                    <a:pt x="78" y="72"/>
                  </a:cubicBezTo>
                  <a:cubicBezTo>
                    <a:pt x="81" y="72"/>
                    <a:pt x="82" y="70"/>
                    <a:pt x="82" y="68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114" y="52"/>
                    <a:pt x="114" y="52"/>
                    <a:pt x="114" y="52"/>
                  </a:cubicBezTo>
                  <a:cubicBezTo>
                    <a:pt x="114" y="170"/>
                    <a:pt x="114" y="170"/>
                    <a:pt x="114" y="170"/>
                  </a:cubicBezTo>
                  <a:cubicBezTo>
                    <a:pt x="15" y="146"/>
                    <a:pt x="15" y="146"/>
                    <a:pt x="15" y="146"/>
                  </a:cubicBezTo>
                  <a:cubicBezTo>
                    <a:pt x="20" y="143"/>
                    <a:pt x="20" y="143"/>
                    <a:pt x="20" y="143"/>
                  </a:cubicBezTo>
                  <a:cubicBezTo>
                    <a:pt x="22" y="142"/>
                    <a:pt x="23" y="140"/>
                    <a:pt x="21" y="138"/>
                  </a:cubicBezTo>
                  <a:cubicBezTo>
                    <a:pt x="20" y="136"/>
                    <a:pt x="18" y="135"/>
                    <a:pt x="16" y="136"/>
                  </a:cubicBezTo>
                  <a:cubicBezTo>
                    <a:pt x="8" y="141"/>
                    <a:pt x="8" y="141"/>
                    <a:pt x="8" y="141"/>
                  </a:cubicBezTo>
                  <a:lnTo>
                    <a:pt x="8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65">
              <a:extLst>
                <a:ext uri="{FF2B5EF4-FFF2-40B4-BE49-F238E27FC236}">
                  <a16:creationId xmlns:a16="http://schemas.microsoft.com/office/drawing/2014/main" id="{9B22A516-3656-476E-8969-7476363ED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8863" y="3355975"/>
              <a:ext cx="333375" cy="288925"/>
            </a:xfrm>
            <a:custGeom>
              <a:avLst/>
              <a:gdLst>
                <a:gd name="T0" fmla="*/ 97 w 153"/>
                <a:gd name="T1" fmla="*/ 1 h 133"/>
                <a:gd name="T2" fmla="*/ 92 w 153"/>
                <a:gd name="T3" fmla="*/ 3 h 133"/>
                <a:gd name="T4" fmla="*/ 94 w 153"/>
                <a:gd name="T5" fmla="*/ 9 h 133"/>
                <a:gd name="T6" fmla="*/ 145 w 153"/>
                <a:gd name="T7" fmla="*/ 57 h 133"/>
                <a:gd name="T8" fmla="*/ 4 w 153"/>
                <a:gd name="T9" fmla="*/ 125 h 133"/>
                <a:gd name="T10" fmla="*/ 0 w 153"/>
                <a:gd name="T11" fmla="*/ 129 h 133"/>
                <a:gd name="T12" fmla="*/ 4 w 153"/>
                <a:gd name="T13" fmla="*/ 133 h 133"/>
                <a:gd name="T14" fmla="*/ 5 w 153"/>
                <a:gd name="T15" fmla="*/ 133 h 133"/>
                <a:gd name="T16" fmla="*/ 153 w 153"/>
                <a:gd name="T17" fmla="*/ 57 h 133"/>
                <a:gd name="T18" fmla="*/ 97 w 153"/>
                <a:gd name="T19" fmla="*/ 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133">
                  <a:moveTo>
                    <a:pt x="97" y="1"/>
                  </a:moveTo>
                  <a:cubicBezTo>
                    <a:pt x="95" y="0"/>
                    <a:pt x="93" y="1"/>
                    <a:pt x="92" y="3"/>
                  </a:cubicBezTo>
                  <a:cubicBezTo>
                    <a:pt x="91" y="5"/>
                    <a:pt x="92" y="8"/>
                    <a:pt x="94" y="9"/>
                  </a:cubicBezTo>
                  <a:cubicBezTo>
                    <a:pt x="127" y="21"/>
                    <a:pt x="145" y="39"/>
                    <a:pt x="145" y="57"/>
                  </a:cubicBezTo>
                  <a:cubicBezTo>
                    <a:pt x="145" y="91"/>
                    <a:pt x="84" y="120"/>
                    <a:pt x="4" y="125"/>
                  </a:cubicBezTo>
                  <a:cubicBezTo>
                    <a:pt x="1" y="125"/>
                    <a:pt x="0" y="127"/>
                    <a:pt x="0" y="129"/>
                  </a:cubicBezTo>
                  <a:cubicBezTo>
                    <a:pt x="0" y="131"/>
                    <a:pt x="2" y="133"/>
                    <a:pt x="4" y="133"/>
                  </a:cubicBezTo>
                  <a:cubicBezTo>
                    <a:pt x="4" y="133"/>
                    <a:pt x="4" y="133"/>
                    <a:pt x="5" y="133"/>
                  </a:cubicBezTo>
                  <a:cubicBezTo>
                    <a:pt x="91" y="127"/>
                    <a:pt x="153" y="95"/>
                    <a:pt x="153" y="57"/>
                  </a:cubicBezTo>
                  <a:cubicBezTo>
                    <a:pt x="153" y="35"/>
                    <a:pt x="133" y="15"/>
                    <a:pt x="9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66">
              <a:extLst>
                <a:ext uri="{FF2B5EF4-FFF2-40B4-BE49-F238E27FC236}">
                  <a16:creationId xmlns:a16="http://schemas.microsoft.com/office/drawing/2014/main" id="{F78F956B-CC6F-4702-AA07-45BBFA1A37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6588" y="3349625"/>
              <a:ext cx="347663" cy="336550"/>
            </a:xfrm>
            <a:custGeom>
              <a:avLst/>
              <a:gdLst>
                <a:gd name="T0" fmla="*/ 136 w 160"/>
                <a:gd name="T1" fmla="*/ 109 h 155"/>
                <a:gd name="T2" fmla="*/ 130 w 160"/>
                <a:gd name="T3" fmla="*/ 110 h 155"/>
                <a:gd name="T4" fmla="*/ 131 w 160"/>
                <a:gd name="T5" fmla="*/ 115 h 155"/>
                <a:gd name="T6" fmla="*/ 145 w 160"/>
                <a:gd name="T7" fmla="*/ 127 h 155"/>
                <a:gd name="T8" fmla="*/ 8 w 160"/>
                <a:gd name="T9" fmla="*/ 60 h 155"/>
                <a:gd name="T10" fmla="*/ 67 w 160"/>
                <a:gd name="T11" fmla="*/ 8 h 155"/>
                <a:gd name="T12" fmla="*/ 70 w 160"/>
                <a:gd name="T13" fmla="*/ 3 h 155"/>
                <a:gd name="T14" fmla="*/ 64 w 160"/>
                <a:gd name="T15" fmla="*/ 0 h 155"/>
                <a:gd name="T16" fmla="*/ 0 w 160"/>
                <a:gd name="T17" fmla="*/ 60 h 155"/>
                <a:gd name="T18" fmla="*/ 146 w 160"/>
                <a:gd name="T19" fmla="*/ 135 h 155"/>
                <a:gd name="T20" fmla="*/ 131 w 160"/>
                <a:gd name="T21" fmla="*/ 148 h 155"/>
                <a:gd name="T22" fmla="*/ 130 w 160"/>
                <a:gd name="T23" fmla="*/ 153 h 155"/>
                <a:gd name="T24" fmla="*/ 134 w 160"/>
                <a:gd name="T25" fmla="*/ 155 h 155"/>
                <a:gd name="T26" fmla="*/ 136 w 160"/>
                <a:gd name="T27" fmla="*/ 154 h 155"/>
                <a:gd name="T28" fmla="*/ 159 w 160"/>
                <a:gd name="T29" fmla="*/ 135 h 155"/>
                <a:gd name="T30" fmla="*/ 160 w 160"/>
                <a:gd name="T31" fmla="*/ 132 h 155"/>
                <a:gd name="T32" fmla="*/ 159 w 160"/>
                <a:gd name="T33" fmla="*/ 128 h 155"/>
                <a:gd name="T34" fmla="*/ 136 w 160"/>
                <a:gd name="T35" fmla="*/ 10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0" h="155">
                  <a:moveTo>
                    <a:pt x="136" y="109"/>
                  </a:moveTo>
                  <a:cubicBezTo>
                    <a:pt x="134" y="108"/>
                    <a:pt x="132" y="108"/>
                    <a:pt x="130" y="110"/>
                  </a:cubicBezTo>
                  <a:cubicBezTo>
                    <a:pt x="129" y="111"/>
                    <a:pt x="129" y="114"/>
                    <a:pt x="131" y="115"/>
                  </a:cubicBezTo>
                  <a:cubicBezTo>
                    <a:pt x="145" y="127"/>
                    <a:pt x="145" y="127"/>
                    <a:pt x="145" y="127"/>
                  </a:cubicBezTo>
                  <a:cubicBezTo>
                    <a:pt x="68" y="122"/>
                    <a:pt x="8" y="93"/>
                    <a:pt x="8" y="60"/>
                  </a:cubicBezTo>
                  <a:cubicBezTo>
                    <a:pt x="8" y="40"/>
                    <a:pt x="30" y="21"/>
                    <a:pt x="67" y="8"/>
                  </a:cubicBezTo>
                  <a:cubicBezTo>
                    <a:pt x="69" y="7"/>
                    <a:pt x="70" y="5"/>
                    <a:pt x="70" y="3"/>
                  </a:cubicBezTo>
                  <a:cubicBezTo>
                    <a:pt x="69" y="1"/>
                    <a:pt x="66" y="0"/>
                    <a:pt x="64" y="0"/>
                  </a:cubicBezTo>
                  <a:cubicBezTo>
                    <a:pt x="23" y="15"/>
                    <a:pt x="0" y="37"/>
                    <a:pt x="0" y="60"/>
                  </a:cubicBezTo>
                  <a:cubicBezTo>
                    <a:pt x="0" y="98"/>
                    <a:pt x="61" y="129"/>
                    <a:pt x="146" y="135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29" y="149"/>
                    <a:pt x="129" y="152"/>
                    <a:pt x="130" y="153"/>
                  </a:cubicBezTo>
                  <a:cubicBezTo>
                    <a:pt x="131" y="154"/>
                    <a:pt x="132" y="155"/>
                    <a:pt x="134" y="155"/>
                  </a:cubicBezTo>
                  <a:cubicBezTo>
                    <a:pt x="134" y="155"/>
                    <a:pt x="136" y="154"/>
                    <a:pt x="136" y="154"/>
                  </a:cubicBezTo>
                  <a:cubicBezTo>
                    <a:pt x="159" y="135"/>
                    <a:pt x="159" y="135"/>
                    <a:pt x="159" y="135"/>
                  </a:cubicBezTo>
                  <a:cubicBezTo>
                    <a:pt x="160" y="134"/>
                    <a:pt x="160" y="133"/>
                    <a:pt x="160" y="132"/>
                  </a:cubicBezTo>
                  <a:cubicBezTo>
                    <a:pt x="160" y="130"/>
                    <a:pt x="160" y="129"/>
                    <a:pt x="159" y="128"/>
                  </a:cubicBezTo>
                  <a:lnTo>
                    <a:pt x="136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C688B6C3-C3F6-4F7A-A6BA-BF33D066BAB4}"/>
              </a:ext>
            </a:extLst>
          </p:cNvPr>
          <p:cNvGrpSpPr/>
          <p:nvPr/>
        </p:nvGrpSpPr>
        <p:grpSpPr>
          <a:xfrm>
            <a:off x="6609137" y="2711031"/>
            <a:ext cx="509588" cy="569912"/>
            <a:chOff x="5505450" y="3908425"/>
            <a:chExt cx="509588" cy="569912"/>
          </a:xfrm>
          <a:solidFill>
            <a:schemeClr val="bg1"/>
          </a:solidFill>
        </p:grpSpPr>
        <p:sp>
          <p:nvSpPr>
            <p:cNvPr id="177" name="Freeform 70">
              <a:extLst>
                <a:ext uri="{FF2B5EF4-FFF2-40B4-BE49-F238E27FC236}">
                  <a16:creationId xmlns:a16="http://schemas.microsoft.com/office/drawing/2014/main" id="{A58FE2D1-D1BF-4380-814C-11AC1AF3D3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7838" y="3981450"/>
              <a:ext cx="268288" cy="407987"/>
            </a:xfrm>
            <a:custGeom>
              <a:avLst/>
              <a:gdLst>
                <a:gd name="T0" fmla="*/ 119 w 123"/>
                <a:gd name="T1" fmla="*/ 0 h 188"/>
                <a:gd name="T2" fmla="*/ 3 w 123"/>
                <a:gd name="T3" fmla="*/ 0 h 188"/>
                <a:gd name="T4" fmla="*/ 0 w 123"/>
                <a:gd name="T5" fmla="*/ 4 h 188"/>
                <a:gd name="T6" fmla="*/ 0 w 123"/>
                <a:gd name="T7" fmla="*/ 185 h 188"/>
                <a:gd name="T8" fmla="*/ 3 w 123"/>
                <a:gd name="T9" fmla="*/ 188 h 188"/>
                <a:gd name="T10" fmla="*/ 119 w 123"/>
                <a:gd name="T11" fmla="*/ 188 h 188"/>
                <a:gd name="T12" fmla="*/ 123 w 123"/>
                <a:gd name="T13" fmla="*/ 185 h 188"/>
                <a:gd name="T14" fmla="*/ 123 w 123"/>
                <a:gd name="T15" fmla="*/ 3 h 188"/>
                <a:gd name="T16" fmla="*/ 119 w 123"/>
                <a:gd name="T17" fmla="*/ 0 h 188"/>
                <a:gd name="T18" fmla="*/ 116 w 123"/>
                <a:gd name="T19" fmla="*/ 182 h 188"/>
                <a:gd name="T20" fmla="*/ 6 w 123"/>
                <a:gd name="T21" fmla="*/ 182 h 188"/>
                <a:gd name="T22" fmla="*/ 6 w 123"/>
                <a:gd name="T23" fmla="*/ 6 h 188"/>
                <a:gd name="T24" fmla="*/ 116 w 123"/>
                <a:gd name="T25" fmla="*/ 6 h 188"/>
                <a:gd name="T26" fmla="*/ 116 w 123"/>
                <a:gd name="T27" fmla="*/ 182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3" h="188">
                  <a:moveTo>
                    <a:pt x="119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85"/>
                    <a:pt x="0" y="185"/>
                    <a:pt x="0" y="185"/>
                  </a:cubicBezTo>
                  <a:cubicBezTo>
                    <a:pt x="0" y="187"/>
                    <a:pt x="1" y="188"/>
                    <a:pt x="3" y="188"/>
                  </a:cubicBezTo>
                  <a:cubicBezTo>
                    <a:pt x="119" y="188"/>
                    <a:pt x="119" y="188"/>
                    <a:pt x="119" y="188"/>
                  </a:cubicBezTo>
                  <a:cubicBezTo>
                    <a:pt x="121" y="188"/>
                    <a:pt x="123" y="187"/>
                    <a:pt x="123" y="185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2" y="2"/>
                    <a:pt x="121" y="0"/>
                    <a:pt x="119" y="0"/>
                  </a:cubicBezTo>
                  <a:close/>
                  <a:moveTo>
                    <a:pt x="116" y="182"/>
                  </a:moveTo>
                  <a:cubicBezTo>
                    <a:pt x="6" y="182"/>
                    <a:pt x="6" y="182"/>
                    <a:pt x="6" y="182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116" y="6"/>
                    <a:pt x="116" y="6"/>
                    <a:pt x="116" y="6"/>
                  </a:cubicBezTo>
                  <a:lnTo>
                    <a:pt x="116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71">
              <a:extLst>
                <a:ext uri="{FF2B5EF4-FFF2-40B4-BE49-F238E27FC236}">
                  <a16:creationId xmlns:a16="http://schemas.microsoft.com/office/drawing/2014/main" id="{30F0872A-AF57-450E-A7A6-740A91661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1500" y="3946525"/>
              <a:ext cx="77788" cy="12700"/>
            </a:xfrm>
            <a:custGeom>
              <a:avLst/>
              <a:gdLst>
                <a:gd name="T0" fmla="*/ 4 w 36"/>
                <a:gd name="T1" fmla="*/ 6 h 6"/>
                <a:gd name="T2" fmla="*/ 33 w 36"/>
                <a:gd name="T3" fmla="*/ 6 h 6"/>
                <a:gd name="T4" fmla="*/ 36 w 36"/>
                <a:gd name="T5" fmla="*/ 3 h 6"/>
                <a:gd name="T6" fmla="*/ 33 w 36"/>
                <a:gd name="T7" fmla="*/ 0 h 6"/>
                <a:gd name="T8" fmla="*/ 4 w 36"/>
                <a:gd name="T9" fmla="*/ 0 h 6"/>
                <a:gd name="T10" fmla="*/ 0 w 36"/>
                <a:gd name="T11" fmla="*/ 3 h 6"/>
                <a:gd name="T12" fmla="*/ 4 w 3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6">
                  <a:moveTo>
                    <a:pt x="4" y="6"/>
                  </a:moveTo>
                  <a:cubicBezTo>
                    <a:pt x="33" y="6"/>
                    <a:pt x="33" y="6"/>
                    <a:pt x="33" y="6"/>
                  </a:cubicBezTo>
                  <a:cubicBezTo>
                    <a:pt x="35" y="6"/>
                    <a:pt x="36" y="5"/>
                    <a:pt x="36" y="3"/>
                  </a:cubicBezTo>
                  <a:cubicBezTo>
                    <a:pt x="36" y="1"/>
                    <a:pt x="35" y="0"/>
                    <a:pt x="3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"/>
                    <a:pt x="2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72">
              <a:extLst>
                <a:ext uri="{FF2B5EF4-FFF2-40B4-BE49-F238E27FC236}">
                  <a16:creationId xmlns:a16="http://schemas.microsoft.com/office/drawing/2014/main" id="{CD16C8CE-F6EE-4550-B2F6-F0877A0EBF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9438" y="4395788"/>
              <a:ext cx="63500" cy="65087"/>
            </a:xfrm>
            <a:custGeom>
              <a:avLst/>
              <a:gdLst>
                <a:gd name="T0" fmla="*/ 14 w 29"/>
                <a:gd name="T1" fmla="*/ 0 h 30"/>
                <a:gd name="T2" fmla="*/ 0 w 29"/>
                <a:gd name="T3" fmla="*/ 15 h 30"/>
                <a:gd name="T4" fmla="*/ 14 w 29"/>
                <a:gd name="T5" fmla="*/ 30 h 30"/>
                <a:gd name="T6" fmla="*/ 29 w 29"/>
                <a:gd name="T7" fmla="*/ 15 h 30"/>
                <a:gd name="T8" fmla="*/ 14 w 29"/>
                <a:gd name="T9" fmla="*/ 0 h 30"/>
                <a:gd name="T10" fmla="*/ 14 w 29"/>
                <a:gd name="T11" fmla="*/ 24 h 30"/>
                <a:gd name="T12" fmla="*/ 6 w 29"/>
                <a:gd name="T13" fmla="*/ 15 h 30"/>
                <a:gd name="T14" fmla="*/ 14 w 29"/>
                <a:gd name="T15" fmla="*/ 6 h 30"/>
                <a:gd name="T16" fmla="*/ 23 w 29"/>
                <a:gd name="T17" fmla="*/ 15 h 30"/>
                <a:gd name="T18" fmla="*/ 14 w 29"/>
                <a:gd name="T19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0">
                  <a:moveTo>
                    <a:pt x="14" y="0"/>
                  </a:moveTo>
                  <a:cubicBezTo>
                    <a:pt x="6" y="0"/>
                    <a:pt x="0" y="7"/>
                    <a:pt x="0" y="15"/>
                  </a:cubicBezTo>
                  <a:cubicBezTo>
                    <a:pt x="0" y="23"/>
                    <a:pt x="6" y="30"/>
                    <a:pt x="14" y="30"/>
                  </a:cubicBezTo>
                  <a:cubicBezTo>
                    <a:pt x="23" y="30"/>
                    <a:pt x="29" y="23"/>
                    <a:pt x="29" y="15"/>
                  </a:cubicBezTo>
                  <a:cubicBezTo>
                    <a:pt x="29" y="7"/>
                    <a:pt x="22" y="0"/>
                    <a:pt x="14" y="0"/>
                  </a:cubicBezTo>
                  <a:close/>
                  <a:moveTo>
                    <a:pt x="14" y="24"/>
                  </a:moveTo>
                  <a:cubicBezTo>
                    <a:pt x="10" y="24"/>
                    <a:pt x="6" y="20"/>
                    <a:pt x="6" y="15"/>
                  </a:cubicBezTo>
                  <a:cubicBezTo>
                    <a:pt x="6" y="10"/>
                    <a:pt x="10" y="6"/>
                    <a:pt x="14" y="6"/>
                  </a:cubicBezTo>
                  <a:cubicBezTo>
                    <a:pt x="19" y="6"/>
                    <a:pt x="23" y="10"/>
                    <a:pt x="23" y="15"/>
                  </a:cubicBezTo>
                  <a:cubicBezTo>
                    <a:pt x="23" y="20"/>
                    <a:pt x="19" y="24"/>
                    <a:pt x="14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73">
              <a:extLst>
                <a:ext uri="{FF2B5EF4-FFF2-40B4-BE49-F238E27FC236}">
                  <a16:creationId xmlns:a16="http://schemas.microsoft.com/office/drawing/2014/main" id="{5EB2079F-121B-477D-BCCC-8B251BFF18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5450" y="3908425"/>
              <a:ext cx="509588" cy="569912"/>
            </a:xfrm>
            <a:custGeom>
              <a:avLst/>
              <a:gdLst>
                <a:gd name="T0" fmla="*/ 221 w 234"/>
                <a:gd name="T1" fmla="*/ 118 h 262"/>
                <a:gd name="T2" fmla="*/ 221 w 234"/>
                <a:gd name="T3" fmla="*/ 95 h 262"/>
                <a:gd name="T4" fmla="*/ 209 w 234"/>
                <a:gd name="T5" fmla="*/ 80 h 262"/>
                <a:gd name="T6" fmla="*/ 197 w 234"/>
                <a:gd name="T7" fmla="*/ 86 h 262"/>
                <a:gd name="T8" fmla="*/ 181 w 234"/>
                <a:gd name="T9" fmla="*/ 69 h 262"/>
                <a:gd name="T10" fmla="*/ 170 w 234"/>
                <a:gd name="T11" fmla="*/ 67 h 262"/>
                <a:gd name="T12" fmla="*/ 161 w 234"/>
                <a:gd name="T13" fmla="*/ 0 h 262"/>
                <a:gd name="T14" fmla="*/ 0 w 234"/>
                <a:gd name="T15" fmla="*/ 9 h 262"/>
                <a:gd name="T16" fmla="*/ 9 w 234"/>
                <a:gd name="T17" fmla="*/ 262 h 262"/>
                <a:gd name="T18" fmla="*/ 170 w 234"/>
                <a:gd name="T19" fmla="*/ 253 h 262"/>
                <a:gd name="T20" fmla="*/ 178 w 234"/>
                <a:gd name="T21" fmla="*/ 195 h 262"/>
                <a:gd name="T22" fmla="*/ 183 w 234"/>
                <a:gd name="T23" fmla="*/ 183 h 262"/>
                <a:gd name="T24" fmla="*/ 205 w 234"/>
                <a:gd name="T25" fmla="*/ 183 h 262"/>
                <a:gd name="T26" fmla="*/ 221 w 234"/>
                <a:gd name="T27" fmla="*/ 171 h 262"/>
                <a:gd name="T28" fmla="*/ 215 w 234"/>
                <a:gd name="T29" fmla="*/ 159 h 262"/>
                <a:gd name="T30" fmla="*/ 231 w 234"/>
                <a:gd name="T31" fmla="*/ 143 h 262"/>
                <a:gd name="T32" fmla="*/ 234 w 234"/>
                <a:gd name="T33" fmla="*/ 124 h 262"/>
                <a:gd name="T34" fmla="*/ 170 w 234"/>
                <a:gd name="T35" fmla="*/ 106 h 262"/>
                <a:gd name="T36" fmla="*/ 170 w 234"/>
                <a:gd name="T37" fmla="*/ 156 h 262"/>
                <a:gd name="T38" fmla="*/ 164 w 234"/>
                <a:gd name="T39" fmla="*/ 253 h 262"/>
                <a:gd name="T40" fmla="*/ 9 w 234"/>
                <a:gd name="T41" fmla="*/ 256 h 262"/>
                <a:gd name="T42" fmla="*/ 6 w 234"/>
                <a:gd name="T43" fmla="*/ 9 h 262"/>
                <a:gd name="T44" fmla="*/ 161 w 234"/>
                <a:gd name="T45" fmla="*/ 6 h 262"/>
                <a:gd name="T46" fmla="*/ 164 w 234"/>
                <a:gd name="T47" fmla="*/ 70 h 262"/>
                <a:gd name="T48" fmla="*/ 164 w 234"/>
                <a:gd name="T49" fmla="*/ 253 h 262"/>
                <a:gd name="T50" fmla="*/ 218 w 234"/>
                <a:gd name="T51" fmla="*/ 139 h 262"/>
                <a:gd name="T52" fmla="*/ 209 w 234"/>
                <a:gd name="T53" fmla="*/ 157 h 262"/>
                <a:gd name="T54" fmla="*/ 215 w 234"/>
                <a:gd name="T55" fmla="*/ 168 h 262"/>
                <a:gd name="T56" fmla="*/ 199 w 234"/>
                <a:gd name="T57" fmla="*/ 171 h 262"/>
                <a:gd name="T58" fmla="*/ 180 w 234"/>
                <a:gd name="T59" fmla="*/ 177 h 262"/>
                <a:gd name="T60" fmla="*/ 175 w 234"/>
                <a:gd name="T61" fmla="*/ 189 h 262"/>
                <a:gd name="T62" fmla="*/ 170 w 234"/>
                <a:gd name="T63" fmla="*/ 162 h 262"/>
                <a:gd name="T64" fmla="*/ 170 w 234"/>
                <a:gd name="T65" fmla="*/ 101 h 262"/>
                <a:gd name="T66" fmla="*/ 175 w 234"/>
                <a:gd name="T67" fmla="*/ 73 h 262"/>
                <a:gd name="T68" fmla="*/ 180 w 234"/>
                <a:gd name="T69" fmla="*/ 86 h 262"/>
                <a:gd name="T70" fmla="*/ 199 w 234"/>
                <a:gd name="T71" fmla="*/ 92 h 262"/>
                <a:gd name="T72" fmla="*/ 215 w 234"/>
                <a:gd name="T73" fmla="*/ 95 h 262"/>
                <a:gd name="T74" fmla="*/ 209 w 234"/>
                <a:gd name="T75" fmla="*/ 105 h 262"/>
                <a:gd name="T76" fmla="*/ 218 w 234"/>
                <a:gd name="T77" fmla="*/ 123 h 262"/>
                <a:gd name="T78" fmla="*/ 228 w 234"/>
                <a:gd name="T79" fmla="*/ 137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4" h="262">
                  <a:moveTo>
                    <a:pt x="231" y="120"/>
                  </a:moveTo>
                  <a:cubicBezTo>
                    <a:pt x="221" y="118"/>
                    <a:pt x="221" y="118"/>
                    <a:pt x="221" y="118"/>
                  </a:cubicBezTo>
                  <a:cubicBezTo>
                    <a:pt x="220" y="113"/>
                    <a:pt x="218" y="108"/>
                    <a:pt x="215" y="104"/>
                  </a:cubicBezTo>
                  <a:cubicBezTo>
                    <a:pt x="221" y="95"/>
                    <a:pt x="221" y="95"/>
                    <a:pt x="221" y="95"/>
                  </a:cubicBezTo>
                  <a:cubicBezTo>
                    <a:pt x="222" y="94"/>
                    <a:pt x="222" y="92"/>
                    <a:pt x="221" y="91"/>
                  </a:cubicBezTo>
                  <a:cubicBezTo>
                    <a:pt x="209" y="80"/>
                    <a:pt x="209" y="80"/>
                    <a:pt x="209" y="80"/>
                  </a:cubicBezTo>
                  <a:cubicBezTo>
                    <a:pt x="208" y="79"/>
                    <a:pt x="207" y="79"/>
                    <a:pt x="205" y="80"/>
                  </a:cubicBezTo>
                  <a:cubicBezTo>
                    <a:pt x="197" y="86"/>
                    <a:pt x="197" y="86"/>
                    <a:pt x="197" y="86"/>
                  </a:cubicBezTo>
                  <a:cubicBezTo>
                    <a:pt x="192" y="83"/>
                    <a:pt x="187" y="81"/>
                    <a:pt x="183" y="80"/>
                  </a:cubicBezTo>
                  <a:cubicBezTo>
                    <a:pt x="181" y="69"/>
                    <a:pt x="181" y="69"/>
                    <a:pt x="181" y="69"/>
                  </a:cubicBezTo>
                  <a:cubicBezTo>
                    <a:pt x="180" y="68"/>
                    <a:pt x="179" y="67"/>
                    <a:pt x="178" y="67"/>
                  </a:cubicBezTo>
                  <a:cubicBezTo>
                    <a:pt x="170" y="67"/>
                    <a:pt x="170" y="67"/>
                    <a:pt x="170" y="67"/>
                  </a:cubicBezTo>
                  <a:cubicBezTo>
                    <a:pt x="170" y="9"/>
                    <a:pt x="170" y="9"/>
                    <a:pt x="170" y="9"/>
                  </a:cubicBezTo>
                  <a:cubicBezTo>
                    <a:pt x="170" y="4"/>
                    <a:pt x="166" y="0"/>
                    <a:pt x="16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0" y="258"/>
                    <a:pt x="4" y="262"/>
                    <a:pt x="9" y="262"/>
                  </a:cubicBezTo>
                  <a:cubicBezTo>
                    <a:pt x="161" y="262"/>
                    <a:pt x="161" y="262"/>
                    <a:pt x="161" y="262"/>
                  </a:cubicBezTo>
                  <a:cubicBezTo>
                    <a:pt x="166" y="262"/>
                    <a:pt x="170" y="258"/>
                    <a:pt x="170" y="253"/>
                  </a:cubicBezTo>
                  <a:cubicBezTo>
                    <a:pt x="170" y="195"/>
                    <a:pt x="170" y="195"/>
                    <a:pt x="170" y="195"/>
                  </a:cubicBezTo>
                  <a:cubicBezTo>
                    <a:pt x="178" y="195"/>
                    <a:pt x="178" y="195"/>
                    <a:pt x="178" y="195"/>
                  </a:cubicBezTo>
                  <a:cubicBezTo>
                    <a:pt x="179" y="195"/>
                    <a:pt x="181" y="194"/>
                    <a:pt x="181" y="193"/>
                  </a:cubicBezTo>
                  <a:cubicBezTo>
                    <a:pt x="183" y="183"/>
                    <a:pt x="183" y="183"/>
                    <a:pt x="183" y="183"/>
                  </a:cubicBezTo>
                  <a:cubicBezTo>
                    <a:pt x="187" y="181"/>
                    <a:pt x="192" y="179"/>
                    <a:pt x="197" y="177"/>
                  </a:cubicBezTo>
                  <a:cubicBezTo>
                    <a:pt x="205" y="183"/>
                    <a:pt x="205" y="183"/>
                    <a:pt x="205" y="183"/>
                  </a:cubicBezTo>
                  <a:cubicBezTo>
                    <a:pt x="207" y="183"/>
                    <a:pt x="208" y="183"/>
                    <a:pt x="209" y="182"/>
                  </a:cubicBezTo>
                  <a:cubicBezTo>
                    <a:pt x="221" y="171"/>
                    <a:pt x="221" y="171"/>
                    <a:pt x="221" y="171"/>
                  </a:cubicBezTo>
                  <a:cubicBezTo>
                    <a:pt x="222" y="170"/>
                    <a:pt x="222" y="169"/>
                    <a:pt x="221" y="167"/>
                  </a:cubicBezTo>
                  <a:cubicBezTo>
                    <a:pt x="215" y="159"/>
                    <a:pt x="215" y="159"/>
                    <a:pt x="215" y="159"/>
                  </a:cubicBezTo>
                  <a:cubicBezTo>
                    <a:pt x="218" y="154"/>
                    <a:pt x="219" y="149"/>
                    <a:pt x="221" y="145"/>
                  </a:cubicBezTo>
                  <a:cubicBezTo>
                    <a:pt x="231" y="143"/>
                    <a:pt x="231" y="143"/>
                    <a:pt x="231" y="143"/>
                  </a:cubicBezTo>
                  <a:cubicBezTo>
                    <a:pt x="233" y="142"/>
                    <a:pt x="234" y="141"/>
                    <a:pt x="234" y="140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34" y="121"/>
                    <a:pt x="233" y="120"/>
                    <a:pt x="231" y="120"/>
                  </a:cubicBezTo>
                  <a:close/>
                  <a:moveTo>
                    <a:pt x="170" y="106"/>
                  </a:moveTo>
                  <a:cubicBezTo>
                    <a:pt x="182" y="108"/>
                    <a:pt x="191" y="119"/>
                    <a:pt x="191" y="131"/>
                  </a:cubicBezTo>
                  <a:cubicBezTo>
                    <a:pt x="191" y="143"/>
                    <a:pt x="182" y="154"/>
                    <a:pt x="170" y="156"/>
                  </a:cubicBezTo>
                  <a:lnTo>
                    <a:pt x="170" y="106"/>
                  </a:lnTo>
                  <a:close/>
                  <a:moveTo>
                    <a:pt x="164" y="253"/>
                  </a:moveTo>
                  <a:cubicBezTo>
                    <a:pt x="164" y="255"/>
                    <a:pt x="163" y="256"/>
                    <a:pt x="161" y="256"/>
                  </a:cubicBezTo>
                  <a:cubicBezTo>
                    <a:pt x="9" y="256"/>
                    <a:pt x="9" y="256"/>
                    <a:pt x="9" y="256"/>
                  </a:cubicBezTo>
                  <a:cubicBezTo>
                    <a:pt x="7" y="256"/>
                    <a:pt x="6" y="255"/>
                    <a:pt x="6" y="253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7"/>
                    <a:pt x="7" y="6"/>
                    <a:pt x="9" y="6"/>
                  </a:cubicBezTo>
                  <a:cubicBezTo>
                    <a:pt x="161" y="6"/>
                    <a:pt x="161" y="6"/>
                    <a:pt x="161" y="6"/>
                  </a:cubicBezTo>
                  <a:cubicBezTo>
                    <a:pt x="163" y="6"/>
                    <a:pt x="164" y="7"/>
                    <a:pt x="164" y="9"/>
                  </a:cubicBezTo>
                  <a:cubicBezTo>
                    <a:pt x="164" y="70"/>
                    <a:pt x="164" y="70"/>
                    <a:pt x="164" y="70"/>
                  </a:cubicBezTo>
                  <a:cubicBezTo>
                    <a:pt x="164" y="145"/>
                    <a:pt x="164" y="113"/>
                    <a:pt x="164" y="192"/>
                  </a:cubicBezTo>
                  <a:lnTo>
                    <a:pt x="164" y="253"/>
                  </a:lnTo>
                  <a:close/>
                  <a:moveTo>
                    <a:pt x="228" y="137"/>
                  </a:moveTo>
                  <a:cubicBezTo>
                    <a:pt x="218" y="139"/>
                    <a:pt x="218" y="139"/>
                    <a:pt x="218" y="139"/>
                  </a:cubicBezTo>
                  <a:cubicBezTo>
                    <a:pt x="217" y="139"/>
                    <a:pt x="216" y="140"/>
                    <a:pt x="215" y="141"/>
                  </a:cubicBezTo>
                  <a:cubicBezTo>
                    <a:pt x="214" y="147"/>
                    <a:pt x="212" y="152"/>
                    <a:pt x="209" y="157"/>
                  </a:cubicBezTo>
                  <a:cubicBezTo>
                    <a:pt x="208" y="158"/>
                    <a:pt x="208" y="159"/>
                    <a:pt x="209" y="160"/>
                  </a:cubicBezTo>
                  <a:cubicBezTo>
                    <a:pt x="215" y="168"/>
                    <a:pt x="215" y="168"/>
                    <a:pt x="215" y="168"/>
                  </a:cubicBezTo>
                  <a:cubicBezTo>
                    <a:pt x="207" y="176"/>
                    <a:pt x="207" y="176"/>
                    <a:pt x="207" y="176"/>
                  </a:cubicBezTo>
                  <a:cubicBezTo>
                    <a:pt x="199" y="171"/>
                    <a:pt x="199" y="171"/>
                    <a:pt x="199" y="171"/>
                  </a:cubicBezTo>
                  <a:cubicBezTo>
                    <a:pt x="198" y="170"/>
                    <a:pt x="196" y="170"/>
                    <a:pt x="195" y="171"/>
                  </a:cubicBezTo>
                  <a:cubicBezTo>
                    <a:pt x="191" y="174"/>
                    <a:pt x="185" y="176"/>
                    <a:pt x="180" y="177"/>
                  </a:cubicBezTo>
                  <a:cubicBezTo>
                    <a:pt x="179" y="177"/>
                    <a:pt x="178" y="178"/>
                    <a:pt x="177" y="179"/>
                  </a:cubicBezTo>
                  <a:cubicBezTo>
                    <a:pt x="175" y="189"/>
                    <a:pt x="175" y="189"/>
                    <a:pt x="175" y="189"/>
                  </a:cubicBezTo>
                  <a:cubicBezTo>
                    <a:pt x="170" y="189"/>
                    <a:pt x="170" y="189"/>
                    <a:pt x="170" y="189"/>
                  </a:cubicBezTo>
                  <a:cubicBezTo>
                    <a:pt x="170" y="162"/>
                    <a:pt x="170" y="162"/>
                    <a:pt x="170" y="162"/>
                  </a:cubicBezTo>
                  <a:cubicBezTo>
                    <a:pt x="185" y="160"/>
                    <a:pt x="197" y="147"/>
                    <a:pt x="197" y="131"/>
                  </a:cubicBezTo>
                  <a:cubicBezTo>
                    <a:pt x="197" y="116"/>
                    <a:pt x="185" y="103"/>
                    <a:pt x="170" y="101"/>
                  </a:cubicBezTo>
                  <a:cubicBezTo>
                    <a:pt x="170" y="73"/>
                    <a:pt x="170" y="73"/>
                    <a:pt x="170" y="73"/>
                  </a:cubicBezTo>
                  <a:cubicBezTo>
                    <a:pt x="175" y="73"/>
                    <a:pt x="175" y="73"/>
                    <a:pt x="175" y="73"/>
                  </a:cubicBezTo>
                  <a:cubicBezTo>
                    <a:pt x="177" y="83"/>
                    <a:pt x="177" y="83"/>
                    <a:pt x="177" y="83"/>
                  </a:cubicBezTo>
                  <a:cubicBezTo>
                    <a:pt x="178" y="85"/>
                    <a:pt x="179" y="85"/>
                    <a:pt x="180" y="86"/>
                  </a:cubicBezTo>
                  <a:cubicBezTo>
                    <a:pt x="185" y="87"/>
                    <a:pt x="191" y="89"/>
                    <a:pt x="195" y="92"/>
                  </a:cubicBezTo>
                  <a:cubicBezTo>
                    <a:pt x="197" y="93"/>
                    <a:pt x="198" y="93"/>
                    <a:pt x="199" y="92"/>
                  </a:cubicBezTo>
                  <a:cubicBezTo>
                    <a:pt x="207" y="87"/>
                    <a:pt x="207" y="87"/>
                    <a:pt x="207" y="87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09" y="102"/>
                    <a:pt x="209" y="102"/>
                    <a:pt x="209" y="102"/>
                  </a:cubicBezTo>
                  <a:cubicBezTo>
                    <a:pt x="208" y="103"/>
                    <a:pt x="208" y="105"/>
                    <a:pt x="209" y="105"/>
                  </a:cubicBezTo>
                  <a:cubicBezTo>
                    <a:pt x="212" y="110"/>
                    <a:pt x="214" y="115"/>
                    <a:pt x="215" y="121"/>
                  </a:cubicBezTo>
                  <a:cubicBezTo>
                    <a:pt x="216" y="122"/>
                    <a:pt x="217" y="123"/>
                    <a:pt x="218" y="123"/>
                  </a:cubicBezTo>
                  <a:cubicBezTo>
                    <a:pt x="228" y="125"/>
                    <a:pt x="228" y="125"/>
                    <a:pt x="228" y="125"/>
                  </a:cubicBezTo>
                  <a:lnTo>
                    <a:pt x="228" y="1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74">
              <a:extLst>
                <a:ext uri="{FF2B5EF4-FFF2-40B4-BE49-F238E27FC236}">
                  <a16:creationId xmlns:a16="http://schemas.microsoft.com/office/drawing/2014/main" id="{56F77E3C-A9EC-41C3-B991-CED8DE4B06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2763" y="4022725"/>
              <a:ext cx="84138" cy="84137"/>
            </a:xfrm>
            <a:custGeom>
              <a:avLst/>
              <a:gdLst>
                <a:gd name="T0" fmla="*/ 3 w 39"/>
                <a:gd name="T1" fmla="*/ 39 h 39"/>
                <a:gd name="T2" fmla="*/ 36 w 39"/>
                <a:gd name="T3" fmla="*/ 39 h 39"/>
                <a:gd name="T4" fmla="*/ 39 w 39"/>
                <a:gd name="T5" fmla="*/ 35 h 39"/>
                <a:gd name="T6" fmla="*/ 39 w 39"/>
                <a:gd name="T7" fmla="*/ 3 h 39"/>
                <a:gd name="T8" fmla="*/ 36 w 39"/>
                <a:gd name="T9" fmla="*/ 0 h 39"/>
                <a:gd name="T10" fmla="*/ 3 w 39"/>
                <a:gd name="T11" fmla="*/ 0 h 39"/>
                <a:gd name="T12" fmla="*/ 0 w 39"/>
                <a:gd name="T13" fmla="*/ 3 h 39"/>
                <a:gd name="T14" fmla="*/ 0 w 39"/>
                <a:gd name="T15" fmla="*/ 35 h 39"/>
                <a:gd name="T16" fmla="*/ 3 w 39"/>
                <a:gd name="T17" fmla="*/ 39 h 39"/>
                <a:gd name="T18" fmla="*/ 6 w 39"/>
                <a:gd name="T19" fmla="*/ 6 h 39"/>
                <a:gd name="T20" fmla="*/ 33 w 39"/>
                <a:gd name="T21" fmla="*/ 6 h 39"/>
                <a:gd name="T22" fmla="*/ 33 w 39"/>
                <a:gd name="T23" fmla="*/ 33 h 39"/>
                <a:gd name="T24" fmla="*/ 7 w 39"/>
                <a:gd name="T25" fmla="*/ 33 h 39"/>
                <a:gd name="T26" fmla="*/ 7 w 39"/>
                <a:gd name="T27" fmla="*/ 6 h 39"/>
                <a:gd name="T28" fmla="*/ 6 w 39"/>
                <a:gd name="T29" fmla="*/ 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39">
                  <a:moveTo>
                    <a:pt x="3" y="39"/>
                  </a:moveTo>
                  <a:cubicBezTo>
                    <a:pt x="36" y="39"/>
                    <a:pt x="36" y="39"/>
                    <a:pt x="36" y="39"/>
                  </a:cubicBezTo>
                  <a:cubicBezTo>
                    <a:pt x="37" y="39"/>
                    <a:pt x="39" y="37"/>
                    <a:pt x="39" y="35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1"/>
                    <a:pt x="38" y="0"/>
                    <a:pt x="36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9"/>
                    <a:pt x="3" y="39"/>
                  </a:cubicBezTo>
                  <a:close/>
                  <a:moveTo>
                    <a:pt x="6" y="6"/>
                  </a:moveTo>
                  <a:cubicBezTo>
                    <a:pt x="33" y="6"/>
                    <a:pt x="33" y="6"/>
                    <a:pt x="33" y="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6"/>
                    <a:pt x="7" y="6"/>
                    <a:pt x="7" y="6"/>
                  </a:cubicBez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75">
              <a:extLst>
                <a:ext uri="{FF2B5EF4-FFF2-40B4-BE49-F238E27FC236}">
                  <a16:creationId xmlns:a16="http://schemas.microsoft.com/office/drawing/2014/main" id="{4B4BAEA5-E6A8-48FC-82B4-DD08F66B8C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3888" y="4022725"/>
              <a:ext cx="84138" cy="84137"/>
            </a:xfrm>
            <a:custGeom>
              <a:avLst/>
              <a:gdLst>
                <a:gd name="T0" fmla="*/ 4 w 39"/>
                <a:gd name="T1" fmla="*/ 39 h 39"/>
                <a:gd name="T2" fmla="*/ 36 w 39"/>
                <a:gd name="T3" fmla="*/ 39 h 39"/>
                <a:gd name="T4" fmla="*/ 39 w 39"/>
                <a:gd name="T5" fmla="*/ 35 h 39"/>
                <a:gd name="T6" fmla="*/ 39 w 39"/>
                <a:gd name="T7" fmla="*/ 3 h 39"/>
                <a:gd name="T8" fmla="*/ 36 w 39"/>
                <a:gd name="T9" fmla="*/ 0 h 39"/>
                <a:gd name="T10" fmla="*/ 4 w 39"/>
                <a:gd name="T11" fmla="*/ 0 h 39"/>
                <a:gd name="T12" fmla="*/ 0 w 39"/>
                <a:gd name="T13" fmla="*/ 3 h 39"/>
                <a:gd name="T14" fmla="*/ 0 w 39"/>
                <a:gd name="T15" fmla="*/ 35 h 39"/>
                <a:gd name="T16" fmla="*/ 4 w 39"/>
                <a:gd name="T17" fmla="*/ 39 h 39"/>
                <a:gd name="T18" fmla="*/ 6 w 39"/>
                <a:gd name="T19" fmla="*/ 6 h 39"/>
                <a:gd name="T20" fmla="*/ 33 w 39"/>
                <a:gd name="T21" fmla="*/ 6 h 39"/>
                <a:gd name="T22" fmla="*/ 33 w 39"/>
                <a:gd name="T23" fmla="*/ 33 h 39"/>
                <a:gd name="T24" fmla="*/ 6 w 39"/>
                <a:gd name="T25" fmla="*/ 33 h 39"/>
                <a:gd name="T26" fmla="*/ 6 w 39"/>
                <a:gd name="T27" fmla="*/ 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9">
                  <a:moveTo>
                    <a:pt x="4" y="39"/>
                  </a:moveTo>
                  <a:cubicBezTo>
                    <a:pt x="36" y="39"/>
                    <a:pt x="36" y="39"/>
                    <a:pt x="36" y="39"/>
                  </a:cubicBezTo>
                  <a:cubicBezTo>
                    <a:pt x="38" y="39"/>
                    <a:pt x="39" y="37"/>
                    <a:pt x="39" y="35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1"/>
                    <a:pt x="38" y="0"/>
                    <a:pt x="3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9"/>
                    <a:pt x="4" y="39"/>
                  </a:cubicBezTo>
                  <a:close/>
                  <a:moveTo>
                    <a:pt x="6" y="6"/>
                  </a:moveTo>
                  <a:cubicBezTo>
                    <a:pt x="33" y="6"/>
                    <a:pt x="33" y="6"/>
                    <a:pt x="33" y="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6" y="33"/>
                    <a:pt x="6" y="33"/>
                    <a:pt x="6" y="33"/>
                  </a:cubicBez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76">
              <a:extLst>
                <a:ext uri="{FF2B5EF4-FFF2-40B4-BE49-F238E27FC236}">
                  <a16:creationId xmlns:a16="http://schemas.microsoft.com/office/drawing/2014/main" id="{887272CA-8EE9-4D68-A30A-C61DECB573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2763" y="4137025"/>
              <a:ext cx="84138" cy="82550"/>
            </a:xfrm>
            <a:custGeom>
              <a:avLst/>
              <a:gdLst>
                <a:gd name="T0" fmla="*/ 3 w 39"/>
                <a:gd name="T1" fmla="*/ 38 h 38"/>
                <a:gd name="T2" fmla="*/ 36 w 39"/>
                <a:gd name="T3" fmla="*/ 38 h 38"/>
                <a:gd name="T4" fmla="*/ 39 w 39"/>
                <a:gd name="T5" fmla="*/ 35 h 38"/>
                <a:gd name="T6" fmla="*/ 39 w 39"/>
                <a:gd name="T7" fmla="*/ 3 h 38"/>
                <a:gd name="T8" fmla="*/ 36 w 39"/>
                <a:gd name="T9" fmla="*/ 0 h 38"/>
                <a:gd name="T10" fmla="*/ 3 w 39"/>
                <a:gd name="T11" fmla="*/ 0 h 38"/>
                <a:gd name="T12" fmla="*/ 0 w 39"/>
                <a:gd name="T13" fmla="*/ 3 h 38"/>
                <a:gd name="T14" fmla="*/ 0 w 39"/>
                <a:gd name="T15" fmla="*/ 35 h 38"/>
                <a:gd name="T16" fmla="*/ 3 w 39"/>
                <a:gd name="T17" fmla="*/ 38 h 38"/>
                <a:gd name="T18" fmla="*/ 6 w 39"/>
                <a:gd name="T19" fmla="*/ 6 h 38"/>
                <a:gd name="T20" fmla="*/ 33 w 39"/>
                <a:gd name="T21" fmla="*/ 6 h 38"/>
                <a:gd name="T22" fmla="*/ 33 w 39"/>
                <a:gd name="T23" fmla="*/ 32 h 38"/>
                <a:gd name="T24" fmla="*/ 7 w 39"/>
                <a:gd name="T25" fmla="*/ 32 h 38"/>
                <a:gd name="T26" fmla="*/ 7 w 39"/>
                <a:gd name="T27" fmla="*/ 6 h 38"/>
                <a:gd name="T28" fmla="*/ 6 w 39"/>
                <a:gd name="T29" fmla="*/ 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38">
                  <a:moveTo>
                    <a:pt x="3" y="38"/>
                  </a:moveTo>
                  <a:cubicBezTo>
                    <a:pt x="36" y="38"/>
                    <a:pt x="36" y="38"/>
                    <a:pt x="36" y="38"/>
                  </a:cubicBezTo>
                  <a:cubicBezTo>
                    <a:pt x="37" y="38"/>
                    <a:pt x="39" y="37"/>
                    <a:pt x="39" y="35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1"/>
                    <a:pt x="38" y="0"/>
                    <a:pt x="36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8"/>
                    <a:pt x="3" y="38"/>
                  </a:cubicBezTo>
                  <a:close/>
                  <a:moveTo>
                    <a:pt x="6" y="6"/>
                  </a:moveTo>
                  <a:cubicBezTo>
                    <a:pt x="33" y="6"/>
                    <a:pt x="33" y="6"/>
                    <a:pt x="33" y="6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6"/>
                    <a:pt x="7" y="6"/>
                    <a:pt x="7" y="6"/>
                  </a:cubicBez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77">
              <a:extLst>
                <a:ext uri="{FF2B5EF4-FFF2-40B4-BE49-F238E27FC236}">
                  <a16:creationId xmlns:a16="http://schemas.microsoft.com/office/drawing/2014/main" id="{CB507FD8-7005-4FE9-B0E7-739F9916B1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3888" y="4137025"/>
              <a:ext cx="84138" cy="82550"/>
            </a:xfrm>
            <a:custGeom>
              <a:avLst/>
              <a:gdLst>
                <a:gd name="T0" fmla="*/ 4 w 39"/>
                <a:gd name="T1" fmla="*/ 38 h 38"/>
                <a:gd name="T2" fmla="*/ 36 w 39"/>
                <a:gd name="T3" fmla="*/ 38 h 38"/>
                <a:gd name="T4" fmla="*/ 39 w 39"/>
                <a:gd name="T5" fmla="*/ 35 h 38"/>
                <a:gd name="T6" fmla="*/ 39 w 39"/>
                <a:gd name="T7" fmla="*/ 3 h 38"/>
                <a:gd name="T8" fmla="*/ 36 w 39"/>
                <a:gd name="T9" fmla="*/ 0 h 38"/>
                <a:gd name="T10" fmla="*/ 4 w 39"/>
                <a:gd name="T11" fmla="*/ 0 h 38"/>
                <a:gd name="T12" fmla="*/ 0 w 39"/>
                <a:gd name="T13" fmla="*/ 3 h 38"/>
                <a:gd name="T14" fmla="*/ 0 w 39"/>
                <a:gd name="T15" fmla="*/ 35 h 38"/>
                <a:gd name="T16" fmla="*/ 4 w 39"/>
                <a:gd name="T17" fmla="*/ 38 h 38"/>
                <a:gd name="T18" fmla="*/ 6 w 39"/>
                <a:gd name="T19" fmla="*/ 6 h 38"/>
                <a:gd name="T20" fmla="*/ 33 w 39"/>
                <a:gd name="T21" fmla="*/ 6 h 38"/>
                <a:gd name="T22" fmla="*/ 33 w 39"/>
                <a:gd name="T23" fmla="*/ 32 h 38"/>
                <a:gd name="T24" fmla="*/ 6 w 39"/>
                <a:gd name="T25" fmla="*/ 32 h 38"/>
                <a:gd name="T26" fmla="*/ 6 w 39"/>
                <a:gd name="T27" fmla="*/ 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8">
                  <a:moveTo>
                    <a:pt x="4" y="38"/>
                  </a:moveTo>
                  <a:cubicBezTo>
                    <a:pt x="36" y="38"/>
                    <a:pt x="36" y="38"/>
                    <a:pt x="36" y="38"/>
                  </a:cubicBezTo>
                  <a:cubicBezTo>
                    <a:pt x="38" y="38"/>
                    <a:pt x="39" y="37"/>
                    <a:pt x="39" y="35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1"/>
                    <a:pt x="38" y="0"/>
                    <a:pt x="3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8"/>
                    <a:pt x="4" y="38"/>
                  </a:cubicBezTo>
                  <a:close/>
                  <a:moveTo>
                    <a:pt x="6" y="6"/>
                  </a:moveTo>
                  <a:cubicBezTo>
                    <a:pt x="33" y="6"/>
                    <a:pt x="33" y="6"/>
                    <a:pt x="33" y="6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6" y="32"/>
                    <a:pt x="6" y="32"/>
                    <a:pt x="6" y="32"/>
                  </a:cubicBez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78">
              <a:extLst>
                <a:ext uri="{FF2B5EF4-FFF2-40B4-BE49-F238E27FC236}">
                  <a16:creationId xmlns:a16="http://schemas.microsoft.com/office/drawing/2014/main" id="{2E045B00-D96E-4D6D-BA87-B3C5E4FFE8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2763" y="4249738"/>
              <a:ext cx="84138" cy="84137"/>
            </a:xfrm>
            <a:custGeom>
              <a:avLst/>
              <a:gdLst>
                <a:gd name="T0" fmla="*/ 3 w 39"/>
                <a:gd name="T1" fmla="*/ 39 h 39"/>
                <a:gd name="T2" fmla="*/ 36 w 39"/>
                <a:gd name="T3" fmla="*/ 39 h 39"/>
                <a:gd name="T4" fmla="*/ 39 w 39"/>
                <a:gd name="T5" fmla="*/ 36 h 39"/>
                <a:gd name="T6" fmla="*/ 39 w 39"/>
                <a:gd name="T7" fmla="*/ 4 h 39"/>
                <a:gd name="T8" fmla="*/ 36 w 39"/>
                <a:gd name="T9" fmla="*/ 0 h 39"/>
                <a:gd name="T10" fmla="*/ 3 w 39"/>
                <a:gd name="T11" fmla="*/ 0 h 39"/>
                <a:gd name="T12" fmla="*/ 0 w 39"/>
                <a:gd name="T13" fmla="*/ 4 h 39"/>
                <a:gd name="T14" fmla="*/ 0 w 39"/>
                <a:gd name="T15" fmla="*/ 36 h 39"/>
                <a:gd name="T16" fmla="*/ 3 w 39"/>
                <a:gd name="T17" fmla="*/ 39 h 39"/>
                <a:gd name="T18" fmla="*/ 6 w 39"/>
                <a:gd name="T19" fmla="*/ 7 h 39"/>
                <a:gd name="T20" fmla="*/ 33 w 39"/>
                <a:gd name="T21" fmla="*/ 7 h 39"/>
                <a:gd name="T22" fmla="*/ 33 w 39"/>
                <a:gd name="T23" fmla="*/ 33 h 39"/>
                <a:gd name="T24" fmla="*/ 7 w 39"/>
                <a:gd name="T25" fmla="*/ 33 h 39"/>
                <a:gd name="T26" fmla="*/ 7 w 39"/>
                <a:gd name="T27" fmla="*/ 7 h 39"/>
                <a:gd name="T28" fmla="*/ 6 w 39"/>
                <a:gd name="T29" fmla="*/ 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39">
                  <a:moveTo>
                    <a:pt x="3" y="39"/>
                  </a:moveTo>
                  <a:cubicBezTo>
                    <a:pt x="36" y="39"/>
                    <a:pt x="36" y="39"/>
                    <a:pt x="36" y="39"/>
                  </a:cubicBezTo>
                  <a:cubicBezTo>
                    <a:pt x="37" y="39"/>
                    <a:pt x="39" y="38"/>
                    <a:pt x="39" y="36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2"/>
                    <a:pt x="38" y="0"/>
                    <a:pt x="36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8"/>
                    <a:pt x="2" y="39"/>
                    <a:pt x="3" y="39"/>
                  </a:cubicBezTo>
                  <a:close/>
                  <a:moveTo>
                    <a:pt x="6" y="7"/>
                  </a:moveTo>
                  <a:cubicBezTo>
                    <a:pt x="33" y="7"/>
                    <a:pt x="33" y="7"/>
                    <a:pt x="33" y="7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6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79">
              <a:extLst>
                <a:ext uri="{FF2B5EF4-FFF2-40B4-BE49-F238E27FC236}">
                  <a16:creationId xmlns:a16="http://schemas.microsoft.com/office/drawing/2014/main" id="{0DAA4CBF-BD55-4EC2-85E2-2AA97A99B0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3888" y="4249738"/>
              <a:ext cx="84138" cy="84137"/>
            </a:xfrm>
            <a:custGeom>
              <a:avLst/>
              <a:gdLst>
                <a:gd name="T0" fmla="*/ 4 w 39"/>
                <a:gd name="T1" fmla="*/ 39 h 39"/>
                <a:gd name="T2" fmla="*/ 36 w 39"/>
                <a:gd name="T3" fmla="*/ 39 h 39"/>
                <a:gd name="T4" fmla="*/ 39 w 39"/>
                <a:gd name="T5" fmla="*/ 36 h 39"/>
                <a:gd name="T6" fmla="*/ 39 w 39"/>
                <a:gd name="T7" fmla="*/ 4 h 39"/>
                <a:gd name="T8" fmla="*/ 36 w 39"/>
                <a:gd name="T9" fmla="*/ 0 h 39"/>
                <a:gd name="T10" fmla="*/ 4 w 39"/>
                <a:gd name="T11" fmla="*/ 0 h 39"/>
                <a:gd name="T12" fmla="*/ 0 w 39"/>
                <a:gd name="T13" fmla="*/ 4 h 39"/>
                <a:gd name="T14" fmla="*/ 0 w 39"/>
                <a:gd name="T15" fmla="*/ 36 h 39"/>
                <a:gd name="T16" fmla="*/ 4 w 39"/>
                <a:gd name="T17" fmla="*/ 39 h 39"/>
                <a:gd name="T18" fmla="*/ 6 w 39"/>
                <a:gd name="T19" fmla="*/ 7 h 39"/>
                <a:gd name="T20" fmla="*/ 33 w 39"/>
                <a:gd name="T21" fmla="*/ 7 h 39"/>
                <a:gd name="T22" fmla="*/ 33 w 39"/>
                <a:gd name="T23" fmla="*/ 33 h 39"/>
                <a:gd name="T24" fmla="*/ 6 w 39"/>
                <a:gd name="T25" fmla="*/ 33 h 39"/>
                <a:gd name="T26" fmla="*/ 6 w 39"/>
                <a:gd name="T27" fmla="*/ 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9">
                  <a:moveTo>
                    <a:pt x="4" y="39"/>
                  </a:moveTo>
                  <a:cubicBezTo>
                    <a:pt x="36" y="39"/>
                    <a:pt x="36" y="39"/>
                    <a:pt x="36" y="39"/>
                  </a:cubicBezTo>
                  <a:cubicBezTo>
                    <a:pt x="38" y="39"/>
                    <a:pt x="39" y="38"/>
                    <a:pt x="39" y="36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2"/>
                    <a:pt x="38" y="0"/>
                    <a:pt x="3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8"/>
                    <a:pt x="2" y="39"/>
                    <a:pt x="4" y="39"/>
                  </a:cubicBezTo>
                  <a:close/>
                  <a:moveTo>
                    <a:pt x="6" y="7"/>
                  </a:moveTo>
                  <a:cubicBezTo>
                    <a:pt x="33" y="7"/>
                    <a:pt x="33" y="7"/>
                    <a:pt x="33" y="7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6" y="33"/>
                    <a:pt x="6" y="33"/>
                    <a:pt x="6" y="33"/>
                  </a:cubicBezTo>
                  <a:lnTo>
                    <a:pt x="6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E891A813-1297-4B85-BA40-AB8BE75E8424}"/>
              </a:ext>
            </a:extLst>
          </p:cNvPr>
          <p:cNvGrpSpPr/>
          <p:nvPr/>
        </p:nvGrpSpPr>
        <p:grpSpPr>
          <a:xfrm>
            <a:off x="9711710" y="2245713"/>
            <a:ext cx="579406" cy="497744"/>
            <a:chOff x="5427662" y="3992563"/>
            <a:chExt cx="709613" cy="609600"/>
          </a:xfrm>
          <a:solidFill>
            <a:schemeClr val="bg1"/>
          </a:solidFill>
        </p:grpSpPr>
        <p:sp>
          <p:nvSpPr>
            <p:cNvPr id="223" name="Freeform 83">
              <a:extLst>
                <a:ext uri="{FF2B5EF4-FFF2-40B4-BE49-F238E27FC236}">
                  <a16:creationId xmlns:a16="http://schemas.microsoft.com/office/drawing/2014/main" id="{4C957B61-447B-4F33-8626-810575785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9575" y="4098925"/>
              <a:ext cx="47625" cy="28575"/>
            </a:xfrm>
            <a:custGeom>
              <a:avLst/>
              <a:gdLst>
                <a:gd name="T0" fmla="*/ 2 w 22"/>
                <a:gd name="T1" fmla="*/ 6 h 13"/>
                <a:gd name="T2" fmla="*/ 17 w 22"/>
                <a:gd name="T3" fmla="*/ 12 h 13"/>
                <a:gd name="T4" fmla="*/ 18 w 22"/>
                <a:gd name="T5" fmla="*/ 13 h 13"/>
                <a:gd name="T6" fmla="*/ 21 w 22"/>
                <a:gd name="T7" fmla="*/ 11 h 13"/>
                <a:gd name="T8" fmla="*/ 19 w 22"/>
                <a:gd name="T9" fmla="*/ 7 h 13"/>
                <a:gd name="T10" fmla="*/ 5 w 22"/>
                <a:gd name="T11" fmla="*/ 0 h 13"/>
                <a:gd name="T12" fmla="*/ 1 w 22"/>
                <a:gd name="T13" fmla="*/ 2 h 13"/>
                <a:gd name="T14" fmla="*/ 2 w 22"/>
                <a:gd name="T1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3">
                  <a:moveTo>
                    <a:pt x="2" y="6"/>
                  </a:moveTo>
                  <a:cubicBezTo>
                    <a:pt x="17" y="12"/>
                    <a:pt x="17" y="12"/>
                    <a:pt x="17" y="12"/>
                  </a:cubicBezTo>
                  <a:cubicBezTo>
                    <a:pt x="17" y="13"/>
                    <a:pt x="18" y="13"/>
                    <a:pt x="18" y="13"/>
                  </a:cubicBezTo>
                  <a:cubicBezTo>
                    <a:pt x="19" y="13"/>
                    <a:pt x="20" y="12"/>
                    <a:pt x="21" y="11"/>
                  </a:cubicBezTo>
                  <a:cubicBezTo>
                    <a:pt x="22" y="9"/>
                    <a:pt x="21" y="8"/>
                    <a:pt x="19" y="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1" y="2"/>
                  </a:cubicBezTo>
                  <a:cubicBezTo>
                    <a:pt x="0" y="3"/>
                    <a:pt x="1" y="5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84">
              <a:extLst>
                <a:ext uri="{FF2B5EF4-FFF2-40B4-BE49-F238E27FC236}">
                  <a16:creationId xmlns:a16="http://schemas.microsoft.com/office/drawing/2014/main" id="{C9EA097D-A688-4BD5-98A3-D5DBDA6EC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075" y="4330700"/>
              <a:ext cx="47625" cy="28575"/>
            </a:xfrm>
            <a:custGeom>
              <a:avLst/>
              <a:gdLst>
                <a:gd name="T0" fmla="*/ 17 w 22"/>
                <a:gd name="T1" fmla="*/ 1 h 13"/>
                <a:gd name="T2" fmla="*/ 2 w 22"/>
                <a:gd name="T3" fmla="*/ 7 h 13"/>
                <a:gd name="T4" fmla="*/ 1 w 22"/>
                <a:gd name="T5" fmla="*/ 11 h 13"/>
                <a:gd name="T6" fmla="*/ 4 w 22"/>
                <a:gd name="T7" fmla="*/ 13 h 13"/>
                <a:gd name="T8" fmla="*/ 5 w 22"/>
                <a:gd name="T9" fmla="*/ 13 h 13"/>
                <a:gd name="T10" fmla="*/ 19 w 22"/>
                <a:gd name="T11" fmla="*/ 6 h 13"/>
                <a:gd name="T12" fmla="*/ 21 w 22"/>
                <a:gd name="T13" fmla="*/ 2 h 13"/>
                <a:gd name="T14" fmla="*/ 17 w 22"/>
                <a:gd name="T15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3">
                  <a:moveTo>
                    <a:pt x="17" y="1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1" y="8"/>
                    <a:pt x="0" y="10"/>
                    <a:pt x="1" y="11"/>
                  </a:cubicBezTo>
                  <a:cubicBezTo>
                    <a:pt x="1" y="12"/>
                    <a:pt x="3" y="13"/>
                    <a:pt x="4" y="13"/>
                  </a:cubicBezTo>
                  <a:cubicBezTo>
                    <a:pt x="4" y="13"/>
                    <a:pt x="5" y="13"/>
                    <a:pt x="5" y="13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1" y="6"/>
                    <a:pt x="22" y="4"/>
                    <a:pt x="21" y="2"/>
                  </a:cubicBezTo>
                  <a:cubicBezTo>
                    <a:pt x="20" y="1"/>
                    <a:pt x="19" y="0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85">
              <a:extLst>
                <a:ext uri="{FF2B5EF4-FFF2-40B4-BE49-F238E27FC236}">
                  <a16:creationId xmlns:a16="http://schemas.microsoft.com/office/drawing/2014/main" id="{B711181D-E447-4612-B400-B3B0B59825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9575" y="4359275"/>
              <a:ext cx="47625" cy="28575"/>
            </a:xfrm>
            <a:custGeom>
              <a:avLst/>
              <a:gdLst>
                <a:gd name="T0" fmla="*/ 21 w 22"/>
                <a:gd name="T1" fmla="*/ 3 h 13"/>
                <a:gd name="T2" fmla="*/ 17 w 22"/>
                <a:gd name="T3" fmla="*/ 1 h 13"/>
                <a:gd name="T4" fmla="*/ 2 w 22"/>
                <a:gd name="T5" fmla="*/ 8 h 13"/>
                <a:gd name="T6" fmla="*/ 1 w 22"/>
                <a:gd name="T7" fmla="*/ 12 h 13"/>
                <a:gd name="T8" fmla="*/ 4 w 22"/>
                <a:gd name="T9" fmla="*/ 13 h 13"/>
                <a:gd name="T10" fmla="*/ 5 w 22"/>
                <a:gd name="T11" fmla="*/ 13 h 13"/>
                <a:gd name="T12" fmla="*/ 19 w 22"/>
                <a:gd name="T13" fmla="*/ 6 h 13"/>
                <a:gd name="T14" fmla="*/ 21 w 22"/>
                <a:gd name="T1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3">
                  <a:moveTo>
                    <a:pt x="21" y="3"/>
                  </a:moveTo>
                  <a:cubicBezTo>
                    <a:pt x="20" y="1"/>
                    <a:pt x="18" y="0"/>
                    <a:pt x="17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10"/>
                    <a:pt x="1" y="12"/>
                  </a:cubicBezTo>
                  <a:cubicBezTo>
                    <a:pt x="1" y="13"/>
                    <a:pt x="2" y="13"/>
                    <a:pt x="4" y="13"/>
                  </a:cubicBezTo>
                  <a:cubicBezTo>
                    <a:pt x="4" y="13"/>
                    <a:pt x="4" y="13"/>
                    <a:pt x="5" y="13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1" y="6"/>
                    <a:pt x="22" y="4"/>
                    <a:pt x="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86">
              <a:extLst>
                <a:ext uri="{FF2B5EF4-FFF2-40B4-BE49-F238E27FC236}">
                  <a16:creationId xmlns:a16="http://schemas.microsoft.com/office/drawing/2014/main" id="{9D3741D4-53D7-4E97-99D7-BFBAAFDA74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1950" y="4389438"/>
              <a:ext cx="52388" cy="20638"/>
            </a:xfrm>
            <a:custGeom>
              <a:avLst/>
              <a:gdLst>
                <a:gd name="T0" fmla="*/ 14 w 24"/>
                <a:gd name="T1" fmla="*/ 2 h 9"/>
                <a:gd name="T2" fmla="*/ 10 w 24"/>
                <a:gd name="T3" fmla="*/ 0 h 9"/>
                <a:gd name="T4" fmla="*/ 2 w 24"/>
                <a:gd name="T5" fmla="*/ 4 h 9"/>
                <a:gd name="T6" fmla="*/ 1 w 24"/>
                <a:gd name="T7" fmla="*/ 8 h 9"/>
                <a:gd name="T8" fmla="*/ 4 w 24"/>
                <a:gd name="T9" fmla="*/ 9 h 9"/>
                <a:gd name="T10" fmla="*/ 4 w 24"/>
                <a:gd name="T11" fmla="*/ 9 h 9"/>
                <a:gd name="T12" fmla="*/ 5 w 24"/>
                <a:gd name="T13" fmla="*/ 9 h 9"/>
                <a:gd name="T14" fmla="*/ 21 w 24"/>
                <a:gd name="T15" fmla="*/ 9 h 9"/>
                <a:gd name="T16" fmla="*/ 24 w 24"/>
                <a:gd name="T17" fmla="*/ 6 h 9"/>
                <a:gd name="T18" fmla="*/ 21 w 24"/>
                <a:gd name="T19" fmla="*/ 3 h 9"/>
                <a:gd name="T20" fmla="*/ 14 w 24"/>
                <a:gd name="T21" fmla="*/ 3 h 9"/>
                <a:gd name="T22" fmla="*/ 14 w 24"/>
                <a:gd name="T2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9">
                  <a:moveTo>
                    <a:pt x="14" y="2"/>
                  </a:moveTo>
                  <a:cubicBezTo>
                    <a:pt x="13" y="0"/>
                    <a:pt x="11" y="0"/>
                    <a:pt x="10" y="0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6"/>
                    <a:pt x="1" y="8"/>
                  </a:cubicBezTo>
                  <a:cubicBezTo>
                    <a:pt x="1" y="9"/>
                    <a:pt x="3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3" y="9"/>
                    <a:pt x="24" y="8"/>
                    <a:pt x="24" y="6"/>
                  </a:cubicBezTo>
                  <a:cubicBezTo>
                    <a:pt x="24" y="5"/>
                    <a:pt x="23" y="3"/>
                    <a:pt x="21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2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87">
              <a:extLst>
                <a:ext uri="{FF2B5EF4-FFF2-40B4-BE49-F238E27FC236}">
                  <a16:creationId xmlns:a16="http://schemas.microsoft.com/office/drawing/2014/main" id="{4DC8E242-44DC-469F-8A8B-1C2F27F6B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150" y="4359275"/>
              <a:ext cx="47625" cy="28575"/>
            </a:xfrm>
            <a:custGeom>
              <a:avLst/>
              <a:gdLst>
                <a:gd name="T0" fmla="*/ 18 w 22"/>
                <a:gd name="T1" fmla="*/ 13 h 13"/>
                <a:gd name="T2" fmla="*/ 21 w 22"/>
                <a:gd name="T3" fmla="*/ 12 h 13"/>
                <a:gd name="T4" fmla="*/ 20 w 22"/>
                <a:gd name="T5" fmla="*/ 8 h 13"/>
                <a:gd name="T6" fmla="*/ 5 w 22"/>
                <a:gd name="T7" fmla="*/ 1 h 13"/>
                <a:gd name="T8" fmla="*/ 1 w 22"/>
                <a:gd name="T9" fmla="*/ 3 h 13"/>
                <a:gd name="T10" fmla="*/ 3 w 22"/>
                <a:gd name="T11" fmla="*/ 6 h 13"/>
                <a:gd name="T12" fmla="*/ 17 w 22"/>
                <a:gd name="T13" fmla="*/ 13 h 13"/>
                <a:gd name="T14" fmla="*/ 18 w 22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3">
                  <a:moveTo>
                    <a:pt x="18" y="13"/>
                  </a:moveTo>
                  <a:cubicBezTo>
                    <a:pt x="19" y="13"/>
                    <a:pt x="21" y="13"/>
                    <a:pt x="21" y="12"/>
                  </a:cubicBezTo>
                  <a:cubicBezTo>
                    <a:pt x="22" y="10"/>
                    <a:pt x="21" y="8"/>
                    <a:pt x="20" y="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8" y="13"/>
                    <a:pt x="1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88">
              <a:extLst>
                <a:ext uri="{FF2B5EF4-FFF2-40B4-BE49-F238E27FC236}">
                  <a16:creationId xmlns:a16="http://schemas.microsoft.com/office/drawing/2014/main" id="{4DB1918F-88F5-4C85-96C9-1161A8B10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2650" y="4330700"/>
              <a:ext cx="47625" cy="28575"/>
            </a:xfrm>
            <a:custGeom>
              <a:avLst/>
              <a:gdLst>
                <a:gd name="T0" fmla="*/ 18 w 22"/>
                <a:gd name="T1" fmla="*/ 13 h 13"/>
                <a:gd name="T2" fmla="*/ 21 w 22"/>
                <a:gd name="T3" fmla="*/ 11 h 13"/>
                <a:gd name="T4" fmla="*/ 19 w 22"/>
                <a:gd name="T5" fmla="*/ 7 h 13"/>
                <a:gd name="T6" fmla="*/ 5 w 22"/>
                <a:gd name="T7" fmla="*/ 1 h 13"/>
                <a:gd name="T8" fmla="*/ 1 w 22"/>
                <a:gd name="T9" fmla="*/ 2 h 13"/>
                <a:gd name="T10" fmla="*/ 2 w 22"/>
                <a:gd name="T11" fmla="*/ 6 h 13"/>
                <a:gd name="T12" fmla="*/ 17 w 22"/>
                <a:gd name="T13" fmla="*/ 13 h 13"/>
                <a:gd name="T14" fmla="*/ 18 w 22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3">
                  <a:moveTo>
                    <a:pt x="18" y="13"/>
                  </a:moveTo>
                  <a:cubicBezTo>
                    <a:pt x="19" y="13"/>
                    <a:pt x="20" y="12"/>
                    <a:pt x="21" y="11"/>
                  </a:cubicBezTo>
                  <a:cubicBezTo>
                    <a:pt x="22" y="10"/>
                    <a:pt x="21" y="8"/>
                    <a:pt x="19" y="7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0" y="4"/>
                    <a:pt x="1" y="6"/>
                    <a:pt x="2" y="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8" y="13"/>
                    <a:pt x="1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89">
              <a:extLst>
                <a:ext uri="{FF2B5EF4-FFF2-40B4-BE49-F238E27FC236}">
                  <a16:creationId xmlns:a16="http://schemas.microsoft.com/office/drawing/2014/main" id="{17C4E4F3-121D-462D-8694-11D39BFAC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150" y="4098925"/>
              <a:ext cx="47625" cy="28575"/>
            </a:xfrm>
            <a:custGeom>
              <a:avLst/>
              <a:gdLst>
                <a:gd name="T0" fmla="*/ 4 w 22"/>
                <a:gd name="T1" fmla="*/ 13 h 13"/>
                <a:gd name="T2" fmla="*/ 5 w 22"/>
                <a:gd name="T3" fmla="*/ 12 h 13"/>
                <a:gd name="T4" fmla="*/ 20 w 22"/>
                <a:gd name="T5" fmla="*/ 6 h 13"/>
                <a:gd name="T6" fmla="*/ 21 w 22"/>
                <a:gd name="T7" fmla="*/ 2 h 13"/>
                <a:gd name="T8" fmla="*/ 17 w 22"/>
                <a:gd name="T9" fmla="*/ 0 h 13"/>
                <a:gd name="T10" fmla="*/ 3 w 22"/>
                <a:gd name="T11" fmla="*/ 7 h 13"/>
                <a:gd name="T12" fmla="*/ 1 w 22"/>
                <a:gd name="T13" fmla="*/ 11 h 13"/>
                <a:gd name="T14" fmla="*/ 4 w 22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3">
                  <a:moveTo>
                    <a:pt x="4" y="13"/>
                  </a:moveTo>
                  <a:cubicBezTo>
                    <a:pt x="4" y="13"/>
                    <a:pt x="5" y="13"/>
                    <a:pt x="5" y="12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1" y="5"/>
                    <a:pt x="22" y="3"/>
                    <a:pt x="21" y="2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8"/>
                    <a:pt x="0" y="9"/>
                    <a:pt x="1" y="11"/>
                  </a:cubicBezTo>
                  <a:cubicBezTo>
                    <a:pt x="2" y="12"/>
                    <a:pt x="3" y="13"/>
                    <a:pt x="4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90">
              <a:extLst>
                <a:ext uri="{FF2B5EF4-FFF2-40B4-BE49-F238E27FC236}">
                  <a16:creationId xmlns:a16="http://schemas.microsoft.com/office/drawing/2014/main" id="{6AD932D8-1472-4DF6-8B23-3BF241C18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7113" y="4238625"/>
              <a:ext cx="12700" cy="47625"/>
            </a:xfrm>
            <a:custGeom>
              <a:avLst/>
              <a:gdLst>
                <a:gd name="T0" fmla="*/ 6 w 6"/>
                <a:gd name="T1" fmla="*/ 3 h 22"/>
                <a:gd name="T2" fmla="*/ 3 w 6"/>
                <a:gd name="T3" fmla="*/ 0 h 22"/>
                <a:gd name="T4" fmla="*/ 0 w 6"/>
                <a:gd name="T5" fmla="*/ 3 h 22"/>
                <a:gd name="T6" fmla="*/ 0 w 6"/>
                <a:gd name="T7" fmla="*/ 19 h 22"/>
                <a:gd name="T8" fmla="*/ 3 w 6"/>
                <a:gd name="T9" fmla="*/ 22 h 22"/>
                <a:gd name="T10" fmla="*/ 6 w 6"/>
                <a:gd name="T11" fmla="*/ 19 h 22"/>
                <a:gd name="T12" fmla="*/ 6 w 6"/>
                <a:gd name="T13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6" y="3"/>
                  </a:moveTo>
                  <a:cubicBezTo>
                    <a:pt x="6" y="1"/>
                    <a:pt x="5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2" y="22"/>
                    <a:pt x="3" y="22"/>
                  </a:cubicBezTo>
                  <a:cubicBezTo>
                    <a:pt x="5" y="22"/>
                    <a:pt x="6" y="20"/>
                    <a:pt x="6" y="19"/>
                  </a:cubicBez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91">
              <a:extLst>
                <a:ext uri="{FF2B5EF4-FFF2-40B4-BE49-F238E27FC236}">
                  <a16:creationId xmlns:a16="http://schemas.microsoft.com/office/drawing/2014/main" id="{F966B35D-8C57-4BBF-B8AC-49B9E8686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7113" y="4098925"/>
              <a:ext cx="12700" cy="47625"/>
            </a:xfrm>
            <a:custGeom>
              <a:avLst/>
              <a:gdLst>
                <a:gd name="T0" fmla="*/ 6 w 6"/>
                <a:gd name="T1" fmla="*/ 3 h 22"/>
                <a:gd name="T2" fmla="*/ 3 w 6"/>
                <a:gd name="T3" fmla="*/ 0 h 22"/>
                <a:gd name="T4" fmla="*/ 0 w 6"/>
                <a:gd name="T5" fmla="*/ 3 h 22"/>
                <a:gd name="T6" fmla="*/ 0 w 6"/>
                <a:gd name="T7" fmla="*/ 19 h 22"/>
                <a:gd name="T8" fmla="*/ 3 w 6"/>
                <a:gd name="T9" fmla="*/ 22 h 22"/>
                <a:gd name="T10" fmla="*/ 6 w 6"/>
                <a:gd name="T11" fmla="*/ 19 h 22"/>
                <a:gd name="T12" fmla="*/ 6 w 6"/>
                <a:gd name="T13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6" y="3"/>
                  </a:moveTo>
                  <a:cubicBezTo>
                    <a:pt x="6" y="1"/>
                    <a:pt x="5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2" y="22"/>
                    <a:pt x="3" y="22"/>
                  </a:cubicBezTo>
                  <a:cubicBezTo>
                    <a:pt x="5" y="22"/>
                    <a:pt x="6" y="20"/>
                    <a:pt x="6" y="19"/>
                  </a:cubicBez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92">
              <a:extLst>
                <a:ext uri="{FF2B5EF4-FFF2-40B4-BE49-F238E27FC236}">
                  <a16:creationId xmlns:a16="http://schemas.microsoft.com/office/drawing/2014/main" id="{28525E3D-EA7B-4AD7-A9A6-AACCCF759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2125" y="4078288"/>
              <a:ext cx="47625" cy="12700"/>
            </a:xfrm>
            <a:custGeom>
              <a:avLst/>
              <a:gdLst>
                <a:gd name="T0" fmla="*/ 3 w 22"/>
                <a:gd name="T1" fmla="*/ 6 h 6"/>
                <a:gd name="T2" fmla="*/ 19 w 22"/>
                <a:gd name="T3" fmla="*/ 6 h 6"/>
                <a:gd name="T4" fmla="*/ 22 w 22"/>
                <a:gd name="T5" fmla="*/ 3 h 6"/>
                <a:gd name="T6" fmla="*/ 19 w 22"/>
                <a:gd name="T7" fmla="*/ 0 h 6"/>
                <a:gd name="T8" fmla="*/ 3 w 22"/>
                <a:gd name="T9" fmla="*/ 0 h 6"/>
                <a:gd name="T10" fmla="*/ 0 w 22"/>
                <a:gd name="T11" fmla="*/ 3 h 6"/>
                <a:gd name="T12" fmla="*/ 3 w 2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3" y="6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20" y="6"/>
                    <a:pt x="22" y="5"/>
                    <a:pt x="22" y="3"/>
                  </a:cubicBezTo>
                  <a:cubicBezTo>
                    <a:pt x="22" y="1"/>
                    <a:pt x="20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93">
              <a:extLst>
                <a:ext uri="{FF2B5EF4-FFF2-40B4-BE49-F238E27FC236}">
                  <a16:creationId xmlns:a16="http://schemas.microsoft.com/office/drawing/2014/main" id="{084D876A-A847-410F-A3E3-E794952CB6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7900" y="4078288"/>
              <a:ext cx="63500" cy="19050"/>
            </a:xfrm>
            <a:custGeom>
              <a:avLst/>
              <a:gdLst>
                <a:gd name="T0" fmla="*/ 3 w 29"/>
                <a:gd name="T1" fmla="*/ 6 h 9"/>
                <a:gd name="T2" fmla="*/ 15 w 29"/>
                <a:gd name="T3" fmla="*/ 6 h 9"/>
                <a:gd name="T4" fmla="*/ 15 w 29"/>
                <a:gd name="T5" fmla="*/ 8 h 9"/>
                <a:gd name="T6" fmla="*/ 18 w 29"/>
                <a:gd name="T7" fmla="*/ 9 h 9"/>
                <a:gd name="T8" fmla="*/ 19 w 29"/>
                <a:gd name="T9" fmla="*/ 9 h 9"/>
                <a:gd name="T10" fmla="*/ 26 w 29"/>
                <a:gd name="T11" fmla="*/ 6 h 9"/>
                <a:gd name="T12" fmla="*/ 28 w 29"/>
                <a:gd name="T13" fmla="*/ 2 h 9"/>
                <a:gd name="T14" fmla="*/ 24 w 29"/>
                <a:gd name="T15" fmla="*/ 0 h 9"/>
                <a:gd name="T16" fmla="*/ 21 w 29"/>
                <a:gd name="T17" fmla="*/ 1 h 9"/>
                <a:gd name="T18" fmla="*/ 19 w 29"/>
                <a:gd name="T19" fmla="*/ 0 h 9"/>
                <a:gd name="T20" fmla="*/ 3 w 29"/>
                <a:gd name="T21" fmla="*/ 0 h 9"/>
                <a:gd name="T22" fmla="*/ 0 w 29"/>
                <a:gd name="T23" fmla="*/ 3 h 9"/>
                <a:gd name="T24" fmla="*/ 3 w 29"/>
                <a:gd name="T2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9">
                  <a:moveTo>
                    <a:pt x="3" y="6"/>
                  </a:moveTo>
                  <a:cubicBezTo>
                    <a:pt x="15" y="6"/>
                    <a:pt x="15" y="6"/>
                    <a:pt x="15" y="6"/>
                  </a:cubicBezTo>
                  <a:cubicBezTo>
                    <a:pt x="15" y="7"/>
                    <a:pt x="15" y="7"/>
                    <a:pt x="15" y="8"/>
                  </a:cubicBezTo>
                  <a:cubicBezTo>
                    <a:pt x="16" y="9"/>
                    <a:pt x="17" y="9"/>
                    <a:pt x="18" y="9"/>
                  </a:cubicBezTo>
                  <a:cubicBezTo>
                    <a:pt x="18" y="9"/>
                    <a:pt x="19" y="9"/>
                    <a:pt x="19" y="9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8" y="5"/>
                    <a:pt x="29" y="3"/>
                    <a:pt x="28" y="2"/>
                  </a:cubicBezTo>
                  <a:cubicBezTo>
                    <a:pt x="27" y="0"/>
                    <a:pt x="25" y="0"/>
                    <a:pt x="24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0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94">
              <a:extLst>
                <a:ext uri="{FF2B5EF4-FFF2-40B4-BE49-F238E27FC236}">
                  <a16:creationId xmlns:a16="http://schemas.microsoft.com/office/drawing/2014/main" id="{C5455E9C-ADEB-4C57-92CA-D7EF16E59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9638" y="4078288"/>
              <a:ext cx="47625" cy="12700"/>
            </a:xfrm>
            <a:custGeom>
              <a:avLst/>
              <a:gdLst>
                <a:gd name="T0" fmla="*/ 3 w 22"/>
                <a:gd name="T1" fmla="*/ 6 h 6"/>
                <a:gd name="T2" fmla="*/ 19 w 22"/>
                <a:gd name="T3" fmla="*/ 6 h 6"/>
                <a:gd name="T4" fmla="*/ 22 w 22"/>
                <a:gd name="T5" fmla="*/ 3 h 6"/>
                <a:gd name="T6" fmla="*/ 19 w 22"/>
                <a:gd name="T7" fmla="*/ 0 h 6"/>
                <a:gd name="T8" fmla="*/ 3 w 22"/>
                <a:gd name="T9" fmla="*/ 0 h 6"/>
                <a:gd name="T10" fmla="*/ 0 w 22"/>
                <a:gd name="T11" fmla="*/ 3 h 6"/>
                <a:gd name="T12" fmla="*/ 3 w 2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3" y="6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20" y="6"/>
                    <a:pt x="22" y="5"/>
                    <a:pt x="22" y="3"/>
                  </a:cubicBezTo>
                  <a:cubicBezTo>
                    <a:pt x="22" y="1"/>
                    <a:pt x="20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95">
              <a:extLst>
                <a:ext uri="{FF2B5EF4-FFF2-40B4-BE49-F238E27FC236}">
                  <a16:creationId xmlns:a16="http://schemas.microsoft.com/office/drawing/2014/main" id="{DF05F87F-620A-4A9D-A29B-635D2E2249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7113" y="4168775"/>
              <a:ext cx="12700" cy="47625"/>
            </a:xfrm>
            <a:custGeom>
              <a:avLst/>
              <a:gdLst>
                <a:gd name="T0" fmla="*/ 6 w 6"/>
                <a:gd name="T1" fmla="*/ 3 h 22"/>
                <a:gd name="T2" fmla="*/ 3 w 6"/>
                <a:gd name="T3" fmla="*/ 0 h 22"/>
                <a:gd name="T4" fmla="*/ 0 w 6"/>
                <a:gd name="T5" fmla="*/ 3 h 22"/>
                <a:gd name="T6" fmla="*/ 0 w 6"/>
                <a:gd name="T7" fmla="*/ 19 h 22"/>
                <a:gd name="T8" fmla="*/ 3 w 6"/>
                <a:gd name="T9" fmla="*/ 22 h 22"/>
                <a:gd name="T10" fmla="*/ 6 w 6"/>
                <a:gd name="T11" fmla="*/ 19 h 22"/>
                <a:gd name="T12" fmla="*/ 6 w 6"/>
                <a:gd name="T13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6" y="3"/>
                  </a:moveTo>
                  <a:cubicBezTo>
                    <a:pt x="6" y="1"/>
                    <a:pt x="5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2" y="22"/>
                    <a:pt x="3" y="22"/>
                  </a:cubicBezTo>
                  <a:cubicBezTo>
                    <a:pt x="5" y="22"/>
                    <a:pt x="6" y="20"/>
                    <a:pt x="6" y="19"/>
                  </a:cubicBez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96">
              <a:extLst>
                <a:ext uri="{FF2B5EF4-FFF2-40B4-BE49-F238E27FC236}">
                  <a16:creationId xmlns:a16="http://schemas.microsoft.com/office/drawing/2014/main" id="{13CB24A3-5131-4C83-BF10-B39D58424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2488" y="4395788"/>
              <a:ext cx="47625" cy="14288"/>
            </a:xfrm>
            <a:custGeom>
              <a:avLst/>
              <a:gdLst>
                <a:gd name="T0" fmla="*/ 3 w 22"/>
                <a:gd name="T1" fmla="*/ 0 h 6"/>
                <a:gd name="T2" fmla="*/ 0 w 22"/>
                <a:gd name="T3" fmla="*/ 3 h 6"/>
                <a:gd name="T4" fmla="*/ 3 w 22"/>
                <a:gd name="T5" fmla="*/ 6 h 6"/>
                <a:gd name="T6" fmla="*/ 19 w 22"/>
                <a:gd name="T7" fmla="*/ 6 h 6"/>
                <a:gd name="T8" fmla="*/ 22 w 22"/>
                <a:gd name="T9" fmla="*/ 3 h 6"/>
                <a:gd name="T10" fmla="*/ 19 w 22"/>
                <a:gd name="T11" fmla="*/ 0 h 6"/>
                <a:gd name="T12" fmla="*/ 3 w 22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3" y="0"/>
                  </a:moveTo>
                  <a:cubicBezTo>
                    <a:pt x="2" y="0"/>
                    <a:pt x="0" y="2"/>
                    <a:pt x="0" y="3"/>
                  </a:cubicBezTo>
                  <a:cubicBezTo>
                    <a:pt x="0" y="5"/>
                    <a:pt x="2" y="6"/>
                    <a:pt x="3" y="6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1" y="6"/>
                    <a:pt x="22" y="5"/>
                    <a:pt x="22" y="3"/>
                  </a:cubicBezTo>
                  <a:cubicBezTo>
                    <a:pt x="22" y="2"/>
                    <a:pt x="21" y="0"/>
                    <a:pt x="19" y="0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97">
              <a:extLst>
                <a:ext uri="{FF2B5EF4-FFF2-40B4-BE49-F238E27FC236}">
                  <a16:creationId xmlns:a16="http://schemas.microsoft.com/office/drawing/2014/main" id="{48E6CD64-535F-4326-BE3E-AD75B8287C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5125" y="4330700"/>
              <a:ext cx="12700" cy="47625"/>
            </a:xfrm>
            <a:custGeom>
              <a:avLst/>
              <a:gdLst>
                <a:gd name="T0" fmla="*/ 3 w 6"/>
                <a:gd name="T1" fmla="*/ 22 h 22"/>
                <a:gd name="T2" fmla="*/ 6 w 6"/>
                <a:gd name="T3" fmla="*/ 19 h 22"/>
                <a:gd name="T4" fmla="*/ 6 w 6"/>
                <a:gd name="T5" fmla="*/ 3 h 22"/>
                <a:gd name="T6" fmla="*/ 3 w 6"/>
                <a:gd name="T7" fmla="*/ 0 h 22"/>
                <a:gd name="T8" fmla="*/ 0 w 6"/>
                <a:gd name="T9" fmla="*/ 3 h 22"/>
                <a:gd name="T10" fmla="*/ 0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4" y="22"/>
                    <a:pt x="6" y="21"/>
                    <a:pt x="6" y="19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"/>
                    <a:pt x="4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1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98">
              <a:extLst>
                <a:ext uri="{FF2B5EF4-FFF2-40B4-BE49-F238E27FC236}">
                  <a16:creationId xmlns:a16="http://schemas.microsoft.com/office/drawing/2014/main" id="{84974B28-FDE6-45DC-A7E5-8029A12EE1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75" y="4395788"/>
              <a:ext cx="47625" cy="14288"/>
            </a:xfrm>
            <a:custGeom>
              <a:avLst/>
              <a:gdLst>
                <a:gd name="T0" fmla="*/ 19 w 22"/>
                <a:gd name="T1" fmla="*/ 0 h 6"/>
                <a:gd name="T2" fmla="*/ 3 w 22"/>
                <a:gd name="T3" fmla="*/ 0 h 6"/>
                <a:gd name="T4" fmla="*/ 0 w 22"/>
                <a:gd name="T5" fmla="*/ 3 h 6"/>
                <a:gd name="T6" fmla="*/ 3 w 22"/>
                <a:gd name="T7" fmla="*/ 6 h 6"/>
                <a:gd name="T8" fmla="*/ 19 w 22"/>
                <a:gd name="T9" fmla="*/ 6 h 6"/>
                <a:gd name="T10" fmla="*/ 22 w 22"/>
                <a:gd name="T11" fmla="*/ 3 h 6"/>
                <a:gd name="T12" fmla="*/ 19 w 22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19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2"/>
                    <a:pt x="0" y="3"/>
                  </a:cubicBezTo>
                  <a:cubicBezTo>
                    <a:pt x="0" y="5"/>
                    <a:pt x="2" y="6"/>
                    <a:pt x="3" y="6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1" y="6"/>
                    <a:pt x="22" y="5"/>
                    <a:pt x="22" y="3"/>
                  </a:cubicBezTo>
                  <a:cubicBezTo>
                    <a:pt x="22" y="2"/>
                    <a:pt x="21" y="0"/>
                    <a:pt x="1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99">
              <a:extLst>
                <a:ext uri="{FF2B5EF4-FFF2-40B4-BE49-F238E27FC236}">
                  <a16:creationId xmlns:a16="http://schemas.microsoft.com/office/drawing/2014/main" id="{8504DD05-D760-4992-A154-E4C728567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7113" y="4306888"/>
              <a:ext cx="12700" cy="47625"/>
            </a:xfrm>
            <a:custGeom>
              <a:avLst/>
              <a:gdLst>
                <a:gd name="T0" fmla="*/ 6 w 6"/>
                <a:gd name="T1" fmla="*/ 3 h 22"/>
                <a:gd name="T2" fmla="*/ 3 w 6"/>
                <a:gd name="T3" fmla="*/ 0 h 22"/>
                <a:gd name="T4" fmla="*/ 0 w 6"/>
                <a:gd name="T5" fmla="*/ 3 h 22"/>
                <a:gd name="T6" fmla="*/ 0 w 6"/>
                <a:gd name="T7" fmla="*/ 19 h 22"/>
                <a:gd name="T8" fmla="*/ 3 w 6"/>
                <a:gd name="T9" fmla="*/ 22 h 22"/>
                <a:gd name="T10" fmla="*/ 6 w 6"/>
                <a:gd name="T11" fmla="*/ 19 h 22"/>
                <a:gd name="T12" fmla="*/ 6 w 6"/>
                <a:gd name="T13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6" y="3"/>
                  </a:moveTo>
                  <a:cubicBezTo>
                    <a:pt x="6" y="1"/>
                    <a:pt x="5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2" y="22"/>
                    <a:pt x="3" y="22"/>
                  </a:cubicBezTo>
                  <a:cubicBezTo>
                    <a:pt x="5" y="22"/>
                    <a:pt x="6" y="20"/>
                    <a:pt x="6" y="19"/>
                  </a:cubicBez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00">
              <a:extLst>
                <a:ext uri="{FF2B5EF4-FFF2-40B4-BE49-F238E27FC236}">
                  <a16:creationId xmlns:a16="http://schemas.microsoft.com/office/drawing/2014/main" id="{CDBD54EB-66E9-4D9C-A6FD-A1D480997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2338" y="4395788"/>
              <a:ext cx="47625" cy="14288"/>
            </a:xfrm>
            <a:custGeom>
              <a:avLst/>
              <a:gdLst>
                <a:gd name="T0" fmla="*/ 3 w 22"/>
                <a:gd name="T1" fmla="*/ 6 h 6"/>
                <a:gd name="T2" fmla="*/ 19 w 22"/>
                <a:gd name="T3" fmla="*/ 6 h 6"/>
                <a:gd name="T4" fmla="*/ 22 w 22"/>
                <a:gd name="T5" fmla="*/ 3 h 6"/>
                <a:gd name="T6" fmla="*/ 19 w 22"/>
                <a:gd name="T7" fmla="*/ 0 h 6"/>
                <a:gd name="T8" fmla="*/ 3 w 22"/>
                <a:gd name="T9" fmla="*/ 0 h 6"/>
                <a:gd name="T10" fmla="*/ 0 w 22"/>
                <a:gd name="T11" fmla="*/ 3 h 6"/>
                <a:gd name="T12" fmla="*/ 3 w 2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3" y="6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21" y="6"/>
                    <a:pt x="22" y="5"/>
                    <a:pt x="22" y="3"/>
                  </a:cubicBezTo>
                  <a:cubicBezTo>
                    <a:pt x="22" y="2"/>
                    <a:pt x="21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2"/>
                    <a:pt x="0" y="3"/>
                  </a:cubicBezTo>
                  <a:cubicBezTo>
                    <a:pt x="0" y="5"/>
                    <a:pt x="2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101">
              <a:extLst>
                <a:ext uri="{FF2B5EF4-FFF2-40B4-BE49-F238E27FC236}">
                  <a16:creationId xmlns:a16="http://schemas.microsoft.com/office/drawing/2014/main" id="{44A89345-5E64-4343-B7E9-5BD4FAAE5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5125" y="4192588"/>
              <a:ext cx="12700" cy="47625"/>
            </a:xfrm>
            <a:custGeom>
              <a:avLst/>
              <a:gdLst>
                <a:gd name="T0" fmla="*/ 3 w 6"/>
                <a:gd name="T1" fmla="*/ 22 h 22"/>
                <a:gd name="T2" fmla="*/ 6 w 6"/>
                <a:gd name="T3" fmla="*/ 19 h 22"/>
                <a:gd name="T4" fmla="*/ 6 w 6"/>
                <a:gd name="T5" fmla="*/ 3 h 22"/>
                <a:gd name="T6" fmla="*/ 3 w 6"/>
                <a:gd name="T7" fmla="*/ 0 h 22"/>
                <a:gd name="T8" fmla="*/ 0 w 6"/>
                <a:gd name="T9" fmla="*/ 3 h 22"/>
                <a:gd name="T10" fmla="*/ 0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4" y="22"/>
                    <a:pt x="6" y="21"/>
                    <a:pt x="6" y="19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"/>
                    <a:pt x="4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1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102">
              <a:extLst>
                <a:ext uri="{FF2B5EF4-FFF2-40B4-BE49-F238E27FC236}">
                  <a16:creationId xmlns:a16="http://schemas.microsoft.com/office/drawing/2014/main" id="{C9521D9C-7930-4AA5-BA87-3F257D1AFD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5125" y="4078288"/>
              <a:ext cx="36513" cy="23813"/>
            </a:xfrm>
            <a:custGeom>
              <a:avLst/>
              <a:gdLst>
                <a:gd name="T0" fmla="*/ 3 w 17"/>
                <a:gd name="T1" fmla="*/ 11 h 11"/>
                <a:gd name="T2" fmla="*/ 6 w 17"/>
                <a:gd name="T3" fmla="*/ 8 h 11"/>
                <a:gd name="T4" fmla="*/ 6 w 17"/>
                <a:gd name="T5" fmla="*/ 8 h 11"/>
                <a:gd name="T6" fmla="*/ 9 w 17"/>
                <a:gd name="T7" fmla="*/ 9 h 11"/>
                <a:gd name="T8" fmla="*/ 10 w 17"/>
                <a:gd name="T9" fmla="*/ 9 h 11"/>
                <a:gd name="T10" fmla="*/ 13 w 17"/>
                <a:gd name="T11" fmla="*/ 8 h 11"/>
                <a:gd name="T12" fmla="*/ 13 w 17"/>
                <a:gd name="T13" fmla="*/ 6 h 11"/>
                <a:gd name="T14" fmla="*/ 14 w 17"/>
                <a:gd name="T15" fmla="*/ 6 h 11"/>
                <a:gd name="T16" fmla="*/ 17 w 17"/>
                <a:gd name="T17" fmla="*/ 3 h 11"/>
                <a:gd name="T18" fmla="*/ 14 w 17"/>
                <a:gd name="T19" fmla="*/ 0 h 11"/>
                <a:gd name="T20" fmla="*/ 3 w 17"/>
                <a:gd name="T21" fmla="*/ 0 h 11"/>
                <a:gd name="T22" fmla="*/ 2 w 17"/>
                <a:gd name="T23" fmla="*/ 0 h 11"/>
                <a:gd name="T24" fmla="*/ 2 w 17"/>
                <a:gd name="T25" fmla="*/ 0 h 11"/>
                <a:gd name="T26" fmla="*/ 1 w 17"/>
                <a:gd name="T27" fmla="*/ 1 h 11"/>
                <a:gd name="T28" fmla="*/ 1 w 17"/>
                <a:gd name="T29" fmla="*/ 1 h 11"/>
                <a:gd name="T30" fmla="*/ 0 w 17"/>
                <a:gd name="T31" fmla="*/ 1 h 11"/>
                <a:gd name="T32" fmla="*/ 0 w 17"/>
                <a:gd name="T33" fmla="*/ 2 h 11"/>
                <a:gd name="T34" fmla="*/ 0 w 17"/>
                <a:gd name="T35" fmla="*/ 2 h 11"/>
                <a:gd name="T36" fmla="*/ 0 w 17"/>
                <a:gd name="T37" fmla="*/ 2 h 11"/>
                <a:gd name="T38" fmla="*/ 0 w 17"/>
                <a:gd name="T39" fmla="*/ 3 h 11"/>
                <a:gd name="T40" fmla="*/ 0 w 17"/>
                <a:gd name="T41" fmla="*/ 3 h 11"/>
                <a:gd name="T42" fmla="*/ 0 w 17"/>
                <a:gd name="T43" fmla="*/ 8 h 11"/>
                <a:gd name="T44" fmla="*/ 3 w 17"/>
                <a:gd name="T4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" h="11">
                  <a:moveTo>
                    <a:pt x="3" y="11"/>
                  </a:moveTo>
                  <a:cubicBezTo>
                    <a:pt x="4" y="11"/>
                    <a:pt x="6" y="10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10" y="9"/>
                    <a:pt x="10" y="9"/>
                  </a:cubicBezTo>
                  <a:cubicBezTo>
                    <a:pt x="11" y="9"/>
                    <a:pt x="12" y="9"/>
                    <a:pt x="13" y="8"/>
                  </a:cubicBezTo>
                  <a:cubicBezTo>
                    <a:pt x="13" y="7"/>
                    <a:pt x="13" y="7"/>
                    <a:pt x="13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6"/>
                    <a:pt x="17" y="5"/>
                    <a:pt x="17" y="3"/>
                  </a:cubicBezTo>
                  <a:cubicBezTo>
                    <a:pt x="17" y="1"/>
                    <a:pt x="15" y="0"/>
                    <a:pt x="1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1" y="11"/>
                    <a:pt x="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103">
              <a:extLst>
                <a:ext uri="{FF2B5EF4-FFF2-40B4-BE49-F238E27FC236}">
                  <a16:creationId xmlns:a16="http://schemas.microsoft.com/office/drawing/2014/main" id="{C0144109-424E-4974-AC62-13DE5E8CE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9938" y="4078288"/>
              <a:ext cx="47625" cy="12700"/>
            </a:xfrm>
            <a:custGeom>
              <a:avLst/>
              <a:gdLst>
                <a:gd name="T0" fmla="*/ 3 w 22"/>
                <a:gd name="T1" fmla="*/ 6 h 6"/>
                <a:gd name="T2" fmla="*/ 19 w 22"/>
                <a:gd name="T3" fmla="*/ 6 h 6"/>
                <a:gd name="T4" fmla="*/ 22 w 22"/>
                <a:gd name="T5" fmla="*/ 3 h 6"/>
                <a:gd name="T6" fmla="*/ 19 w 22"/>
                <a:gd name="T7" fmla="*/ 0 h 6"/>
                <a:gd name="T8" fmla="*/ 3 w 22"/>
                <a:gd name="T9" fmla="*/ 0 h 6"/>
                <a:gd name="T10" fmla="*/ 0 w 22"/>
                <a:gd name="T11" fmla="*/ 3 h 6"/>
                <a:gd name="T12" fmla="*/ 3 w 2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3" y="6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20" y="6"/>
                    <a:pt x="22" y="5"/>
                    <a:pt x="22" y="3"/>
                  </a:cubicBezTo>
                  <a:cubicBezTo>
                    <a:pt x="22" y="1"/>
                    <a:pt x="20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104">
              <a:extLst>
                <a:ext uri="{FF2B5EF4-FFF2-40B4-BE49-F238E27FC236}">
                  <a16:creationId xmlns:a16="http://schemas.microsoft.com/office/drawing/2014/main" id="{14CA7280-0CDE-467B-9521-1F8EC7AB9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2275" y="4078288"/>
              <a:ext cx="49213" cy="12700"/>
            </a:xfrm>
            <a:custGeom>
              <a:avLst/>
              <a:gdLst>
                <a:gd name="T0" fmla="*/ 3 w 22"/>
                <a:gd name="T1" fmla="*/ 6 h 6"/>
                <a:gd name="T2" fmla="*/ 19 w 22"/>
                <a:gd name="T3" fmla="*/ 6 h 6"/>
                <a:gd name="T4" fmla="*/ 22 w 22"/>
                <a:gd name="T5" fmla="*/ 3 h 6"/>
                <a:gd name="T6" fmla="*/ 19 w 22"/>
                <a:gd name="T7" fmla="*/ 0 h 6"/>
                <a:gd name="T8" fmla="*/ 3 w 22"/>
                <a:gd name="T9" fmla="*/ 0 h 6"/>
                <a:gd name="T10" fmla="*/ 0 w 22"/>
                <a:gd name="T11" fmla="*/ 3 h 6"/>
                <a:gd name="T12" fmla="*/ 3 w 2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3" y="6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20" y="6"/>
                    <a:pt x="22" y="5"/>
                    <a:pt x="22" y="3"/>
                  </a:cubicBezTo>
                  <a:cubicBezTo>
                    <a:pt x="22" y="1"/>
                    <a:pt x="20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105">
              <a:extLst>
                <a:ext uri="{FF2B5EF4-FFF2-40B4-BE49-F238E27FC236}">
                  <a16:creationId xmlns:a16="http://schemas.microsoft.com/office/drawing/2014/main" id="{4BE0B0C1-1D00-4B55-ACEE-2077DE6A91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2188" y="4376738"/>
              <a:ext cx="47625" cy="33338"/>
            </a:xfrm>
            <a:custGeom>
              <a:avLst/>
              <a:gdLst>
                <a:gd name="T0" fmla="*/ 22 w 22"/>
                <a:gd name="T1" fmla="*/ 3 h 15"/>
                <a:gd name="T2" fmla="*/ 19 w 22"/>
                <a:gd name="T3" fmla="*/ 0 h 15"/>
                <a:gd name="T4" fmla="*/ 16 w 22"/>
                <a:gd name="T5" fmla="*/ 3 h 15"/>
                <a:gd name="T6" fmla="*/ 16 w 22"/>
                <a:gd name="T7" fmla="*/ 8 h 15"/>
                <a:gd name="T8" fmla="*/ 13 w 22"/>
                <a:gd name="T9" fmla="*/ 6 h 15"/>
                <a:gd name="T10" fmla="*/ 9 w 22"/>
                <a:gd name="T11" fmla="*/ 8 h 15"/>
                <a:gd name="T12" fmla="*/ 9 w 22"/>
                <a:gd name="T13" fmla="*/ 9 h 15"/>
                <a:gd name="T14" fmla="*/ 3 w 22"/>
                <a:gd name="T15" fmla="*/ 9 h 15"/>
                <a:gd name="T16" fmla="*/ 0 w 22"/>
                <a:gd name="T17" fmla="*/ 12 h 15"/>
                <a:gd name="T18" fmla="*/ 3 w 22"/>
                <a:gd name="T19" fmla="*/ 15 h 15"/>
                <a:gd name="T20" fmla="*/ 19 w 22"/>
                <a:gd name="T21" fmla="*/ 15 h 15"/>
                <a:gd name="T22" fmla="*/ 19 w 22"/>
                <a:gd name="T23" fmla="*/ 15 h 15"/>
                <a:gd name="T24" fmla="*/ 20 w 22"/>
                <a:gd name="T25" fmla="*/ 15 h 15"/>
                <a:gd name="T26" fmla="*/ 20 w 22"/>
                <a:gd name="T27" fmla="*/ 15 h 15"/>
                <a:gd name="T28" fmla="*/ 21 w 22"/>
                <a:gd name="T29" fmla="*/ 15 h 15"/>
                <a:gd name="T30" fmla="*/ 21 w 22"/>
                <a:gd name="T31" fmla="*/ 14 h 15"/>
                <a:gd name="T32" fmla="*/ 22 w 22"/>
                <a:gd name="T33" fmla="*/ 14 h 15"/>
                <a:gd name="T34" fmla="*/ 22 w 22"/>
                <a:gd name="T35" fmla="*/ 14 h 15"/>
                <a:gd name="T36" fmla="*/ 22 w 22"/>
                <a:gd name="T37" fmla="*/ 13 h 15"/>
                <a:gd name="T38" fmla="*/ 22 w 22"/>
                <a:gd name="T39" fmla="*/ 12 h 15"/>
                <a:gd name="T40" fmla="*/ 22 w 22"/>
                <a:gd name="T41" fmla="*/ 12 h 15"/>
                <a:gd name="T42" fmla="*/ 22 w 22"/>
                <a:gd name="T4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15">
                  <a:moveTo>
                    <a:pt x="22" y="3"/>
                  </a:moveTo>
                  <a:cubicBezTo>
                    <a:pt x="22" y="1"/>
                    <a:pt x="21" y="0"/>
                    <a:pt x="19" y="0"/>
                  </a:cubicBezTo>
                  <a:cubicBezTo>
                    <a:pt x="18" y="0"/>
                    <a:pt x="16" y="1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6"/>
                    <a:pt x="10" y="6"/>
                    <a:pt x="9" y="8"/>
                  </a:cubicBezTo>
                  <a:cubicBezTo>
                    <a:pt x="9" y="8"/>
                    <a:pt x="9" y="9"/>
                    <a:pt x="9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9"/>
                    <a:pt x="0" y="11"/>
                    <a:pt x="0" y="12"/>
                  </a:cubicBezTo>
                  <a:cubicBezTo>
                    <a:pt x="0" y="14"/>
                    <a:pt x="2" y="15"/>
                    <a:pt x="3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5"/>
                    <a:pt x="21" y="15"/>
                    <a:pt x="21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3"/>
                    <a:pt x="22" y="3"/>
                    <a:pt x="2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106">
              <a:extLst>
                <a:ext uri="{FF2B5EF4-FFF2-40B4-BE49-F238E27FC236}">
                  <a16:creationId xmlns:a16="http://schemas.microsoft.com/office/drawing/2014/main" id="{E6B65ECE-6E06-450C-8456-5BD86B0AD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5125" y="4262438"/>
              <a:ext cx="12700" cy="47625"/>
            </a:xfrm>
            <a:custGeom>
              <a:avLst/>
              <a:gdLst>
                <a:gd name="T0" fmla="*/ 3 w 6"/>
                <a:gd name="T1" fmla="*/ 22 h 22"/>
                <a:gd name="T2" fmla="*/ 6 w 6"/>
                <a:gd name="T3" fmla="*/ 19 h 22"/>
                <a:gd name="T4" fmla="*/ 6 w 6"/>
                <a:gd name="T5" fmla="*/ 3 h 22"/>
                <a:gd name="T6" fmla="*/ 3 w 6"/>
                <a:gd name="T7" fmla="*/ 0 h 22"/>
                <a:gd name="T8" fmla="*/ 0 w 6"/>
                <a:gd name="T9" fmla="*/ 3 h 22"/>
                <a:gd name="T10" fmla="*/ 0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4" y="22"/>
                    <a:pt x="6" y="21"/>
                    <a:pt x="6" y="19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"/>
                    <a:pt x="4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1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107">
              <a:extLst>
                <a:ext uri="{FF2B5EF4-FFF2-40B4-BE49-F238E27FC236}">
                  <a16:creationId xmlns:a16="http://schemas.microsoft.com/office/drawing/2014/main" id="{203450B9-6222-46F2-8967-DC3AC6F401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5125" y="4122738"/>
              <a:ext cx="12700" cy="47625"/>
            </a:xfrm>
            <a:custGeom>
              <a:avLst/>
              <a:gdLst>
                <a:gd name="T0" fmla="*/ 3 w 6"/>
                <a:gd name="T1" fmla="*/ 22 h 22"/>
                <a:gd name="T2" fmla="*/ 6 w 6"/>
                <a:gd name="T3" fmla="*/ 19 h 22"/>
                <a:gd name="T4" fmla="*/ 6 w 6"/>
                <a:gd name="T5" fmla="*/ 3 h 22"/>
                <a:gd name="T6" fmla="*/ 3 w 6"/>
                <a:gd name="T7" fmla="*/ 0 h 22"/>
                <a:gd name="T8" fmla="*/ 0 w 6"/>
                <a:gd name="T9" fmla="*/ 3 h 22"/>
                <a:gd name="T10" fmla="*/ 0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4" y="22"/>
                    <a:pt x="6" y="21"/>
                    <a:pt x="6" y="19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"/>
                    <a:pt x="4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1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108">
              <a:extLst>
                <a:ext uri="{FF2B5EF4-FFF2-40B4-BE49-F238E27FC236}">
                  <a16:creationId xmlns:a16="http://schemas.microsoft.com/office/drawing/2014/main" id="{ED37BCD7-5798-4CC3-8A67-454ECDACF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4525" y="4395788"/>
              <a:ext cx="47625" cy="14288"/>
            </a:xfrm>
            <a:custGeom>
              <a:avLst/>
              <a:gdLst>
                <a:gd name="T0" fmla="*/ 19 w 22"/>
                <a:gd name="T1" fmla="*/ 0 h 6"/>
                <a:gd name="T2" fmla="*/ 3 w 22"/>
                <a:gd name="T3" fmla="*/ 0 h 6"/>
                <a:gd name="T4" fmla="*/ 0 w 22"/>
                <a:gd name="T5" fmla="*/ 3 h 6"/>
                <a:gd name="T6" fmla="*/ 3 w 22"/>
                <a:gd name="T7" fmla="*/ 6 h 6"/>
                <a:gd name="T8" fmla="*/ 19 w 22"/>
                <a:gd name="T9" fmla="*/ 6 h 6"/>
                <a:gd name="T10" fmla="*/ 22 w 22"/>
                <a:gd name="T11" fmla="*/ 3 h 6"/>
                <a:gd name="T12" fmla="*/ 19 w 22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19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2"/>
                    <a:pt x="0" y="3"/>
                  </a:cubicBezTo>
                  <a:cubicBezTo>
                    <a:pt x="0" y="5"/>
                    <a:pt x="2" y="6"/>
                    <a:pt x="3" y="6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1" y="6"/>
                    <a:pt x="22" y="5"/>
                    <a:pt x="22" y="3"/>
                  </a:cubicBezTo>
                  <a:cubicBezTo>
                    <a:pt x="22" y="2"/>
                    <a:pt x="21" y="0"/>
                    <a:pt x="1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109">
              <a:extLst>
                <a:ext uri="{FF2B5EF4-FFF2-40B4-BE49-F238E27FC236}">
                  <a16:creationId xmlns:a16="http://schemas.microsoft.com/office/drawing/2014/main" id="{582C6A79-6DE6-4920-83C2-E8F5F1C7FD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4825" y="4395788"/>
              <a:ext cx="47625" cy="14288"/>
            </a:xfrm>
            <a:custGeom>
              <a:avLst/>
              <a:gdLst>
                <a:gd name="T0" fmla="*/ 0 w 22"/>
                <a:gd name="T1" fmla="*/ 3 h 6"/>
                <a:gd name="T2" fmla="*/ 3 w 22"/>
                <a:gd name="T3" fmla="*/ 6 h 6"/>
                <a:gd name="T4" fmla="*/ 19 w 22"/>
                <a:gd name="T5" fmla="*/ 6 h 6"/>
                <a:gd name="T6" fmla="*/ 22 w 22"/>
                <a:gd name="T7" fmla="*/ 3 h 6"/>
                <a:gd name="T8" fmla="*/ 19 w 22"/>
                <a:gd name="T9" fmla="*/ 0 h 6"/>
                <a:gd name="T10" fmla="*/ 3 w 22"/>
                <a:gd name="T11" fmla="*/ 0 h 6"/>
                <a:gd name="T12" fmla="*/ 0 w 22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0" y="3"/>
                  </a:moveTo>
                  <a:cubicBezTo>
                    <a:pt x="0" y="5"/>
                    <a:pt x="2" y="6"/>
                    <a:pt x="3" y="6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1" y="6"/>
                    <a:pt x="22" y="5"/>
                    <a:pt x="22" y="3"/>
                  </a:cubicBezTo>
                  <a:cubicBezTo>
                    <a:pt x="22" y="2"/>
                    <a:pt x="21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2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110">
              <a:extLst>
                <a:ext uri="{FF2B5EF4-FFF2-40B4-BE49-F238E27FC236}">
                  <a16:creationId xmlns:a16="http://schemas.microsoft.com/office/drawing/2014/main" id="{3BD82C56-925E-4821-B08B-0C2801D51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6563" y="4395788"/>
              <a:ext cx="47625" cy="14288"/>
            </a:xfrm>
            <a:custGeom>
              <a:avLst/>
              <a:gdLst>
                <a:gd name="T0" fmla="*/ 0 w 22"/>
                <a:gd name="T1" fmla="*/ 3 h 6"/>
                <a:gd name="T2" fmla="*/ 3 w 22"/>
                <a:gd name="T3" fmla="*/ 6 h 6"/>
                <a:gd name="T4" fmla="*/ 19 w 22"/>
                <a:gd name="T5" fmla="*/ 6 h 6"/>
                <a:gd name="T6" fmla="*/ 22 w 22"/>
                <a:gd name="T7" fmla="*/ 3 h 6"/>
                <a:gd name="T8" fmla="*/ 19 w 22"/>
                <a:gd name="T9" fmla="*/ 0 h 6"/>
                <a:gd name="T10" fmla="*/ 3 w 22"/>
                <a:gd name="T11" fmla="*/ 0 h 6"/>
                <a:gd name="T12" fmla="*/ 0 w 22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0" y="3"/>
                  </a:moveTo>
                  <a:cubicBezTo>
                    <a:pt x="0" y="5"/>
                    <a:pt x="2" y="6"/>
                    <a:pt x="3" y="6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1" y="6"/>
                    <a:pt x="22" y="5"/>
                    <a:pt x="22" y="3"/>
                  </a:cubicBezTo>
                  <a:cubicBezTo>
                    <a:pt x="22" y="2"/>
                    <a:pt x="21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2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111">
              <a:extLst>
                <a:ext uri="{FF2B5EF4-FFF2-40B4-BE49-F238E27FC236}">
                  <a16:creationId xmlns:a16="http://schemas.microsoft.com/office/drawing/2014/main" id="{EEDF3320-53B9-487E-95DD-C57969FEB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0088" y="4078288"/>
              <a:ext cx="49213" cy="12700"/>
            </a:xfrm>
            <a:custGeom>
              <a:avLst/>
              <a:gdLst>
                <a:gd name="T0" fmla="*/ 3 w 22"/>
                <a:gd name="T1" fmla="*/ 6 h 6"/>
                <a:gd name="T2" fmla="*/ 19 w 22"/>
                <a:gd name="T3" fmla="*/ 6 h 6"/>
                <a:gd name="T4" fmla="*/ 22 w 22"/>
                <a:gd name="T5" fmla="*/ 3 h 6"/>
                <a:gd name="T6" fmla="*/ 19 w 22"/>
                <a:gd name="T7" fmla="*/ 0 h 6"/>
                <a:gd name="T8" fmla="*/ 3 w 22"/>
                <a:gd name="T9" fmla="*/ 0 h 6"/>
                <a:gd name="T10" fmla="*/ 0 w 22"/>
                <a:gd name="T11" fmla="*/ 3 h 6"/>
                <a:gd name="T12" fmla="*/ 3 w 2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3" y="6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20" y="6"/>
                    <a:pt x="22" y="5"/>
                    <a:pt x="22" y="3"/>
                  </a:cubicBezTo>
                  <a:cubicBezTo>
                    <a:pt x="22" y="1"/>
                    <a:pt x="20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112">
              <a:extLst>
                <a:ext uri="{FF2B5EF4-FFF2-40B4-BE49-F238E27FC236}">
                  <a16:creationId xmlns:a16="http://schemas.microsoft.com/office/drawing/2014/main" id="{3DB7CA11-18E7-4FA4-8592-30EBC83BC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1825" y="4078288"/>
              <a:ext cx="47625" cy="12700"/>
            </a:xfrm>
            <a:custGeom>
              <a:avLst/>
              <a:gdLst>
                <a:gd name="T0" fmla="*/ 3 w 22"/>
                <a:gd name="T1" fmla="*/ 6 h 6"/>
                <a:gd name="T2" fmla="*/ 19 w 22"/>
                <a:gd name="T3" fmla="*/ 6 h 6"/>
                <a:gd name="T4" fmla="*/ 22 w 22"/>
                <a:gd name="T5" fmla="*/ 3 h 6"/>
                <a:gd name="T6" fmla="*/ 19 w 22"/>
                <a:gd name="T7" fmla="*/ 0 h 6"/>
                <a:gd name="T8" fmla="*/ 3 w 22"/>
                <a:gd name="T9" fmla="*/ 0 h 6"/>
                <a:gd name="T10" fmla="*/ 0 w 22"/>
                <a:gd name="T11" fmla="*/ 3 h 6"/>
                <a:gd name="T12" fmla="*/ 3 w 2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3" y="6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20" y="6"/>
                    <a:pt x="22" y="5"/>
                    <a:pt x="22" y="3"/>
                  </a:cubicBezTo>
                  <a:cubicBezTo>
                    <a:pt x="22" y="1"/>
                    <a:pt x="20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113">
              <a:extLst>
                <a:ext uri="{FF2B5EF4-FFF2-40B4-BE49-F238E27FC236}">
                  <a16:creationId xmlns:a16="http://schemas.microsoft.com/office/drawing/2014/main" id="{0389581B-318C-445B-AD63-001DB57DAC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7662" y="3992563"/>
              <a:ext cx="709613" cy="609600"/>
            </a:xfrm>
            <a:custGeom>
              <a:avLst/>
              <a:gdLst>
                <a:gd name="T0" fmla="*/ 217 w 327"/>
                <a:gd name="T1" fmla="*/ 244 h 281"/>
                <a:gd name="T2" fmla="*/ 215 w 327"/>
                <a:gd name="T3" fmla="*/ 192 h 281"/>
                <a:gd name="T4" fmla="*/ 221 w 327"/>
                <a:gd name="T5" fmla="*/ 187 h 281"/>
                <a:gd name="T6" fmla="*/ 253 w 327"/>
                <a:gd name="T7" fmla="*/ 144 h 281"/>
                <a:gd name="T8" fmla="*/ 258 w 327"/>
                <a:gd name="T9" fmla="*/ 88 h 281"/>
                <a:gd name="T10" fmla="*/ 254 w 327"/>
                <a:gd name="T11" fmla="*/ 74 h 281"/>
                <a:gd name="T12" fmla="*/ 264 w 327"/>
                <a:gd name="T13" fmla="*/ 63 h 281"/>
                <a:gd name="T14" fmla="*/ 248 w 327"/>
                <a:gd name="T15" fmla="*/ 74 h 281"/>
                <a:gd name="T16" fmla="*/ 246 w 327"/>
                <a:gd name="T17" fmla="*/ 45 h 281"/>
                <a:gd name="T18" fmla="*/ 236 w 327"/>
                <a:gd name="T19" fmla="*/ 39 h 281"/>
                <a:gd name="T20" fmla="*/ 102 w 327"/>
                <a:gd name="T21" fmla="*/ 24 h 281"/>
                <a:gd name="T22" fmla="*/ 79 w 327"/>
                <a:gd name="T23" fmla="*/ 73 h 281"/>
                <a:gd name="T24" fmla="*/ 59 w 327"/>
                <a:gd name="T25" fmla="*/ 64 h 281"/>
                <a:gd name="T26" fmla="*/ 72 w 327"/>
                <a:gd name="T27" fmla="*/ 74 h 281"/>
                <a:gd name="T28" fmla="*/ 62 w 327"/>
                <a:gd name="T29" fmla="*/ 100 h 281"/>
                <a:gd name="T30" fmla="*/ 86 w 327"/>
                <a:gd name="T31" fmla="*/ 158 h 281"/>
                <a:gd name="T32" fmla="*/ 105 w 327"/>
                <a:gd name="T33" fmla="*/ 189 h 281"/>
                <a:gd name="T34" fmla="*/ 118 w 327"/>
                <a:gd name="T35" fmla="*/ 197 h 281"/>
                <a:gd name="T36" fmla="*/ 43 w 327"/>
                <a:gd name="T37" fmla="*/ 251 h 281"/>
                <a:gd name="T38" fmla="*/ 4 w 327"/>
                <a:gd name="T39" fmla="*/ 281 h 281"/>
                <a:gd name="T40" fmla="*/ 28 w 327"/>
                <a:gd name="T41" fmla="*/ 258 h 281"/>
                <a:gd name="T42" fmla="*/ 126 w 327"/>
                <a:gd name="T43" fmla="*/ 202 h 281"/>
                <a:gd name="T44" fmla="*/ 210 w 327"/>
                <a:gd name="T45" fmla="*/ 249 h 281"/>
                <a:gd name="T46" fmla="*/ 318 w 327"/>
                <a:gd name="T47" fmla="*/ 278 h 281"/>
                <a:gd name="T48" fmla="*/ 326 w 327"/>
                <a:gd name="T49" fmla="*/ 277 h 281"/>
                <a:gd name="T50" fmla="*/ 123 w 327"/>
                <a:gd name="T51" fmla="*/ 81 h 281"/>
                <a:gd name="T52" fmla="*/ 203 w 327"/>
                <a:gd name="T53" fmla="*/ 147 h 281"/>
                <a:gd name="T54" fmla="*/ 247 w 327"/>
                <a:gd name="T55" fmla="*/ 99 h 281"/>
                <a:gd name="T56" fmla="*/ 258 w 327"/>
                <a:gd name="T57" fmla="*/ 102 h 281"/>
                <a:gd name="T58" fmla="*/ 240 w 327"/>
                <a:gd name="T59" fmla="*/ 150 h 281"/>
                <a:gd name="T60" fmla="*/ 234 w 327"/>
                <a:gd name="T61" fmla="*/ 149 h 281"/>
                <a:gd name="T62" fmla="*/ 99 w 327"/>
                <a:gd name="T63" fmla="*/ 43 h 281"/>
                <a:gd name="T64" fmla="*/ 121 w 327"/>
                <a:gd name="T65" fmla="*/ 42 h 281"/>
                <a:gd name="T66" fmla="*/ 101 w 327"/>
                <a:gd name="T67" fmla="*/ 39 h 281"/>
                <a:gd name="T68" fmla="*/ 220 w 327"/>
                <a:gd name="T69" fmla="*/ 30 h 281"/>
                <a:gd name="T70" fmla="*/ 230 w 327"/>
                <a:gd name="T71" fmla="*/ 45 h 281"/>
                <a:gd name="T72" fmla="*/ 227 w 327"/>
                <a:gd name="T73" fmla="*/ 74 h 281"/>
                <a:gd name="T74" fmla="*/ 99 w 327"/>
                <a:gd name="T75" fmla="*/ 74 h 281"/>
                <a:gd name="T76" fmla="*/ 82 w 327"/>
                <a:gd name="T77" fmla="*/ 140 h 281"/>
                <a:gd name="T78" fmla="*/ 72 w 327"/>
                <a:gd name="T79" fmla="*/ 96 h 281"/>
                <a:gd name="T80" fmla="*/ 92 w 327"/>
                <a:gd name="T81" fmla="*/ 149 h 281"/>
                <a:gd name="T82" fmla="*/ 88 w 327"/>
                <a:gd name="T83" fmla="*/ 150 h 281"/>
                <a:gd name="T84" fmla="*/ 125 w 327"/>
                <a:gd name="T85" fmla="*/ 192 h 281"/>
                <a:gd name="T86" fmla="*/ 118 w 327"/>
                <a:gd name="T87" fmla="*/ 186 h 281"/>
                <a:gd name="T88" fmla="*/ 203 w 327"/>
                <a:gd name="T89" fmla="*/ 161 h 281"/>
                <a:gd name="T90" fmla="*/ 210 w 327"/>
                <a:gd name="T91" fmla="*/ 186 h 281"/>
                <a:gd name="T92" fmla="*/ 203 w 327"/>
                <a:gd name="T93" fmla="*/ 19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7" h="281">
                  <a:moveTo>
                    <a:pt x="300" y="250"/>
                  </a:moveTo>
                  <a:cubicBezTo>
                    <a:pt x="297" y="250"/>
                    <a:pt x="291" y="250"/>
                    <a:pt x="284" y="251"/>
                  </a:cubicBezTo>
                  <a:cubicBezTo>
                    <a:pt x="265" y="252"/>
                    <a:pt x="225" y="254"/>
                    <a:pt x="217" y="244"/>
                  </a:cubicBezTo>
                  <a:cubicBezTo>
                    <a:pt x="205" y="229"/>
                    <a:pt x="209" y="198"/>
                    <a:pt x="209" y="197"/>
                  </a:cubicBezTo>
                  <a:cubicBezTo>
                    <a:pt x="209" y="197"/>
                    <a:pt x="209" y="197"/>
                    <a:pt x="209" y="197"/>
                  </a:cubicBezTo>
                  <a:cubicBezTo>
                    <a:pt x="211" y="196"/>
                    <a:pt x="213" y="194"/>
                    <a:pt x="215" y="192"/>
                  </a:cubicBezTo>
                  <a:cubicBezTo>
                    <a:pt x="220" y="192"/>
                    <a:pt x="220" y="192"/>
                    <a:pt x="220" y="192"/>
                  </a:cubicBezTo>
                  <a:cubicBezTo>
                    <a:pt x="222" y="192"/>
                    <a:pt x="223" y="191"/>
                    <a:pt x="223" y="189"/>
                  </a:cubicBezTo>
                  <a:cubicBezTo>
                    <a:pt x="223" y="188"/>
                    <a:pt x="222" y="187"/>
                    <a:pt x="221" y="187"/>
                  </a:cubicBezTo>
                  <a:cubicBezTo>
                    <a:pt x="227" y="179"/>
                    <a:pt x="232" y="170"/>
                    <a:pt x="235" y="159"/>
                  </a:cubicBezTo>
                  <a:cubicBezTo>
                    <a:pt x="237" y="158"/>
                    <a:pt x="240" y="158"/>
                    <a:pt x="242" y="158"/>
                  </a:cubicBezTo>
                  <a:cubicBezTo>
                    <a:pt x="248" y="156"/>
                    <a:pt x="250" y="150"/>
                    <a:pt x="253" y="144"/>
                  </a:cubicBezTo>
                  <a:cubicBezTo>
                    <a:pt x="255" y="140"/>
                    <a:pt x="257" y="135"/>
                    <a:pt x="261" y="131"/>
                  </a:cubicBezTo>
                  <a:cubicBezTo>
                    <a:pt x="267" y="124"/>
                    <a:pt x="269" y="110"/>
                    <a:pt x="266" y="100"/>
                  </a:cubicBezTo>
                  <a:cubicBezTo>
                    <a:pt x="265" y="95"/>
                    <a:pt x="262" y="90"/>
                    <a:pt x="258" y="88"/>
                  </a:cubicBezTo>
                  <a:cubicBezTo>
                    <a:pt x="258" y="78"/>
                    <a:pt x="258" y="78"/>
                    <a:pt x="258" y="78"/>
                  </a:cubicBezTo>
                  <a:cubicBezTo>
                    <a:pt x="258" y="76"/>
                    <a:pt x="256" y="74"/>
                    <a:pt x="254" y="74"/>
                  </a:cubicBezTo>
                  <a:cubicBezTo>
                    <a:pt x="254" y="74"/>
                    <a:pt x="254" y="74"/>
                    <a:pt x="254" y="74"/>
                  </a:cubicBezTo>
                  <a:cubicBezTo>
                    <a:pt x="266" y="68"/>
                    <a:pt x="266" y="68"/>
                    <a:pt x="266" y="68"/>
                  </a:cubicBezTo>
                  <a:cubicBezTo>
                    <a:pt x="268" y="67"/>
                    <a:pt x="269" y="66"/>
                    <a:pt x="268" y="64"/>
                  </a:cubicBezTo>
                  <a:cubicBezTo>
                    <a:pt x="267" y="63"/>
                    <a:pt x="265" y="62"/>
                    <a:pt x="264" y="63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248" y="70"/>
                    <a:pt x="247" y="72"/>
                    <a:pt x="248" y="73"/>
                  </a:cubicBezTo>
                  <a:cubicBezTo>
                    <a:pt x="248" y="73"/>
                    <a:pt x="248" y="74"/>
                    <a:pt x="248" y="74"/>
                  </a:cubicBezTo>
                  <a:cubicBezTo>
                    <a:pt x="246" y="74"/>
                    <a:pt x="246" y="74"/>
                    <a:pt x="246" y="74"/>
                  </a:cubicBezTo>
                  <a:cubicBezTo>
                    <a:pt x="245" y="64"/>
                    <a:pt x="243" y="54"/>
                    <a:pt x="239" y="45"/>
                  </a:cubicBezTo>
                  <a:cubicBezTo>
                    <a:pt x="246" y="45"/>
                    <a:pt x="246" y="45"/>
                    <a:pt x="246" y="45"/>
                  </a:cubicBezTo>
                  <a:cubicBezTo>
                    <a:pt x="247" y="45"/>
                    <a:pt x="249" y="44"/>
                    <a:pt x="249" y="42"/>
                  </a:cubicBezTo>
                  <a:cubicBezTo>
                    <a:pt x="249" y="40"/>
                    <a:pt x="247" y="39"/>
                    <a:pt x="246" y="39"/>
                  </a:cubicBezTo>
                  <a:cubicBezTo>
                    <a:pt x="236" y="39"/>
                    <a:pt x="236" y="39"/>
                    <a:pt x="236" y="39"/>
                  </a:cubicBezTo>
                  <a:cubicBezTo>
                    <a:pt x="233" y="34"/>
                    <a:pt x="230" y="29"/>
                    <a:pt x="226" y="24"/>
                  </a:cubicBezTo>
                  <a:cubicBezTo>
                    <a:pt x="211" y="8"/>
                    <a:pt x="190" y="0"/>
                    <a:pt x="164" y="0"/>
                  </a:cubicBezTo>
                  <a:cubicBezTo>
                    <a:pt x="138" y="0"/>
                    <a:pt x="117" y="8"/>
                    <a:pt x="102" y="24"/>
                  </a:cubicBezTo>
                  <a:cubicBezTo>
                    <a:pt x="90" y="37"/>
                    <a:pt x="83" y="54"/>
                    <a:pt x="82" y="74"/>
                  </a:cubicBezTo>
                  <a:cubicBezTo>
                    <a:pt x="79" y="74"/>
                    <a:pt x="79" y="74"/>
                    <a:pt x="79" y="74"/>
                  </a:cubicBezTo>
                  <a:cubicBezTo>
                    <a:pt x="79" y="74"/>
                    <a:pt x="79" y="73"/>
                    <a:pt x="79" y="73"/>
                  </a:cubicBezTo>
                  <a:cubicBezTo>
                    <a:pt x="80" y="72"/>
                    <a:pt x="79" y="70"/>
                    <a:pt x="77" y="69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1" y="62"/>
                    <a:pt x="60" y="63"/>
                    <a:pt x="59" y="64"/>
                  </a:cubicBezTo>
                  <a:cubicBezTo>
                    <a:pt x="58" y="66"/>
                    <a:pt x="59" y="67"/>
                    <a:pt x="60" y="68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0" y="74"/>
                    <a:pt x="68" y="76"/>
                    <a:pt x="68" y="78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5" y="92"/>
                    <a:pt x="63" y="95"/>
                    <a:pt x="62" y="100"/>
                  </a:cubicBezTo>
                  <a:cubicBezTo>
                    <a:pt x="59" y="110"/>
                    <a:pt x="61" y="124"/>
                    <a:pt x="67" y="131"/>
                  </a:cubicBezTo>
                  <a:cubicBezTo>
                    <a:pt x="70" y="135"/>
                    <a:pt x="73" y="140"/>
                    <a:pt x="74" y="144"/>
                  </a:cubicBezTo>
                  <a:cubicBezTo>
                    <a:pt x="77" y="150"/>
                    <a:pt x="80" y="156"/>
                    <a:pt x="86" y="158"/>
                  </a:cubicBezTo>
                  <a:cubicBezTo>
                    <a:pt x="88" y="158"/>
                    <a:pt x="90" y="158"/>
                    <a:pt x="92" y="159"/>
                  </a:cubicBezTo>
                  <a:cubicBezTo>
                    <a:pt x="95" y="170"/>
                    <a:pt x="100" y="179"/>
                    <a:pt x="107" y="187"/>
                  </a:cubicBezTo>
                  <a:cubicBezTo>
                    <a:pt x="106" y="187"/>
                    <a:pt x="105" y="188"/>
                    <a:pt x="105" y="189"/>
                  </a:cubicBezTo>
                  <a:cubicBezTo>
                    <a:pt x="105" y="191"/>
                    <a:pt x="107" y="192"/>
                    <a:pt x="108" y="192"/>
                  </a:cubicBezTo>
                  <a:cubicBezTo>
                    <a:pt x="113" y="192"/>
                    <a:pt x="113" y="192"/>
                    <a:pt x="113" y="192"/>
                  </a:cubicBezTo>
                  <a:cubicBezTo>
                    <a:pt x="114" y="194"/>
                    <a:pt x="116" y="195"/>
                    <a:pt x="118" y="19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198"/>
                    <a:pt x="122" y="229"/>
                    <a:pt x="110" y="244"/>
                  </a:cubicBezTo>
                  <a:cubicBezTo>
                    <a:pt x="102" y="254"/>
                    <a:pt x="62" y="252"/>
                    <a:pt x="43" y="251"/>
                  </a:cubicBezTo>
                  <a:cubicBezTo>
                    <a:pt x="35" y="250"/>
                    <a:pt x="30" y="250"/>
                    <a:pt x="27" y="250"/>
                  </a:cubicBezTo>
                  <a:cubicBezTo>
                    <a:pt x="6" y="253"/>
                    <a:pt x="2" y="267"/>
                    <a:pt x="0" y="277"/>
                  </a:cubicBezTo>
                  <a:cubicBezTo>
                    <a:pt x="0" y="279"/>
                    <a:pt x="2" y="281"/>
                    <a:pt x="4" y="281"/>
                  </a:cubicBezTo>
                  <a:cubicBezTo>
                    <a:pt x="4" y="281"/>
                    <a:pt x="4" y="281"/>
                    <a:pt x="4" y="281"/>
                  </a:cubicBezTo>
                  <a:cubicBezTo>
                    <a:pt x="6" y="281"/>
                    <a:pt x="8" y="280"/>
                    <a:pt x="8" y="278"/>
                  </a:cubicBezTo>
                  <a:cubicBezTo>
                    <a:pt x="9" y="269"/>
                    <a:pt x="12" y="260"/>
                    <a:pt x="28" y="258"/>
                  </a:cubicBezTo>
                  <a:cubicBezTo>
                    <a:pt x="30" y="258"/>
                    <a:pt x="36" y="258"/>
                    <a:pt x="43" y="259"/>
                  </a:cubicBezTo>
                  <a:cubicBezTo>
                    <a:pt x="74" y="261"/>
                    <a:pt x="106" y="261"/>
                    <a:pt x="117" y="249"/>
                  </a:cubicBezTo>
                  <a:cubicBezTo>
                    <a:pt x="127" y="235"/>
                    <a:pt x="127" y="213"/>
                    <a:pt x="126" y="202"/>
                  </a:cubicBezTo>
                  <a:cubicBezTo>
                    <a:pt x="138" y="209"/>
                    <a:pt x="152" y="212"/>
                    <a:pt x="164" y="212"/>
                  </a:cubicBezTo>
                  <a:cubicBezTo>
                    <a:pt x="176" y="212"/>
                    <a:pt x="189" y="209"/>
                    <a:pt x="201" y="203"/>
                  </a:cubicBezTo>
                  <a:cubicBezTo>
                    <a:pt x="200" y="213"/>
                    <a:pt x="200" y="236"/>
                    <a:pt x="210" y="249"/>
                  </a:cubicBezTo>
                  <a:cubicBezTo>
                    <a:pt x="221" y="261"/>
                    <a:pt x="252" y="261"/>
                    <a:pt x="284" y="259"/>
                  </a:cubicBezTo>
                  <a:cubicBezTo>
                    <a:pt x="291" y="258"/>
                    <a:pt x="297" y="258"/>
                    <a:pt x="299" y="258"/>
                  </a:cubicBezTo>
                  <a:cubicBezTo>
                    <a:pt x="315" y="260"/>
                    <a:pt x="318" y="269"/>
                    <a:pt x="318" y="278"/>
                  </a:cubicBezTo>
                  <a:cubicBezTo>
                    <a:pt x="319" y="280"/>
                    <a:pt x="320" y="281"/>
                    <a:pt x="322" y="281"/>
                  </a:cubicBezTo>
                  <a:cubicBezTo>
                    <a:pt x="323" y="281"/>
                    <a:pt x="323" y="281"/>
                    <a:pt x="323" y="281"/>
                  </a:cubicBezTo>
                  <a:cubicBezTo>
                    <a:pt x="325" y="281"/>
                    <a:pt x="327" y="279"/>
                    <a:pt x="326" y="277"/>
                  </a:cubicBezTo>
                  <a:cubicBezTo>
                    <a:pt x="325" y="267"/>
                    <a:pt x="321" y="253"/>
                    <a:pt x="300" y="250"/>
                  </a:cubicBezTo>
                  <a:close/>
                  <a:moveTo>
                    <a:pt x="90" y="114"/>
                  </a:moveTo>
                  <a:cubicBezTo>
                    <a:pt x="90" y="96"/>
                    <a:pt x="105" y="81"/>
                    <a:pt x="123" y="81"/>
                  </a:cubicBezTo>
                  <a:cubicBezTo>
                    <a:pt x="203" y="81"/>
                    <a:pt x="203" y="81"/>
                    <a:pt x="203" y="81"/>
                  </a:cubicBezTo>
                  <a:cubicBezTo>
                    <a:pt x="221" y="81"/>
                    <a:pt x="236" y="96"/>
                    <a:pt x="236" y="114"/>
                  </a:cubicBezTo>
                  <a:cubicBezTo>
                    <a:pt x="236" y="132"/>
                    <a:pt x="221" y="147"/>
                    <a:pt x="203" y="147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05" y="147"/>
                    <a:pt x="90" y="132"/>
                    <a:pt x="90" y="114"/>
                  </a:cubicBezTo>
                  <a:close/>
                  <a:moveTo>
                    <a:pt x="247" y="99"/>
                  </a:moveTo>
                  <a:cubicBezTo>
                    <a:pt x="251" y="97"/>
                    <a:pt x="255" y="96"/>
                    <a:pt x="255" y="96"/>
                  </a:cubicBezTo>
                  <a:cubicBezTo>
                    <a:pt x="255" y="96"/>
                    <a:pt x="255" y="96"/>
                    <a:pt x="255" y="96"/>
                  </a:cubicBezTo>
                  <a:cubicBezTo>
                    <a:pt x="257" y="98"/>
                    <a:pt x="258" y="100"/>
                    <a:pt x="258" y="102"/>
                  </a:cubicBezTo>
                  <a:cubicBezTo>
                    <a:pt x="261" y="110"/>
                    <a:pt x="259" y="121"/>
                    <a:pt x="254" y="126"/>
                  </a:cubicBezTo>
                  <a:cubicBezTo>
                    <a:pt x="250" y="131"/>
                    <a:pt x="248" y="136"/>
                    <a:pt x="246" y="140"/>
                  </a:cubicBezTo>
                  <a:cubicBezTo>
                    <a:pt x="244" y="145"/>
                    <a:pt x="242" y="149"/>
                    <a:pt x="240" y="150"/>
                  </a:cubicBezTo>
                  <a:cubicBezTo>
                    <a:pt x="239" y="150"/>
                    <a:pt x="238" y="150"/>
                    <a:pt x="238" y="150"/>
                  </a:cubicBezTo>
                  <a:cubicBezTo>
                    <a:pt x="237" y="150"/>
                    <a:pt x="237" y="150"/>
                    <a:pt x="237" y="150"/>
                  </a:cubicBezTo>
                  <a:cubicBezTo>
                    <a:pt x="234" y="149"/>
                    <a:pt x="234" y="149"/>
                    <a:pt x="234" y="149"/>
                  </a:cubicBezTo>
                  <a:cubicBezTo>
                    <a:pt x="244" y="140"/>
                    <a:pt x="250" y="128"/>
                    <a:pt x="250" y="114"/>
                  </a:cubicBezTo>
                  <a:cubicBezTo>
                    <a:pt x="250" y="109"/>
                    <a:pt x="249" y="104"/>
                    <a:pt x="247" y="99"/>
                  </a:cubicBezTo>
                  <a:close/>
                  <a:moveTo>
                    <a:pt x="99" y="43"/>
                  </a:moveTo>
                  <a:cubicBezTo>
                    <a:pt x="99" y="44"/>
                    <a:pt x="100" y="45"/>
                    <a:pt x="102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9" y="45"/>
                    <a:pt x="121" y="44"/>
                    <a:pt x="121" y="42"/>
                  </a:cubicBezTo>
                  <a:cubicBezTo>
                    <a:pt x="121" y="40"/>
                    <a:pt x="119" y="39"/>
                    <a:pt x="118" y="39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1" y="39"/>
                    <a:pt x="101" y="39"/>
                    <a:pt x="101" y="39"/>
                  </a:cubicBezTo>
                  <a:cubicBezTo>
                    <a:pt x="103" y="36"/>
                    <a:pt x="105" y="33"/>
                    <a:pt x="108" y="30"/>
                  </a:cubicBezTo>
                  <a:cubicBezTo>
                    <a:pt x="121" y="15"/>
                    <a:pt x="140" y="8"/>
                    <a:pt x="164" y="8"/>
                  </a:cubicBezTo>
                  <a:cubicBezTo>
                    <a:pt x="187" y="8"/>
                    <a:pt x="207" y="15"/>
                    <a:pt x="220" y="30"/>
                  </a:cubicBezTo>
                  <a:cubicBezTo>
                    <a:pt x="223" y="33"/>
                    <a:pt x="225" y="36"/>
                    <a:pt x="227" y="40"/>
                  </a:cubicBezTo>
                  <a:cubicBezTo>
                    <a:pt x="227" y="41"/>
                    <a:pt x="227" y="41"/>
                    <a:pt x="227" y="42"/>
                  </a:cubicBezTo>
                  <a:cubicBezTo>
                    <a:pt x="227" y="44"/>
                    <a:pt x="228" y="45"/>
                    <a:pt x="230" y="45"/>
                  </a:cubicBezTo>
                  <a:cubicBezTo>
                    <a:pt x="230" y="45"/>
                    <a:pt x="230" y="45"/>
                    <a:pt x="230" y="45"/>
                  </a:cubicBezTo>
                  <a:cubicBezTo>
                    <a:pt x="234" y="54"/>
                    <a:pt x="237" y="63"/>
                    <a:pt x="237" y="74"/>
                  </a:cubicBezTo>
                  <a:cubicBezTo>
                    <a:pt x="227" y="74"/>
                    <a:pt x="227" y="74"/>
                    <a:pt x="227" y="74"/>
                  </a:cubicBezTo>
                  <a:cubicBezTo>
                    <a:pt x="220" y="69"/>
                    <a:pt x="212" y="67"/>
                    <a:pt x="203" y="67"/>
                  </a:cubicBezTo>
                  <a:cubicBezTo>
                    <a:pt x="123" y="67"/>
                    <a:pt x="123" y="67"/>
                    <a:pt x="123" y="67"/>
                  </a:cubicBezTo>
                  <a:cubicBezTo>
                    <a:pt x="114" y="67"/>
                    <a:pt x="106" y="69"/>
                    <a:pt x="99" y="74"/>
                  </a:cubicBezTo>
                  <a:cubicBezTo>
                    <a:pt x="90" y="74"/>
                    <a:pt x="90" y="74"/>
                    <a:pt x="90" y="74"/>
                  </a:cubicBezTo>
                  <a:cubicBezTo>
                    <a:pt x="91" y="62"/>
                    <a:pt x="94" y="52"/>
                    <a:pt x="99" y="43"/>
                  </a:cubicBezTo>
                  <a:close/>
                  <a:moveTo>
                    <a:pt x="82" y="140"/>
                  </a:moveTo>
                  <a:cubicBezTo>
                    <a:pt x="80" y="136"/>
                    <a:pt x="77" y="131"/>
                    <a:pt x="73" y="126"/>
                  </a:cubicBezTo>
                  <a:cubicBezTo>
                    <a:pt x="69" y="121"/>
                    <a:pt x="67" y="110"/>
                    <a:pt x="69" y="102"/>
                  </a:cubicBezTo>
                  <a:cubicBezTo>
                    <a:pt x="70" y="100"/>
                    <a:pt x="71" y="98"/>
                    <a:pt x="72" y="96"/>
                  </a:cubicBezTo>
                  <a:cubicBezTo>
                    <a:pt x="74" y="97"/>
                    <a:pt x="76" y="98"/>
                    <a:pt x="79" y="99"/>
                  </a:cubicBezTo>
                  <a:cubicBezTo>
                    <a:pt x="77" y="104"/>
                    <a:pt x="76" y="109"/>
                    <a:pt x="76" y="114"/>
                  </a:cubicBezTo>
                  <a:cubicBezTo>
                    <a:pt x="76" y="128"/>
                    <a:pt x="83" y="140"/>
                    <a:pt x="92" y="149"/>
                  </a:cubicBezTo>
                  <a:cubicBezTo>
                    <a:pt x="90" y="150"/>
                    <a:pt x="90" y="150"/>
                    <a:pt x="90" y="150"/>
                  </a:cubicBezTo>
                  <a:cubicBezTo>
                    <a:pt x="90" y="150"/>
                    <a:pt x="90" y="150"/>
                    <a:pt x="90" y="150"/>
                  </a:cubicBezTo>
                  <a:cubicBezTo>
                    <a:pt x="89" y="150"/>
                    <a:pt x="89" y="150"/>
                    <a:pt x="88" y="150"/>
                  </a:cubicBezTo>
                  <a:cubicBezTo>
                    <a:pt x="86" y="149"/>
                    <a:pt x="84" y="145"/>
                    <a:pt x="82" y="140"/>
                  </a:cubicBezTo>
                  <a:close/>
                  <a:moveTo>
                    <a:pt x="164" y="204"/>
                  </a:moveTo>
                  <a:cubicBezTo>
                    <a:pt x="151" y="204"/>
                    <a:pt x="137" y="200"/>
                    <a:pt x="125" y="192"/>
                  </a:cubicBezTo>
                  <a:cubicBezTo>
                    <a:pt x="126" y="192"/>
                    <a:pt x="127" y="191"/>
                    <a:pt x="127" y="189"/>
                  </a:cubicBezTo>
                  <a:cubicBezTo>
                    <a:pt x="127" y="188"/>
                    <a:pt x="126" y="186"/>
                    <a:pt x="124" y="186"/>
                  </a:cubicBezTo>
                  <a:cubicBezTo>
                    <a:pt x="118" y="186"/>
                    <a:pt x="118" y="186"/>
                    <a:pt x="118" y="186"/>
                  </a:cubicBezTo>
                  <a:cubicBezTo>
                    <a:pt x="109" y="179"/>
                    <a:pt x="103" y="168"/>
                    <a:pt x="100" y="154"/>
                  </a:cubicBezTo>
                  <a:cubicBezTo>
                    <a:pt x="107" y="158"/>
                    <a:pt x="115" y="161"/>
                    <a:pt x="123" y="161"/>
                  </a:cubicBezTo>
                  <a:cubicBezTo>
                    <a:pt x="203" y="161"/>
                    <a:pt x="203" y="161"/>
                    <a:pt x="203" y="161"/>
                  </a:cubicBezTo>
                  <a:cubicBezTo>
                    <a:pt x="212" y="161"/>
                    <a:pt x="221" y="158"/>
                    <a:pt x="229" y="153"/>
                  </a:cubicBezTo>
                  <a:cubicBezTo>
                    <a:pt x="228" y="153"/>
                    <a:pt x="228" y="154"/>
                    <a:pt x="228" y="154"/>
                  </a:cubicBezTo>
                  <a:cubicBezTo>
                    <a:pt x="225" y="168"/>
                    <a:pt x="218" y="178"/>
                    <a:pt x="210" y="186"/>
                  </a:cubicBezTo>
                  <a:cubicBezTo>
                    <a:pt x="204" y="186"/>
                    <a:pt x="204" y="186"/>
                    <a:pt x="204" y="186"/>
                  </a:cubicBezTo>
                  <a:cubicBezTo>
                    <a:pt x="203" y="186"/>
                    <a:pt x="201" y="188"/>
                    <a:pt x="201" y="189"/>
                  </a:cubicBezTo>
                  <a:cubicBezTo>
                    <a:pt x="201" y="191"/>
                    <a:pt x="202" y="191"/>
                    <a:pt x="203" y="192"/>
                  </a:cubicBezTo>
                  <a:cubicBezTo>
                    <a:pt x="191" y="200"/>
                    <a:pt x="177" y="204"/>
                    <a:pt x="164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69ED66E9-0621-4A38-A6F3-B213E24B9C0F}"/>
              </a:ext>
            </a:extLst>
          </p:cNvPr>
          <p:cNvGrpSpPr/>
          <p:nvPr/>
        </p:nvGrpSpPr>
        <p:grpSpPr>
          <a:xfrm>
            <a:off x="8907529" y="3246120"/>
            <a:ext cx="490026" cy="490026"/>
            <a:chOff x="5500688" y="3925888"/>
            <a:chExt cx="539750" cy="539750"/>
          </a:xfrm>
          <a:solidFill>
            <a:schemeClr val="bg1"/>
          </a:solidFill>
        </p:grpSpPr>
        <p:sp>
          <p:nvSpPr>
            <p:cNvPr id="263" name="Freeform 117">
              <a:extLst>
                <a:ext uri="{FF2B5EF4-FFF2-40B4-BE49-F238E27FC236}">
                  <a16:creationId xmlns:a16="http://schemas.microsoft.com/office/drawing/2014/main" id="{A4C623FA-8D8F-4447-B9A7-B93C5ABEDE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0688" y="3925888"/>
              <a:ext cx="539750" cy="539750"/>
            </a:xfrm>
            <a:custGeom>
              <a:avLst/>
              <a:gdLst>
                <a:gd name="T0" fmla="*/ 0 w 248"/>
                <a:gd name="T1" fmla="*/ 200 h 248"/>
                <a:gd name="T2" fmla="*/ 112 w 248"/>
                <a:gd name="T3" fmla="*/ 248 h 248"/>
                <a:gd name="T4" fmla="*/ 75 w 248"/>
                <a:gd name="T5" fmla="*/ 165 h 248"/>
                <a:gd name="T6" fmla="*/ 89 w 248"/>
                <a:gd name="T7" fmla="*/ 151 h 248"/>
                <a:gd name="T8" fmla="*/ 130 w 248"/>
                <a:gd name="T9" fmla="*/ 64 h 248"/>
                <a:gd name="T10" fmla="*/ 140 w 248"/>
                <a:gd name="T11" fmla="*/ 132 h 248"/>
                <a:gd name="T12" fmla="*/ 158 w 248"/>
                <a:gd name="T13" fmla="*/ 112 h 248"/>
                <a:gd name="T14" fmla="*/ 168 w 248"/>
                <a:gd name="T15" fmla="*/ 132 h 248"/>
                <a:gd name="T16" fmla="*/ 186 w 248"/>
                <a:gd name="T17" fmla="*/ 116 h 248"/>
                <a:gd name="T18" fmla="*/ 196 w 248"/>
                <a:gd name="T19" fmla="*/ 136 h 248"/>
                <a:gd name="T20" fmla="*/ 214 w 248"/>
                <a:gd name="T21" fmla="*/ 124 h 248"/>
                <a:gd name="T22" fmla="*/ 212 w 248"/>
                <a:gd name="T23" fmla="*/ 232 h 248"/>
                <a:gd name="T24" fmla="*/ 216 w 248"/>
                <a:gd name="T25" fmla="*/ 248 h 248"/>
                <a:gd name="T26" fmla="*/ 232 w 248"/>
                <a:gd name="T27" fmla="*/ 200 h 248"/>
                <a:gd name="T28" fmla="*/ 240 w 248"/>
                <a:gd name="T29" fmla="*/ 8 h 248"/>
                <a:gd name="T30" fmla="*/ 8 w 248"/>
                <a:gd name="T31" fmla="*/ 8 h 248"/>
                <a:gd name="T32" fmla="*/ 64 w 248"/>
                <a:gd name="T33" fmla="*/ 176 h 248"/>
                <a:gd name="T34" fmla="*/ 75 w 248"/>
                <a:gd name="T35" fmla="*/ 176 h 248"/>
                <a:gd name="T36" fmla="*/ 65 w 248"/>
                <a:gd name="T37" fmla="*/ 152 h 248"/>
                <a:gd name="T38" fmla="*/ 48 w 248"/>
                <a:gd name="T39" fmla="*/ 176 h 248"/>
                <a:gd name="T40" fmla="*/ 60 w 248"/>
                <a:gd name="T41" fmla="*/ 164 h 248"/>
                <a:gd name="T42" fmla="*/ 112 w 248"/>
                <a:gd name="T43" fmla="*/ 163 h 248"/>
                <a:gd name="T44" fmla="*/ 48 w 248"/>
                <a:gd name="T45" fmla="*/ 128 h 248"/>
                <a:gd name="T46" fmla="*/ 60 w 248"/>
                <a:gd name="T47" fmla="*/ 116 h 248"/>
                <a:gd name="T48" fmla="*/ 112 w 248"/>
                <a:gd name="T49" fmla="*/ 128 h 248"/>
                <a:gd name="T50" fmla="*/ 64 w 248"/>
                <a:gd name="T51" fmla="*/ 104 h 248"/>
                <a:gd name="T52" fmla="*/ 112 w 248"/>
                <a:gd name="T53" fmla="*/ 80 h 248"/>
                <a:gd name="T54" fmla="*/ 64 w 248"/>
                <a:gd name="T55" fmla="*/ 56 h 248"/>
                <a:gd name="T56" fmla="*/ 208 w 248"/>
                <a:gd name="T57" fmla="*/ 68 h 248"/>
                <a:gd name="T58" fmla="*/ 148 w 248"/>
                <a:gd name="T59" fmla="*/ 74 h 248"/>
                <a:gd name="T60" fmla="*/ 48 w 248"/>
                <a:gd name="T61" fmla="*/ 80 h 248"/>
                <a:gd name="T62" fmla="*/ 60 w 248"/>
                <a:gd name="T63" fmla="*/ 68 h 248"/>
                <a:gd name="T64" fmla="*/ 174 w 248"/>
                <a:gd name="T65" fmla="*/ 113 h 248"/>
                <a:gd name="T66" fmla="*/ 148 w 248"/>
                <a:gd name="T67" fmla="*/ 104 h 248"/>
                <a:gd name="T68" fmla="*/ 208 w 248"/>
                <a:gd name="T69" fmla="*/ 116 h 248"/>
                <a:gd name="T70" fmla="*/ 232 w 248"/>
                <a:gd name="T71" fmla="*/ 192 h 248"/>
                <a:gd name="T72" fmla="*/ 216 w 248"/>
                <a:gd name="T73" fmla="*/ 116 h 248"/>
                <a:gd name="T74" fmla="*/ 148 w 248"/>
                <a:gd name="T75" fmla="*/ 88 h 248"/>
                <a:gd name="T76" fmla="*/ 196 w 248"/>
                <a:gd name="T77" fmla="*/ 48 h 248"/>
                <a:gd name="T78" fmla="*/ 48 w 248"/>
                <a:gd name="T79" fmla="*/ 88 h 248"/>
                <a:gd name="T80" fmla="*/ 48 w 248"/>
                <a:gd name="T81" fmla="*/ 96 h 248"/>
                <a:gd name="T82" fmla="*/ 112 w 248"/>
                <a:gd name="T83" fmla="*/ 136 h 248"/>
                <a:gd name="T84" fmla="*/ 82 w 248"/>
                <a:gd name="T85" fmla="*/ 140 h 248"/>
                <a:gd name="T86" fmla="*/ 28 w 248"/>
                <a:gd name="T87" fmla="*/ 164 h 248"/>
                <a:gd name="T88" fmla="*/ 91 w 248"/>
                <a:gd name="T89" fmla="*/ 192 h 248"/>
                <a:gd name="T90" fmla="*/ 240 w 248"/>
                <a:gd name="T91" fmla="*/ 4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8" h="248">
                  <a:moveTo>
                    <a:pt x="24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99" y="200"/>
                    <a:pt x="99" y="200"/>
                    <a:pt x="99" y="200"/>
                  </a:cubicBezTo>
                  <a:cubicBezTo>
                    <a:pt x="112" y="213"/>
                    <a:pt x="112" y="213"/>
                    <a:pt x="112" y="213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10"/>
                    <a:pt x="120" y="210"/>
                    <a:pt x="120" y="21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3" y="163"/>
                    <a:pt x="72" y="161"/>
                    <a:pt x="72" y="158"/>
                  </a:cubicBezTo>
                  <a:cubicBezTo>
                    <a:pt x="72" y="155"/>
                    <a:pt x="73" y="153"/>
                    <a:pt x="75" y="151"/>
                  </a:cubicBezTo>
                  <a:cubicBezTo>
                    <a:pt x="79" y="147"/>
                    <a:pt x="85" y="147"/>
                    <a:pt x="89" y="151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68"/>
                    <a:pt x="124" y="64"/>
                    <a:pt x="130" y="64"/>
                  </a:cubicBezTo>
                  <a:cubicBezTo>
                    <a:pt x="136" y="64"/>
                    <a:pt x="140" y="68"/>
                    <a:pt x="140" y="74"/>
                  </a:cubicBezTo>
                  <a:cubicBezTo>
                    <a:pt x="140" y="122"/>
                    <a:pt x="140" y="122"/>
                    <a:pt x="140" y="122"/>
                  </a:cubicBezTo>
                  <a:cubicBezTo>
                    <a:pt x="140" y="132"/>
                    <a:pt x="140" y="132"/>
                    <a:pt x="140" y="132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8" y="122"/>
                    <a:pt x="148" y="122"/>
                    <a:pt x="148" y="122"/>
                  </a:cubicBezTo>
                  <a:cubicBezTo>
                    <a:pt x="148" y="116"/>
                    <a:pt x="152" y="112"/>
                    <a:pt x="158" y="112"/>
                  </a:cubicBezTo>
                  <a:cubicBezTo>
                    <a:pt x="164" y="112"/>
                    <a:pt x="168" y="116"/>
                    <a:pt x="168" y="122"/>
                  </a:cubicBezTo>
                  <a:cubicBezTo>
                    <a:pt x="168" y="126"/>
                    <a:pt x="168" y="126"/>
                    <a:pt x="168" y="126"/>
                  </a:cubicBezTo>
                  <a:cubicBezTo>
                    <a:pt x="168" y="132"/>
                    <a:pt x="168" y="132"/>
                    <a:pt x="168" y="132"/>
                  </a:cubicBezTo>
                  <a:cubicBezTo>
                    <a:pt x="176" y="132"/>
                    <a:pt x="176" y="132"/>
                    <a:pt x="176" y="132"/>
                  </a:cubicBezTo>
                  <a:cubicBezTo>
                    <a:pt x="176" y="126"/>
                    <a:pt x="176" y="126"/>
                    <a:pt x="176" y="126"/>
                  </a:cubicBezTo>
                  <a:cubicBezTo>
                    <a:pt x="176" y="120"/>
                    <a:pt x="180" y="116"/>
                    <a:pt x="186" y="116"/>
                  </a:cubicBezTo>
                  <a:cubicBezTo>
                    <a:pt x="192" y="116"/>
                    <a:pt x="196" y="120"/>
                    <a:pt x="196" y="126"/>
                  </a:cubicBezTo>
                  <a:cubicBezTo>
                    <a:pt x="196" y="134"/>
                    <a:pt x="196" y="134"/>
                    <a:pt x="196" y="134"/>
                  </a:cubicBezTo>
                  <a:cubicBezTo>
                    <a:pt x="196" y="136"/>
                    <a:pt x="196" y="136"/>
                    <a:pt x="196" y="136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4" y="128"/>
                    <a:pt x="208" y="124"/>
                    <a:pt x="214" y="124"/>
                  </a:cubicBezTo>
                  <a:cubicBezTo>
                    <a:pt x="220" y="124"/>
                    <a:pt x="224" y="128"/>
                    <a:pt x="224" y="134"/>
                  </a:cubicBezTo>
                  <a:cubicBezTo>
                    <a:pt x="224" y="220"/>
                    <a:pt x="224" y="220"/>
                    <a:pt x="224" y="220"/>
                  </a:cubicBezTo>
                  <a:cubicBezTo>
                    <a:pt x="224" y="227"/>
                    <a:pt x="219" y="232"/>
                    <a:pt x="212" y="232"/>
                  </a:cubicBezTo>
                  <a:cubicBezTo>
                    <a:pt x="208" y="232"/>
                    <a:pt x="208" y="232"/>
                    <a:pt x="208" y="232"/>
                  </a:cubicBezTo>
                  <a:cubicBezTo>
                    <a:pt x="208" y="248"/>
                    <a:pt x="208" y="248"/>
                    <a:pt x="208" y="248"/>
                  </a:cubicBezTo>
                  <a:cubicBezTo>
                    <a:pt x="216" y="248"/>
                    <a:pt x="216" y="248"/>
                    <a:pt x="216" y="248"/>
                  </a:cubicBezTo>
                  <a:cubicBezTo>
                    <a:pt x="216" y="240"/>
                    <a:pt x="216" y="240"/>
                    <a:pt x="216" y="240"/>
                  </a:cubicBezTo>
                  <a:cubicBezTo>
                    <a:pt x="225" y="238"/>
                    <a:pt x="232" y="230"/>
                    <a:pt x="232" y="220"/>
                  </a:cubicBezTo>
                  <a:cubicBezTo>
                    <a:pt x="232" y="200"/>
                    <a:pt x="232" y="200"/>
                    <a:pt x="232" y="200"/>
                  </a:cubicBezTo>
                  <a:cubicBezTo>
                    <a:pt x="248" y="200"/>
                    <a:pt x="248" y="200"/>
                    <a:pt x="248" y="200"/>
                  </a:cubicBezTo>
                  <a:lnTo>
                    <a:pt x="248" y="0"/>
                  </a:lnTo>
                  <a:close/>
                  <a:moveTo>
                    <a:pt x="240" y="8"/>
                  </a:moveTo>
                  <a:cubicBezTo>
                    <a:pt x="240" y="32"/>
                    <a:pt x="240" y="32"/>
                    <a:pt x="240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240" y="8"/>
                  </a:lnTo>
                  <a:close/>
                  <a:moveTo>
                    <a:pt x="75" y="176"/>
                  </a:moveTo>
                  <a:cubicBezTo>
                    <a:pt x="64" y="176"/>
                    <a:pt x="64" y="176"/>
                    <a:pt x="64" y="176"/>
                  </a:cubicBezTo>
                  <a:cubicBezTo>
                    <a:pt x="66" y="174"/>
                    <a:pt x="67" y="171"/>
                    <a:pt x="67" y="169"/>
                  </a:cubicBezTo>
                  <a:cubicBezTo>
                    <a:pt x="68" y="169"/>
                    <a:pt x="69" y="170"/>
                    <a:pt x="69" y="171"/>
                  </a:cubicBezTo>
                  <a:lnTo>
                    <a:pt x="75" y="176"/>
                  </a:lnTo>
                  <a:close/>
                  <a:moveTo>
                    <a:pt x="65" y="153"/>
                  </a:moveTo>
                  <a:cubicBezTo>
                    <a:pt x="64" y="153"/>
                    <a:pt x="64" y="152"/>
                    <a:pt x="64" y="152"/>
                  </a:cubicBezTo>
                  <a:cubicBezTo>
                    <a:pt x="65" y="152"/>
                    <a:pt x="65" y="152"/>
                    <a:pt x="65" y="152"/>
                  </a:cubicBezTo>
                  <a:cubicBezTo>
                    <a:pt x="65" y="152"/>
                    <a:pt x="65" y="153"/>
                    <a:pt x="65" y="153"/>
                  </a:cubicBezTo>
                  <a:close/>
                  <a:moveTo>
                    <a:pt x="60" y="164"/>
                  </a:moveTo>
                  <a:cubicBezTo>
                    <a:pt x="60" y="171"/>
                    <a:pt x="55" y="176"/>
                    <a:pt x="48" y="176"/>
                  </a:cubicBezTo>
                  <a:cubicBezTo>
                    <a:pt x="41" y="176"/>
                    <a:pt x="36" y="171"/>
                    <a:pt x="36" y="164"/>
                  </a:cubicBezTo>
                  <a:cubicBezTo>
                    <a:pt x="36" y="157"/>
                    <a:pt x="41" y="152"/>
                    <a:pt x="48" y="152"/>
                  </a:cubicBezTo>
                  <a:cubicBezTo>
                    <a:pt x="55" y="152"/>
                    <a:pt x="60" y="157"/>
                    <a:pt x="60" y="164"/>
                  </a:cubicBezTo>
                  <a:close/>
                  <a:moveTo>
                    <a:pt x="102" y="152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2" y="163"/>
                    <a:pt x="112" y="163"/>
                    <a:pt x="112" y="163"/>
                  </a:cubicBezTo>
                  <a:lnTo>
                    <a:pt x="102" y="152"/>
                  </a:lnTo>
                  <a:close/>
                  <a:moveTo>
                    <a:pt x="60" y="116"/>
                  </a:moveTo>
                  <a:cubicBezTo>
                    <a:pt x="60" y="123"/>
                    <a:pt x="55" y="128"/>
                    <a:pt x="48" y="128"/>
                  </a:cubicBezTo>
                  <a:cubicBezTo>
                    <a:pt x="41" y="128"/>
                    <a:pt x="36" y="123"/>
                    <a:pt x="36" y="116"/>
                  </a:cubicBezTo>
                  <a:cubicBezTo>
                    <a:pt x="36" y="109"/>
                    <a:pt x="41" y="104"/>
                    <a:pt x="48" y="104"/>
                  </a:cubicBezTo>
                  <a:cubicBezTo>
                    <a:pt x="55" y="104"/>
                    <a:pt x="60" y="109"/>
                    <a:pt x="60" y="116"/>
                  </a:cubicBezTo>
                  <a:close/>
                  <a:moveTo>
                    <a:pt x="64" y="104"/>
                  </a:moveTo>
                  <a:cubicBezTo>
                    <a:pt x="112" y="104"/>
                    <a:pt x="112" y="104"/>
                    <a:pt x="112" y="104"/>
                  </a:cubicBezTo>
                  <a:cubicBezTo>
                    <a:pt x="112" y="128"/>
                    <a:pt x="112" y="128"/>
                    <a:pt x="112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6" y="125"/>
                    <a:pt x="68" y="121"/>
                    <a:pt x="68" y="116"/>
                  </a:cubicBezTo>
                  <a:cubicBezTo>
                    <a:pt x="68" y="111"/>
                    <a:pt x="66" y="107"/>
                    <a:pt x="64" y="104"/>
                  </a:cubicBezTo>
                  <a:close/>
                  <a:moveTo>
                    <a:pt x="130" y="56"/>
                  </a:moveTo>
                  <a:cubicBezTo>
                    <a:pt x="120" y="56"/>
                    <a:pt x="112" y="64"/>
                    <a:pt x="112" y="74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6" y="77"/>
                    <a:pt x="68" y="73"/>
                    <a:pt x="68" y="68"/>
                  </a:cubicBezTo>
                  <a:cubicBezTo>
                    <a:pt x="68" y="63"/>
                    <a:pt x="66" y="59"/>
                    <a:pt x="64" y="56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96" y="56"/>
                    <a:pt x="196" y="56"/>
                    <a:pt x="196" y="56"/>
                  </a:cubicBezTo>
                  <a:cubicBezTo>
                    <a:pt x="203" y="56"/>
                    <a:pt x="208" y="61"/>
                    <a:pt x="208" y="68"/>
                  </a:cubicBezTo>
                  <a:cubicBezTo>
                    <a:pt x="208" y="75"/>
                    <a:pt x="203" y="80"/>
                    <a:pt x="196" y="80"/>
                  </a:cubicBezTo>
                  <a:cubicBezTo>
                    <a:pt x="148" y="80"/>
                    <a:pt x="148" y="80"/>
                    <a:pt x="148" y="80"/>
                  </a:cubicBezTo>
                  <a:cubicBezTo>
                    <a:pt x="148" y="74"/>
                    <a:pt x="148" y="74"/>
                    <a:pt x="148" y="74"/>
                  </a:cubicBezTo>
                  <a:cubicBezTo>
                    <a:pt x="148" y="64"/>
                    <a:pt x="140" y="56"/>
                    <a:pt x="130" y="56"/>
                  </a:cubicBezTo>
                  <a:close/>
                  <a:moveTo>
                    <a:pt x="60" y="68"/>
                  </a:moveTo>
                  <a:cubicBezTo>
                    <a:pt x="60" y="75"/>
                    <a:pt x="55" y="80"/>
                    <a:pt x="48" y="80"/>
                  </a:cubicBezTo>
                  <a:cubicBezTo>
                    <a:pt x="41" y="80"/>
                    <a:pt x="36" y="75"/>
                    <a:pt x="36" y="68"/>
                  </a:cubicBezTo>
                  <a:cubicBezTo>
                    <a:pt x="36" y="61"/>
                    <a:pt x="41" y="56"/>
                    <a:pt x="48" y="56"/>
                  </a:cubicBezTo>
                  <a:cubicBezTo>
                    <a:pt x="55" y="56"/>
                    <a:pt x="60" y="61"/>
                    <a:pt x="60" y="68"/>
                  </a:cubicBezTo>
                  <a:close/>
                  <a:moveTo>
                    <a:pt x="203" y="120"/>
                  </a:moveTo>
                  <a:cubicBezTo>
                    <a:pt x="200" y="113"/>
                    <a:pt x="194" y="108"/>
                    <a:pt x="186" y="108"/>
                  </a:cubicBezTo>
                  <a:cubicBezTo>
                    <a:pt x="181" y="108"/>
                    <a:pt x="177" y="110"/>
                    <a:pt x="174" y="113"/>
                  </a:cubicBezTo>
                  <a:cubicBezTo>
                    <a:pt x="170" y="108"/>
                    <a:pt x="165" y="104"/>
                    <a:pt x="158" y="104"/>
                  </a:cubicBezTo>
                  <a:cubicBezTo>
                    <a:pt x="154" y="104"/>
                    <a:pt x="151" y="105"/>
                    <a:pt x="148" y="107"/>
                  </a:cubicBezTo>
                  <a:cubicBezTo>
                    <a:pt x="148" y="104"/>
                    <a:pt x="148" y="104"/>
                    <a:pt x="148" y="104"/>
                  </a:cubicBezTo>
                  <a:cubicBezTo>
                    <a:pt x="158" y="104"/>
                    <a:pt x="158" y="104"/>
                    <a:pt x="158" y="104"/>
                  </a:cubicBezTo>
                  <a:cubicBezTo>
                    <a:pt x="196" y="104"/>
                    <a:pt x="196" y="104"/>
                    <a:pt x="196" y="104"/>
                  </a:cubicBezTo>
                  <a:cubicBezTo>
                    <a:pt x="203" y="104"/>
                    <a:pt x="208" y="109"/>
                    <a:pt x="208" y="116"/>
                  </a:cubicBezTo>
                  <a:cubicBezTo>
                    <a:pt x="208" y="116"/>
                    <a:pt x="208" y="117"/>
                    <a:pt x="208" y="117"/>
                  </a:cubicBezTo>
                  <a:cubicBezTo>
                    <a:pt x="206" y="118"/>
                    <a:pt x="204" y="119"/>
                    <a:pt x="203" y="120"/>
                  </a:cubicBezTo>
                  <a:close/>
                  <a:moveTo>
                    <a:pt x="232" y="192"/>
                  </a:moveTo>
                  <a:cubicBezTo>
                    <a:pt x="232" y="134"/>
                    <a:pt x="232" y="134"/>
                    <a:pt x="232" y="134"/>
                  </a:cubicBezTo>
                  <a:cubicBezTo>
                    <a:pt x="232" y="125"/>
                    <a:pt x="225" y="117"/>
                    <a:pt x="216" y="116"/>
                  </a:cubicBezTo>
                  <a:cubicBezTo>
                    <a:pt x="216" y="116"/>
                    <a:pt x="216" y="116"/>
                    <a:pt x="216" y="116"/>
                  </a:cubicBezTo>
                  <a:cubicBezTo>
                    <a:pt x="216" y="105"/>
                    <a:pt x="207" y="96"/>
                    <a:pt x="196" y="96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8" y="88"/>
                    <a:pt x="148" y="88"/>
                    <a:pt x="148" y="88"/>
                  </a:cubicBezTo>
                  <a:cubicBezTo>
                    <a:pt x="196" y="88"/>
                    <a:pt x="196" y="88"/>
                    <a:pt x="196" y="88"/>
                  </a:cubicBezTo>
                  <a:cubicBezTo>
                    <a:pt x="207" y="88"/>
                    <a:pt x="216" y="79"/>
                    <a:pt x="216" y="68"/>
                  </a:cubicBezTo>
                  <a:cubicBezTo>
                    <a:pt x="216" y="57"/>
                    <a:pt x="207" y="48"/>
                    <a:pt x="196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37" y="48"/>
                    <a:pt x="28" y="57"/>
                    <a:pt x="28" y="68"/>
                  </a:cubicBezTo>
                  <a:cubicBezTo>
                    <a:pt x="28" y="79"/>
                    <a:pt x="37" y="88"/>
                    <a:pt x="48" y="88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37" y="96"/>
                    <a:pt x="28" y="105"/>
                    <a:pt x="28" y="116"/>
                  </a:cubicBezTo>
                  <a:cubicBezTo>
                    <a:pt x="28" y="127"/>
                    <a:pt x="37" y="136"/>
                    <a:pt x="48" y="136"/>
                  </a:cubicBezTo>
                  <a:cubicBezTo>
                    <a:pt x="112" y="136"/>
                    <a:pt x="112" y="136"/>
                    <a:pt x="112" y="136"/>
                  </a:cubicBezTo>
                  <a:cubicBezTo>
                    <a:pt x="112" y="144"/>
                    <a:pt x="112" y="144"/>
                    <a:pt x="112" y="144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90" y="141"/>
                    <a:pt x="86" y="140"/>
                    <a:pt x="82" y="140"/>
                  </a:cubicBezTo>
                  <a:cubicBezTo>
                    <a:pt x="78" y="140"/>
                    <a:pt x="74" y="141"/>
                    <a:pt x="71" y="144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37" y="144"/>
                    <a:pt x="28" y="153"/>
                    <a:pt x="28" y="164"/>
                  </a:cubicBezTo>
                  <a:cubicBezTo>
                    <a:pt x="28" y="175"/>
                    <a:pt x="37" y="184"/>
                    <a:pt x="48" y="184"/>
                  </a:cubicBezTo>
                  <a:cubicBezTo>
                    <a:pt x="83" y="184"/>
                    <a:pt x="83" y="184"/>
                    <a:pt x="83" y="184"/>
                  </a:cubicBezTo>
                  <a:cubicBezTo>
                    <a:pt x="91" y="192"/>
                    <a:pt x="91" y="192"/>
                    <a:pt x="91" y="192"/>
                  </a:cubicBezTo>
                  <a:cubicBezTo>
                    <a:pt x="8" y="192"/>
                    <a:pt x="8" y="192"/>
                    <a:pt x="8" y="19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40" y="192"/>
                    <a:pt x="240" y="192"/>
                    <a:pt x="240" y="192"/>
                  </a:cubicBezTo>
                  <a:lnTo>
                    <a:pt x="23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Rectangle 118">
              <a:extLst>
                <a:ext uri="{FF2B5EF4-FFF2-40B4-BE49-F238E27FC236}">
                  <a16:creationId xmlns:a16="http://schemas.microsoft.com/office/drawing/2014/main" id="{2EF5D3CD-2901-4C40-9A52-C81C69E51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35613" y="3960813"/>
              <a:ext cx="17463" cy="174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Rectangle 119">
              <a:extLst>
                <a:ext uri="{FF2B5EF4-FFF2-40B4-BE49-F238E27FC236}">
                  <a16:creationId xmlns:a16="http://schemas.microsoft.com/office/drawing/2014/main" id="{FE681165-A95D-4E7D-A085-2AE02DFD1A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0538" y="3960813"/>
              <a:ext cx="17463" cy="174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Rectangle 120">
              <a:extLst>
                <a:ext uri="{FF2B5EF4-FFF2-40B4-BE49-F238E27FC236}">
                  <a16:creationId xmlns:a16="http://schemas.microsoft.com/office/drawing/2014/main" id="{E79DEB3B-B91C-434A-9ECD-8C8D7ACC22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5463" y="3960813"/>
              <a:ext cx="17463" cy="174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753935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98051F9-9EDA-4276-A63B-D5A8369A9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B04D251-8A74-4FFC-B832-3A0DE3F53919}"/>
              </a:ext>
            </a:extLst>
          </p:cNvPr>
          <p:cNvGrpSpPr/>
          <p:nvPr/>
        </p:nvGrpSpPr>
        <p:grpSpPr>
          <a:xfrm>
            <a:off x="8858203" y="2935505"/>
            <a:ext cx="2739630" cy="771160"/>
            <a:chOff x="8846628" y="2958655"/>
            <a:chExt cx="5090160" cy="771160"/>
          </a:xfrm>
        </p:grpSpPr>
        <p:sp>
          <p:nvSpPr>
            <p:cNvPr id="8" name="Title 7">
              <a:extLst>
                <a:ext uri="{FF2B5EF4-FFF2-40B4-BE49-F238E27FC236}">
                  <a16:creationId xmlns:a16="http://schemas.microsoft.com/office/drawing/2014/main" id="{E61423E9-6258-4258-8B3C-AADA99BA0344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8846628" y="2958655"/>
              <a:ext cx="5090160" cy="400110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algn="l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2800" b="0" kern="1200" cap="all" spc="-100" baseline="0" dirty="0" smtClean="0">
                  <a:ln w="3175">
                    <a:noFill/>
                  </a:ln>
                  <a:solidFill>
                    <a:schemeClr val="accent2"/>
                  </a:solidFill>
                  <a:effectLst/>
                  <a:latin typeface="Proxima Nova Bl" panose="02000506030000020004" pitchFamily="50" charset="0"/>
                  <a:ea typeface="+mn-ea"/>
                  <a:cs typeface="Segoe UI" panose="020B0502040204020203" pitchFamily="34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sz="1500" b="1" cap="none" spc="0" dirty="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Hobbs</a:t>
              </a:r>
              <a:br>
                <a:rPr lang="en-US" sz="1600" b="1" cap="none" spc="0" dirty="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</a:br>
              <a:r>
                <a:rPr lang="en-US" sz="1100" cap="none" spc="0" dirty="0">
                  <a:solidFill>
                    <a:srgbClr val="7F9FD4"/>
                  </a:solidFill>
                  <a:latin typeface="+mn-lt"/>
                  <a:cs typeface="Arial" panose="020B0604020202020204" pitchFamily="34" charset="0"/>
                </a:rPr>
                <a:t>Digital Insights Consultant</a:t>
              </a:r>
              <a:endParaRPr lang="en-US" sz="1600" cap="none" spc="0" dirty="0">
                <a:solidFill>
                  <a:srgbClr val="7F9FD4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Title 7">
              <a:extLst>
                <a:ext uri="{FF2B5EF4-FFF2-40B4-BE49-F238E27FC236}">
                  <a16:creationId xmlns:a16="http://schemas.microsoft.com/office/drawing/2014/main" id="{E90B6F35-A127-4E4F-A826-B3F536F52240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8846628" y="3560538"/>
              <a:ext cx="5090160" cy="169277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algn="l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2800" b="0" kern="1200" cap="all" spc="-100" baseline="0" dirty="0" smtClean="0">
                  <a:ln w="3175">
                    <a:noFill/>
                  </a:ln>
                  <a:solidFill>
                    <a:schemeClr val="accent2"/>
                  </a:solidFill>
                  <a:effectLst/>
                  <a:latin typeface="Proxima Nova Bl" panose="02000506030000020004" pitchFamily="50" charset="0"/>
                  <a:ea typeface="+mn-ea"/>
                  <a:cs typeface="Segoe UI" panose="020B0502040204020203" pitchFamily="34" charset="0"/>
                </a:defRPr>
              </a:lvl1pPr>
            </a:lstStyle>
            <a:p>
              <a:pPr lvl="0" defTabSz="914400">
                <a:lnSpc>
                  <a:spcPct val="100000"/>
                </a:lnSpc>
                <a:spcBef>
                  <a:spcPts val="0"/>
                </a:spcBef>
              </a:pPr>
              <a:r>
                <a:rPr lang="en-US" sz="1100" cap="none" spc="0" dirty="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jhobbs@valorem.com</a:t>
              </a:r>
              <a:endParaRPr lang="en-US" sz="1100" cap="none" spc="0" dirty="0">
                <a:ln>
                  <a:noFill/>
                </a:ln>
                <a:solidFill>
                  <a:prstClr val="white"/>
                </a:solidFill>
                <a:latin typeface="+mn-lt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43589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E4269D8-806C-4593-9F0E-9D9CFA559BD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9099007-38E3-449C-BE05-B3944F6F2A2F}"/>
              </a:ext>
            </a:extLst>
          </p:cNvPr>
          <p:cNvSpPr/>
          <p:nvPr/>
        </p:nvSpPr>
        <p:spPr>
          <a:xfrm flipV="1">
            <a:off x="3953619" y="-1"/>
            <a:ext cx="8260606" cy="6858000"/>
          </a:xfrm>
          <a:custGeom>
            <a:avLst/>
            <a:gdLst>
              <a:gd name="connsiteX0" fmla="*/ 966216 w 11180064"/>
              <a:gd name="connsiteY0" fmla="*/ 0 h 6858000"/>
              <a:gd name="connsiteX1" fmla="*/ 11180064 w 11180064"/>
              <a:gd name="connsiteY1" fmla="*/ 0 h 6858000"/>
              <a:gd name="connsiteX2" fmla="*/ 11180064 w 11180064"/>
              <a:gd name="connsiteY2" fmla="*/ 6858000 h 6858000"/>
              <a:gd name="connsiteX3" fmla="*/ 4471417 w 11180064"/>
              <a:gd name="connsiteY3" fmla="*/ 6858000 h 6858000"/>
              <a:gd name="connsiteX4" fmla="*/ 3127802 w 11180064"/>
              <a:gd name="connsiteY4" fmla="*/ 12192 h 6858000"/>
              <a:gd name="connsiteX5" fmla="*/ 0 w 11180064"/>
              <a:gd name="connsiteY5" fmla="*/ 0 h 6858000"/>
              <a:gd name="connsiteX6" fmla="*/ 966216 w 11180064"/>
              <a:gd name="connsiteY6" fmla="*/ 0 h 6858000"/>
              <a:gd name="connsiteX7" fmla="*/ 966216 w 11180064"/>
              <a:gd name="connsiteY7" fmla="*/ 11158 h 6858000"/>
              <a:gd name="connsiteX8" fmla="*/ 0 w 11180064"/>
              <a:gd name="connsiteY8" fmla="*/ 5708 h 6858000"/>
              <a:gd name="connsiteX0" fmla="*/ 966216 w 11180064"/>
              <a:gd name="connsiteY0" fmla="*/ 0 h 6858000"/>
              <a:gd name="connsiteX1" fmla="*/ 11180064 w 11180064"/>
              <a:gd name="connsiteY1" fmla="*/ 0 h 6858000"/>
              <a:gd name="connsiteX2" fmla="*/ 11180064 w 11180064"/>
              <a:gd name="connsiteY2" fmla="*/ 6858000 h 6858000"/>
              <a:gd name="connsiteX3" fmla="*/ 4471417 w 11180064"/>
              <a:gd name="connsiteY3" fmla="*/ 6858000 h 6858000"/>
              <a:gd name="connsiteX4" fmla="*/ 3127802 w 11180064"/>
              <a:gd name="connsiteY4" fmla="*/ 12192 h 6858000"/>
              <a:gd name="connsiteX5" fmla="*/ 966216 w 11180064"/>
              <a:gd name="connsiteY5" fmla="*/ 0 h 6858000"/>
              <a:gd name="connsiteX6" fmla="*/ 0 w 11180064"/>
              <a:gd name="connsiteY6" fmla="*/ 5708 h 6858000"/>
              <a:gd name="connsiteX7" fmla="*/ 966216 w 11180064"/>
              <a:gd name="connsiteY7" fmla="*/ 0 h 6858000"/>
              <a:gd name="connsiteX8" fmla="*/ 966216 w 11180064"/>
              <a:gd name="connsiteY8" fmla="*/ 11158 h 6858000"/>
              <a:gd name="connsiteX9" fmla="*/ 0 w 11180064"/>
              <a:gd name="connsiteY9" fmla="*/ 5708 h 6858000"/>
              <a:gd name="connsiteX0" fmla="*/ 966216 w 11180064"/>
              <a:gd name="connsiteY0" fmla="*/ 0 h 6858000"/>
              <a:gd name="connsiteX1" fmla="*/ 11180064 w 11180064"/>
              <a:gd name="connsiteY1" fmla="*/ 0 h 6858000"/>
              <a:gd name="connsiteX2" fmla="*/ 11180064 w 11180064"/>
              <a:gd name="connsiteY2" fmla="*/ 6858000 h 6858000"/>
              <a:gd name="connsiteX3" fmla="*/ 4471417 w 11180064"/>
              <a:gd name="connsiteY3" fmla="*/ 6858000 h 6858000"/>
              <a:gd name="connsiteX4" fmla="*/ 3127802 w 11180064"/>
              <a:gd name="connsiteY4" fmla="*/ 12192 h 6858000"/>
              <a:gd name="connsiteX5" fmla="*/ 966216 w 11180064"/>
              <a:gd name="connsiteY5" fmla="*/ 0 h 6858000"/>
              <a:gd name="connsiteX6" fmla="*/ 0 w 11180064"/>
              <a:gd name="connsiteY6" fmla="*/ 5708 h 6858000"/>
              <a:gd name="connsiteX7" fmla="*/ 966216 w 11180064"/>
              <a:gd name="connsiteY7" fmla="*/ 0 h 6858000"/>
              <a:gd name="connsiteX8" fmla="*/ 0 w 11180064"/>
              <a:gd name="connsiteY8" fmla="*/ 5708 h 6858000"/>
              <a:gd name="connsiteX0" fmla="*/ 0 w 10213848"/>
              <a:gd name="connsiteY0" fmla="*/ 0 h 6858000"/>
              <a:gd name="connsiteX1" fmla="*/ 10213848 w 10213848"/>
              <a:gd name="connsiteY1" fmla="*/ 0 h 6858000"/>
              <a:gd name="connsiteX2" fmla="*/ 10213848 w 10213848"/>
              <a:gd name="connsiteY2" fmla="*/ 6858000 h 6858000"/>
              <a:gd name="connsiteX3" fmla="*/ 3505201 w 10213848"/>
              <a:gd name="connsiteY3" fmla="*/ 6858000 h 6858000"/>
              <a:gd name="connsiteX4" fmla="*/ 2161586 w 10213848"/>
              <a:gd name="connsiteY4" fmla="*/ 12192 h 6858000"/>
              <a:gd name="connsiteX5" fmla="*/ 0 w 10213848"/>
              <a:gd name="connsiteY5" fmla="*/ 0 h 6858000"/>
              <a:gd name="connsiteX0" fmla="*/ 0 w 8052262"/>
              <a:gd name="connsiteY0" fmla="*/ 12192 h 6858000"/>
              <a:gd name="connsiteX1" fmla="*/ 8052262 w 8052262"/>
              <a:gd name="connsiteY1" fmla="*/ 0 h 6858000"/>
              <a:gd name="connsiteX2" fmla="*/ 8052262 w 8052262"/>
              <a:gd name="connsiteY2" fmla="*/ 6858000 h 6858000"/>
              <a:gd name="connsiteX3" fmla="*/ 1343615 w 8052262"/>
              <a:gd name="connsiteY3" fmla="*/ 6858000 h 6858000"/>
              <a:gd name="connsiteX4" fmla="*/ 0 w 8052262"/>
              <a:gd name="connsiteY4" fmla="*/ 12192 h 6858000"/>
              <a:gd name="connsiteX0" fmla="*/ 0 w 9105558"/>
              <a:gd name="connsiteY0" fmla="*/ 617 h 6858000"/>
              <a:gd name="connsiteX1" fmla="*/ 9105558 w 9105558"/>
              <a:gd name="connsiteY1" fmla="*/ 0 h 6858000"/>
              <a:gd name="connsiteX2" fmla="*/ 9105558 w 9105558"/>
              <a:gd name="connsiteY2" fmla="*/ 6858000 h 6858000"/>
              <a:gd name="connsiteX3" fmla="*/ 2396911 w 9105558"/>
              <a:gd name="connsiteY3" fmla="*/ 6858000 h 6858000"/>
              <a:gd name="connsiteX4" fmla="*/ 0 w 9105558"/>
              <a:gd name="connsiteY4" fmla="*/ 617 h 6858000"/>
              <a:gd name="connsiteX0" fmla="*/ 0 w 8260606"/>
              <a:gd name="connsiteY0" fmla="*/ 617 h 6858000"/>
              <a:gd name="connsiteX1" fmla="*/ 8260606 w 8260606"/>
              <a:gd name="connsiteY1" fmla="*/ 0 h 6858000"/>
              <a:gd name="connsiteX2" fmla="*/ 8260606 w 8260606"/>
              <a:gd name="connsiteY2" fmla="*/ 6858000 h 6858000"/>
              <a:gd name="connsiteX3" fmla="*/ 1551959 w 8260606"/>
              <a:gd name="connsiteY3" fmla="*/ 6858000 h 6858000"/>
              <a:gd name="connsiteX4" fmla="*/ 0 w 8260606"/>
              <a:gd name="connsiteY4" fmla="*/ 617 h 6858000"/>
              <a:gd name="connsiteX0" fmla="*/ 0 w 8260606"/>
              <a:gd name="connsiteY0" fmla="*/ 617 h 6858000"/>
              <a:gd name="connsiteX1" fmla="*/ 8260606 w 8260606"/>
              <a:gd name="connsiteY1" fmla="*/ 0 h 6858000"/>
              <a:gd name="connsiteX2" fmla="*/ 8260606 w 8260606"/>
              <a:gd name="connsiteY2" fmla="*/ 6858000 h 6858000"/>
              <a:gd name="connsiteX3" fmla="*/ 1795028 w 8260606"/>
              <a:gd name="connsiteY3" fmla="*/ 6858000 h 6858000"/>
              <a:gd name="connsiteX4" fmla="*/ 0 w 8260606"/>
              <a:gd name="connsiteY4" fmla="*/ 617 h 6858000"/>
              <a:gd name="connsiteX0" fmla="*/ 0 w 8260606"/>
              <a:gd name="connsiteY0" fmla="*/ 617 h 6869575"/>
              <a:gd name="connsiteX1" fmla="*/ 8260606 w 8260606"/>
              <a:gd name="connsiteY1" fmla="*/ 0 h 6869575"/>
              <a:gd name="connsiteX2" fmla="*/ 8260606 w 8260606"/>
              <a:gd name="connsiteY2" fmla="*/ 6858000 h 6869575"/>
              <a:gd name="connsiteX3" fmla="*/ 1528810 w 8260606"/>
              <a:gd name="connsiteY3" fmla="*/ 6869575 h 6869575"/>
              <a:gd name="connsiteX4" fmla="*/ 0 w 8260606"/>
              <a:gd name="connsiteY4" fmla="*/ 617 h 6869575"/>
              <a:gd name="connsiteX0" fmla="*/ 0 w 8260606"/>
              <a:gd name="connsiteY0" fmla="*/ 617 h 6869575"/>
              <a:gd name="connsiteX1" fmla="*/ 8260606 w 8260606"/>
              <a:gd name="connsiteY1" fmla="*/ 0 h 6869575"/>
              <a:gd name="connsiteX2" fmla="*/ 8260606 w 8260606"/>
              <a:gd name="connsiteY2" fmla="*/ 6858000 h 6869575"/>
              <a:gd name="connsiteX3" fmla="*/ 1528810 w 8260606"/>
              <a:gd name="connsiteY3" fmla="*/ 6869575 h 6869575"/>
              <a:gd name="connsiteX4" fmla="*/ 0 w 8260606"/>
              <a:gd name="connsiteY4" fmla="*/ 617 h 6869575"/>
              <a:gd name="connsiteX0" fmla="*/ 0 w 8260606"/>
              <a:gd name="connsiteY0" fmla="*/ 617 h 6869575"/>
              <a:gd name="connsiteX1" fmla="*/ 8260606 w 8260606"/>
              <a:gd name="connsiteY1" fmla="*/ 0 h 6869575"/>
              <a:gd name="connsiteX2" fmla="*/ 8250446 w 8260606"/>
              <a:gd name="connsiteY2" fmla="*/ 6868178 h 6869575"/>
              <a:gd name="connsiteX3" fmla="*/ 1528810 w 8260606"/>
              <a:gd name="connsiteY3" fmla="*/ 6869575 h 6869575"/>
              <a:gd name="connsiteX4" fmla="*/ 0 w 8260606"/>
              <a:gd name="connsiteY4" fmla="*/ 617 h 6869575"/>
              <a:gd name="connsiteX0" fmla="*/ 0 w 8260606"/>
              <a:gd name="connsiteY0" fmla="*/ 9341 h 6878299"/>
              <a:gd name="connsiteX1" fmla="*/ 8260606 w 8260606"/>
              <a:gd name="connsiteY1" fmla="*/ 0 h 6878299"/>
              <a:gd name="connsiteX2" fmla="*/ 8250446 w 8260606"/>
              <a:gd name="connsiteY2" fmla="*/ 6876902 h 6878299"/>
              <a:gd name="connsiteX3" fmla="*/ 1528810 w 8260606"/>
              <a:gd name="connsiteY3" fmla="*/ 6878299 h 6878299"/>
              <a:gd name="connsiteX4" fmla="*/ 0 w 8260606"/>
              <a:gd name="connsiteY4" fmla="*/ 9341 h 6878299"/>
              <a:gd name="connsiteX0" fmla="*/ 0 w 8260606"/>
              <a:gd name="connsiteY0" fmla="*/ 3227 h 6878299"/>
              <a:gd name="connsiteX1" fmla="*/ 8260606 w 8260606"/>
              <a:gd name="connsiteY1" fmla="*/ 0 h 6878299"/>
              <a:gd name="connsiteX2" fmla="*/ 8250446 w 8260606"/>
              <a:gd name="connsiteY2" fmla="*/ 6876902 h 6878299"/>
              <a:gd name="connsiteX3" fmla="*/ 1528810 w 8260606"/>
              <a:gd name="connsiteY3" fmla="*/ 6878299 h 6878299"/>
              <a:gd name="connsiteX4" fmla="*/ 0 w 8260606"/>
              <a:gd name="connsiteY4" fmla="*/ 3227 h 6878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0606" h="6878299">
                <a:moveTo>
                  <a:pt x="0" y="3227"/>
                </a:moveTo>
                <a:lnTo>
                  <a:pt x="8260606" y="0"/>
                </a:lnTo>
                <a:cubicBezTo>
                  <a:pt x="8257219" y="2289393"/>
                  <a:pt x="8253833" y="4587509"/>
                  <a:pt x="8250446" y="6876902"/>
                </a:cubicBezTo>
                <a:lnTo>
                  <a:pt x="1528810" y="6878299"/>
                </a:lnTo>
                <a:lnTo>
                  <a:pt x="0" y="3227"/>
                </a:lnTo>
                <a:close/>
              </a:path>
            </a:pathLst>
          </a:custGeom>
          <a:solidFill>
            <a:schemeClr val="bg1">
              <a:alpha val="97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14" name="Title 7">
            <a:extLst>
              <a:ext uri="{FF2B5EF4-FFF2-40B4-BE49-F238E27FC236}">
                <a16:creationId xmlns:a16="http://schemas.microsoft.com/office/drawing/2014/main" id="{8C92A554-115A-4D92-BDD3-B2AC39D70DA0}"/>
              </a:ext>
            </a:extLst>
          </p:cNvPr>
          <p:cNvSpPr txBox="1">
            <a:spLocks/>
          </p:cNvSpPr>
          <p:nvPr/>
        </p:nvSpPr>
        <p:spPr>
          <a:xfrm flipH="1">
            <a:off x="6316683" y="2195860"/>
            <a:ext cx="4336856" cy="905200"/>
          </a:xfrm>
          <a:prstGeom prst="rect">
            <a:avLst/>
          </a:prstGeom>
        </p:spPr>
        <p:txBody>
          <a:bodyPr lIns="0" rIns="0"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all" spc="-100" baseline="0" dirty="0" smtClean="0">
                <a:ln w="3175">
                  <a:noFill/>
                </a:ln>
                <a:solidFill>
                  <a:schemeClr val="accent2"/>
                </a:solidFill>
                <a:effectLst/>
                <a:latin typeface="Proxima Nova Bl" panose="02000506030000020004" pitchFamily="50" charset="0"/>
                <a:ea typeface="+mn-ea"/>
                <a:cs typeface="Segoe UI" panose="020B0502040204020203" pitchFamily="34" charset="0"/>
              </a:defRPr>
            </a:lvl1pPr>
          </a:lstStyle>
          <a:p>
            <a:pPr>
              <a:lnSpc>
                <a:spcPct val="75000"/>
              </a:lnSpc>
            </a:pPr>
            <a:r>
              <a:rPr lang="en-US" sz="3800" spc="0" dirty="0">
                <a:solidFill>
                  <a:srgbClr val="212A32"/>
                </a:solidFill>
                <a:latin typeface="+mj-lt"/>
                <a:cs typeface="Arial" panose="020B0604020202020204" pitchFamily="34" charset="0"/>
              </a:rPr>
              <a:t>introductions</a:t>
            </a:r>
          </a:p>
        </p:txBody>
      </p:sp>
      <p:sp>
        <p:nvSpPr>
          <p:cNvPr id="17" name="Title 7">
            <a:extLst>
              <a:ext uri="{FF2B5EF4-FFF2-40B4-BE49-F238E27FC236}">
                <a16:creationId xmlns:a16="http://schemas.microsoft.com/office/drawing/2014/main" id="{9ACC414C-9770-4945-880C-AA6F80CBB2E7}"/>
              </a:ext>
            </a:extLst>
          </p:cNvPr>
          <p:cNvSpPr txBox="1">
            <a:spLocks/>
          </p:cNvSpPr>
          <p:nvPr/>
        </p:nvSpPr>
        <p:spPr>
          <a:xfrm flipH="1">
            <a:off x="6333351" y="3305230"/>
            <a:ext cx="4336856" cy="134485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all" spc="-100" baseline="0" dirty="0" smtClean="0">
                <a:ln w="3175">
                  <a:noFill/>
                </a:ln>
                <a:solidFill>
                  <a:schemeClr val="accent2"/>
                </a:solidFill>
                <a:effectLst/>
                <a:latin typeface="Proxima Nova Bl" panose="02000506030000020004" pitchFamily="50" charset="0"/>
                <a:ea typeface="+mn-ea"/>
                <a:cs typeface="Segoe UI" panose="020B0502040204020203" pitchFamily="34" charset="0"/>
              </a:defRPr>
            </a:lvl1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cap="none" spc="0" dirty="0">
                <a:solidFill>
                  <a:srgbClr val="212A32"/>
                </a:solidFill>
                <a:latin typeface="+mn-lt"/>
                <a:cs typeface="Arial" panose="020B0604020202020204" pitchFamily="34" charset="0"/>
              </a:rPr>
              <a:t>Nam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cap="none" spc="0" dirty="0">
                <a:solidFill>
                  <a:srgbClr val="212A32"/>
                </a:solidFill>
                <a:latin typeface="+mn-lt"/>
                <a:cs typeface="Arial" panose="020B0604020202020204" pitchFamily="34" charset="0"/>
              </a:rPr>
              <a:t>Busines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cap="none" spc="0" dirty="0">
                <a:solidFill>
                  <a:srgbClr val="212A32"/>
                </a:solidFill>
                <a:latin typeface="+mn-lt"/>
                <a:cs typeface="Arial" panose="020B0604020202020204" pitchFamily="34" charset="0"/>
              </a:rPr>
              <a:t>What you want to lear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cap="none" spc="0" dirty="0">
                <a:solidFill>
                  <a:srgbClr val="212A32"/>
                </a:solidFill>
                <a:latin typeface="+mn-lt"/>
                <a:cs typeface="Arial" panose="020B0604020202020204" pitchFamily="34" charset="0"/>
              </a:rPr>
              <a:t>A terrible joke (if you know one)</a:t>
            </a:r>
            <a:endParaRPr lang="en-IN" sz="1400" cap="none" spc="0" dirty="0">
              <a:solidFill>
                <a:srgbClr val="212A3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CBFBAE45-5DE9-4B8A-99BF-7DF72408A45E}"/>
              </a:ext>
            </a:extLst>
          </p:cNvPr>
          <p:cNvSpPr/>
          <p:nvPr/>
        </p:nvSpPr>
        <p:spPr>
          <a:xfrm>
            <a:off x="3775722" y="5321808"/>
            <a:ext cx="726229" cy="1536192"/>
          </a:xfrm>
          <a:prstGeom prst="parallelogram">
            <a:avLst>
              <a:gd name="adj" fmla="val 46814"/>
            </a:avLst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2AFF768-1771-4A7B-8468-98F7598CCCDD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9" name="Oval 503">
              <a:extLst>
                <a:ext uri="{FF2B5EF4-FFF2-40B4-BE49-F238E27FC236}">
                  <a16:creationId xmlns:a16="http://schemas.microsoft.com/office/drawing/2014/main" id="{5AF787C1-D825-4FD2-801F-D8F1664C85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504">
              <a:extLst>
                <a:ext uri="{FF2B5EF4-FFF2-40B4-BE49-F238E27FC236}">
                  <a16:creationId xmlns:a16="http://schemas.microsoft.com/office/drawing/2014/main" id="{FFCB106A-18CA-4EBA-BF25-67350FC18C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Oval 505">
              <a:extLst>
                <a:ext uri="{FF2B5EF4-FFF2-40B4-BE49-F238E27FC236}">
                  <a16:creationId xmlns:a16="http://schemas.microsoft.com/office/drawing/2014/main" id="{2B6D298D-E0B7-4CA6-B07D-20EAF4E4CF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06">
              <a:extLst>
                <a:ext uri="{FF2B5EF4-FFF2-40B4-BE49-F238E27FC236}">
                  <a16:creationId xmlns:a16="http://schemas.microsoft.com/office/drawing/2014/main" id="{658B1182-D502-4614-9FD3-A969B73B76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393291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7F7F01C0-F25B-4792-9352-E819CAD598C2}"/>
              </a:ext>
            </a:extLst>
          </p:cNvPr>
          <p:cNvGrpSpPr>
            <a:grpSpLocks noChangeAspect="1"/>
          </p:cNvGrpSpPr>
          <p:nvPr/>
        </p:nvGrpSpPr>
        <p:grpSpPr>
          <a:xfrm>
            <a:off x="3285883" y="1335512"/>
            <a:ext cx="5133915" cy="4650465"/>
            <a:chOff x="3093446" y="1231351"/>
            <a:chExt cx="5461859" cy="4947516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88E36FA-57CB-4FFA-A837-4B2B562E3B5E}"/>
                </a:ext>
              </a:extLst>
            </p:cNvPr>
            <p:cNvGrpSpPr/>
            <p:nvPr/>
          </p:nvGrpSpPr>
          <p:grpSpPr>
            <a:xfrm>
              <a:off x="3670052" y="1231351"/>
              <a:ext cx="4149304" cy="4149298"/>
              <a:chOff x="3870035" y="1493689"/>
              <a:chExt cx="3953165" cy="3953166"/>
            </a:xfrm>
          </p:grpSpPr>
          <p:sp>
            <p:nvSpPr>
              <p:cNvPr id="25" name="Freeform 63">
                <a:extLst>
                  <a:ext uri="{FF2B5EF4-FFF2-40B4-BE49-F238E27FC236}">
                    <a16:creationId xmlns:a16="http://schemas.microsoft.com/office/drawing/2014/main" id="{98B7D57E-EDF9-4216-929B-F70FFEE6975B}"/>
                  </a:ext>
                </a:extLst>
              </p:cNvPr>
              <p:cNvSpPr/>
              <p:nvPr/>
            </p:nvSpPr>
            <p:spPr bwMode="auto">
              <a:xfrm flipH="1">
                <a:off x="3870035" y="5039787"/>
                <a:ext cx="3953165" cy="228798"/>
              </a:xfrm>
              <a:custGeom>
                <a:avLst/>
                <a:gdLst>
                  <a:gd name="connsiteX0" fmla="*/ 6115478 w 6541770"/>
                  <a:gd name="connsiteY0" fmla="*/ 0 h 378619"/>
                  <a:gd name="connsiteX1" fmla="*/ 426292 w 6541770"/>
                  <a:gd name="connsiteY1" fmla="*/ 0 h 378619"/>
                  <a:gd name="connsiteX2" fmla="*/ 22860 w 6541770"/>
                  <a:gd name="connsiteY2" fmla="*/ 276225 h 378619"/>
                  <a:gd name="connsiteX3" fmla="*/ 27803 w 6541770"/>
                  <a:gd name="connsiteY3" fmla="*/ 276225 h 378619"/>
                  <a:gd name="connsiteX4" fmla="*/ 14041 w 6541770"/>
                  <a:gd name="connsiteY4" fmla="*/ 285504 h 378619"/>
                  <a:gd name="connsiteX5" fmla="*/ 0 w 6541770"/>
                  <a:gd name="connsiteY5" fmla="*/ 319401 h 378619"/>
                  <a:gd name="connsiteX6" fmla="*/ 0 w 6541770"/>
                  <a:gd name="connsiteY6" fmla="*/ 330681 h 378619"/>
                  <a:gd name="connsiteX7" fmla="*/ 47938 w 6541770"/>
                  <a:gd name="connsiteY7" fmla="*/ 378619 h 378619"/>
                  <a:gd name="connsiteX8" fmla="*/ 6493832 w 6541770"/>
                  <a:gd name="connsiteY8" fmla="*/ 378619 h 378619"/>
                  <a:gd name="connsiteX9" fmla="*/ 6541770 w 6541770"/>
                  <a:gd name="connsiteY9" fmla="*/ 330681 h 378619"/>
                  <a:gd name="connsiteX10" fmla="*/ 6541770 w 6541770"/>
                  <a:gd name="connsiteY10" fmla="*/ 319401 h 378619"/>
                  <a:gd name="connsiteX11" fmla="*/ 6527729 w 6541770"/>
                  <a:gd name="connsiteY11" fmla="*/ 285504 h 378619"/>
                  <a:gd name="connsiteX12" fmla="*/ 6513967 w 6541770"/>
                  <a:gd name="connsiteY12" fmla="*/ 276225 h 378619"/>
                  <a:gd name="connsiteX13" fmla="*/ 6518910 w 6541770"/>
                  <a:gd name="connsiteY13" fmla="*/ 276225 h 37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541770" h="378619">
                    <a:moveTo>
                      <a:pt x="6115478" y="0"/>
                    </a:moveTo>
                    <a:lnTo>
                      <a:pt x="426292" y="0"/>
                    </a:lnTo>
                    <a:lnTo>
                      <a:pt x="22860" y="276225"/>
                    </a:lnTo>
                    <a:lnTo>
                      <a:pt x="27803" y="276225"/>
                    </a:lnTo>
                    <a:lnTo>
                      <a:pt x="14041" y="285504"/>
                    </a:lnTo>
                    <a:cubicBezTo>
                      <a:pt x="5366" y="294179"/>
                      <a:pt x="0" y="306164"/>
                      <a:pt x="0" y="319401"/>
                    </a:cubicBezTo>
                    <a:lnTo>
                      <a:pt x="0" y="330681"/>
                    </a:lnTo>
                    <a:cubicBezTo>
                      <a:pt x="0" y="357156"/>
                      <a:pt x="21463" y="378619"/>
                      <a:pt x="47938" y="378619"/>
                    </a:cubicBezTo>
                    <a:lnTo>
                      <a:pt x="6493832" y="378619"/>
                    </a:lnTo>
                    <a:cubicBezTo>
                      <a:pt x="6520307" y="378619"/>
                      <a:pt x="6541770" y="357156"/>
                      <a:pt x="6541770" y="330681"/>
                    </a:cubicBezTo>
                    <a:lnTo>
                      <a:pt x="6541770" y="319401"/>
                    </a:lnTo>
                    <a:cubicBezTo>
                      <a:pt x="6541770" y="306164"/>
                      <a:pt x="6536404" y="294179"/>
                      <a:pt x="6527729" y="285504"/>
                    </a:cubicBezTo>
                    <a:lnTo>
                      <a:pt x="6513967" y="276225"/>
                    </a:lnTo>
                    <a:lnTo>
                      <a:pt x="6518910" y="276225"/>
                    </a:lnTo>
                    <a:close/>
                  </a:path>
                </a:pathLst>
              </a:custGeom>
              <a:solidFill>
                <a:srgbClr val="2189D7"/>
              </a:solidFill>
              <a:ln w="222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38239" tIns="69119" rIns="138239" bIns="691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46159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65">
                <a:extLst>
                  <a:ext uri="{FF2B5EF4-FFF2-40B4-BE49-F238E27FC236}">
                    <a16:creationId xmlns:a16="http://schemas.microsoft.com/office/drawing/2014/main" id="{B4D14B4C-9507-457E-AF2C-FF314DB2A2C4}"/>
                  </a:ext>
                </a:extLst>
              </p:cNvPr>
              <p:cNvSpPr/>
              <p:nvPr/>
            </p:nvSpPr>
            <p:spPr bwMode="auto">
              <a:xfrm rot="14135239">
                <a:off x="5109456" y="3355874"/>
                <a:ext cx="3953165" cy="228798"/>
              </a:xfrm>
              <a:custGeom>
                <a:avLst/>
                <a:gdLst>
                  <a:gd name="connsiteX0" fmla="*/ 6527729 w 6541770"/>
                  <a:gd name="connsiteY0" fmla="*/ 364578 h 378619"/>
                  <a:gd name="connsiteX1" fmla="*/ 6493832 w 6541770"/>
                  <a:gd name="connsiteY1" fmla="*/ 378619 h 378619"/>
                  <a:gd name="connsiteX2" fmla="*/ 47937 w 6541770"/>
                  <a:gd name="connsiteY2" fmla="*/ 378619 h 378619"/>
                  <a:gd name="connsiteX3" fmla="*/ 0 w 6541770"/>
                  <a:gd name="connsiteY3" fmla="*/ 330681 h 378619"/>
                  <a:gd name="connsiteX4" fmla="*/ 0 w 6541770"/>
                  <a:gd name="connsiteY4" fmla="*/ 319402 h 378619"/>
                  <a:gd name="connsiteX5" fmla="*/ 14041 w 6541770"/>
                  <a:gd name="connsiteY5" fmla="*/ 285503 h 378619"/>
                  <a:gd name="connsiteX6" fmla="*/ 36443 w 6541770"/>
                  <a:gd name="connsiteY6" fmla="*/ 276225 h 378619"/>
                  <a:gd name="connsiteX7" fmla="*/ 22860 w 6541770"/>
                  <a:gd name="connsiteY7" fmla="*/ 276225 h 378619"/>
                  <a:gd name="connsiteX8" fmla="*/ 426292 w 6541770"/>
                  <a:gd name="connsiteY8" fmla="*/ 0 h 378619"/>
                  <a:gd name="connsiteX9" fmla="*/ 6115478 w 6541770"/>
                  <a:gd name="connsiteY9" fmla="*/ 0 h 378619"/>
                  <a:gd name="connsiteX10" fmla="*/ 6518910 w 6541770"/>
                  <a:gd name="connsiteY10" fmla="*/ 276225 h 378619"/>
                  <a:gd name="connsiteX11" fmla="*/ 6513966 w 6541770"/>
                  <a:gd name="connsiteY11" fmla="*/ 276225 h 378619"/>
                  <a:gd name="connsiteX12" fmla="*/ 6527729 w 6541770"/>
                  <a:gd name="connsiteY12" fmla="*/ 285504 h 378619"/>
                  <a:gd name="connsiteX13" fmla="*/ 6541770 w 6541770"/>
                  <a:gd name="connsiteY13" fmla="*/ 319401 h 378619"/>
                  <a:gd name="connsiteX14" fmla="*/ 6541770 w 6541770"/>
                  <a:gd name="connsiteY14" fmla="*/ 330681 h 378619"/>
                  <a:gd name="connsiteX15" fmla="*/ 6527729 w 6541770"/>
                  <a:gd name="connsiteY15" fmla="*/ 364578 h 37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541770" h="378619">
                    <a:moveTo>
                      <a:pt x="6527729" y="364578"/>
                    </a:moveTo>
                    <a:cubicBezTo>
                      <a:pt x="6519054" y="373253"/>
                      <a:pt x="6507069" y="378619"/>
                      <a:pt x="6493832" y="378619"/>
                    </a:cubicBezTo>
                    <a:lnTo>
                      <a:pt x="47937" y="378619"/>
                    </a:lnTo>
                    <a:cubicBezTo>
                      <a:pt x="21463" y="378619"/>
                      <a:pt x="0" y="357156"/>
                      <a:pt x="0" y="330681"/>
                    </a:cubicBezTo>
                    <a:lnTo>
                      <a:pt x="0" y="319402"/>
                    </a:lnTo>
                    <a:cubicBezTo>
                      <a:pt x="0" y="306164"/>
                      <a:pt x="5366" y="294179"/>
                      <a:pt x="14041" y="285503"/>
                    </a:cubicBezTo>
                    <a:lnTo>
                      <a:pt x="36443" y="276225"/>
                    </a:lnTo>
                    <a:lnTo>
                      <a:pt x="22860" y="276225"/>
                    </a:lnTo>
                    <a:lnTo>
                      <a:pt x="426292" y="0"/>
                    </a:lnTo>
                    <a:lnTo>
                      <a:pt x="6115478" y="0"/>
                    </a:lnTo>
                    <a:lnTo>
                      <a:pt x="6518910" y="276225"/>
                    </a:lnTo>
                    <a:lnTo>
                      <a:pt x="6513966" y="276225"/>
                    </a:lnTo>
                    <a:lnTo>
                      <a:pt x="6527729" y="285504"/>
                    </a:lnTo>
                    <a:cubicBezTo>
                      <a:pt x="6536404" y="294179"/>
                      <a:pt x="6541770" y="306164"/>
                      <a:pt x="6541770" y="319401"/>
                    </a:cubicBezTo>
                    <a:lnTo>
                      <a:pt x="6541770" y="330681"/>
                    </a:lnTo>
                    <a:cubicBezTo>
                      <a:pt x="6541770" y="343919"/>
                      <a:pt x="6536404" y="355903"/>
                      <a:pt x="6527729" y="364578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222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38239" tIns="69119" rIns="138239" bIns="691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46159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64">
                <a:extLst>
                  <a:ext uri="{FF2B5EF4-FFF2-40B4-BE49-F238E27FC236}">
                    <a16:creationId xmlns:a16="http://schemas.microsoft.com/office/drawing/2014/main" id="{AF52D2B7-EDC7-45B8-8222-ABA5826DD8A9}"/>
                  </a:ext>
                </a:extLst>
              </p:cNvPr>
              <p:cNvSpPr/>
              <p:nvPr/>
            </p:nvSpPr>
            <p:spPr bwMode="auto">
              <a:xfrm rot="7464761" flipH="1">
                <a:off x="2630614" y="3355873"/>
                <a:ext cx="3953165" cy="228798"/>
              </a:xfrm>
              <a:custGeom>
                <a:avLst/>
                <a:gdLst>
                  <a:gd name="connsiteX0" fmla="*/ 6527729 w 6541770"/>
                  <a:gd name="connsiteY0" fmla="*/ 364578 h 378619"/>
                  <a:gd name="connsiteX1" fmla="*/ 6541770 w 6541770"/>
                  <a:gd name="connsiteY1" fmla="*/ 330681 h 378619"/>
                  <a:gd name="connsiteX2" fmla="*/ 6541770 w 6541770"/>
                  <a:gd name="connsiteY2" fmla="*/ 319401 h 378619"/>
                  <a:gd name="connsiteX3" fmla="*/ 6527729 w 6541770"/>
                  <a:gd name="connsiteY3" fmla="*/ 285504 h 378619"/>
                  <a:gd name="connsiteX4" fmla="*/ 6513966 w 6541770"/>
                  <a:gd name="connsiteY4" fmla="*/ 276225 h 378619"/>
                  <a:gd name="connsiteX5" fmla="*/ 6518910 w 6541770"/>
                  <a:gd name="connsiteY5" fmla="*/ 276225 h 378619"/>
                  <a:gd name="connsiteX6" fmla="*/ 6115478 w 6541770"/>
                  <a:gd name="connsiteY6" fmla="*/ 0 h 378619"/>
                  <a:gd name="connsiteX7" fmla="*/ 426292 w 6541770"/>
                  <a:gd name="connsiteY7" fmla="*/ 0 h 378619"/>
                  <a:gd name="connsiteX8" fmla="*/ 22860 w 6541770"/>
                  <a:gd name="connsiteY8" fmla="*/ 276225 h 378619"/>
                  <a:gd name="connsiteX9" fmla="*/ 36442 w 6541770"/>
                  <a:gd name="connsiteY9" fmla="*/ 276225 h 378619"/>
                  <a:gd name="connsiteX10" fmla="*/ 14041 w 6541770"/>
                  <a:gd name="connsiteY10" fmla="*/ 285504 h 378619"/>
                  <a:gd name="connsiteX11" fmla="*/ 0 w 6541770"/>
                  <a:gd name="connsiteY11" fmla="*/ 319401 h 378619"/>
                  <a:gd name="connsiteX12" fmla="*/ 0 w 6541770"/>
                  <a:gd name="connsiteY12" fmla="*/ 330681 h 378619"/>
                  <a:gd name="connsiteX13" fmla="*/ 47938 w 6541770"/>
                  <a:gd name="connsiteY13" fmla="*/ 378619 h 378619"/>
                  <a:gd name="connsiteX14" fmla="*/ 6493832 w 6541770"/>
                  <a:gd name="connsiteY14" fmla="*/ 378619 h 378619"/>
                  <a:gd name="connsiteX15" fmla="*/ 6527729 w 6541770"/>
                  <a:gd name="connsiteY15" fmla="*/ 364578 h 37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541770" h="378619">
                    <a:moveTo>
                      <a:pt x="6527729" y="364578"/>
                    </a:moveTo>
                    <a:cubicBezTo>
                      <a:pt x="6536404" y="355903"/>
                      <a:pt x="6541770" y="343919"/>
                      <a:pt x="6541770" y="330681"/>
                    </a:cubicBezTo>
                    <a:lnTo>
                      <a:pt x="6541770" y="319401"/>
                    </a:lnTo>
                    <a:cubicBezTo>
                      <a:pt x="6541770" y="306163"/>
                      <a:pt x="6536404" y="294179"/>
                      <a:pt x="6527729" y="285504"/>
                    </a:cubicBezTo>
                    <a:lnTo>
                      <a:pt x="6513966" y="276225"/>
                    </a:lnTo>
                    <a:lnTo>
                      <a:pt x="6518910" y="276225"/>
                    </a:lnTo>
                    <a:lnTo>
                      <a:pt x="6115478" y="0"/>
                    </a:lnTo>
                    <a:lnTo>
                      <a:pt x="426292" y="0"/>
                    </a:lnTo>
                    <a:lnTo>
                      <a:pt x="22860" y="276225"/>
                    </a:lnTo>
                    <a:lnTo>
                      <a:pt x="36442" y="276225"/>
                    </a:lnTo>
                    <a:lnTo>
                      <a:pt x="14041" y="285504"/>
                    </a:lnTo>
                    <a:cubicBezTo>
                      <a:pt x="5366" y="294179"/>
                      <a:pt x="0" y="306163"/>
                      <a:pt x="0" y="319401"/>
                    </a:cubicBezTo>
                    <a:lnTo>
                      <a:pt x="0" y="330681"/>
                    </a:lnTo>
                    <a:cubicBezTo>
                      <a:pt x="0" y="357156"/>
                      <a:pt x="21463" y="378619"/>
                      <a:pt x="47938" y="378619"/>
                    </a:cubicBezTo>
                    <a:lnTo>
                      <a:pt x="6493832" y="378619"/>
                    </a:lnTo>
                    <a:cubicBezTo>
                      <a:pt x="6507069" y="378619"/>
                      <a:pt x="6519054" y="373253"/>
                      <a:pt x="6527729" y="36457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22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38239" tIns="69119" rIns="138239" bIns="691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46159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7CAADFB1-537F-4290-982A-1D8197C431E7}"/>
                </a:ext>
              </a:extLst>
            </p:cNvPr>
            <p:cNvSpPr/>
            <p:nvPr/>
          </p:nvSpPr>
          <p:spPr bwMode="auto">
            <a:xfrm>
              <a:off x="3696871" y="1899603"/>
              <a:ext cx="3989439" cy="2890795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headEnd type="triangle"/>
              <a:tailEnd type="none"/>
            </a:ln>
            <a:effectLst>
              <a:outerShdw blurRad="50800" dist="12700" dir="5400000" algn="t" rotWithShape="0">
                <a:prstClr val="black">
                  <a:alpha val="1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137160" tIns="91440" rIns="13716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Aft>
                  <a:spcPts val="300"/>
                </a:spcAft>
              </a:pPr>
              <a:endParaRPr lang="en-US" sz="1500" b="1">
                <a:solidFill>
                  <a:schemeClr val="accent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4F9360C-5A92-4C53-A3FB-13E117672D0F}"/>
                </a:ext>
              </a:extLst>
            </p:cNvPr>
            <p:cNvSpPr/>
            <p:nvPr/>
          </p:nvSpPr>
          <p:spPr bwMode="auto">
            <a:xfrm>
              <a:off x="5325856" y="4656573"/>
              <a:ext cx="837695" cy="837693"/>
            </a:xfrm>
            <a:prstGeom prst="ellipse">
              <a:avLst/>
            </a:prstGeom>
            <a:solidFill>
              <a:srgbClr val="2189D7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38239" tIns="69119" rIns="138239" bIns="691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46159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CA76F27-655B-4CE1-809D-5AF8AAB0EA7D}"/>
                </a:ext>
              </a:extLst>
            </p:cNvPr>
            <p:cNvSpPr/>
            <p:nvPr/>
          </p:nvSpPr>
          <p:spPr bwMode="auto">
            <a:xfrm>
              <a:off x="6506704" y="2673877"/>
              <a:ext cx="837695" cy="83769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38239" tIns="69119" rIns="138239" bIns="691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46159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363BD4FF-EC6D-49A8-88F9-180241102F94}"/>
                </a:ext>
              </a:extLst>
            </p:cNvPr>
            <p:cNvSpPr/>
            <p:nvPr/>
          </p:nvSpPr>
          <p:spPr bwMode="auto">
            <a:xfrm>
              <a:off x="4145009" y="2673878"/>
              <a:ext cx="837695" cy="83769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38239" tIns="69119" rIns="138239" bIns="691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46159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18D95F5-7F35-4381-B2AC-681A3E46BAF3}"/>
                </a:ext>
              </a:extLst>
            </p:cNvPr>
            <p:cNvSpPr/>
            <p:nvPr/>
          </p:nvSpPr>
          <p:spPr>
            <a:xfrm>
              <a:off x="5046338" y="5610425"/>
              <a:ext cx="1396729" cy="307776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b="1" dirty="0">
                  <a:solidFill>
                    <a:srgbClr val="2189D7"/>
                  </a:solidFill>
                  <a:cs typeface="Arial" panose="020B0604020202020204" pitchFamily="34" charset="0"/>
                </a:rPr>
                <a:t>Automate</a:t>
              </a:r>
              <a:endParaRPr lang="id-ID" sz="1500" b="1" dirty="0">
                <a:solidFill>
                  <a:srgbClr val="2189D7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TextBox 80">
              <a:extLst>
                <a:ext uri="{FF2B5EF4-FFF2-40B4-BE49-F238E27FC236}">
                  <a16:creationId xmlns:a16="http://schemas.microsoft.com/office/drawing/2014/main" id="{9D567B29-538D-41A7-A93B-C29557D99ED0}"/>
                </a:ext>
              </a:extLst>
            </p:cNvPr>
            <p:cNvSpPr txBox="1"/>
            <p:nvPr/>
          </p:nvSpPr>
          <p:spPr>
            <a:xfrm>
              <a:off x="3175649" y="2894128"/>
              <a:ext cx="755493" cy="245577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500" b="1" dirty="0">
                  <a:solidFill>
                    <a:schemeClr val="accent1"/>
                  </a:solidFill>
                  <a:cs typeface="Arial" panose="020B0604020202020204" pitchFamily="34" charset="0"/>
                </a:rPr>
                <a:t>Analyze</a:t>
              </a:r>
              <a:endParaRPr lang="id-ID" sz="15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6" name="TextBox 81">
              <a:extLst>
                <a:ext uri="{FF2B5EF4-FFF2-40B4-BE49-F238E27FC236}">
                  <a16:creationId xmlns:a16="http://schemas.microsoft.com/office/drawing/2014/main" id="{A1500DD8-2F98-4560-BD7F-543B9BF3AEB9}"/>
                </a:ext>
              </a:extLst>
            </p:cNvPr>
            <p:cNvSpPr txBox="1"/>
            <p:nvPr/>
          </p:nvSpPr>
          <p:spPr>
            <a:xfrm>
              <a:off x="3093446" y="3134945"/>
              <a:ext cx="837695" cy="2455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500" dirty="0">
                  <a:solidFill>
                    <a:schemeClr val="tx2"/>
                  </a:solidFill>
                  <a:cs typeface="Arial" panose="020B0604020202020204" pitchFamily="34" charset="0"/>
                </a:rPr>
                <a:t>Power BI</a:t>
              </a:r>
            </a:p>
          </p:txBody>
        </p:sp>
        <p:sp>
          <p:nvSpPr>
            <p:cNvPr id="17" name="TextBox 86">
              <a:extLst>
                <a:ext uri="{FF2B5EF4-FFF2-40B4-BE49-F238E27FC236}">
                  <a16:creationId xmlns:a16="http://schemas.microsoft.com/office/drawing/2014/main" id="{A226A5A0-23CC-420C-9BB9-1B32CE91FBA1}"/>
                </a:ext>
              </a:extLst>
            </p:cNvPr>
            <p:cNvSpPr txBox="1"/>
            <p:nvPr/>
          </p:nvSpPr>
          <p:spPr>
            <a:xfrm>
              <a:off x="7548900" y="3134945"/>
              <a:ext cx="1006405" cy="49115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500" dirty="0">
                  <a:solidFill>
                    <a:schemeClr val="tx2"/>
                  </a:solidFill>
                  <a:cs typeface="Arial" panose="020B0604020202020204" pitchFamily="34" charset="0"/>
                </a:rPr>
                <a:t>Power Apps</a:t>
              </a:r>
            </a:p>
          </p:txBody>
        </p:sp>
        <p:sp>
          <p:nvSpPr>
            <p:cNvPr id="18" name="TextBox 87">
              <a:extLst>
                <a:ext uri="{FF2B5EF4-FFF2-40B4-BE49-F238E27FC236}">
                  <a16:creationId xmlns:a16="http://schemas.microsoft.com/office/drawing/2014/main" id="{9D9AAD03-1076-4430-A636-670998826778}"/>
                </a:ext>
              </a:extLst>
            </p:cNvPr>
            <p:cNvSpPr txBox="1"/>
            <p:nvPr/>
          </p:nvSpPr>
          <p:spPr>
            <a:xfrm>
              <a:off x="4693143" y="5933290"/>
              <a:ext cx="2103121" cy="2455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500" dirty="0">
                  <a:solidFill>
                    <a:schemeClr val="tx2"/>
                  </a:solidFill>
                  <a:cs typeface="Arial" panose="020B0604020202020204" pitchFamily="34" charset="0"/>
                </a:rPr>
                <a:t>Power Automate</a:t>
              </a:r>
            </a:p>
          </p:txBody>
        </p:sp>
        <p:pic>
          <p:nvPicPr>
            <p:cNvPr id="19" name="Graphic 88">
              <a:extLst>
                <a:ext uri="{FF2B5EF4-FFF2-40B4-BE49-F238E27FC236}">
                  <a16:creationId xmlns:a16="http://schemas.microsoft.com/office/drawing/2014/main" id="{8925E23F-D521-4A1C-BFEF-DDEF73418F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706529" y="2863497"/>
              <a:ext cx="458454" cy="458453"/>
            </a:xfrm>
            <a:prstGeom prst="rect">
              <a:avLst/>
            </a:prstGeom>
          </p:spPr>
        </p:pic>
        <p:pic>
          <p:nvPicPr>
            <p:cNvPr id="20" name="Graphic 91">
              <a:extLst>
                <a:ext uri="{FF2B5EF4-FFF2-40B4-BE49-F238E27FC236}">
                  <a16:creationId xmlns:a16="http://schemas.microsoft.com/office/drawing/2014/main" id="{37DBB55F-CD75-4CDB-862A-084CECF825E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535933" y="4873852"/>
              <a:ext cx="417538" cy="403137"/>
            </a:xfrm>
            <a:prstGeom prst="rect">
              <a:avLst/>
            </a:prstGeom>
          </p:spPr>
        </p:pic>
        <p:pic>
          <p:nvPicPr>
            <p:cNvPr id="21" name="Graphic 94">
              <a:extLst>
                <a:ext uri="{FF2B5EF4-FFF2-40B4-BE49-F238E27FC236}">
                  <a16:creationId xmlns:a16="http://schemas.microsoft.com/office/drawing/2014/main" id="{61BA3076-6EBD-402E-A1B0-AEC2F52CCD5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476543" y="3360036"/>
              <a:ext cx="475468" cy="331385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EF311884-BA9F-4DA8-AE7A-BAF3D8DD98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4346352" y="2869460"/>
              <a:ext cx="457221" cy="457220"/>
            </a:xfrm>
            <a:prstGeom prst="rect">
              <a:avLst/>
            </a:prstGeom>
            <a:noFill/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658E495-7B3E-40AE-B141-5D91EF1C4D72}"/>
                </a:ext>
              </a:extLst>
            </p:cNvPr>
            <p:cNvSpPr/>
            <p:nvPr/>
          </p:nvSpPr>
          <p:spPr>
            <a:xfrm>
              <a:off x="4742184" y="3719963"/>
              <a:ext cx="2005036" cy="369332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accent4"/>
                  </a:solidFill>
                  <a:cs typeface="Arial" panose="020B0604020202020204" pitchFamily="34" charset="0"/>
                </a:rPr>
                <a:t>Power Platform</a:t>
              </a:r>
              <a:endParaRPr lang="id-ID" b="1" dirty="0">
                <a:solidFill>
                  <a:schemeClr val="accent4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" name="TextBox 80">
              <a:extLst>
                <a:ext uri="{FF2B5EF4-FFF2-40B4-BE49-F238E27FC236}">
                  <a16:creationId xmlns:a16="http://schemas.microsoft.com/office/drawing/2014/main" id="{80B8F0BD-9997-4891-896B-0BCB92A280C0}"/>
                </a:ext>
              </a:extLst>
            </p:cNvPr>
            <p:cNvSpPr txBox="1"/>
            <p:nvPr/>
          </p:nvSpPr>
          <p:spPr>
            <a:xfrm>
              <a:off x="7651038" y="2894128"/>
              <a:ext cx="322321" cy="245577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500" b="1" dirty="0">
                  <a:solidFill>
                    <a:srgbClr val="0040AA"/>
                  </a:solidFill>
                  <a:cs typeface="Arial" panose="020B0604020202020204" pitchFamily="34" charset="0"/>
                </a:rPr>
                <a:t>Act</a:t>
              </a:r>
              <a:endParaRPr lang="id-ID" sz="1500" b="1" dirty="0">
                <a:solidFill>
                  <a:srgbClr val="0040AA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21431A36-F2B8-43F4-8DE3-7813FB0EC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ower platform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8B8549-C968-42D7-A739-025B20DA35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6400" y="993072"/>
            <a:ext cx="10339200" cy="283026"/>
          </a:xfrm>
        </p:spPr>
        <p:txBody>
          <a:bodyPr/>
          <a:lstStyle/>
          <a:p>
            <a:r>
              <a:rPr lang="en-US" sz="1400" cap="all" spc="60" dirty="0">
                <a:ln w="3175">
                  <a:noFill/>
                </a:ln>
                <a:solidFill>
                  <a:srgbClr val="7F9FD4"/>
                </a:solidFill>
              </a:rPr>
              <a:t>A low-code / no-code platform for business users</a:t>
            </a:r>
          </a:p>
        </p:txBody>
      </p:sp>
    </p:spTree>
    <p:extLst>
      <p:ext uri="{BB962C8B-B14F-4D97-AF65-F5344CB8AC3E}">
        <p14:creationId xmlns:p14="http://schemas.microsoft.com/office/powerpoint/2010/main" val="39722842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Placeholder 22" descr="A close up of a map&#10;&#10;Description automatically generated">
            <a:extLst>
              <a:ext uri="{FF2B5EF4-FFF2-40B4-BE49-F238E27FC236}">
                <a16:creationId xmlns:a16="http://schemas.microsoft.com/office/drawing/2014/main" id="{12315DDA-78F6-4794-983D-4B6EDDF3D94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l="32063" r="32063"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77C46A-7BFC-44CA-AF65-9734B64AFD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3200" dirty="0"/>
              <a:t>AGEN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6590F2E-6E44-4921-A81A-76E116395D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POWER BI 9:00-11:00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E903701-F434-4F9A-BB54-C1D8E0B0F3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tro to Power B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usiness Scenar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ab Work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3FD9ABA-9576-478F-B29C-32C6789BD7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98313" y="2121555"/>
            <a:ext cx="3432175" cy="292645"/>
          </a:xfrm>
        </p:spPr>
        <p:txBody>
          <a:bodyPr/>
          <a:lstStyle/>
          <a:p>
            <a:r>
              <a:rPr lang="en-US" dirty="0"/>
              <a:t>Power Automate 11:00-12:00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15CC5FB-7A10-4675-BFA0-F548C28CC7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98313" y="2453816"/>
            <a:ext cx="3432175" cy="741600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tro to Power Automa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usiness Scenar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ab Work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AD0E3D4-8FF8-43B3-A3A5-12E252CBE6C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98310" y="3895702"/>
            <a:ext cx="3432175" cy="292645"/>
          </a:xfrm>
        </p:spPr>
        <p:txBody>
          <a:bodyPr/>
          <a:lstStyle/>
          <a:p>
            <a:r>
              <a:rPr lang="en-US" dirty="0"/>
              <a:t>Power apps 12:45-2:00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4D3888-7CD3-4C5E-9B79-DABC294DE1F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998310" y="4227963"/>
            <a:ext cx="3432175" cy="741600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tro to Power App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usiness Scenar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ab Work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90295E0-1EA8-4A17-BF00-0067825ADDC9}"/>
              </a:ext>
            </a:extLst>
          </p:cNvPr>
          <p:cNvSpPr txBox="1">
            <a:spLocks/>
          </p:cNvSpPr>
          <p:nvPr/>
        </p:nvSpPr>
        <p:spPr>
          <a:xfrm>
            <a:off x="7315200" y="3235032"/>
            <a:ext cx="3115287" cy="292645"/>
          </a:xfrm>
          <a:prstGeom prst="rect">
            <a:avLst/>
          </a:prstGeom>
        </p:spPr>
        <p:txBody>
          <a:bodyPr vert="horz" wrap="square" lIns="0" tIns="46800" rIns="0" bIns="46800" rtlCol="0">
            <a:spAutoFit/>
          </a:bodyPr>
          <a:lstStyle>
            <a:lvl1pPr marL="0" marR="0" indent="0" algn="l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marR="0" indent="0" algn="l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798513" algn="l"/>
              </a:tabLst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marR="0" indent="0" algn="l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marR="0" indent="0" algn="l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1255713" algn="l"/>
              </a:tabLst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4"/>
                </a:solidFill>
              </a:rPr>
              <a:t>Break 12:00-12:30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21E85C0-B4C1-4CEC-BB3A-A7AF06F116FB}"/>
              </a:ext>
            </a:extLst>
          </p:cNvPr>
          <p:cNvSpPr txBox="1">
            <a:spLocks/>
          </p:cNvSpPr>
          <p:nvPr/>
        </p:nvSpPr>
        <p:spPr>
          <a:xfrm>
            <a:off x="7315199" y="3565367"/>
            <a:ext cx="3115287" cy="292645"/>
          </a:xfrm>
          <a:prstGeom prst="rect">
            <a:avLst/>
          </a:prstGeom>
        </p:spPr>
        <p:txBody>
          <a:bodyPr vert="horz" wrap="square" lIns="0" tIns="46800" rIns="0" bIns="46800" rtlCol="0">
            <a:spAutoFit/>
          </a:bodyPr>
          <a:lstStyle>
            <a:lvl1pPr marL="0" marR="0" indent="0" algn="l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marR="0" indent="0" algn="l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798513" algn="l"/>
              </a:tabLst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marR="0" indent="0" algn="l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marR="0" indent="0" algn="l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1255713" algn="l"/>
              </a:tabLst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4"/>
                </a:solidFill>
              </a:rPr>
              <a:t>Q&amp;A 12:30-12:45</a:t>
            </a:r>
          </a:p>
        </p:txBody>
      </p:sp>
    </p:spTree>
    <p:extLst>
      <p:ext uri="{BB962C8B-B14F-4D97-AF65-F5344CB8AC3E}">
        <p14:creationId xmlns:p14="http://schemas.microsoft.com/office/powerpoint/2010/main" val="16430191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B51FFE7-06D7-43F6-AE71-C1078E4A40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B51FFE7-06D7-43F6-AE71-C1078E4A40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72489C1-4519-4DB8-873D-7490ED475935}"/>
              </a:ext>
            </a:extLst>
          </p:cNvPr>
          <p:cNvSpPr/>
          <p:nvPr/>
        </p:nvSpPr>
        <p:spPr>
          <a:xfrm>
            <a:off x="4556759" y="0"/>
            <a:ext cx="4575665" cy="6858000"/>
          </a:xfrm>
          <a:prstGeom prst="rect">
            <a:avLst/>
          </a:prstGeom>
          <a:solidFill>
            <a:srgbClr val="252F38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A3D73D3-2D4E-4635-80F7-9F975ED6D25C}"/>
              </a:ext>
            </a:extLst>
          </p:cNvPr>
          <p:cNvGrpSpPr/>
          <p:nvPr/>
        </p:nvGrpSpPr>
        <p:grpSpPr>
          <a:xfrm>
            <a:off x="4812570" y="358663"/>
            <a:ext cx="3842221" cy="1223917"/>
            <a:chOff x="4861941" y="1056297"/>
            <a:chExt cx="3842221" cy="1223917"/>
          </a:xfrm>
        </p:grpSpPr>
        <p:sp>
          <p:nvSpPr>
            <p:cNvPr id="22" name="Title 7">
              <a:extLst>
                <a:ext uri="{FF2B5EF4-FFF2-40B4-BE49-F238E27FC236}">
                  <a16:creationId xmlns:a16="http://schemas.microsoft.com/office/drawing/2014/main" id="{DFAA98A7-C8D9-4DCE-8BAA-5A32B4B3D1D0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4861941" y="1056297"/>
              <a:ext cx="220578" cy="402005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en-US" sz="2800" spc="0" dirty="0">
                  <a:solidFill>
                    <a:srgbClr val="7F9FD4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3" name="Title 7">
              <a:extLst>
                <a:ext uri="{FF2B5EF4-FFF2-40B4-BE49-F238E27FC236}">
                  <a16:creationId xmlns:a16="http://schemas.microsoft.com/office/drawing/2014/main" id="{A2D7C06E-B6DB-4FA5-B774-1D41EC6853E5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5252388" y="1056298"/>
              <a:ext cx="3451774" cy="1223916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5000"/>
                </a:lnSpc>
              </a:pPr>
              <a:r>
                <a:rPr lang="en-US" b="1" dirty="0">
                  <a:solidFill>
                    <a:schemeClr val="bg1"/>
                  </a:solidFill>
                  <a:cs typeface="Arial" panose="020B0604020202020204" pitchFamily="34" charset="0"/>
                </a:rPr>
                <a:t>GET DATA</a:t>
              </a:r>
              <a:endParaRPr lang="en-US" b="1" spc="0" dirty="0">
                <a:solidFill>
                  <a:schemeClr val="bg1"/>
                </a:solidFill>
                <a:cs typeface="Arial" panose="020B0604020202020204" pitchFamily="34" charset="0"/>
              </a:endParaRP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Source system to staging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spc="0" dirty="0">
                  <a:solidFill>
                    <a:schemeClr val="bg1"/>
                  </a:solidFill>
                  <a:cs typeface="Arial" panose="020B0604020202020204" pitchFamily="34" charset="0"/>
                </a:rPr>
                <a:t>Logic Apps, Azure Data Factory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77041AE-2B11-40A1-ACF6-173210D1E2E6}"/>
              </a:ext>
            </a:extLst>
          </p:cNvPr>
          <p:cNvGrpSpPr/>
          <p:nvPr/>
        </p:nvGrpSpPr>
        <p:grpSpPr>
          <a:xfrm>
            <a:off x="4812570" y="1624261"/>
            <a:ext cx="3842221" cy="1223917"/>
            <a:chOff x="4861941" y="2676753"/>
            <a:chExt cx="3842221" cy="1223917"/>
          </a:xfrm>
        </p:grpSpPr>
        <p:sp>
          <p:nvSpPr>
            <p:cNvPr id="24" name="Title 7">
              <a:extLst>
                <a:ext uri="{FF2B5EF4-FFF2-40B4-BE49-F238E27FC236}">
                  <a16:creationId xmlns:a16="http://schemas.microsoft.com/office/drawing/2014/main" id="{40FF7004-0C07-4197-AD66-D13CA6AC4A37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4861941" y="2676753"/>
              <a:ext cx="220578" cy="402005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en-US" sz="2800" spc="0" dirty="0">
                  <a:solidFill>
                    <a:srgbClr val="7F9FD4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5" name="Title 7">
              <a:extLst>
                <a:ext uri="{FF2B5EF4-FFF2-40B4-BE49-F238E27FC236}">
                  <a16:creationId xmlns:a16="http://schemas.microsoft.com/office/drawing/2014/main" id="{77F105DE-86F2-4299-BB3B-197903146FD1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5252388" y="2676754"/>
              <a:ext cx="3451774" cy="1223916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5000"/>
                </a:lnSpc>
              </a:pPr>
              <a:r>
                <a:rPr lang="en-US" b="1" dirty="0">
                  <a:solidFill>
                    <a:schemeClr val="bg1"/>
                  </a:solidFill>
                  <a:cs typeface="Arial" panose="020B0604020202020204" pitchFamily="34" charset="0"/>
                </a:rPr>
                <a:t>CLEAN DATA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Staging to semantic layer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SSIS, </a:t>
              </a:r>
              <a:r>
                <a:rPr lang="en-US" sz="1200" dirty="0" err="1">
                  <a:solidFill>
                    <a:schemeClr val="bg1"/>
                  </a:solidFill>
                  <a:cs typeface="Arial" panose="020B0604020202020204" pitchFamily="34" charset="0"/>
                </a:rPr>
                <a:t>PowerQuery</a:t>
              </a:r>
              <a:endParaRPr lang="en-US" sz="1200" dirty="0">
                <a:solidFill>
                  <a:schemeClr val="bg1"/>
                </a:solidFill>
                <a:cs typeface="Arial" panose="020B0604020202020204" pitchFamily="34" charset="0"/>
              </a:endParaRP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endParaRPr lang="en-US" sz="1200" spc="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F095F18-90DF-443C-B5EE-7FA42A99D577}"/>
              </a:ext>
            </a:extLst>
          </p:cNvPr>
          <p:cNvGrpSpPr/>
          <p:nvPr/>
        </p:nvGrpSpPr>
        <p:grpSpPr>
          <a:xfrm>
            <a:off x="4812570" y="2889859"/>
            <a:ext cx="3842221" cy="1223917"/>
            <a:chOff x="4861941" y="4297208"/>
            <a:chExt cx="3842221" cy="1223917"/>
          </a:xfrm>
        </p:grpSpPr>
        <p:sp>
          <p:nvSpPr>
            <p:cNvPr id="26" name="Title 7">
              <a:extLst>
                <a:ext uri="{FF2B5EF4-FFF2-40B4-BE49-F238E27FC236}">
                  <a16:creationId xmlns:a16="http://schemas.microsoft.com/office/drawing/2014/main" id="{A0683609-61AB-4D3F-BDF4-031715A06910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4861941" y="4297208"/>
              <a:ext cx="220578" cy="402005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en-US" sz="2800" spc="0" dirty="0">
                  <a:solidFill>
                    <a:srgbClr val="7F9FD4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7" name="Title 7">
              <a:extLst>
                <a:ext uri="{FF2B5EF4-FFF2-40B4-BE49-F238E27FC236}">
                  <a16:creationId xmlns:a16="http://schemas.microsoft.com/office/drawing/2014/main" id="{798252B5-AC21-4501-A442-02293CB1779B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5252388" y="4297209"/>
              <a:ext cx="3451774" cy="1223916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5000"/>
                </a:lnSpc>
              </a:pPr>
              <a:r>
                <a:rPr lang="en-US" b="1" dirty="0">
                  <a:solidFill>
                    <a:schemeClr val="bg1"/>
                  </a:solidFill>
                  <a:cs typeface="Arial" panose="020B0604020202020204" pitchFamily="34" charset="0"/>
                </a:rPr>
                <a:t>ANALYZE DATA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Informally in Excel of formally by a Data Scientist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spc="0" dirty="0">
                  <a:solidFill>
                    <a:schemeClr val="bg1"/>
                  </a:solidFill>
                  <a:cs typeface="Arial" panose="020B0604020202020204" pitchFamily="34" charset="0"/>
                </a:rPr>
                <a:t>Python, Databricks</a:t>
              </a:r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4C609626-90A4-409D-B024-0B4B1DE87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222773"/>
            <a:ext cx="4556759" cy="412454"/>
          </a:xfrm>
        </p:spPr>
        <p:txBody>
          <a:bodyPr/>
          <a:lstStyle/>
          <a:p>
            <a:pPr algn="ctr"/>
            <a:r>
              <a:rPr lang="sv-SE" sz="3600" dirty="0"/>
              <a:t>Power BI &amp; </a:t>
            </a:r>
            <a:br>
              <a:rPr lang="sv-SE" sz="3600" dirty="0"/>
            </a:br>
            <a:r>
              <a:rPr lang="sv-SE" sz="3600" dirty="0"/>
              <a:t>The bi cycle</a:t>
            </a:r>
            <a:endParaRPr lang="en-US" sz="3600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C7648CA-6A84-496F-950B-6CABC994BE35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  <a:solidFill>
            <a:schemeClr val="bg1"/>
          </a:solidFill>
        </p:grpSpPr>
        <p:sp>
          <p:nvSpPr>
            <p:cNvPr id="20" name="Oval 503">
              <a:extLst>
                <a:ext uri="{FF2B5EF4-FFF2-40B4-BE49-F238E27FC236}">
                  <a16:creationId xmlns:a16="http://schemas.microsoft.com/office/drawing/2014/main" id="{819869BF-4DE7-4C5B-9892-4C9C34E8BB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504">
              <a:extLst>
                <a:ext uri="{FF2B5EF4-FFF2-40B4-BE49-F238E27FC236}">
                  <a16:creationId xmlns:a16="http://schemas.microsoft.com/office/drawing/2014/main" id="{DC073E30-9FC9-4F60-9F64-7C54D8A52C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505">
              <a:extLst>
                <a:ext uri="{FF2B5EF4-FFF2-40B4-BE49-F238E27FC236}">
                  <a16:creationId xmlns:a16="http://schemas.microsoft.com/office/drawing/2014/main" id="{F5EF9BEA-AD96-46D1-B2AC-D9F6346FF5F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506">
              <a:extLst>
                <a:ext uri="{FF2B5EF4-FFF2-40B4-BE49-F238E27FC236}">
                  <a16:creationId xmlns:a16="http://schemas.microsoft.com/office/drawing/2014/main" id="{AE546C8E-4AF1-4D8A-B9D8-6247D96328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16EEDC57-A0D4-4109-9F19-FE5324E38F7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32424" y="0"/>
            <a:ext cx="3059576" cy="6858000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86877EFF-14B4-4B0D-BF8C-52161B8BD84D}"/>
              </a:ext>
            </a:extLst>
          </p:cNvPr>
          <p:cNvGrpSpPr/>
          <p:nvPr/>
        </p:nvGrpSpPr>
        <p:grpSpPr>
          <a:xfrm>
            <a:off x="4812570" y="4155457"/>
            <a:ext cx="3842221" cy="1223917"/>
            <a:chOff x="4861941" y="4297208"/>
            <a:chExt cx="3842221" cy="1223917"/>
          </a:xfrm>
        </p:grpSpPr>
        <p:sp>
          <p:nvSpPr>
            <p:cNvPr id="35" name="Title 7">
              <a:extLst>
                <a:ext uri="{FF2B5EF4-FFF2-40B4-BE49-F238E27FC236}">
                  <a16:creationId xmlns:a16="http://schemas.microsoft.com/office/drawing/2014/main" id="{EAAB1DF4-D017-4238-8491-8A042F494611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4861941" y="4297208"/>
              <a:ext cx="220578" cy="402005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en-US" sz="2800" dirty="0">
                  <a:solidFill>
                    <a:srgbClr val="7F9FD4"/>
                  </a:solidFill>
                  <a:cs typeface="Arial" panose="020B0604020202020204" pitchFamily="34" charset="0"/>
                </a:rPr>
                <a:t>4</a:t>
              </a:r>
              <a:endParaRPr lang="en-US" sz="2800" spc="0" dirty="0">
                <a:solidFill>
                  <a:srgbClr val="7F9FD4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" name="Title 7">
              <a:extLst>
                <a:ext uri="{FF2B5EF4-FFF2-40B4-BE49-F238E27FC236}">
                  <a16:creationId xmlns:a16="http://schemas.microsoft.com/office/drawing/2014/main" id="{3487597E-6D1B-421B-8205-27A353E95DE4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5252388" y="4297209"/>
              <a:ext cx="3451774" cy="1223916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5000"/>
                </a:lnSpc>
              </a:pPr>
              <a:r>
                <a:rPr lang="en-US" b="1" dirty="0">
                  <a:solidFill>
                    <a:schemeClr val="bg1"/>
                  </a:solidFill>
                  <a:cs typeface="Arial" panose="020B0604020202020204" pitchFamily="34" charset="0"/>
                </a:rPr>
                <a:t>VISUALIZE DATA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Semantic to Reporting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spc="0" dirty="0">
                  <a:solidFill>
                    <a:schemeClr val="bg1"/>
                  </a:solidFill>
                  <a:cs typeface="Arial" panose="020B0604020202020204" pitchFamily="34" charset="0"/>
                </a:rPr>
                <a:t>Analysis Services, </a:t>
              </a: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SSRS</a:t>
              </a:r>
              <a:endParaRPr lang="en-US" sz="1200" spc="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B1BE40D-446C-4B34-B275-A741AE3300E0}"/>
              </a:ext>
            </a:extLst>
          </p:cNvPr>
          <p:cNvGrpSpPr/>
          <p:nvPr/>
        </p:nvGrpSpPr>
        <p:grpSpPr>
          <a:xfrm>
            <a:off x="4812570" y="5421056"/>
            <a:ext cx="3842221" cy="1223917"/>
            <a:chOff x="4861941" y="4297208"/>
            <a:chExt cx="3842221" cy="1223917"/>
          </a:xfrm>
        </p:grpSpPr>
        <p:sp>
          <p:nvSpPr>
            <p:cNvPr id="38" name="Title 7">
              <a:extLst>
                <a:ext uri="{FF2B5EF4-FFF2-40B4-BE49-F238E27FC236}">
                  <a16:creationId xmlns:a16="http://schemas.microsoft.com/office/drawing/2014/main" id="{376D8312-7518-4FCA-BDDC-203068BE4BE8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4861941" y="4297208"/>
              <a:ext cx="220578" cy="402005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en-US" sz="2800" dirty="0">
                  <a:solidFill>
                    <a:srgbClr val="7F9FD4"/>
                  </a:solidFill>
                  <a:cs typeface="Arial" panose="020B0604020202020204" pitchFamily="34" charset="0"/>
                </a:rPr>
                <a:t>5</a:t>
              </a:r>
              <a:endParaRPr lang="en-US" sz="2800" spc="0" dirty="0">
                <a:solidFill>
                  <a:srgbClr val="7F9FD4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9" name="Title 7">
              <a:extLst>
                <a:ext uri="{FF2B5EF4-FFF2-40B4-BE49-F238E27FC236}">
                  <a16:creationId xmlns:a16="http://schemas.microsoft.com/office/drawing/2014/main" id="{377E90FE-7BDA-4BF4-8576-44B8C7DD8440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5252388" y="4297209"/>
              <a:ext cx="3451774" cy="1223916"/>
            </a:xfrm>
            <a:prstGeom prst="rect">
              <a:avLst/>
            </a:prstGeom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5000"/>
                </a:lnSpc>
              </a:pPr>
              <a:r>
                <a:rPr lang="en-US" b="1" dirty="0">
                  <a:solidFill>
                    <a:schemeClr val="bg1"/>
                  </a:solidFill>
                  <a:cs typeface="Arial" panose="020B0604020202020204" pitchFamily="34" charset="0"/>
                </a:rPr>
                <a:t>EVANGELIZE DATA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Reporting to Adoption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1200" spc="0" dirty="0">
                  <a:solidFill>
                    <a:schemeClr val="bg1"/>
                  </a:solidFill>
                  <a:cs typeface="Arial" panose="020B0604020202020204" pitchFamily="34" charset="0"/>
                </a:rPr>
                <a:t>Microsoft Stream, SharePoi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59644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1F6288C-61D7-4F48-8612-DCBB0A6F6FB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7E39E4C5-F7CE-4A49-9C01-84974E49B9BE}"/>
              </a:ext>
            </a:extLst>
          </p:cNvPr>
          <p:cNvSpPr txBox="1"/>
          <p:nvPr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lang="en-US" sz="8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FC9CFA-33B8-4AC2-8692-F4821C917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53661" y="3010424"/>
            <a:ext cx="3644422" cy="837152"/>
          </a:xfrm>
        </p:spPr>
        <p:txBody>
          <a:bodyPr>
            <a:spAutoFit/>
          </a:bodyPr>
          <a:lstStyle/>
          <a:p>
            <a:r>
              <a:rPr lang="en-US" sz="3200" dirty="0"/>
              <a:t>Business scenario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B625C01-DFD9-4E33-8FD0-01E4C5F07547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41" name="Oval 503">
              <a:extLst>
                <a:ext uri="{FF2B5EF4-FFF2-40B4-BE49-F238E27FC236}">
                  <a16:creationId xmlns:a16="http://schemas.microsoft.com/office/drawing/2014/main" id="{86646E12-A5D7-455E-8B8F-EFD6EF4E28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504">
              <a:extLst>
                <a:ext uri="{FF2B5EF4-FFF2-40B4-BE49-F238E27FC236}">
                  <a16:creationId xmlns:a16="http://schemas.microsoft.com/office/drawing/2014/main" id="{E3B29C9C-2988-48A8-B800-0831BC1A4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505">
              <a:extLst>
                <a:ext uri="{FF2B5EF4-FFF2-40B4-BE49-F238E27FC236}">
                  <a16:creationId xmlns:a16="http://schemas.microsoft.com/office/drawing/2014/main" id="{1BBFC87C-450D-48E3-86E4-9352E9249D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506">
              <a:extLst>
                <a:ext uri="{FF2B5EF4-FFF2-40B4-BE49-F238E27FC236}">
                  <a16:creationId xmlns:a16="http://schemas.microsoft.com/office/drawing/2014/main" id="{5A940483-A4FF-4045-9AE2-A2B8598EE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329304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7F7F01C0-F25B-4792-9352-E819CAD598C2}"/>
              </a:ext>
            </a:extLst>
          </p:cNvPr>
          <p:cNvGrpSpPr>
            <a:grpSpLocks noChangeAspect="1"/>
          </p:cNvGrpSpPr>
          <p:nvPr/>
        </p:nvGrpSpPr>
        <p:grpSpPr>
          <a:xfrm>
            <a:off x="3827869" y="1335512"/>
            <a:ext cx="3900170" cy="4006968"/>
            <a:chOff x="3670052" y="1231351"/>
            <a:chExt cx="4149304" cy="4262915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88E36FA-57CB-4FFA-A837-4B2B562E3B5E}"/>
                </a:ext>
              </a:extLst>
            </p:cNvPr>
            <p:cNvGrpSpPr/>
            <p:nvPr/>
          </p:nvGrpSpPr>
          <p:grpSpPr>
            <a:xfrm>
              <a:off x="3670052" y="1231351"/>
              <a:ext cx="4149304" cy="4149298"/>
              <a:chOff x="3870035" y="1493689"/>
              <a:chExt cx="3953165" cy="3953166"/>
            </a:xfrm>
          </p:grpSpPr>
          <p:sp>
            <p:nvSpPr>
              <p:cNvPr id="25" name="Freeform 63">
                <a:extLst>
                  <a:ext uri="{FF2B5EF4-FFF2-40B4-BE49-F238E27FC236}">
                    <a16:creationId xmlns:a16="http://schemas.microsoft.com/office/drawing/2014/main" id="{98B7D57E-EDF9-4216-929B-F70FFEE6975B}"/>
                  </a:ext>
                </a:extLst>
              </p:cNvPr>
              <p:cNvSpPr/>
              <p:nvPr/>
            </p:nvSpPr>
            <p:spPr bwMode="auto">
              <a:xfrm flipH="1">
                <a:off x="3870035" y="5039787"/>
                <a:ext cx="3953165" cy="228798"/>
              </a:xfrm>
              <a:custGeom>
                <a:avLst/>
                <a:gdLst>
                  <a:gd name="connsiteX0" fmla="*/ 6115478 w 6541770"/>
                  <a:gd name="connsiteY0" fmla="*/ 0 h 378619"/>
                  <a:gd name="connsiteX1" fmla="*/ 426292 w 6541770"/>
                  <a:gd name="connsiteY1" fmla="*/ 0 h 378619"/>
                  <a:gd name="connsiteX2" fmla="*/ 22860 w 6541770"/>
                  <a:gd name="connsiteY2" fmla="*/ 276225 h 378619"/>
                  <a:gd name="connsiteX3" fmla="*/ 27803 w 6541770"/>
                  <a:gd name="connsiteY3" fmla="*/ 276225 h 378619"/>
                  <a:gd name="connsiteX4" fmla="*/ 14041 w 6541770"/>
                  <a:gd name="connsiteY4" fmla="*/ 285504 h 378619"/>
                  <a:gd name="connsiteX5" fmla="*/ 0 w 6541770"/>
                  <a:gd name="connsiteY5" fmla="*/ 319401 h 378619"/>
                  <a:gd name="connsiteX6" fmla="*/ 0 w 6541770"/>
                  <a:gd name="connsiteY6" fmla="*/ 330681 h 378619"/>
                  <a:gd name="connsiteX7" fmla="*/ 47938 w 6541770"/>
                  <a:gd name="connsiteY7" fmla="*/ 378619 h 378619"/>
                  <a:gd name="connsiteX8" fmla="*/ 6493832 w 6541770"/>
                  <a:gd name="connsiteY8" fmla="*/ 378619 h 378619"/>
                  <a:gd name="connsiteX9" fmla="*/ 6541770 w 6541770"/>
                  <a:gd name="connsiteY9" fmla="*/ 330681 h 378619"/>
                  <a:gd name="connsiteX10" fmla="*/ 6541770 w 6541770"/>
                  <a:gd name="connsiteY10" fmla="*/ 319401 h 378619"/>
                  <a:gd name="connsiteX11" fmla="*/ 6527729 w 6541770"/>
                  <a:gd name="connsiteY11" fmla="*/ 285504 h 378619"/>
                  <a:gd name="connsiteX12" fmla="*/ 6513967 w 6541770"/>
                  <a:gd name="connsiteY12" fmla="*/ 276225 h 378619"/>
                  <a:gd name="connsiteX13" fmla="*/ 6518910 w 6541770"/>
                  <a:gd name="connsiteY13" fmla="*/ 276225 h 37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541770" h="378619">
                    <a:moveTo>
                      <a:pt x="6115478" y="0"/>
                    </a:moveTo>
                    <a:lnTo>
                      <a:pt x="426292" y="0"/>
                    </a:lnTo>
                    <a:lnTo>
                      <a:pt x="22860" y="276225"/>
                    </a:lnTo>
                    <a:lnTo>
                      <a:pt x="27803" y="276225"/>
                    </a:lnTo>
                    <a:lnTo>
                      <a:pt x="14041" y="285504"/>
                    </a:lnTo>
                    <a:cubicBezTo>
                      <a:pt x="5366" y="294179"/>
                      <a:pt x="0" y="306164"/>
                      <a:pt x="0" y="319401"/>
                    </a:cubicBezTo>
                    <a:lnTo>
                      <a:pt x="0" y="330681"/>
                    </a:lnTo>
                    <a:cubicBezTo>
                      <a:pt x="0" y="357156"/>
                      <a:pt x="21463" y="378619"/>
                      <a:pt x="47938" y="378619"/>
                    </a:cubicBezTo>
                    <a:lnTo>
                      <a:pt x="6493832" y="378619"/>
                    </a:lnTo>
                    <a:cubicBezTo>
                      <a:pt x="6520307" y="378619"/>
                      <a:pt x="6541770" y="357156"/>
                      <a:pt x="6541770" y="330681"/>
                    </a:cubicBezTo>
                    <a:lnTo>
                      <a:pt x="6541770" y="319401"/>
                    </a:lnTo>
                    <a:cubicBezTo>
                      <a:pt x="6541770" y="306164"/>
                      <a:pt x="6536404" y="294179"/>
                      <a:pt x="6527729" y="285504"/>
                    </a:cubicBezTo>
                    <a:lnTo>
                      <a:pt x="6513967" y="276225"/>
                    </a:lnTo>
                    <a:lnTo>
                      <a:pt x="6518910" y="276225"/>
                    </a:lnTo>
                    <a:close/>
                  </a:path>
                </a:pathLst>
              </a:custGeom>
              <a:solidFill>
                <a:srgbClr val="2189D7"/>
              </a:solidFill>
              <a:ln w="222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38239" tIns="69119" rIns="138239" bIns="691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46159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65">
                <a:extLst>
                  <a:ext uri="{FF2B5EF4-FFF2-40B4-BE49-F238E27FC236}">
                    <a16:creationId xmlns:a16="http://schemas.microsoft.com/office/drawing/2014/main" id="{B4D14B4C-9507-457E-AF2C-FF314DB2A2C4}"/>
                  </a:ext>
                </a:extLst>
              </p:cNvPr>
              <p:cNvSpPr/>
              <p:nvPr/>
            </p:nvSpPr>
            <p:spPr bwMode="auto">
              <a:xfrm rot="14135239">
                <a:off x="5109456" y="3355874"/>
                <a:ext cx="3953165" cy="228798"/>
              </a:xfrm>
              <a:custGeom>
                <a:avLst/>
                <a:gdLst>
                  <a:gd name="connsiteX0" fmla="*/ 6527729 w 6541770"/>
                  <a:gd name="connsiteY0" fmla="*/ 364578 h 378619"/>
                  <a:gd name="connsiteX1" fmla="*/ 6493832 w 6541770"/>
                  <a:gd name="connsiteY1" fmla="*/ 378619 h 378619"/>
                  <a:gd name="connsiteX2" fmla="*/ 47937 w 6541770"/>
                  <a:gd name="connsiteY2" fmla="*/ 378619 h 378619"/>
                  <a:gd name="connsiteX3" fmla="*/ 0 w 6541770"/>
                  <a:gd name="connsiteY3" fmla="*/ 330681 h 378619"/>
                  <a:gd name="connsiteX4" fmla="*/ 0 w 6541770"/>
                  <a:gd name="connsiteY4" fmla="*/ 319402 h 378619"/>
                  <a:gd name="connsiteX5" fmla="*/ 14041 w 6541770"/>
                  <a:gd name="connsiteY5" fmla="*/ 285503 h 378619"/>
                  <a:gd name="connsiteX6" fmla="*/ 36443 w 6541770"/>
                  <a:gd name="connsiteY6" fmla="*/ 276225 h 378619"/>
                  <a:gd name="connsiteX7" fmla="*/ 22860 w 6541770"/>
                  <a:gd name="connsiteY7" fmla="*/ 276225 h 378619"/>
                  <a:gd name="connsiteX8" fmla="*/ 426292 w 6541770"/>
                  <a:gd name="connsiteY8" fmla="*/ 0 h 378619"/>
                  <a:gd name="connsiteX9" fmla="*/ 6115478 w 6541770"/>
                  <a:gd name="connsiteY9" fmla="*/ 0 h 378619"/>
                  <a:gd name="connsiteX10" fmla="*/ 6518910 w 6541770"/>
                  <a:gd name="connsiteY10" fmla="*/ 276225 h 378619"/>
                  <a:gd name="connsiteX11" fmla="*/ 6513966 w 6541770"/>
                  <a:gd name="connsiteY11" fmla="*/ 276225 h 378619"/>
                  <a:gd name="connsiteX12" fmla="*/ 6527729 w 6541770"/>
                  <a:gd name="connsiteY12" fmla="*/ 285504 h 378619"/>
                  <a:gd name="connsiteX13" fmla="*/ 6541770 w 6541770"/>
                  <a:gd name="connsiteY13" fmla="*/ 319401 h 378619"/>
                  <a:gd name="connsiteX14" fmla="*/ 6541770 w 6541770"/>
                  <a:gd name="connsiteY14" fmla="*/ 330681 h 378619"/>
                  <a:gd name="connsiteX15" fmla="*/ 6527729 w 6541770"/>
                  <a:gd name="connsiteY15" fmla="*/ 364578 h 37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541770" h="378619">
                    <a:moveTo>
                      <a:pt x="6527729" y="364578"/>
                    </a:moveTo>
                    <a:cubicBezTo>
                      <a:pt x="6519054" y="373253"/>
                      <a:pt x="6507069" y="378619"/>
                      <a:pt x="6493832" y="378619"/>
                    </a:cubicBezTo>
                    <a:lnTo>
                      <a:pt x="47937" y="378619"/>
                    </a:lnTo>
                    <a:cubicBezTo>
                      <a:pt x="21463" y="378619"/>
                      <a:pt x="0" y="357156"/>
                      <a:pt x="0" y="330681"/>
                    </a:cubicBezTo>
                    <a:lnTo>
                      <a:pt x="0" y="319402"/>
                    </a:lnTo>
                    <a:cubicBezTo>
                      <a:pt x="0" y="306164"/>
                      <a:pt x="5366" y="294179"/>
                      <a:pt x="14041" y="285503"/>
                    </a:cubicBezTo>
                    <a:lnTo>
                      <a:pt x="36443" y="276225"/>
                    </a:lnTo>
                    <a:lnTo>
                      <a:pt x="22860" y="276225"/>
                    </a:lnTo>
                    <a:lnTo>
                      <a:pt x="426292" y="0"/>
                    </a:lnTo>
                    <a:lnTo>
                      <a:pt x="6115478" y="0"/>
                    </a:lnTo>
                    <a:lnTo>
                      <a:pt x="6518910" y="276225"/>
                    </a:lnTo>
                    <a:lnTo>
                      <a:pt x="6513966" y="276225"/>
                    </a:lnTo>
                    <a:lnTo>
                      <a:pt x="6527729" y="285504"/>
                    </a:lnTo>
                    <a:cubicBezTo>
                      <a:pt x="6536404" y="294179"/>
                      <a:pt x="6541770" y="306164"/>
                      <a:pt x="6541770" y="319401"/>
                    </a:cubicBezTo>
                    <a:lnTo>
                      <a:pt x="6541770" y="330681"/>
                    </a:lnTo>
                    <a:cubicBezTo>
                      <a:pt x="6541770" y="343919"/>
                      <a:pt x="6536404" y="355903"/>
                      <a:pt x="6527729" y="364578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222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38239" tIns="69119" rIns="138239" bIns="691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46159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64">
                <a:extLst>
                  <a:ext uri="{FF2B5EF4-FFF2-40B4-BE49-F238E27FC236}">
                    <a16:creationId xmlns:a16="http://schemas.microsoft.com/office/drawing/2014/main" id="{AF52D2B7-EDC7-45B8-8222-ABA5826DD8A9}"/>
                  </a:ext>
                </a:extLst>
              </p:cNvPr>
              <p:cNvSpPr/>
              <p:nvPr/>
            </p:nvSpPr>
            <p:spPr bwMode="auto">
              <a:xfrm rot="7464761" flipH="1">
                <a:off x="2630614" y="3355873"/>
                <a:ext cx="3953165" cy="228798"/>
              </a:xfrm>
              <a:custGeom>
                <a:avLst/>
                <a:gdLst>
                  <a:gd name="connsiteX0" fmla="*/ 6527729 w 6541770"/>
                  <a:gd name="connsiteY0" fmla="*/ 364578 h 378619"/>
                  <a:gd name="connsiteX1" fmla="*/ 6541770 w 6541770"/>
                  <a:gd name="connsiteY1" fmla="*/ 330681 h 378619"/>
                  <a:gd name="connsiteX2" fmla="*/ 6541770 w 6541770"/>
                  <a:gd name="connsiteY2" fmla="*/ 319401 h 378619"/>
                  <a:gd name="connsiteX3" fmla="*/ 6527729 w 6541770"/>
                  <a:gd name="connsiteY3" fmla="*/ 285504 h 378619"/>
                  <a:gd name="connsiteX4" fmla="*/ 6513966 w 6541770"/>
                  <a:gd name="connsiteY4" fmla="*/ 276225 h 378619"/>
                  <a:gd name="connsiteX5" fmla="*/ 6518910 w 6541770"/>
                  <a:gd name="connsiteY5" fmla="*/ 276225 h 378619"/>
                  <a:gd name="connsiteX6" fmla="*/ 6115478 w 6541770"/>
                  <a:gd name="connsiteY6" fmla="*/ 0 h 378619"/>
                  <a:gd name="connsiteX7" fmla="*/ 426292 w 6541770"/>
                  <a:gd name="connsiteY7" fmla="*/ 0 h 378619"/>
                  <a:gd name="connsiteX8" fmla="*/ 22860 w 6541770"/>
                  <a:gd name="connsiteY8" fmla="*/ 276225 h 378619"/>
                  <a:gd name="connsiteX9" fmla="*/ 36442 w 6541770"/>
                  <a:gd name="connsiteY9" fmla="*/ 276225 h 378619"/>
                  <a:gd name="connsiteX10" fmla="*/ 14041 w 6541770"/>
                  <a:gd name="connsiteY10" fmla="*/ 285504 h 378619"/>
                  <a:gd name="connsiteX11" fmla="*/ 0 w 6541770"/>
                  <a:gd name="connsiteY11" fmla="*/ 319401 h 378619"/>
                  <a:gd name="connsiteX12" fmla="*/ 0 w 6541770"/>
                  <a:gd name="connsiteY12" fmla="*/ 330681 h 378619"/>
                  <a:gd name="connsiteX13" fmla="*/ 47938 w 6541770"/>
                  <a:gd name="connsiteY13" fmla="*/ 378619 h 378619"/>
                  <a:gd name="connsiteX14" fmla="*/ 6493832 w 6541770"/>
                  <a:gd name="connsiteY14" fmla="*/ 378619 h 378619"/>
                  <a:gd name="connsiteX15" fmla="*/ 6527729 w 6541770"/>
                  <a:gd name="connsiteY15" fmla="*/ 364578 h 37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541770" h="378619">
                    <a:moveTo>
                      <a:pt x="6527729" y="364578"/>
                    </a:moveTo>
                    <a:cubicBezTo>
                      <a:pt x="6536404" y="355903"/>
                      <a:pt x="6541770" y="343919"/>
                      <a:pt x="6541770" y="330681"/>
                    </a:cubicBezTo>
                    <a:lnTo>
                      <a:pt x="6541770" y="319401"/>
                    </a:lnTo>
                    <a:cubicBezTo>
                      <a:pt x="6541770" y="306163"/>
                      <a:pt x="6536404" y="294179"/>
                      <a:pt x="6527729" y="285504"/>
                    </a:cubicBezTo>
                    <a:lnTo>
                      <a:pt x="6513966" y="276225"/>
                    </a:lnTo>
                    <a:lnTo>
                      <a:pt x="6518910" y="276225"/>
                    </a:lnTo>
                    <a:lnTo>
                      <a:pt x="6115478" y="0"/>
                    </a:lnTo>
                    <a:lnTo>
                      <a:pt x="426292" y="0"/>
                    </a:lnTo>
                    <a:lnTo>
                      <a:pt x="22860" y="276225"/>
                    </a:lnTo>
                    <a:lnTo>
                      <a:pt x="36442" y="276225"/>
                    </a:lnTo>
                    <a:lnTo>
                      <a:pt x="14041" y="285504"/>
                    </a:lnTo>
                    <a:cubicBezTo>
                      <a:pt x="5366" y="294179"/>
                      <a:pt x="0" y="306163"/>
                      <a:pt x="0" y="319401"/>
                    </a:cubicBezTo>
                    <a:lnTo>
                      <a:pt x="0" y="330681"/>
                    </a:lnTo>
                    <a:cubicBezTo>
                      <a:pt x="0" y="357156"/>
                      <a:pt x="21463" y="378619"/>
                      <a:pt x="47938" y="378619"/>
                    </a:cubicBezTo>
                    <a:lnTo>
                      <a:pt x="6493832" y="378619"/>
                    </a:lnTo>
                    <a:cubicBezTo>
                      <a:pt x="6507069" y="378619"/>
                      <a:pt x="6519054" y="373253"/>
                      <a:pt x="6527729" y="36457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22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138239" tIns="69119" rIns="138239" bIns="691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46159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7CAADFB1-537F-4290-982A-1D8197C431E7}"/>
                </a:ext>
              </a:extLst>
            </p:cNvPr>
            <p:cNvSpPr/>
            <p:nvPr/>
          </p:nvSpPr>
          <p:spPr bwMode="auto">
            <a:xfrm>
              <a:off x="3696871" y="1899603"/>
              <a:ext cx="3989439" cy="2890795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headEnd type="triangle"/>
              <a:tailEnd type="none"/>
            </a:ln>
            <a:effectLst>
              <a:outerShdw blurRad="50800" dist="12700" dir="5400000" algn="t" rotWithShape="0">
                <a:prstClr val="black">
                  <a:alpha val="1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137160" tIns="91440" rIns="13716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Aft>
                  <a:spcPts val="300"/>
                </a:spcAft>
              </a:pPr>
              <a:endParaRPr lang="en-US" sz="1500" b="1">
                <a:solidFill>
                  <a:schemeClr val="accent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4F9360C-5A92-4C53-A3FB-13E117672D0F}"/>
                </a:ext>
              </a:extLst>
            </p:cNvPr>
            <p:cNvSpPr/>
            <p:nvPr/>
          </p:nvSpPr>
          <p:spPr bwMode="auto">
            <a:xfrm>
              <a:off x="5325856" y="4656573"/>
              <a:ext cx="837695" cy="837693"/>
            </a:xfrm>
            <a:prstGeom prst="ellipse">
              <a:avLst/>
            </a:prstGeom>
            <a:solidFill>
              <a:srgbClr val="2189D7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38239" tIns="69119" rIns="138239" bIns="691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46159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CA76F27-655B-4CE1-809D-5AF8AAB0EA7D}"/>
                </a:ext>
              </a:extLst>
            </p:cNvPr>
            <p:cNvSpPr/>
            <p:nvPr/>
          </p:nvSpPr>
          <p:spPr bwMode="auto">
            <a:xfrm>
              <a:off x="6506704" y="2673877"/>
              <a:ext cx="837695" cy="83769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38239" tIns="69119" rIns="138239" bIns="691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46159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363BD4FF-EC6D-49A8-88F9-180241102F94}"/>
                </a:ext>
              </a:extLst>
            </p:cNvPr>
            <p:cNvSpPr/>
            <p:nvPr/>
          </p:nvSpPr>
          <p:spPr bwMode="auto">
            <a:xfrm>
              <a:off x="4145009" y="2673878"/>
              <a:ext cx="837695" cy="83769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138239" tIns="69119" rIns="138239" bIns="691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46159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pic>
          <p:nvPicPr>
            <p:cNvPr id="19" name="Graphic 88">
              <a:extLst>
                <a:ext uri="{FF2B5EF4-FFF2-40B4-BE49-F238E27FC236}">
                  <a16:creationId xmlns:a16="http://schemas.microsoft.com/office/drawing/2014/main" id="{8925E23F-D521-4A1C-BFEF-DDEF73418F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706529" y="2863497"/>
              <a:ext cx="458454" cy="458453"/>
            </a:xfrm>
            <a:prstGeom prst="rect">
              <a:avLst/>
            </a:prstGeom>
          </p:spPr>
        </p:pic>
        <p:pic>
          <p:nvPicPr>
            <p:cNvPr id="20" name="Graphic 91">
              <a:extLst>
                <a:ext uri="{FF2B5EF4-FFF2-40B4-BE49-F238E27FC236}">
                  <a16:creationId xmlns:a16="http://schemas.microsoft.com/office/drawing/2014/main" id="{37DBB55F-CD75-4CDB-862A-084CECF825E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535933" y="4873852"/>
              <a:ext cx="417538" cy="403137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EF311884-BA9F-4DA8-AE7A-BAF3D8DD98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4346352" y="2869460"/>
              <a:ext cx="457221" cy="457220"/>
            </a:xfrm>
            <a:prstGeom prst="rect">
              <a:avLst/>
            </a:prstGeom>
            <a:noFill/>
          </p:spPr>
        </p:pic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21431A36-F2B8-43F4-8DE3-7813FB0EC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IME OU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8B8549-C968-42D7-A739-025B20DA35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6400" y="993072"/>
            <a:ext cx="10339200" cy="283026"/>
          </a:xfrm>
        </p:spPr>
        <p:txBody>
          <a:bodyPr/>
          <a:lstStyle/>
          <a:p>
            <a:r>
              <a:rPr lang="en-US" sz="1400" cap="all" spc="60" dirty="0">
                <a:ln w="3175">
                  <a:noFill/>
                </a:ln>
                <a:solidFill>
                  <a:srgbClr val="7F9FD4"/>
                </a:solidFill>
              </a:rPr>
              <a:t>LET’s talk PROCESS &amp; BEST PRACTICES</a:t>
            </a:r>
          </a:p>
        </p:txBody>
      </p:sp>
    </p:spTree>
    <p:extLst>
      <p:ext uri="{BB962C8B-B14F-4D97-AF65-F5344CB8AC3E}">
        <p14:creationId xmlns:p14="http://schemas.microsoft.com/office/powerpoint/2010/main" val="9662794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7" name="Group 766">
            <a:extLst>
              <a:ext uri="{FF2B5EF4-FFF2-40B4-BE49-F238E27FC236}">
                <a16:creationId xmlns:a16="http://schemas.microsoft.com/office/drawing/2014/main" id="{9001FA43-023B-449E-9649-3C3556FBEC55}"/>
              </a:ext>
            </a:extLst>
          </p:cNvPr>
          <p:cNvGrpSpPr/>
          <p:nvPr/>
        </p:nvGrpSpPr>
        <p:grpSpPr>
          <a:xfrm>
            <a:off x="8277225" y="0"/>
            <a:ext cx="5097463" cy="4886325"/>
            <a:chOff x="6600825" y="260351"/>
            <a:chExt cx="5097463" cy="4886325"/>
          </a:xfrm>
        </p:grpSpPr>
        <p:grpSp>
          <p:nvGrpSpPr>
            <p:cNvPr id="7" name="Group 205">
              <a:extLst>
                <a:ext uri="{FF2B5EF4-FFF2-40B4-BE49-F238E27FC236}">
                  <a16:creationId xmlns:a16="http://schemas.microsoft.com/office/drawing/2014/main" id="{BFEA87D8-F9F4-4909-B906-53FB73F7E08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600825" y="260351"/>
              <a:ext cx="5054600" cy="4886325"/>
              <a:chOff x="4158" y="164"/>
              <a:chExt cx="3184" cy="3078"/>
            </a:xfrm>
          </p:grpSpPr>
          <p:sp>
            <p:nvSpPr>
              <p:cNvPr id="567" name="Rectangle 5">
                <a:extLst>
                  <a:ext uri="{FF2B5EF4-FFF2-40B4-BE49-F238E27FC236}">
                    <a16:creationId xmlns:a16="http://schemas.microsoft.com/office/drawing/2014/main" id="{68BA803B-B0C0-446C-92B3-8DE3FA683C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79" y="263"/>
                <a:ext cx="196" cy="102"/>
              </a:xfrm>
              <a:prstGeom prst="rect">
                <a:avLst/>
              </a:pr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8" name="Freeform 6">
                <a:extLst>
                  <a:ext uri="{FF2B5EF4-FFF2-40B4-BE49-F238E27FC236}">
                    <a16:creationId xmlns:a16="http://schemas.microsoft.com/office/drawing/2014/main" id="{1B286794-E1E4-4DC8-80E4-74FBC31CD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0" y="164"/>
                <a:ext cx="375" cy="143"/>
              </a:xfrm>
              <a:custGeom>
                <a:avLst/>
                <a:gdLst>
                  <a:gd name="T0" fmla="*/ 35 w 686"/>
                  <a:gd name="T1" fmla="*/ 112 h 262"/>
                  <a:gd name="T2" fmla="*/ 650 w 686"/>
                  <a:gd name="T3" fmla="*/ 112 h 262"/>
                  <a:gd name="T4" fmla="*/ 679 w 686"/>
                  <a:gd name="T5" fmla="*/ 205 h 262"/>
                  <a:gd name="T6" fmla="*/ 628 w 686"/>
                  <a:gd name="T7" fmla="*/ 251 h 262"/>
                  <a:gd name="T8" fmla="*/ 57 w 686"/>
                  <a:gd name="T9" fmla="*/ 251 h 262"/>
                  <a:gd name="T10" fmla="*/ 7 w 686"/>
                  <a:gd name="T11" fmla="*/ 205 h 262"/>
                  <a:gd name="T12" fmla="*/ 35 w 686"/>
                  <a:gd name="T13" fmla="*/ 11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6" h="262">
                    <a:moveTo>
                      <a:pt x="35" y="112"/>
                    </a:moveTo>
                    <a:cubicBezTo>
                      <a:pt x="236" y="0"/>
                      <a:pt x="450" y="0"/>
                      <a:pt x="650" y="112"/>
                    </a:cubicBezTo>
                    <a:cubicBezTo>
                      <a:pt x="673" y="124"/>
                      <a:pt x="686" y="167"/>
                      <a:pt x="679" y="205"/>
                    </a:cubicBezTo>
                    <a:cubicBezTo>
                      <a:pt x="671" y="243"/>
                      <a:pt x="649" y="262"/>
                      <a:pt x="628" y="251"/>
                    </a:cubicBezTo>
                    <a:cubicBezTo>
                      <a:pt x="442" y="147"/>
                      <a:pt x="244" y="147"/>
                      <a:pt x="57" y="251"/>
                    </a:cubicBezTo>
                    <a:cubicBezTo>
                      <a:pt x="36" y="262"/>
                      <a:pt x="14" y="243"/>
                      <a:pt x="7" y="205"/>
                    </a:cubicBezTo>
                    <a:cubicBezTo>
                      <a:pt x="0" y="167"/>
                      <a:pt x="12" y="124"/>
                      <a:pt x="35" y="112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9" name="Freeform 7">
                <a:extLst>
                  <a:ext uri="{FF2B5EF4-FFF2-40B4-BE49-F238E27FC236}">
                    <a16:creationId xmlns:a16="http://schemas.microsoft.com/office/drawing/2014/main" id="{0FF847E9-8A2B-4A09-880C-06CB9F3E0E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1" y="385"/>
                <a:ext cx="573" cy="571"/>
              </a:xfrm>
              <a:custGeom>
                <a:avLst/>
                <a:gdLst>
                  <a:gd name="T0" fmla="*/ 25 w 1046"/>
                  <a:gd name="T1" fmla="*/ 25 h 1046"/>
                  <a:gd name="T2" fmla="*/ 116 w 1046"/>
                  <a:gd name="T3" fmla="*/ 25 h 1046"/>
                  <a:gd name="T4" fmla="*/ 1020 w 1046"/>
                  <a:gd name="T5" fmla="*/ 929 h 1046"/>
                  <a:gd name="T6" fmla="*/ 1020 w 1046"/>
                  <a:gd name="T7" fmla="*/ 1021 h 1046"/>
                  <a:gd name="T8" fmla="*/ 929 w 1046"/>
                  <a:gd name="T9" fmla="*/ 1021 h 1046"/>
                  <a:gd name="T10" fmla="*/ 25 w 1046"/>
                  <a:gd name="T11" fmla="*/ 116 h 1046"/>
                  <a:gd name="T12" fmla="*/ 25 w 1046"/>
                  <a:gd name="T13" fmla="*/ 25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6" h="1046">
                    <a:moveTo>
                      <a:pt x="25" y="25"/>
                    </a:moveTo>
                    <a:cubicBezTo>
                      <a:pt x="50" y="0"/>
                      <a:pt x="91" y="0"/>
                      <a:pt x="116" y="25"/>
                    </a:cubicBezTo>
                    <a:cubicBezTo>
                      <a:pt x="1020" y="929"/>
                      <a:pt x="1020" y="929"/>
                      <a:pt x="1020" y="929"/>
                    </a:cubicBezTo>
                    <a:cubicBezTo>
                      <a:pt x="1046" y="955"/>
                      <a:pt x="1046" y="995"/>
                      <a:pt x="1020" y="1021"/>
                    </a:cubicBezTo>
                    <a:cubicBezTo>
                      <a:pt x="995" y="1046"/>
                      <a:pt x="954" y="1046"/>
                      <a:pt x="929" y="1021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0" y="91"/>
                      <a:pt x="0" y="50"/>
                      <a:pt x="25" y="25"/>
                    </a:cubicBezTo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0" name="Freeform 8">
                <a:extLst>
                  <a:ext uri="{FF2B5EF4-FFF2-40B4-BE49-F238E27FC236}">
                    <a16:creationId xmlns:a16="http://schemas.microsoft.com/office/drawing/2014/main" id="{65F99480-1029-4DB9-A18D-EDF55E361C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1" y="385"/>
                <a:ext cx="573" cy="571"/>
              </a:xfrm>
              <a:custGeom>
                <a:avLst/>
                <a:gdLst>
                  <a:gd name="T0" fmla="*/ 1020 w 1046"/>
                  <a:gd name="T1" fmla="*/ 25 h 1046"/>
                  <a:gd name="T2" fmla="*/ 1020 w 1046"/>
                  <a:gd name="T3" fmla="*/ 116 h 1046"/>
                  <a:gd name="T4" fmla="*/ 116 w 1046"/>
                  <a:gd name="T5" fmla="*/ 1021 h 1046"/>
                  <a:gd name="T6" fmla="*/ 25 w 1046"/>
                  <a:gd name="T7" fmla="*/ 1021 h 1046"/>
                  <a:gd name="T8" fmla="*/ 25 w 1046"/>
                  <a:gd name="T9" fmla="*/ 929 h 1046"/>
                  <a:gd name="T10" fmla="*/ 929 w 1046"/>
                  <a:gd name="T11" fmla="*/ 25 h 1046"/>
                  <a:gd name="T12" fmla="*/ 1020 w 1046"/>
                  <a:gd name="T13" fmla="*/ 25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6" h="1046">
                    <a:moveTo>
                      <a:pt x="1020" y="25"/>
                    </a:moveTo>
                    <a:cubicBezTo>
                      <a:pt x="1046" y="50"/>
                      <a:pt x="1046" y="91"/>
                      <a:pt x="1020" y="116"/>
                    </a:cubicBezTo>
                    <a:cubicBezTo>
                      <a:pt x="116" y="1021"/>
                      <a:pt x="116" y="1021"/>
                      <a:pt x="116" y="1021"/>
                    </a:cubicBezTo>
                    <a:cubicBezTo>
                      <a:pt x="91" y="1046"/>
                      <a:pt x="50" y="1046"/>
                      <a:pt x="25" y="1021"/>
                    </a:cubicBezTo>
                    <a:cubicBezTo>
                      <a:pt x="0" y="995"/>
                      <a:pt x="0" y="955"/>
                      <a:pt x="25" y="929"/>
                    </a:cubicBezTo>
                    <a:cubicBezTo>
                      <a:pt x="929" y="25"/>
                      <a:pt x="929" y="25"/>
                      <a:pt x="929" y="25"/>
                    </a:cubicBezTo>
                    <a:cubicBezTo>
                      <a:pt x="954" y="0"/>
                      <a:pt x="995" y="0"/>
                      <a:pt x="1020" y="25"/>
                    </a:cubicBezTo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1" name="Freeform 9">
                <a:extLst>
                  <a:ext uri="{FF2B5EF4-FFF2-40B4-BE49-F238E27FC236}">
                    <a16:creationId xmlns:a16="http://schemas.microsoft.com/office/drawing/2014/main" id="{74F52746-F364-44D3-A132-444B52E7B7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5" y="299"/>
                <a:ext cx="745" cy="743"/>
              </a:xfrm>
              <a:custGeom>
                <a:avLst/>
                <a:gdLst>
                  <a:gd name="T0" fmla="*/ 242 w 1362"/>
                  <a:gd name="T1" fmla="*/ 1120 h 1362"/>
                  <a:gd name="T2" fmla="*/ 242 w 1362"/>
                  <a:gd name="T3" fmla="*/ 242 h 1362"/>
                  <a:gd name="T4" fmla="*/ 1119 w 1362"/>
                  <a:gd name="T5" fmla="*/ 242 h 1362"/>
                  <a:gd name="T6" fmla="*/ 1119 w 1362"/>
                  <a:gd name="T7" fmla="*/ 1120 h 1362"/>
                  <a:gd name="T8" fmla="*/ 242 w 1362"/>
                  <a:gd name="T9" fmla="*/ 1120 h 1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62" h="1362">
                    <a:moveTo>
                      <a:pt x="242" y="1120"/>
                    </a:moveTo>
                    <a:cubicBezTo>
                      <a:pt x="0" y="877"/>
                      <a:pt x="0" y="484"/>
                      <a:pt x="242" y="242"/>
                    </a:cubicBezTo>
                    <a:cubicBezTo>
                      <a:pt x="484" y="0"/>
                      <a:pt x="877" y="0"/>
                      <a:pt x="1119" y="242"/>
                    </a:cubicBezTo>
                    <a:cubicBezTo>
                      <a:pt x="1362" y="484"/>
                      <a:pt x="1362" y="877"/>
                      <a:pt x="1119" y="1120"/>
                    </a:cubicBezTo>
                    <a:cubicBezTo>
                      <a:pt x="877" y="1362"/>
                      <a:pt x="484" y="1362"/>
                      <a:pt x="242" y="1120"/>
                    </a:cubicBezTo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2" name="Freeform 10">
                <a:extLst>
                  <a:ext uri="{FF2B5EF4-FFF2-40B4-BE49-F238E27FC236}">
                    <a16:creationId xmlns:a16="http://schemas.microsoft.com/office/drawing/2014/main" id="{DDA0F044-A0AD-4CE6-9510-D09E97D71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12"/>
                <a:ext cx="702" cy="143"/>
              </a:xfrm>
              <a:custGeom>
                <a:avLst/>
                <a:gdLst>
                  <a:gd name="T0" fmla="*/ 66 w 1282"/>
                  <a:gd name="T1" fmla="*/ 112 h 263"/>
                  <a:gd name="T2" fmla="*/ 1216 w 1282"/>
                  <a:gd name="T3" fmla="*/ 112 h 263"/>
                  <a:gd name="T4" fmla="*/ 1268 w 1282"/>
                  <a:gd name="T5" fmla="*/ 205 h 263"/>
                  <a:gd name="T6" fmla="*/ 1174 w 1282"/>
                  <a:gd name="T7" fmla="*/ 251 h 263"/>
                  <a:gd name="T8" fmla="*/ 107 w 1282"/>
                  <a:gd name="T9" fmla="*/ 251 h 263"/>
                  <a:gd name="T10" fmla="*/ 13 w 1282"/>
                  <a:gd name="T11" fmla="*/ 205 h 263"/>
                  <a:gd name="T12" fmla="*/ 66 w 1282"/>
                  <a:gd name="T13" fmla="*/ 112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2" h="263">
                    <a:moveTo>
                      <a:pt x="66" y="112"/>
                    </a:moveTo>
                    <a:cubicBezTo>
                      <a:pt x="441" y="0"/>
                      <a:pt x="841" y="0"/>
                      <a:pt x="1216" y="112"/>
                    </a:cubicBezTo>
                    <a:cubicBezTo>
                      <a:pt x="1258" y="125"/>
                      <a:pt x="1282" y="168"/>
                      <a:pt x="1268" y="205"/>
                    </a:cubicBezTo>
                    <a:cubicBezTo>
                      <a:pt x="1255" y="243"/>
                      <a:pt x="1213" y="263"/>
                      <a:pt x="1174" y="251"/>
                    </a:cubicBezTo>
                    <a:cubicBezTo>
                      <a:pt x="826" y="147"/>
                      <a:pt x="455" y="147"/>
                      <a:pt x="107" y="251"/>
                    </a:cubicBezTo>
                    <a:cubicBezTo>
                      <a:pt x="68" y="263"/>
                      <a:pt x="26" y="243"/>
                      <a:pt x="13" y="205"/>
                    </a:cubicBezTo>
                    <a:cubicBezTo>
                      <a:pt x="0" y="168"/>
                      <a:pt x="23" y="125"/>
                      <a:pt x="66" y="112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3" name="Freeform 11">
                <a:extLst>
                  <a:ext uri="{FF2B5EF4-FFF2-40B4-BE49-F238E27FC236}">
                    <a16:creationId xmlns:a16="http://schemas.microsoft.com/office/drawing/2014/main" id="{7F569259-1666-42E1-90C5-2140422562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5" y="2908"/>
                <a:ext cx="218" cy="201"/>
              </a:xfrm>
              <a:custGeom>
                <a:avLst/>
                <a:gdLst>
                  <a:gd name="T0" fmla="*/ 218 w 218"/>
                  <a:gd name="T1" fmla="*/ 81 h 201"/>
                  <a:gd name="T2" fmla="*/ 63 w 218"/>
                  <a:gd name="T3" fmla="*/ 201 h 201"/>
                  <a:gd name="T4" fmla="*/ 0 w 218"/>
                  <a:gd name="T5" fmla="*/ 120 h 201"/>
                  <a:gd name="T6" fmla="*/ 155 w 218"/>
                  <a:gd name="T7" fmla="*/ 0 h 201"/>
                  <a:gd name="T8" fmla="*/ 218 w 218"/>
                  <a:gd name="T9" fmla="*/ 8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8" h="201">
                    <a:moveTo>
                      <a:pt x="218" y="81"/>
                    </a:moveTo>
                    <a:lnTo>
                      <a:pt x="63" y="201"/>
                    </a:lnTo>
                    <a:lnTo>
                      <a:pt x="0" y="120"/>
                    </a:lnTo>
                    <a:lnTo>
                      <a:pt x="155" y="0"/>
                    </a:lnTo>
                    <a:lnTo>
                      <a:pt x="218" y="81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4" name="Freeform 12">
                <a:extLst>
                  <a:ext uri="{FF2B5EF4-FFF2-40B4-BE49-F238E27FC236}">
                    <a16:creationId xmlns:a16="http://schemas.microsoft.com/office/drawing/2014/main" id="{8D58AA32-334F-4A0B-A072-B288A9C70D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3" y="2911"/>
                <a:ext cx="324" cy="273"/>
              </a:xfrm>
              <a:custGeom>
                <a:avLst/>
                <a:gdLst>
                  <a:gd name="T0" fmla="*/ 582 w 592"/>
                  <a:gd name="T1" fmla="*/ 118 h 500"/>
                  <a:gd name="T2" fmla="*/ 97 w 592"/>
                  <a:gd name="T3" fmla="*/ 496 h 500"/>
                  <a:gd name="T4" fmla="*/ 17 w 592"/>
                  <a:gd name="T5" fmla="*/ 440 h 500"/>
                  <a:gd name="T6" fmla="*/ 29 w 592"/>
                  <a:gd name="T7" fmla="*/ 372 h 500"/>
                  <a:gd name="T8" fmla="*/ 479 w 592"/>
                  <a:gd name="T9" fmla="*/ 22 h 500"/>
                  <a:gd name="T10" fmla="*/ 547 w 592"/>
                  <a:gd name="T11" fmla="*/ 27 h 500"/>
                  <a:gd name="T12" fmla="*/ 582 w 592"/>
                  <a:gd name="T13" fmla="*/ 118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2" h="500">
                    <a:moveTo>
                      <a:pt x="582" y="118"/>
                    </a:moveTo>
                    <a:cubicBezTo>
                      <a:pt x="493" y="330"/>
                      <a:pt x="324" y="461"/>
                      <a:pt x="97" y="496"/>
                    </a:cubicBezTo>
                    <a:cubicBezTo>
                      <a:pt x="71" y="500"/>
                      <a:pt x="35" y="474"/>
                      <a:pt x="17" y="440"/>
                    </a:cubicBezTo>
                    <a:cubicBezTo>
                      <a:pt x="0" y="405"/>
                      <a:pt x="5" y="376"/>
                      <a:pt x="29" y="372"/>
                    </a:cubicBezTo>
                    <a:cubicBezTo>
                      <a:pt x="240" y="340"/>
                      <a:pt x="396" y="218"/>
                      <a:pt x="479" y="22"/>
                    </a:cubicBezTo>
                    <a:cubicBezTo>
                      <a:pt x="489" y="0"/>
                      <a:pt x="518" y="2"/>
                      <a:pt x="547" y="27"/>
                    </a:cubicBezTo>
                    <a:cubicBezTo>
                      <a:pt x="576" y="53"/>
                      <a:pt x="592" y="94"/>
                      <a:pt x="582" y="1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5" name="Freeform 13">
                <a:extLst>
                  <a:ext uri="{FF2B5EF4-FFF2-40B4-BE49-F238E27FC236}">
                    <a16:creationId xmlns:a16="http://schemas.microsoft.com/office/drawing/2014/main" id="{BF01CC71-81EF-4791-845A-3A2916E063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9" y="2646"/>
                <a:ext cx="770" cy="161"/>
              </a:xfrm>
              <a:custGeom>
                <a:avLst/>
                <a:gdLst>
                  <a:gd name="T0" fmla="*/ 1402 w 1406"/>
                  <a:gd name="T1" fmla="*/ 235 h 295"/>
                  <a:gd name="T2" fmla="*/ 1402 w 1406"/>
                  <a:gd name="T3" fmla="*/ 235 h 295"/>
                  <a:gd name="T4" fmla="*/ 1330 w 1406"/>
                  <a:gd name="T5" fmla="*/ 291 h 295"/>
                  <a:gd name="T6" fmla="*/ 61 w 1406"/>
                  <a:gd name="T7" fmla="*/ 133 h 295"/>
                  <a:gd name="T8" fmla="*/ 5 w 1406"/>
                  <a:gd name="T9" fmla="*/ 61 h 295"/>
                  <a:gd name="T10" fmla="*/ 77 w 1406"/>
                  <a:gd name="T11" fmla="*/ 5 h 295"/>
                  <a:gd name="T12" fmla="*/ 1346 w 1406"/>
                  <a:gd name="T13" fmla="*/ 163 h 295"/>
                  <a:gd name="T14" fmla="*/ 1402 w 1406"/>
                  <a:gd name="T15" fmla="*/ 23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6" h="295">
                    <a:moveTo>
                      <a:pt x="1402" y="235"/>
                    </a:moveTo>
                    <a:cubicBezTo>
                      <a:pt x="1402" y="235"/>
                      <a:pt x="1402" y="235"/>
                      <a:pt x="1402" y="235"/>
                    </a:cubicBezTo>
                    <a:cubicBezTo>
                      <a:pt x="1397" y="270"/>
                      <a:pt x="1365" y="295"/>
                      <a:pt x="1330" y="291"/>
                    </a:cubicBezTo>
                    <a:cubicBezTo>
                      <a:pt x="61" y="133"/>
                      <a:pt x="61" y="133"/>
                      <a:pt x="61" y="133"/>
                    </a:cubicBezTo>
                    <a:cubicBezTo>
                      <a:pt x="25" y="128"/>
                      <a:pt x="0" y="96"/>
                      <a:pt x="5" y="61"/>
                    </a:cubicBezTo>
                    <a:cubicBezTo>
                      <a:pt x="9" y="25"/>
                      <a:pt x="41" y="0"/>
                      <a:pt x="77" y="5"/>
                    </a:cubicBezTo>
                    <a:cubicBezTo>
                      <a:pt x="1346" y="163"/>
                      <a:pt x="1346" y="163"/>
                      <a:pt x="1346" y="163"/>
                    </a:cubicBezTo>
                    <a:cubicBezTo>
                      <a:pt x="1381" y="167"/>
                      <a:pt x="1406" y="200"/>
                      <a:pt x="1402" y="235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6" name="Freeform 14">
                <a:extLst>
                  <a:ext uri="{FF2B5EF4-FFF2-40B4-BE49-F238E27FC236}">
                    <a16:creationId xmlns:a16="http://schemas.microsoft.com/office/drawing/2014/main" id="{B0FF48EF-0B8A-4C8E-9DEF-0132297105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4" y="2343"/>
                <a:ext cx="161" cy="768"/>
              </a:xfrm>
              <a:custGeom>
                <a:avLst/>
                <a:gdLst>
                  <a:gd name="T0" fmla="*/ 60 w 295"/>
                  <a:gd name="T1" fmla="*/ 1401 h 1406"/>
                  <a:gd name="T2" fmla="*/ 60 w 295"/>
                  <a:gd name="T3" fmla="*/ 1401 h 1406"/>
                  <a:gd name="T4" fmla="*/ 4 w 295"/>
                  <a:gd name="T5" fmla="*/ 1329 h 1406"/>
                  <a:gd name="T6" fmla="*/ 162 w 295"/>
                  <a:gd name="T7" fmla="*/ 60 h 1406"/>
                  <a:gd name="T8" fmla="*/ 234 w 295"/>
                  <a:gd name="T9" fmla="*/ 4 h 1406"/>
                  <a:gd name="T10" fmla="*/ 290 w 295"/>
                  <a:gd name="T11" fmla="*/ 76 h 1406"/>
                  <a:gd name="T12" fmla="*/ 132 w 295"/>
                  <a:gd name="T13" fmla="*/ 1345 h 1406"/>
                  <a:gd name="T14" fmla="*/ 60 w 295"/>
                  <a:gd name="T15" fmla="*/ 1401 h 1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5" h="1406">
                    <a:moveTo>
                      <a:pt x="60" y="1401"/>
                    </a:moveTo>
                    <a:cubicBezTo>
                      <a:pt x="60" y="1401"/>
                      <a:pt x="60" y="1401"/>
                      <a:pt x="60" y="1401"/>
                    </a:cubicBezTo>
                    <a:cubicBezTo>
                      <a:pt x="25" y="1397"/>
                      <a:pt x="0" y="1365"/>
                      <a:pt x="4" y="1329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67" y="25"/>
                      <a:pt x="199" y="0"/>
                      <a:pt x="234" y="4"/>
                    </a:cubicBezTo>
                    <a:cubicBezTo>
                      <a:pt x="270" y="9"/>
                      <a:pt x="295" y="41"/>
                      <a:pt x="290" y="76"/>
                    </a:cubicBezTo>
                    <a:cubicBezTo>
                      <a:pt x="132" y="1345"/>
                      <a:pt x="132" y="1345"/>
                      <a:pt x="132" y="1345"/>
                    </a:cubicBezTo>
                    <a:cubicBezTo>
                      <a:pt x="128" y="1381"/>
                      <a:pt x="95" y="1406"/>
                      <a:pt x="60" y="1401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7" name="Freeform 15">
                <a:extLst>
                  <a:ext uri="{FF2B5EF4-FFF2-40B4-BE49-F238E27FC236}">
                    <a16:creationId xmlns:a16="http://schemas.microsoft.com/office/drawing/2014/main" id="{BA8A4FA2-17D1-4E7F-822D-DF990678D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4" y="2368"/>
                <a:ext cx="720" cy="718"/>
              </a:xfrm>
              <a:custGeom>
                <a:avLst/>
                <a:gdLst>
                  <a:gd name="T0" fmla="*/ 735 w 1316"/>
                  <a:gd name="T1" fmla="*/ 42 h 1316"/>
                  <a:gd name="T2" fmla="*/ 1274 w 1316"/>
                  <a:gd name="T3" fmla="*/ 735 h 1316"/>
                  <a:gd name="T4" fmla="*/ 581 w 1316"/>
                  <a:gd name="T5" fmla="*/ 1273 h 1316"/>
                  <a:gd name="T6" fmla="*/ 43 w 1316"/>
                  <a:gd name="T7" fmla="*/ 581 h 1316"/>
                  <a:gd name="T8" fmla="*/ 735 w 1316"/>
                  <a:gd name="T9" fmla="*/ 42 h 1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6" h="1316">
                    <a:moveTo>
                      <a:pt x="735" y="42"/>
                    </a:moveTo>
                    <a:cubicBezTo>
                      <a:pt x="1075" y="85"/>
                      <a:pt x="1316" y="395"/>
                      <a:pt x="1274" y="735"/>
                    </a:cubicBezTo>
                    <a:cubicBezTo>
                      <a:pt x="1231" y="1075"/>
                      <a:pt x="921" y="1316"/>
                      <a:pt x="581" y="1273"/>
                    </a:cubicBezTo>
                    <a:cubicBezTo>
                      <a:pt x="241" y="1231"/>
                      <a:pt x="0" y="921"/>
                      <a:pt x="43" y="581"/>
                    </a:cubicBezTo>
                    <a:cubicBezTo>
                      <a:pt x="85" y="241"/>
                      <a:pt x="395" y="0"/>
                      <a:pt x="735" y="42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8" name="Freeform 16">
                <a:extLst>
                  <a:ext uri="{FF2B5EF4-FFF2-40B4-BE49-F238E27FC236}">
                    <a16:creationId xmlns:a16="http://schemas.microsoft.com/office/drawing/2014/main" id="{3726B187-656C-43AB-B8A1-4627A77B2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0" y="2778"/>
                <a:ext cx="572" cy="464"/>
              </a:xfrm>
              <a:custGeom>
                <a:avLst/>
                <a:gdLst>
                  <a:gd name="T0" fmla="*/ 1019 w 1045"/>
                  <a:gd name="T1" fmla="*/ 128 h 850"/>
                  <a:gd name="T2" fmla="*/ 111 w 1045"/>
                  <a:gd name="T3" fmla="*/ 834 h 850"/>
                  <a:gd name="T4" fmla="*/ 12 w 1045"/>
                  <a:gd name="T5" fmla="*/ 793 h 850"/>
                  <a:gd name="T6" fmla="*/ 59 w 1045"/>
                  <a:gd name="T7" fmla="*/ 699 h 850"/>
                  <a:gd name="T8" fmla="*/ 901 w 1045"/>
                  <a:gd name="T9" fmla="*/ 44 h 850"/>
                  <a:gd name="T10" fmla="*/ 1003 w 1045"/>
                  <a:gd name="T11" fmla="*/ 22 h 850"/>
                  <a:gd name="T12" fmla="*/ 1019 w 1045"/>
                  <a:gd name="T13" fmla="*/ 128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5" h="850">
                    <a:moveTo>
                      <a:pt x="1019" y="128"/>
                    </a:moveTo>
                    <a:cubicBezTo>
                      <a:pt x="791" y="447"/>
                      <a:pt x="476" y="692"/>
                      <a:pt x="111" y="834"/>
                    </a:cubicBezTo>
                    <a:cubicBezTo>
                      <a:pt x="70" y="850"/>
                      <a:pt x="25" y="831"/>
                      <a:pt x="12" y="793"/>
                    </a:cubicBezTo>
                    <a:cubicBezTo>
                      <a:pt x="0" y="755"/>
                      <a:pt x="21" y="714"/>
                      <a:pt x="59" y="699"/>
                    </a:cubicBezTo>
                    <a:cubicBezTo>
                      <a:pt x="397" y="567"/>
                      <a:pt x="690" y="339"/>
                      <a:pt x="901" y="44"/>
                    </a:cubicBezTo>
                    <a:cubicBezTo>
                      <a:pt x="924" y="10"/>
                      <a:pt x="970" y="0"/>
                      <a:pt x="1003" y="22"/>
                    </a:cubicBezTo>
                    <a:cubicBezTo>
                      <a:pt x="1037" y="44"/>
                      <a:pt x="1045" y="92"/>
                      <a:pt x="1019" y="128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9" name="Freeform 17">
                <a:extLst>
                  <a:ext uri="{FF2B5EF4-FFF2-40B4-BE49-F238E27FC236}">
                    <a16:creationId xmlns:a16="http://schemas.microsoft.com/office/drawing/2014/main" id="{251AB2CC-64B5-43DA-B97F-97DD5DB0D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6" y="2906"/>
                <a:ext cx="218" cy="201"/>
              </a:xfrm>
              <a:custGeom>
                <a:avLst/>
                <a:gdLst>
                  <a:gd name="T0" fmla="*/ 0 w 218"/>
                  <a:gd name="T1" fmla="*/ 81 h 201"/>
                  <a:gd name="T2" fmla="*/ 155 w 218"/>
                  <a:gd name="T3" fmla="*/ 201 h 201"/>
                  <a:gd name="T4" fmla="*/ 218 w 218"/>
                  <a:gd name="T5" fmla="*/ 120 h 201"/>
                  <a:gd name="T6" fmla="*/ 63 w 218"/>
                  <a:gd name="T7" fmla="*/ 0 h 201"/>
                  <a:gd name="T8" fmla="*/ 0 w 218"/>
                  <a:gd name="T9" fmla="*/ 8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8" h="201">
                    <a:moveTo>
                      <a:pt x="0" y="81"/>
                    </a:moveTo>
                    <a:lnTo>
                      <a:pt x="155" y="201"/>
                    </a:lnTo>
                    <a:lnTo>
                      <a:pt x="218" y="120"/>
                    </a:lnTo>
                    <a:lnTo>
                      <a:pt x="63" y="0"/>
                    </a:lnTo>
                    <a:lnTo>
                      <a:pt x="0" y="81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0" name="Freeform 18">
                <a:extLst>
                  <a:ext uri="{FF2B5EF4-FFF2-40B4-BE49-F238E27FC236}">
                    <a16:creationId xmlns:a16="http://schemas.microsoft.com/office/drawing/2014/main" id="{71052E22-99A6-4D9D-BCD8-537C388BF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2" y="2909"/>
                <a:ext cx="324" cy="273"/>
              </a:xfrm>
              <a:custGeom>
                <a:avLst/>
                <a:gdLst>
                  <a:gd name="T0" fmla="*/ 10 w 592"/>
                  <a:gd name="T1" fmla="*/ 118 h 500"/>
                  <a:gd name="T2" fmla="*/ 495 w 592"/>
                  <a:gd name="T3" fmla="*/ 496 h 500"/>
                  <a:gd name="T4" fmla="*/ 575 w 592"/>
                  <a:gd name="T5" fmla="*/ 440 h 500"/>
                  <a:gd name="T6" fmla="*/ 563 w 592"/>
                  <a:gd name="T7" fmla="*/ 373 h 500"/>
                  <a:gd name="T8" fmla="*/ 113 w 592"/>
                  <a:gd name="T9" fmla="*/ 22 h 500"/>
                  <a:gd name="T10" fmla="*/ 45 w 592"/>
                  <a:gd name="T11" fmla="*/ 27 h 500"/>
                  <a:gd name="T12" fmla="*/ 10 w 592"/>
                  <a:gd name="T13" fmla="*/ 118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2" h="500">
                    <a:moveTo>
                      <a:pt x="10" y="118"/>
                    </a:moveTo>
                    <a:cubicBezTo>
                      <a:pt x="99" y="330"/>
                      <a:pt x="268" y="461"/>
                      <a:pt x="495" y="496"/>
                    </a:cubicBezTo>
                    <a:cubicBezTo>
                      <a:pt x="521" y="500"/>
                      <a:pt x="557" y="474"/>
                      <a:pt x="575" y="440"/>
                    </a:cubicBezTo>
                    <a:cubicBezTo>
                      <a:pt x="592" y="406"/>
                      <a:pt x="587" y="376"/>
                      <a:pt x="563" y="373"/>
                    </a:cubicBezTo>
                    <a:cubicBezTo>
                      <a:pt x="352" y="340"/>
                      <a:pt x="196" y="218"/>
                      <a:pt x="113" y="22"/>
                    </a:cubicBezTo>
                    <a:cubicBezTo>
                      <a:pt x="103" y="0"/>
                      <a:pt x="74" y="2"/>
                      <a:pt x="45" y="27"/>
                    </a:cubicBezTo>
                    <a:cubicBezTo>
                      <a:pt x="16" y="53"/>
                      <a:pt x="0" y="94"/>
                      <a:pt x="10" y="1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1" name="Freeform 19">
                <a:extLst>
                  <a:ext uri="{FF2B5EF4-FFF2-40B4-BE49-F238E27FC236}">
                    <a16:creationId xmlns:a16="http://schemas.microsoft.com/office/drawing/2014/main" id="{69D3E486-AC03-479B-B2DF-7FE35741E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0" y="2645"/>
                <a:ext cx="769" cy="161"/>
              </a:xfrm>
              <a:custGeom>
                <a:avLst/>
                <a:gdLst>
                  <a:gd name="T0" fmla="*/ 4 w 1406"/>
                  <a:gd name="T1" fmla="*/ 235 h 295"/>
                  <a:gd name="T2" fmla="*/ 4 w 1406"/>
                  <a:gd name="T3" fmla="*/ 235 h 295"/>
                  <a:gd name="T4" fmla="*/ 76 w 1406"/>
                  <a:gd name="T5" fmla="*/ 291 h 295"/>
                  <a:gd name="T6" fmla="*/ 1345 w 1406"/>
                  <a:gd name="T7" fmla="*/ 133 h 295"/>
                  <a:gd name="T8" fmla="*/ 1401 w 1406"/>
                  <a:gd name="T9" fmla="*/ 61 h 295"/>
                  <a:gd name="T10" fmla="*/ 1329 w 1406"/>
                  <a:gd name="T11" fmla="*/ 5 h 295"/>
                  <a:gd name="T12" fmla="*/ 60 w 1406"/>
                  <a:gd name="T13" fmla="*/ 163 h 295"/>
                  <a:gd name="T14" fmla="*/ 4 w 1406"/>
                  <a:gd name="T15" fmla="*/ 23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6" h="295">
                    <a:moveTo>
                      <a:pt x="4" y="235"/>
                    </a:moveTo>
                    <a:cubicBezTo>
                      <a:pt x="4" y="235"/>
                      <a:pt x="4" y="235"/>
                      <a:pt x="4" y="235"/>
                    </a:cubicBezTo>
                    <a:cubicBezTo>
                      <a:pt x="9" y="270"/>
                      <a:pt x="41" y="295"/>
                      <a:pt x="76" y="291"/>
                    </a:cubicBezTo>
                    <a:cubicBezTo>
                      <a:pt x="1345" y="133"/>
                      <a:pt x="1345" y="133"/>
                      <a:pt x="1345" y="133"/>
                    </a:cubicBezTo>
                    <a:cubicBezTo>
                      <a:pt x="1381" y="128"/>
                      <a:pt x="1406" y="96"/>
                      <a:pt x="1401" y="61"/>
                    </a:cubicBezTo>
                    <a:cubicBezTo>
                      <a:pt x="1397" y="25"/>
                      <a:pt x="1365" y="0"/>
                      <a:pt x="1329" y="5"/>
                    </a:cubicBezTo>
                    <a:cubicBezTo>
                      <a:pt x="60" y="163"/>
                      <a:pt x="60" y="163"/>
                      <a:pt x="60" y="163"/>
                    </a:cubicBezTo>
                    <a:cubicBezTo>
                      <a:pt x="25" y="167"/>
                      <a:pt x="0" y="200"/>
                      <a:pt x="4" y="235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2" name="Freeform 20">
                <a:extLst>
                  <a:ext uri="{FF2B5EF4-FFF2-40B4-BE49-F238E27FC236}">
                    <a16:creationId xmlns:a16="http://schemas.microsoft.com/office/drawing/2014/main" id="{073D37E2-0C61-4A3E-9391-9780E7D029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3" y="2342"/>
                <a:ext cx="162" cy="767"/>
              </a:xfrm>
              <a:custGeom>
                <a:avLst/>
                <a:gdLst>
                  <a:gd name="T0" fmla="*/ 235 w 295"/>
                  <a:gd name="T1" fmla="*/ 1401 h 1406"/>
                  <a:gd name="T2" fmla="*/ 235 w 295"/>
                  <a:gd name="T3" fmla="*/ 1401 h 1406"/>
                  <a:gd name="T4" fmla="*/ 291 w 295"/>
                  <a:gd name="T5" fmla="*/ 1329 h 1406"/>
                  <a:gd name="T6" fmla="*/ 133 w 295"/>
                  <a:gd name="T7" fmla="*/ 60 h 1406"/>
                  <a:gd name="T8" fmla="*/ 61 w 295"/>
                  <a:gd name="T9" fmla="*/ 4 h 1406"/>
                  <a:gd name="T10" fmla="*/ 5 w 295"/>
                  <a:gd name="T11" fmla="*/ 76 h 1406"/>
                  <a:gd name="T12" fmla="*/ 163 w 295"/>
                  <a:gd name="T13" fmla="*/ 1345 h 1406"/>
                  <a:gd name="T14" fmla="*/ 235 w 295"/>
                  <a:gd name="T15" fmla="*/ 1401 h 1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5" h="1406">
                    <a:moveTo>
                      <a:pt x="235" y="1401"/>
                    </a:moveTo>
                    <a:cubicBezTo>
                      <a:pt x="235" y="1401"/>
                      <a:pt x="235" y="1401"/>
                      <a:pt x="235" y="1401"/>
                    </a:cubicBezTo>
                    <a:cubicBezTo>
                      <a:pt x="270" y="1397"/>
                      <a:pt x="295" y="1365"/>
                      <a:pt x="291" y="1329"/>
                    </a:cubicBezTo>
                    <a:cubicBezTo>
                      <a:pt x="133" y="60"/>
                      <a:pt x="133" y="60"/>
                      <a:pt x="133" y="60"/>
                    </a:cubicBezTo>
                    <a:cubicBezTo>
                      <a:pt x="128" y="25"/>
                      <a:pt x="96" y="0"/>
                      <a:pt x="61" y="4"/>
                    </a:cubicBezTo>
                    <a:cubicBezTo>
                      <a:pt x="25" y="9"/>
                      <a:pt x="0" y="41"/>
                      <a:pt x="5" y="76"/>
                    </a:cubicBezTo>
                    <a:cubicBezTo>
                      <a:pt x="163" y="1345"/>
                      <a:pt x="163" y="1345"/>
                      <a:pt x="163" y="1345"/>
                    </a:cubicBezTo>
                    <a:cubicBezTo>
                      <a:pt x="167" y="1381"/>
                      <a:pt x="200" y="1406"/>
                      <a:pt x="235" y="1401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3" name="Freeform 21">
                <a:extLst>
                  <a:ext uri="{FF2B5EF4-FFF2-40B4-BE49-F238E27FC236}">
                    <a16:creationId xmlns:a16="http://schemas.microsoft.com/office/drawing/2014/main" id="{77E2B33F-78C7-4D0D-B788-60F5651B8C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4" y="2366"/>
                <a:ext cx="721" cy="719"/>
              </a:xfrm>
              <a:custGeom>
                <a:avLst/>
                <a:gdLst>
                  <a:gd name="T0" fmla="*/ 581 w 1316"/>
                  <a:gd name="T1" fmla="*/ 42 h 1316"/>
                  <a:gd name="T2" fmla="*/ 42 w 1316"/>
                  <a:gd name="T3" fmla="*/ 735 h 1316"/>
                  <a:gd name="T4" fmla="*/ 735 w 1316"/>
                  <a:gd name="T5" fmla="*/ 1273 h 1316"/>
                  <a:gd name="T6" fmla="*/ 1273 w 1316"/>
                  <a:gd name="T7" fmla="*/ 581 h 1316"/>
                  <a:gd name="T8" fmla="*/ 581 w 1316"/>
                  <a:gd name="T9" fmla="*/ 42 h 1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6" h="1316">
                    <a:moveTo>
                      <a:pt x="581" y="42"/>
                    </a:moveTo>
                    <a:cubicBezTo>
                      <a:pt x="241" y="85"/>
                      <a:pt x="0" y="395"/>
                      <a:pt x="42" y="735"/>
                    </a:cubicBezTo>
                    <a:cubicBezTo>
                      <a:pt x="85" y="1075"/>
                      <a:pt x="395" y="1316"/>
                      <a:pt x="735" y="1273"/>
                    </a:cubicBezTo>
                    <a:cubicBezTo>
                      <a:pt x="1075" y="1231"/>
                      <a:pt x="1316" y="921"/>
                      <a:pt x="1273" y="581"/>
                    </a:cubicBezTo>
                    <a:cubicBezTo>
                      <a:pt x="1231" y="241"/>
                      <a:pt x="921" y="0"/>
                      <a:pt x="581" y="42"/>
                    </a:cubicBezTo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4" name="Freeform 22">
                <a:extLst>
                  <a:ext uri="{FF2B5EF4-FFF2-40B4-BE49-F238E27FC236}">
                    <a16:creationId xmlns:a16="http://schemas.microsoft.com/office/drawing/2014/main" id="{ACAAD5FE-1AED-457C-92DE-1E2777B74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7" y="2776"/>
                <a:ext cx="572" cy="464"/>
              </a:xfrm>
              <a:custGeom>
                <a:avLst/>
                <a:gdLst>
                  <a:gd name="T0" fmla="*/ 26 w 1045"/>
                  <a:gd name="T1" fmla="*/ 128 h 850"/>
                  <a:gd name="T2" fmla="*/ 934 w 1045"/>
                  <a:gd name="T3" fmla="*/ 834 h 850"/>
                  <a:gd name="T4" fmla="*/ 1033 w 1045"/>
                  <a:gd name="T5" fmla="*/ 793 h 850"/>
                  <a:gd name="T6" fmla="*/ 986 w 1045"/>
                  <a:gd name="T7" fmla="*/ 699 h 850"/>
                  <a:gd name="T8" fmla="*/ 144 w 1045"/>
                  <a:gd name="T9" fmla="*/ 44 h 850"/>
                  <a:gd name="T10" fmla="*/ 42 w 1045"/>
                  <a:gd name="T11" fmla="*/ 22 h 850"/>
                  <a:gd name="T12" fmla="*/ 26 w 1045"/>
                  <a:gd name="T13" fmla="*/ 128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5" h="850">
                    <a:moveTo>
                      <a:pt x="26" y="128"/>
                    </a:moveTo>
                    <a:cubicBezTo>
                      <a:pt x="254" y="447"/>
                      <a:pt x="569" y="692"/>
                      <a:pt x="934" y="834"/>
                    </a:cubicBezTo>
                    <a:cubicBezTo>
                      <a:pt x="975" y="850"/>
                      <a:pt x="1020" y="831"/>
                      <a:pt x="1033" y="793"/>
                    </a:cubicBezTo>
                    <a:cubicBezTo>
                      <a:pt x="1045" y="755"/>
                      <a:pt x="1024" y="714"/>
                      <a:pt x="986" y="699"/>
                    </a:cubicBezTo>
                    <a:cubicBezTo>
                      <a:pt x="648" y="567"/>
                      <a:pt x="355" y="339"/>
                      <a:pt x="144" y="44"/>
                    </a:cubicBezTo>
                    <a:cubicBezTo>
                      <a:pt x="121" y="11"/>
                      <a:pt x="75" y="0"/>
                      <a:pt x="42" y="22"/>
                    </a:cubicBezTo>
                    <a:cubicBezTo>
                      <a:pt x="8" y="44"/>
                      <a:pt x="0" y="92"/>
                      <a:pt x="26" y="128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5" name="Freeform 23">
                <a:extLst>
                  <a:ext uri="{FF2B5EF4-FFF2-40B4-BE49-F238E27FC236}">
                    <a16:creationId xmlns:a16="http://schemas.microsoft.com/office/drawing/2014/main" id="{28972A08-BF74-497F-A67E-B1ED40ED2B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0" y="1228"/>
                <a:ext cx="158" cy="218"/>
              </a:xfrm>
              <a:custGeom>
                <a:avLst/>
                <a:gdLst>
                  <a:gd name="T0" fmla="*/ 0 w 158"/>
                  <a:gd name="T1" fmla="*/ 186 h 218"/>
                  <a:gd name="T2" fmla="*/ 60 w 158"/>
                  <a:gd name="T3" fmla="*/ 0 h 218"/>
                  <a:gd name="T4" fmla="*/ 158 w 158"/>
                  <a:gd name="T5" fmla="*/ 31 h 218"/>
                  <a:gd name="T6" fmla="*/ 98 w 158"/>
                  <a:gd name="T7" fmla="*/ 218 h 218"/>
                  <a:gd name="T8" fmla="*/ 0 w 158"/>
                  <a:gd name="T9" fmla="*/ 186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218">
                    <a:moveTo>
                      <a:pt x="0" y="186"/>
                    </a:moveTo>
                    <a:lnTo>
                      <a:pt x="60" y="0"/>
                    </a:lnTo>
                    <a:lnTo>
                      <a:pt x="158" y="31"/>
                    </a:lnTo>
                    <a:lnTo>
                      <a:pt x="98" y="218"/>
                    </a:lnTo>
                    <a:lnTo>
                      <a:pt x="0" y="186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6" name="Freeform 24">
                <a:extLst>
                  <a:ext uri="{FF2B5EF4-FFF2-40B4-BE49-F238E27FC236}">
                    <a16:creationId xmlns:a16="http://schemas.microsoft.com/office/drawing/2014/main" id="{62591276-352D-4C74-A3C4-7B5B8CD9D4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8" y="1140"/>
                <a:ext cx="206" cy="362"/>
              </a:xfrm>
              <a:custGeom>
                <a:avLst/>
                <a:gdLst>
                  <a:gd name="T0" fmla="*/ 45 w 378"/>
                  <a:gd name="T1" fmla="*/ 602 h 663"/>
                  <a:gd name="T2" fmla="*/ 235 w 378"/>
                  <a:gd name="T3" fmla="*/ 17 h 663"/>
                  <a:gd name="T4" fmla="*/ 332 w 378"/>
                  <a:gd name="T5" fmla="*/ 19 h 663"/>
                  <a:gd name="T6" fmla="*/ 360 w 378"/>
                  <a:gd name="T7" fmla="*/ 81 h 663"/>
                  <a:gd name="T8" fmla="*/ 184 w 378"/>
                  <a:gd name="T9" fmla="*/ 624 h 663"/>
                  <a:gd name="T10" fmla="*/ 124 w 378"/>
                  <a:gd name="T11" fmla="*/ 658 h 663"/>
                  <a:gd name="T12" fmla="*/ 45 w 378"/>
                  <a:gd name="T13" fmla="*/ 602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8" h="663">
                    <a:moveTo>
                      <a:pt x="45" y="602"/>
                    </a:moveTo>
                    <a:cubicBezTo>
                      <a:pt x="0" y="377"/>
                      <a:pt x="66" y="174"/>
                      <a:pt x="235" y="17"/>
                    </a:cubicBezTo>
                    <a:cubicBezTo>
                      <a:pt x="254" y="0"/>
                      <a:pt x="298" y="1"/>
                      <a:pt x="332" y="19"/>
                    </a:cubicBezTo>
                    <a:cubicBezTo>
                      <a:pt x="366" y="38"/>
                      <a:pt x="378" y="65"/>
                      <a:pt x="360" y="81"/>
                    </a:cubicBezTo>
                    <a:cubicBezTo>
                      <a:pt x="204" y="226"/>
                      <a:pt x="142" y="415"/>
                      <a:pt x="184" y="624"/>
                    </a:cubicBezTo>
                    <a:cubicBezTo>
                      <a:pt x="188" y="648"/>
                      <a:pt x="163" y="663"/>
                      <a:pt x="124" y="658"/>
                    </a:cubicBezTo>
                    <a:cubicBezTo>
                      <a:pt x="86" y="653"/>
                      <a:pt x="50" y="628"/>
                      <a:pt x="45" y="602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7" name="Freeform 25">
                <a:extLst>
                  <a:ext uri="{FF2B5EF4-FFF2-40B4-BE49-F238E27FC236}">
                    <a16:creationId xmlns:a16="http://schemas.microsoft.com/office/drawing/2014/main" id="{696011B5-2B14-4AD6-9005-775342EDA5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7" y="1248"/>
                <a:ext cx="704" cy="397"/>
              </a:xfrm>
              <a:custGeom>
                <a:avLst/>
                <a:gdLst>
                  <a:gd name="T0" fmla="*/ 16 w 1286"/>
                  <a:gd name="T1" fmla="*/ 684 h 728"/>
                  <a:gd name="T2" fmla="*/ 16 w 1286"/>
                  <a:gd name="T3" fmla="*/ 684 h 728"/>
                  <a:gd name="T4" fmla="*/ 44 w 1286"/>
                  <a:gd name="T5" fmla="*/ 597 h 728"/>
                  <a:gd name="T6" fmla="*/ 1183 w 1286"/>
                  <a:gd name="T7" fmla="*/ 16 h 728"/>
                  <a:gd name="T8" fmla="*/ 1270 w 1286"/>
                  <a:gd name="T9" fmla="*/ 45 h 728"/>
                  <a:gd name="T10" fmla="*/ 1242 w 1286"/>
                  <a:gd name="T11" fmla="*/ 131 h 728"/>
                  <a:gd name="T12" fmla="*/ 102 w 1286"/>
                  <a:gd name="T13" fmla="*/ 712 h 728"/>
                  <a:gd name="T14" fmla="*/ 16 w 1286"/>
                  <a:gd name="T15" fmla="*/ 684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6" h="728">
                    <a:moveTo>
                      <a:pt x="16" y="684"/>
                    </a:moveTo>
                    <a:cubicBezTo>
                      <a:pt x="16" y="684"/>
                      <a:pt x="16" y="684"/>
                      <a:pt x="16" y="684"/>
                    </a:cubicBezTo>
                    <a:cubicBezTo>
                      <a:pt x="0" y="652"/>
                      <a:pt x="12" y="613"/>
                      <a:pt x="44" y="597"/>
                    </a:cubicBezTo>
                    <a:cubicBezTo>
                      <a:pt x="1183" y="16"/>
                      <a:pt x="1183" y="16"/>
                      <a:pt x="1183" y="16"/>
                    </a:cubicBezTo>
                    <a:cubicBezTo>
                      <a:pt x="1215" y="0"/>
                      <a:pt x="1254" y="13"/>
                      <a:pt x="1270" y="45"/>
                    </a:cubicBezTo>
                    <a:cubicBezTo>
                      <a:pt x="1286" y="76"/>
                      <a:pt x="1274" y="115"/>
                      <a:pt x="1242" y="131"/>
                    </a:cubicBezTo>
                    <a:cubicBezTo>
                      <a:pt x="102" y="712"/>
                      <a:pt x="102" y="712"/>
                      <a:pt x="102" y="712"/>
                    </a:cubicBezTo>
                    <a:cubicBezTo>
                      <a:pt x="71" y="728"/>
                      <a:pt x="32" y="715"/>
                      <a:pt x="16" y="684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8" name="Freeform 26">
                <a:extLst>
                  <a:ext uri="{FF2B5EF4-FFF2-40B4-BE49-F238E27FC236}">
                    <a16:creationId xmlns:a16="http://schemas.microsoft.com/office/drawing/2014/main" id="{0077D620-D677-4B2A-A94F-E80706EF6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0" y="1096"/>
                <a:ext cx="398" cy="702"/>
              </a:xfrm>
              <a:custGeom>
                <a:avLst/>
                <a:gdLst>
                  <a:gd name="T0" fmla="*/ 44 w 728"/>
                  <a:gd name="T1" fmla="*/ 16 h 1286"/>
                  <a:gd name="T2" fmla="*/ 44 w 728"/>
                  <a:gd name="T3" fmla="*/ 16 h 1286"/>
                  <a:gd name="T4" fmla="*/ 131 w 728"/>
                  <a:gd name="T5" fmla="*/ 44 h 1286"/>
                  <a:gd name="T6" fmla="*/ 712 w 728"/>
                  <a:gd name="T7" fmla="*/ 1183 h 1286"/>
                  <a:gd name="T8" fmla="*/ 683 w 728"/>
                  <a:gd name="T9" fmla="*/ 1270 h 1286"/>
                  <a:gd name="T10" fmla="*/ 597 w 728"/>
                  <a:gd name="T11" fmla="*/ 1242 h 1286"/>
                  <a:gd name="T12" fmla="*/ 16 w 728"/>
                  <a:gd name="T13" fmla="*/ 103 h 1286"/>
                  <a:gd name="T14" fmla="*/ 44 w 728"/>
                  <a:gd name="T15" fmla="*/ 16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8" h="1286">
                    <a:moveTo>
                      <a:pt x="44" y="16"/>
                    </a:moveTo>
                    <a:cubicBezTo>
                      <a:pt x="44" y="16"/>
                      <a:pt x="44" y="16"/>
                      <a:pt x="44" y="16"/>
                    </a:cubicBezTo>
                    <a:cubicBezTo>
                      <a:pt x="76" y="0"/>
                      <a:pt x="115" y="12"/>
                      <a:pt x="131" y="44"/>
                    </a:cubicBezTo>
                    <a:cubicBezTo>
                      <a:pt x="712" y="1183"/>
                      <a:pt x="712" y="1183"/>
                      <a:pt x="712" y="1183"/>
                    </a:cubicBezTo>
                    <a:cubicBezTo>
                      <a:pt x="728" y="1215"/>
                      <a:pt x="715" y="1254"/>
                      <a:pt x="683" y="1270"/>
                    </a:cubicBezTo>
                    <a:cubicBezTo>
                      <a:pt x="652" y="1286"/>
                      <a:pt x="613" y="1274"/>
                      <a:pt x="597" y="1242"/>
                    </a:cubicBezTo>
                    <a:cubicBezTo>
                      <a:pt x="16" y="103"/>
                      <a:pt x="16" y="103"/>
                      <a:pt x="16" y="103"/>
                    </a:cubicBezTo>
                    <a:cubicBezTo>
                      <a:pt x="0" y="71"/>
                      <a:pt x="13" y="32"/>
                      <a:pt x="44" y="16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9" name="Freeform 27">
                <a:extLst>
                  <a:ext uri="{FF2B5EF4-FFF2-40B4-BE49-F238E27FC236}">
                    <a16:creationId xmlns:a16="http://schemas.microsoft.com/office/drawing/2014/main" id="{7C2F37B9-8682-4D33-BB67-ACCE4A7FA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1" y="1060"/>
                <a:ext cx="776" cy="773"/>
              </a:xfrm>
              <a:custGeom>
                <a:avLst/>
                <a:gdLst>
                  <a:gd name="T0" fmla="*/ 990 w 1416"/>
                  <a:gd name="T1" fmla="*/ 1261 h 1416"/>
                  <a:gd name="T2" fmla="*/ 155 w 1416"/>
                  <a:gd name="T3" fmla="*/ 990 h 1416"/>
                  <a:gd name="T4" fmla="*/ 426 w 1416"/>
                  <a:gd name="T5" fmla="*/ 155 h 1416"/>
                  <a:gd name="T6" fmla="*/ 1261 w 1416"/>
                  <a:gd name="T7" fmla="*/ 426 h 1416"/>
                  <a:gd name="T8" fmla="*/ 990 w 1416"/>
                  <a:gd name="T9" fmla="*/ 1261 h 1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6" h="1416">
                    <a:moveTo>
                      <a:pt x="990" y="1261"/>
                    </a:moveTo>
                    <a:cubicBezTo>
                      <a:pt x="684" y="1416"/>
                      <a:pt x="311" y="1295"/>
                      <a:pt x="155" y="990"/>
                    </a:cubicBezTo>
                    <a:cubicBezTo>
                      <a:pt x="0" y="684"/>
                      <a:pt x="121" y="311"/>
                      <a:pt x="426" y="155"/>
                    </a:cubicBezTo>
                    <a:cubicBezTo>
                      <a:pt x="731" y="0"/>
                      <a:pt x="1105" y="121"/>
                      <a:pt x="1261" y="426"/>
                    </a:cubicBezTo>
                    <a:cubicBezTo>
                      <a:pt x="1416" y="732"/>
                      <a:pt x="1295" y="1105"/>
                      <a:pt x="990" y="1261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0" name="Freeform 28">
                <a:extLst>
                  <a:ext uri="{FF2B5EF4-FFF2-40B4-BE49-F238E27FC236}">
                    <a16:creationId xmlns:a16="http://schemas.microsoft.com/office/drawing/2014/main" id="{5D8F620B-07BC-4998-ADD6-8BAA518F13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2" y="1001"/>
                <a:ext cx="273" cy="665"/>
              </a:xfrm>
              <a:custGeom>
                <a:avLst/>
                <a:gdLst>
                  <a:gd name="T0" fmla="*/ 1 w 499"/>
                  <a:gd name="T1" fmla="*/ 1139 h 1219"/>
                  <a:gd name="T2" fmla="*/ 357 w 499"/>
                  <a:gd name="T3" fmla="*/ 45 h 1219"/>
                  <a:gd name="T4" fmla="*/ 461 w 499"/>
                  <a:gd name="T5" fmla="*/ 24 h 1219"/>
                  <a:gd name="T6" fmla="*/ 476 w 499"/>
                  <a:gd name="T7" fmla="*/ 128 h 1219"/>
                  <a:gd name="T8" fmla="*/ 146 w 499"/>
                  <a:gd name="T9" fmla="*/ 1143 h 1219"/>
                  <a:gd name="T10" fmla="*/ 73 w 499"/>
                  <a:gd name="T11" fmla="*/ 1218 h 1219"/>
                  <a:gd name="T12" fmla="*/ 1 w 499"/>
                  <a:gd name="T13" fmla="*/ 1139 h 1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9" h="1219">
                    <a:moveTo>
                      <a:pt x="1" y="1139"/>
                    </a:moveTo>
                    <a:cubicBezTo>
                      <a:pt x="11" y="748"/>
                      <a:pt x="134" y="368"/>
                      <a:pt x="357" y="45"/>
                    </a:cubicBezTo>
                    <a:cubicBezTo>
                      <a:pt x="382" y="9"/>
                      <a:pt x="430" y="0"/>
                      <a:pt x="461" y="24"/>
                    </a:cubicBezTo>
                    <a:cubicBezTo>
                      <a:pt x="493" y="48"/>
                      <a:pt x="499" y="94"/>
                      <a:pt x="476" y="128"/>
                    </a:cubicBezTo>
                    <a:cubicBezTo>
                      <a:pt x="270" y="427"/>
                      <a:pt x="155" y="779"/>
                      <a:pt x="146" y="1143"/>
                    </a:cubicBezTo>
                    <a:cubicBezTo>
                      <a:pt x="145" y="1183"/>
                      <a:pt x="114" y="1217"/>
                      <a:pt x="73" y="1218"/>
                    </a:cubicBezTo>
                    <a:cubicBezTo>
                      <a:pt x="33" y="1219"/>
                      <a:pt x="0" y="1184"/>
                      <a:pt x="1" y="1139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1" name="Freeform 29">
                <a:extLst>
                  <a:ext uri="{FF2B5EF4-FFF2-40B4-BE49-F238E27FC236}">
                    <a16:creationId xmlns:a16="http://schemas.microsoft.com/office/drawing/2014/main" id="{CEF9B0F6-2B6B-43D7-A193-4C9EEFE0F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2" y="1238"/>
                <a:ext cx="158" cy="217"/>
              </a:xfrm>
              <a:custGeom>
                <a:avLst/>
                <a:gdLst>
                  <a:gd name="T0" fmla="*/ 98 w 158"/>
                  <a:gd name="T1" fmla="*/ 0 h 217"/>
                  <a:gd name="T2" fmla="*/ 158 w 158"/>
                  <a:gd name="T3" fmla="*/ 186 h 217"/>
                  <a:gd name="T4" fmla="*/ 60 w 158"/>
                  <a:gd name="T5" fmla="*/ 217 h 217"/>
                  <a:gd name="T6" fmla="*/ 0 w 158"/>
                  <a:gd name="T7" fmla="*/ 31 h 217"/>
                  <a:gd name="T8" fmla="*/ 98 w 158"/>
                  <a:gd name="T9" fmla="*/ 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217">
                    <a:moveTo>
                      <a:pt x="98" y="0"/>
                    </a:moveTo>
                    <a:lnTo>
                      <a:pt x="158" y="186"/>
                    </a:lnTo>
                    <a:lnTo>
                      <a:pt x="60" y="217"/>
                    </a:lnTo>
                    <a:lnTo>
                      <a:pt x="0" y="31"/>
                    </a:lnTo>
                    <a:lnTo>
                      <a:pt x="98" y="0"/>
                    </a:ln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2" name="Freeform 30">
                <a:extLst>
                  <a:ext uri="{FF2B5EF4-FFF2-40B4-BE49-F238E27FC236}">
                    <a16:creationId xmlns:a16="http://schemas.microsoft.com/office/drawing/2014/main" id="{FD5A995C-96B2-44D6-8B7A-7E250EEA00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6" y="1149"/>
                <a:ext cx="206" cy="363"/>
              </a:xfrm>
              <a:custGeom>
                <a:avLst/>
                <a:gdLst>
                  <a:gd name="T0" fmla="*/ 142 w 377"/>
                  <a:gd name="T1" fmla="*/ 18 h 664"/>
                  <a:gd name="T2" fmla="*/ 333 w 377"/>
                  <a:gd name="T3" fmla="*/ 603 h 664"/>
                  <a:gd name="T4" fmla="*/ 253 w 377"/>
                  <a:gd name="T5" fmla="*/ 659 h 664"/>
                  <a:gd name="T6" fmla="*/ 194 w 377"/>
                  <a:gd name="T7" fmla="*/ 625 h 664"/>
                  <a:gd name="T8" fmla="*/ 17 w 377"/>
                  <a:gd name="T9" fmla="*/ 82 h 664"/>
                  <a:gd name="T10" fmla="*/ 45 w 377"/>
                  <a:gd name="T11" fmla="*/ 20 h 664"/>
                  <a:gd name="T12" fmla="*/ 142 w 377"/>
                  <a:gd name="T13" fmla="*/ 18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7" h="664">
                    <a:moveTo>
                      <a:pt x="142" y="18"/>
                    </a:moveTo>
                    <a:cubicBezTo>
                      <a:pt x="311" y="174"/>
                      <a:pt x="377" y="378"/>
                      <a:pt x="333" y="603"/>
                    </a:cubicBezTo>
                    <a:cubicBezTo>
                      <a:pt x="328" y="629"/>
                      <a:pt x="291" y="654"/>
                      <a:pt x="253" y="659"/>
                    </a:cubicBezTo>
                    <a:cubicBezTo>
                      <a:pt x="215" y="664"/>
                      <a:pt x="189" y="649"/>
                      <a:pt x="194" y="625"/>
                    </a:cubicBezTo>
                    <a:cubicBezTo>
                      <a:pt x="235" y="416"/>
                      <a:pt x="173" y="227"/>
                      <a:pt x="17" y="82"/>
                    </a:cubicBezTo>
                    <a:cubicBezTo>
                      <a:pt x="0" y="66"/>
                      <a:pt x="11" y="39"/>
                      <a:pt x="45" y="20"/>
                    </a:cubicBezTo>
                    <a:cubicBezTo>
                      <a:pt x="79" y="2"/>
                      <a:pt x="123" y="0"/>
                      <a:pt x="142" y="18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3" name="Freeform 31">
                <a:extLst>
                  <a:ext uri="{FF2B5EF4-FFF2-40B4-BE49-F238E27FC236}">
                    <a16:creationId xmlns:a16="http://schemas.microsoft.com/office/drawing/2014/main" id="{09F50EE9-6A4E-429E-A0CA-74A14BD1A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2" y="1106"/>
                <a:ext cx="398" cy="702"/>
              </a:xfrm>
              <a:custGeom>
                <a:avLst/>
                <a:gdLst>
                  <a:gd name="T0" fmla="*/ 684 w 728"/>
                  <a:gd name="T1" fmla="*/ 16 h 1286"/>
                  <a:gd name="T2" fmla="*/ 684 w 728"/>
                  <a:gd name="T3" fmla="*/ 16 h 1286"/>
                  <a:gd name="T4" fmla="*/ 712 w 728"/>
                  <a:gd name="T5" fmla="*/ 102 h 1286"/>
                  <a:gd name="T6" fmla="*/ 131 w 728"/>
                  <a:gd name="T7" fmla="*/ 1242 h 1286"/>
                  <a:gd name="T8" fmla="*/ 45 w 728"/>
                  <a:gd name="T9" fmla="*/ 1270 h 1286"/>
                  <a:gd name="T10" fmla="*/ 17 w 728"/>
                  <a:gd name="T11" fmla="*/ 1183 h 1286"/>
                  <a:gd name="T12" fmla="*/ 597 w 728"/>
                  <a:gd name="T13" fmla="*/ 44 h 1286"/>
                  <a:gd name="T14" fmla="*/ 684 w 728"/>
                  <a:gd name="T15" fmla="*/ 16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8" h="1286">
                    <a:moveTo>
                      <a:pt x="684" y="16"/>
                    </a:moveTo>
                    <a:cubicBezTo>
                      <a:pt x="684" y="16"/>
                      <a:pt x="684" y="16"/>
                      <a:pt x="684" y="16"/>
                    </a:cubicBezTo>
                    <a:cubicBezTo>
                      <a:pt x="716" y="32"/>
                      <a:pt x="728" y="71"/>
                      <a:pt x="712" y="102"/>
                    </a:cubicBezTo>
                    <a:cubicBezTo>
                      <a:pt x="131" y="1242"/>
                      <a:pt x="131" y="1242"/>
                      <a:pt x="131" y="1242"/>
                    </a:cubicBezTo>
                    <a:cubicBezTo>
                      <a:pt x="115" y="1274"/>
                      <a:pt x="76" y="1286"/>
                      <a:pt x="45" y="1270"/>
                    </a:cubicBezTo>
                    <a:cubicBezTo>
                      <a:pt x="13" y="1254"/>
                      <a:pt x="0" y="1215"/>
                      <a:pt x="17" y="1183"/>
                    </a:cubicBezTo>
                    <a:cubicBezTo>
                      <a:pt x="597" y="44"/>
                      <a:pt x="597" y="44"/>
                      <a:pt x="597" y="44"/>
                    </a:cubicBezTo>
                    <a:cubicBezTo>
                      <a:pt x="613" y="12"/>
                      <a:pt x="652" y="0"/>
                      <a:pt x="684" y="16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4" name="Freeform 32">
                <a:extLst>
                  <a:ext uri="{FF2B5EF4-FFF2-40B4-BE49-F238E27FC236}">
                    <a16:creationId xmlns:a16="http://schemas.microsoft.com/office/drawing/2014/main" id="{A0E15427-AEF8-479D-B22E-64D82551E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9" y="1258"/>
                <a:ext cx="705" cy="397"/>
              </a:xfrm>
              <a:custGeom>
                <a:avLst/>
                <a:gdLst>
                  <a:gd name="T0" fmla="*/ 1270 w 1287"/>
                  <a:gd name="T1" fmla="*/ 683 h 728"/>
                  <a:gd name="T2" fmla="*/ 1270 w 1287"/>
                  <a:gd name="T3" fmla="*/ 683 h 728"/>
                  <a:gd name="T4" fmla="*/ 1184 w 1287"/>
                  <a:gd name="T5" fmla="*/ 712 h 728"/>
                  <a:gd name="T6" fmla="*/ 44 w 1287"/>
                  <a:gd name="T7" fmla="*/ 131 h 728"/>
                  <a:gd name="T8" fmla="*/ 16 w 1287"/>
                  <a:gd name="T9" fmla="*/ 44 h 728"/>
                  <a:gd name="T10" fmla="*/ 103 w 1287"/>
                  <a:gd name="T11" fmla="*/ 16 h 728"/>
                  <a:gd name="T12" fmla="*/ 1242 w 1287"/>
                  <a:gd name="T13" fmla="*/ 597 h 728"/>
                  <a:gd name="T14" fmla="*/ 1270 w 1287"/>
                  <a:gd name="T15" fmla="*/ 683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7" h="728">
                    <a:moveTo>
                      <a:pt x="1270" y="683"/>
                    </a:moveTo>
                    <a:cubicBezTo>
                      <a:pt x="1270" y="683"/>
                      <a:pt x="1270" y="683"/>
                      <a:pt x="1270" y="683"/>
                    </a:cubicBezTo>
                    <a:cubicBezTo>
                      <a:pt x="1254" y="715"/>
                      <a:pt x="1215" y="728"/>
                      <a:pt x="1184" y="712"/>
                    </a:cubicBezTo>
                    <a:cubicBezTo>
                      <a:pt x="44" y="131"/>
                      <a:pt x="44" y="131"/>
                      <a:pt x="44" y="131"/>
                    </a:cubicBezTo>
                    <a:cubicBezTo>
                      <a:pt x="13" y="115"/>
                      <a:pt x="0" y="76"/>
                      <a:pt x="16" y="44"/>
                    </a:cubicBezTo>
                    <a:cubicBezTo>
                      <a:pt x="32" y="13"/>
                      <a:pt x="71" y="0"/>
                      <a:pt x="103" y="16"/>
                    </a:cubicBezTo>
                    <a:cubicBezTo>
                      <a:pt x="1242" y="597"/>
                      <a:pt x="1242" y="597"/>
                      <a:pt x="1242" y="597"/>
                    </a:cubicBezTo>
                    <a:cubicBezTo>
                      <a:pt x="1274" y="613"/>
                      <a:pt x="1287" y="652"/>
                      <a:pt x="1270" y="683"/>
                    </a:cubicBezTo>
                    <a:close/>
                  </a:path>
                </a:pathLst>
              </a:custGeom>
              <a:solidFill>
                <a:srgbClr val="474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5" name="Freeform 33">
                <a:extLst>
                  <a:ext uri="{FF2B5EF4-FFF2-40B4-BE49-F238E27FC236}">
                    <a16:creationId xmlns:a16="http://schemas.microsoft.com/office/drawing/2014/main" id="{DD7D2269-3E3E-4A12-B656-DCE50F870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3" y="1070"/>
                <a:ext cx="776" cy="773"/>
              </a:xfrm>
              <a:custGeom>
                <a:avLst/>
                <a:gdLst>
                  <a:gd name="T0" fmla="*/ 156 w 1417"/>
                  <a:gd name="T1" fmla="*/ 426 h 1416"/>
                  <a:gd name="T2" fmla="*/ 990 w 1417"/>
                  <a:gd name="T3" fmla="*/ 155 h 1416"/>
                  <a:gd name="T4" fmla="*/ 1261 w 1417"/>
                  <a:gd name="T5" fmla="*/ 990 h 1416"/>
                  <a:gd name="T6" fmla="*/ 427 w 1417"/>
                  <a:gd name="T7" fmla="*/ 1261 h 1416"/>
                  <a:gd name="T8" fmla="*/ 156 w 1417"/>
                  <a:gd name="T9" fmla="*/ 426 h 1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7" h="1416">
                    <a:moveTo>
                      <a:pt x="156" y="426"/>
                    </a:moveTo>
                    <a:cubicBezTo>
                      <a:pt x="311" y="121"/>
                      <a:pt x="685" y="0"/>
                      <a:pt x="990" y="155"/>
                    </a:cubicBezTo>
                    <a:cubicBezTo>
                      <a:pt x="1295" y="311"/>
                      <a:pt x="1417" y="684"/>
                      <a:pt x="1261" y="990"/>
                    </a:cubicBezTo>
                    <a:cubicBezTo>
                      <a:pt x="1106" y="1295"/>
                      <a:pt x="732" y="1416"/>
                      <a:pt x="427" y="1261"/>
                    </a:cubicBezTo>
                    <a:cubicBezTo>
                      <a:pt x="121" y="1105"/>
                      <a:pt x="0" y="732"/>
                      <a:pt x="156" y="426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6" name="Freeform 34">
                <a:extLst>
                  <a:ext uri="{FF2B5EF4-FFF2-40B4-BE49-F238E27FC236}">
                    <a16:creationId xmlns:a16="http://schemas.microsoft.com/office/drawing/2014/main" id="{9D19934C-953E-4C18-B8A8-6E27CA7141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5" y="1011"/>
                <a:ext cx="273" cy="665"/>
              </a:xfrm>
              <a:custGeom>
                <a:avLst/>
                <a:gdLst>
                  <a:gd name="T0" fmla="*/ 143 w 499"/>
                  <a:gd name="T1" fmla="*/ 45 h 1219"/>
                  <a:gd name="T2" fmla="*/ 498 w 499"/>
                  <a:gd name="T3" fmla="*/ 1139 h 1219"/>
                  <a:gd name="T4" fmla="*/ 426 w 499"/>
                  <a:gd name="T5" fmla="*/ 1218 h 1219"/>
                  <a:gd name="T6" fmla="*/ 353 w 499"/>
                  <a:gd name="T7" fmla="*/ 1142 h 1219"/>
                  <a:gd name="T8" fmla="*/ 23 w 499"/>
                  <a:gd name="T9" fmla="*/ 128 h 1219"/>
                  <a:gd name="T10" fmla="*/ 38 w 499"/>
                  <a:gd name="T11" fmla="*/ 24 h 1219"/>
                  <a:gd name="T12" fmla="*/ 143 w 499"/>
                  <a:gd name="T13" fmla="*/ 45 h 1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9" h="1219">
                    <a:moveTo>
                      <a:pt x="143" y="45"/>
                    </a:moveTo>
                    <a:cubicBezTo>
                      <a:pt x="365" y="367"/>
                      <a:pt x="488" y="748"/>
                      <a:pt x="498" y="1139"/>
                    </a:cubicBezTo>
                    <a:cubicBezTo>
                      <a:pt x="499" y="1183"/>
                      <a:pt x="466" y="1219"/>
                      <a:pt x="426" y="1218"/>
                    </a:cubicBezTo>
                    <a:cubicBezTo>
                      <a:pt x="386" y="1217"/>
                      <a:pt x="354" y="1183"/>
                      <a:pt x="353" y="1142"/>
                    </a:cubicBezTo>
                    <a:cubicBezTo>
                      <a:pt x="344" y="779"/>
                      <a:pt x="230" y="427"/>
                      <a:pt x="23" y="128"/>
                    </a:cubicBezTo>
                    <a:cubicBezTo>
                      <a:pt x="0" y="94"/>
                      <a:pt x="6" y="48"/>
                      <a:pt x="38" y="24"/>
                    </a:cubicBezTo>
                    <a:cubicBezTo>
                      <a:pt x="70" y="0"/>
                      <a:pt x="117" y="9"/>
                      <a:pt x="143" y="45"/>
                    </a:cubicBezTo>
                    <a:close/>
                  </a:path>
                </a:pathLst>
              </a:custGeom>
              <a:solidFill>
                <a:srgbClr val="CCC7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7" name="Freeform 35">
                <a:extLst>
                  <a:ext uri="{FF2B5EF4-FFF2-40B4-BE49-F238E27FC236}">
                    <a16:creationId xmlns:a16="http://schemas.microsoft.com/office/drawing/2014/main" id="{D12DF3EC-1EE8-4C86-903E-9E47050AC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9" y="1193"/>
                <a:ext cx="676" cy="576"/>
              </a:xfrm>
              <a:custGeom>
                <a:avLst/>
                <a:gdLst>
                  <a:gd name="T0" fmla="*/ 204 w 1235"/>
                  <a:gd name="T1" fmla="*/ 1054 h 1054"/>
                  <a:gd name="T2" fmla="*/ 0 w 1235"/>
                  <a:gd name="T3" fmla="*/ 425 h 1054"/>
                  <a:gd name="T4" fmla="*/ 955 w 1235"/>
                  <a:gd name="T5" fmla="*/ 114 h 1054"/>
                  <a:gd name="T6" fmla="*/ 1160 w 1235"/>
                  <a:gd name="T7" fmla="*/ 743 h 1054"/>
                  <a:gd name="T8" fmla="*/ 204 w 1235"/>
                  <a:gd name="T9" fmla="*/ 1054 h 1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5" h="1054">
                    <a:moveTo>
                      <a:pt x="204" y="1054"/>
                    </a:moveTo>
                    <a:cubicBezTo>
                      <a:pt x="0" y="425"/>
                      <a:pt x="0" y="425"/>
                      <a:pt x="0" y="425"/>
                    </a:cubicBezTo>
                    <a:cubicBezTo>
                      <a:pt x="0" y="425"/>
                      <a:pt x="732" y="0"/>
                      <a:pt x="955" y="114"/>
                    </a:cubicBezTo>
                    <a:cubicBezTo>
                      <a:pt x="1103" y="189"/>
                      <a:pt x="1235" y="596"/>
                      <a:pt x="1160" y="743"/>
                    </a:cubicBezTo>
                    <a:cubicBezTo>
                      <a:pt x="1046" y="967"/>
                      <a:pt x="204" y="1054"/>
                      <a:pt x="204" y="1054"/>
                    </a:cubicBezTo>
                    <a:close/>
                  </a:path>
                </a:pathLst>
              </a:custGeom>
              <a:solidFill>
                <a:srgbClr val="4E34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8" name="Freeform 36">
                <a:extLst>
                  <a:ext uri="{FF2B5EF4-FFF2-40B4-BE49-F238E27FC236}">
                    <a16:creationId xmlns:a16="http://schemas.microsoft.com/office/drawing/2014/main" id="{655EDDF6-D045-4C41-858B-A11CEB64A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9" y="1246"/>
                <a:ext cx="276" cy="472"/>
              </a:xfrm>
              <a:custGeom>
                <a:avLst/>
                <a:gdLst>
                  <a:gd name="T0" fmla="*/ 0 w 505"/>
                  <a:gd name="T1" fmla="*/ 864 h 864"/>
                  <a:gd name="T2" fmla="*/ 170 w 505"/>
                  <a:gd name="T3" fmla="*/ 356 h 864"/>
                  <a:gd name="T4" fmla="*/ 168 w 505"/>
                  <a:gd name="T5" fmla="*/ 0 h 864"/>
                  <a:gd name="T6" fmla="*/ 225 w 505"/>
                  <a:gd name="T7" fmla="*/ 17 h 864"/>
                  <a:gd name="T8" fmla="*/ 430 w 505"/>
                  <a:gd name="T9" fmla="*/ 646 h 864"/>
                  <a:gd name="T10" fmla="*/ 0 w 505"/>
                  <a:gd name="T11" fmla="*/ 864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5" h="864">
                    <a:moveTo>
                      <a:pt x="0" y="864"/>
                    </a:moveTo>
                    <a:cubicBezTo>
                      <a:pt x="127" y="738"/>
                      <a:pt x="247" y="507"/>
                      <a:pt x="170" y="356"/>
                    </a:cubicBezTo>
                    <a:cubicBezTo>
                      <a:pt x="87" y="195"/>
                      <a:pt x="139" y="56"/>
                      <a:pt x="168" y="0"/>
                    </a:cubicBezTo>
                    <a:cubicBezTo>
                      <a:pt x="189" y="3"/>
                      <a:pt x="209" y="9"/>
                      <a:pt x="225" y="17"/>
                    </a:cubicBezTo>
                    <a:cubicBezTo>
                      <a:pt x="373" y="92"/>
                      <a:pt x="505" y="499"/>
                      <a:pt x="430" y="646"/>
                    </a:cubicBezTo>
                    <a:cubicBezTo>
                      <a:pt x="381" y="743"/>
                      <a:pt x="195" y="814"/>
                      <a:pt x="0" y="864"/>
                    </a:cubicBezTo>
                    <a:close/>
                  </a:path>
                </a:pathLst>
              </a:custGeom>
              <a:solidFill>
                <a:srgbClr val="3E27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9" name="Freeform 37">
                <a:extLst>
                  <a:ext uri="{FF2B5EF4-FFF2-40B4-BE49-F238E27FC236}">
                    <a16:creationId xmlns:a16="http://schemas.microsoft.com/office/drawing/2014/main" id="{04E3E1FF-2D74-4BED-B6DD-9EB526D12A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8" y="1096"/>
                <a:ext cx="278" cy="570"/>
              </a:xfrm>
              <a:custGeom>
                <a:avLst/>
                <a:gdLst>
                  <a:gd name="T0" fmla="*/ 323 w 508"/>
                  <a:gd name="T1" fmla="*/ 1045 h 1045"/>
                  <a:gd name="T2" fmla="*/ 0 w 508"/>
                  <a:gd name="T3" fmla="*/ 53 h 1045"/>
                  <a:gd name="T4" fmla="*/ 78 w 508"/>
                  <a:gd name="T5" fmla="*/ 28 h 1045"/>
                  <a:gd name="T6" fmla="*/ 288 w 508"/>
                  <a:gd name="T7" fmla="*/ 135 h 1045"/>
                  <a:gd name="T8" fmla="*/ 478 w 508"/>
                  <a:gd name="T9" fmla="*/ 446 h 1045"/>
                  <a:gd name="T10" fmla="*/ 507 w 508"/>
                  <a:gd name="T11" fmla="*/ 810 h 1045"/>
                  <a:gd name="T12" fmla="*/ 400 w 508"/>
                  <a:gd name="T13" fmla="*/ 1020 h 1045"/>
                  <a:gd name="T14" fmla="*/ 323 w 508"/>
                  <a:gd name="T15" fmla="*/ 1045 h 10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8" h="1045">
                    <a:moveTo>
                      <a:pt x="323" y="1045"/>
                    </a:moveTo>
                    <a:cubicBezTo>
                      <a:pt x="0" y="53"/>
                      <a:pt x="0" y="53"/>
                      <a:pt x="0" y="53"/>
                    </a:cubicBezTo>
                    <a:cubicBezTo>
                      <a:pt x="78" y="28"/>
                      <a:pt x="78" y="28"/>
                      <a:pt x="78" y="28"/>
                    </a:cubicBezTo>
                    <a:cubicBezTo>
                      <a:pt x="165" y="0"/>
                      <a:pt x="252" y="88"/>
                      <a:pt x="288" y="135"/>
                    </a:cubicBezTo>
                    <a:cubicBezTo>
                      <a:pt x="342" y="208"/>
                      <a:pt x="478" y="446"/>
                      <a:pt x="478" y="446"/>
                    </a:cubicBezTo>
                    <a:cubicBezTo>
                      <a:pt x="478" y="446"/>
                      <a:pt x="508" y="719"/>
                      <a:pt x="507" y="810"/>
                    </a:cubicBezTo>
                    <a:cubicBezTo>
                      <a:pt x="506" y="869"/>
                      <a:pt x="488" y="991"/>
                      <a:pt x="400" y="1020"/>
                    </a:cubicBezTo>
                    <a:lnTo>
                      <a:pt x="323" y="1045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0" name="Freeform 38">
                <a:extLst>
                  <a:ext uri="{FF2B5EF4-FFF2-40B4-BE49-F238E27FC236}">
                    <a16:creationId xmlns:a16="http://schemas.microsoft.com/office/drawing/2014/main" id="{DFAF4CBC-13B9-4AFB-B985-9C838DAFC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1" y="1134"/>
                <a:ext cx="319" cy="502"/>
              </a:xfrm>
              <a:custGeom>
                <a:avLst/>
                <a:gdLst>
                  <a:gd name="T0" fmla="*/ 183 w 583"/>
                  <a:gd name="T1" fmla="*/ 762 h 918"/>
                  <a:gd name="T2" fmla="*/ 183 w 583"/>
                  <a:gd name="T3" fmla="*/ 606 h 918"/>
                  <a:gd name="T4" fmla="*/ 144 w 583"/>
                  <a:gd name="T5" fmla="*/ 487 h 918"/>
                  <a:gd name="T6" fmla="*/ 53 w 583"/>
                  <a:gd name="T7" fmla="*/ 361 h 918"/>
                  <a:gd name="T8" fmla="*/ 226 w 583"/>
                  <a:gd name="T9" fmla="*/ 51 h 918"/>
                  <a:gd name="T10" fmla="*/ 284 w 583"/>
                  <a:gd name="T11" fmla="*/ 0 h 918"/>
                  <a:gd name="T12" fmla="*/ 583 w 583"/>
                  <a:gd name="T13" fmla="*/ 918 h 918"/>
                  <a:gd name="T14" fmla="*/ 506 w 583"/>
                  <a:gd name="T15" fmla="*/ 911 h 918"/>
                  <a:gd name="T16" fmla="*/ 183 w 583"/>
                  <a:gd name="T17" fmla="*/ 762 h 9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3" h="918">
                    <a:moveTo>
                      <a:pt x="183" y="762"/>
                    </a:moveTo>
                    <a:cubicBezTo>
                      <a:pt x="180" y="730"/>
                      <a:pt x="182" y="660"/>
                      <a:pt x="183" y="606"/>
                    </a:cubicBezTo>
                    <a:cubicBezTo>
                      <a:pt x="185" y="563"/>
                      <a:pt x="171" y="521"/>
                      <a:pt x="144" y="487"/>
                    </a:cubicBezTo>
                    <a:cubicBezTo>
                      <a:pt x="112" y="445"/>
                      <a:pt x="69" y="389"/>
                      <a:pt x="53" y="361"/>
                    </a:cubicBezTo>
                    <a:cubicBezTo>
                      <a:pt x="0" y="270"/>
                      <a:pt x="147" y="120"/>
                      <a:pt x="226" y="51"/>
                    </a:cubicBezTo>
                    <a:cubicBezTo>
                      <a:pt x="284" y="0"/>
                      <a:pt x="284" y="0"/>
                      <a:pt x="284" y="0"/>
                    </a:cubicBezTo>
                    <a:cubicBezTo>
                      <a:pt x="583" y="918"/>
                      <a:pt x="583" y="918"/>
                      <a:pt x="583" y="918"/>
                    </a:cubicBezTo>
                    <a:cubicBezTo>
                      <a:pt x="506" y="911"/>
                      <a:pt x="506" y="911"/>
                      <a:pt x="506" y="911"/>
                    </a:cubicBezTo>
                    <a:cubicBezTo>
                      <a:pt x="401" y="902"/>
                      <a:pt x="194" y="867"/>
                      <a:pt x="183" y="762"/>
                    </a:cubicBez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1" name="Freeform 39">
                <a:extLst>
                  <a:ext uri="{FF2B5EF4-FFF2-40B4-BE49-F238E27FC236}">
                    <a16:creationId xmlns:a16="http://schemas.microsoft.com/office/drawing/2014/main" id="{1C89D9E9-38A6-4B58-B4A6-7E540FF95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" y="1182"/>
                <a:ext cx="676" cy="575"/>
              </a:xfrm>
              <a:custGeom>
                <a:avLst/>
                <a:gdLst>
                  <a:gd name="T0" fmla="*/ 1235 w 1235"/>
                  <a:gd name="T1" fmla="*/ 425 h 1054"/>
                  <a:gd name="T2" fmla="*/ 1031 w 1235"/>
                  <a:gd name="T3" fmla="*/ 1054 h 1054"/>
                  <a:gd name="T4" fmla="*/ 75 w 1235"/>
                  <a:gd name="T5" fmla="*/ 743 h 1054"/>
                  <a:gd name="T6" fmla="*/ 280 w 1235"/>
                  <a:gd name="T7" fmla="*/ 114 h 1054"/>
                  <a:gd name="T8" fmla="*/ 1235 w 1235"/>
                  <a:gd name="T9" fmla="*/ 425 h 1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5" h="1054">
                    <a:moveTo>
                      <a:pt x="1235" y="425"/>
                    </a:moveTo>
                    <a:cubicBezTo>
                      <a:pt x="1031" y="1054"/>
                      <a:pt x="1031" y="1054"/>
                      <a:pt x="1031" y="1054"/>
                    </a:cubicBezTo>
                    <a:cubicBezTo>
                      <a:pt x="1031" y="1054"/>
                      <a:pt x="189" y="967"/>
                      <a:pt x="75" y="743"/>
                    </a:cubicBezTo>
                    <a:cubicBezTo>
                      <a:pt x="0" y="596"/>
                      <a:pt x="132" y="189"/>
                      <a:pt x="280" y="114"/>
                    </a:cubicBezTo>
                    <a:cubicBezTo>
                      <a:pt x="503" y="0"/>
                      <a:pt x="1235" y="425"/>
                      <a:pt x="1235" y="425"/>
                    </a:cubicBezTo>
                    <a:close/>
                  </a:path>
                </a:pathLst>
              </a:custGeom>
              <a:solidFill>
                <a:srgbClr val="4A4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2" name="Freeform 40">
                <a:extLst>
                  <a:ext uri="{FF2B5EF4-FFF2-40B4-BE49-F238E27FC236}">
                    <a16:creationId xmlns:a16="http://schemas.microsoft.com/office/drawing/2014/main" id="{58CF7800-E88A-4D46-B3A6-8CFC6C7105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" y="1217"/>
                <a:ext cx="413" cy="397"/>
              </a:xfrm>
              <a:custGeom>
                <a:avLst/>
                <a:gdLst>
                  <a:gd name="T0" fmla="*/ 755 w 755"/>
                  <a:gd name="T1" fmla="*/ 125 h 726"/>
                  <a:gd name="T2" fmla="*/ 319 w 755"/>
                  <a:gd name="T3" fmla="*/ 437 h 726"/>
                  <a:gd name="T4" fmla="*/ 112 w 755"/>
                  <a:gd name="T5" fmla="*/ 726 h 726"/>
                  <a:gd name="T6" fmla="*/ 75 w 755"/>
                  <a:gd name="T7" fmla="*/ 678 h 726"/>
                  <a:gd name="T8" fmla="*/ 280 w 755"/>
                  <a:gd name="T9" fmla="*/ 49 h 726"/>
                  <a:gd name="T10" fmla="*/ 755 w 755"/>
                  <a:gd name="T11" fmla="*/ 125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55" h="726">
                    <a:moveTo>
                      <a:pt x="755" y="125"/>
                    </a:moveTo>
                    <a:cubicBezTo>
                      <a:pt x="579" y="153"/>
                      <a:pt x="345" y="269"/>
                      <a:pt x="319" y="437"/>
                    </a:cubicBezTo>
                    <a:cubicBezTo>
                      <a:pt x="291" y="616"/>
                      <a:pt x="168" y="698"/>
                      <a:pt x="112" y="726"/>
                    </a:cubicBezTo>
                    <a:cubicBezTo>
                      <a:pt x="96" y="711"/>
                      <a:pt x="83" y="695"/>
                      <a:pt x="75" y="678"/>
                    </a:cubicBezTo>
                    <a:cubicBezTo>
                      <a:pt x="0" y="531"/>
                      <a:pt x="132" y="124"/>
                      <a:pt x="280" y="49"/>
                    </a:cubicBezTo>
                    <a:cubicBezTo>
                      <a:pt x="376" y="0"/>
                      <a:pt x="568" y="51"/>
                      <a:pt x="755" y="125"/>
                    </a:cubicBezTo>
                    <a:close/>
                  </a:path>
                </a:pathLst>
              </a:custGeom>
              <a:solidFill>
                <a:srgbClr val="372F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3" name="Freeform 41">
                <a:extLst>
                  <a:ext uri="{FF2B5EF4-FFF2-40B4-BE49-F238E27FC236}">
                    <a16:creationId xmlns:a16="http://schemas.microsoft.com/office/drawing/2014/main" id="{F05E0716-859C-44C2-8CC1-59ED0A94C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3" y="1084"/>
                <a:ext cx="277" cy="571"/>
              </a:xfrm>
              <a:custGeom>
                <a:avLst/>
                <a:gdLst>
                  <a:gd name="T0" fmla="*/ 507 w 507"/>
                  <a:gd name="T1" fmla="*/ 53 h 1045"/>
                  <a:gd name="T2" fmla="*/ 185 w 507"/>
                  <a:gd name="T3" fmla="*/ 1045 h 1045"/>
                  <a:gd name="T4" fmla="*/ 108 w 507"/>
                  <a:gd name="T5" fmla="*/ 1020 h 1045"/>
                  <a:gd name="T6" fmla="*/ 1 w 507"/>
                  <a:gd name="T7" fmla="*/ 810 h 1045"/>
                  <a:gd name="T8" fmla="*/ 30 w 507"/>
                  <a:gd name="T9" fmla="*/ 446 h 1045"/>
                  <a:gd name="T10" fmla="*/ 220 w 507"/>
                  <a:gd name="T11" fmla="*/ 135 h 1045"/>
                  <a:gd name="T12" fmla="*/ 430 w 507"/>
                  <a:gd name="T13" fmla="*/ 28 h 1045"/>
                  <a:gd name="T14" fmla="*/ 507 w 507"/>
                  <a:gd name="T15" fmla="*/ 53 h 10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7" h="1045">
                    <a:moveTo>
                      <a:pt x="507" y="53"/>
                    </a:moveTo>
                    <a:cubicBezTo>
                      <a:pt x="185" y="1045"/>
                      <a:pt x="185" y="1045"/>
                      <a:pt x="185" y="1045"/>
                    </a:cubicBezTo>
                    <a:cubicBezTo>
                      <a:pt x="108" y="1020"/>
                      <a:pt x="108" y="1020"/>
                      <a:pt x="108" y="1020"/>
                    </a:cubicBezTo>
                    <a:cubicBezTo>
                      <a:pt x="20" y="991"/>
                      <a:pt x="2" y="869"/>
                      <a:pt x="1" y="810"/>
                    </a:cubicBezTo>
                    <a:cubicBezTo>
                      <a:pt x="0" y="719"/>
                      <a:pt x="30" y="446"/>
                      <a:pt x="30" y="446"/>
                    </a:cubicBezTo>
                    <a:cubicBezTo>
                      <a:pt x="30" y="446"/>
                      <a:pt x="166" y="208"/>
                      <a:pt x="220" y="135"/>
                    </a:cubicBezTo>
                    <a:cubicBezTo>
                      <a:pt x="255" y="88"/>
                      <a:pt x="342" y="0"/>
                      <a:pt x="430" y="28"/>
                    </a:cubicBezTo>
                    <a:lnTo>
                      <a:pt x="507" y="53"/>
                    </a:ln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4" name="Freeform 42">
                <a:extLst>
                  <a:ext uri="{FF2B5EF4-FFF2-40B4-BE49-F238E27FC236}">
                    <a16:creationId xmlns:a16="http://schemas.microsoft.com/office/drawing/2014/main" id="{C5EA4983-78FE-486E-B0B0-52A3345D6F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8" y="1124"/>
                <a:ext cx="319" cy="502"/>
              </a:xfrm>
              <a:custGeom>
                <a:avLst/>
                <a:gdLst>
                  <a:gd name="T0" fmla="*/ 530 w 583"/>
                  <a:gd name="T1" fmla="*/ 361 h 919"/>
                  <a:gd name="T2" fmla="*/ 439 w 583"/>
                  <a:gd name="T3" fmla="*/ 487 h 919"/>
                  <a:gd name="T4" fmla="*/ 400 w 583"/>
                  <a:gd name="T5" fmla="*/ 607 h 919"/>
                  <a:gd name="T6" fmla="*/ 400 w 583"/>
                  <a:gd name="T7" fmla="*/ 763 h 919"/>
                  <a:gd name="T8" fmla="*/ 78 w 583"/>
                  <a:gd name="T9" fmla="*/ 912 h 919"/>
                  <a:gd name="T10" fmla="*/ 0 w 583"/>
                  <a:gd name="T11" fmla="*/ 919 h 919"/>
                  <a:gd name="T12" fmla="*/ 299 w 583"/>
                  <a:gd name="T13" fmla="*/ 0 h 919"/>
                  <a:gd name="T14" fmla="*/ 357 w 583"/>
                  <a:gd name="T15" fmla="*/ 51 h 919"/>
                  <a:gd name="T16" fmla="*/ 530 w 583"/>
                  <a:gd name="T17" fmla="*/ 361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3" h="919">
                    <a:moveTo>
                      <a:pt x="530" y="361"/>
                    </a:moveTo>
                    <a:cubicBezTo>
                      <a:pt x="514" y="389"/>
                      <a:pt x="471" y="445"/>
                      <a:pt x="439" y="487"/>
                    </a:cubicBezTo>
                    <a:cubicBezTo>
                      <a:pt x="412" y="521"/>
                      <a:pt x="398" y="564"/>
                      <a:pt x="400" y="607"/>
                    </a:cubicBezTo>
                    <a:cubicBezTo>
                      <a:pt x="402" y="660"/>
                      <a:pt x="403" y="730"/>
                      <a:pt x="400" y="763"/>
                    </a:cubicBezTo>
                    <a:cubicBezTo>
                      <a:pt x="389" y="867"/>
                      <a:pt x="182" y="902"/>
                      <a:pt x="78" y="912"/>
                    </a:cubicBezTo>
                    <a:cubicBezTo>
                      <a:pt x="0" y="919"/>
                      <a:pt x="0" y="919"/>
                      <a:pt x="0" y="919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357" y="51"/>
                      <a:pt x="357" y="51"/>
                      <a:pt x="357" y="51"/>
                    </a:cubicBezTo>
                    <a:cubicBezTo>
                      <a:pt x="436" y="120"/>
                      <a:pt x="583" y="270"/>
                      <a:pt x="530" y="361"/>
                    </a:cubicBez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5" name="Freeform 43">
                <a:extLst>
                  <a:ext uri="{FF2B5EF4-FFF2-40B4-BE49-F238E27FC236}">
                    <a16:creationId xmlns:a16="http://schemas.microsoft.com/office/drawing/2014/main" id="{88A0CF3D-29DB-4F98-A884-0871A6CC5F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4" y="2268"/>
                <a:ext cx="632" cy="661"/>
              </a:xfrm>
              <a:custGeom>
                <a:avLst/>
                <a:gdLst>
                  <a:gd name="T0" fmla="*/ 1153 w 1155"/>
                  <a:gd name="T1" fmla="*/ 770 h 1210"/>
                  <a:gd name="T2" fmla="*/ 646 w 1155"/>
                  <a:gd name="T3" fmla="*/ 1196 h 1210"/>
                  <a:gd name="T4" fmla="*/ 439 w 1155"/>
                  <a:gd name="T5" fmla="*/ 1065 h 1210"/>
                  <a:gd name="T6" fmla="*/ 284 w 1155"/>
                  <a:gd name="T7" fmla="*/ 879 h 1210"/>
                  <a:gd name="T8" fmla="*/ 0 w 1155"/>
                  <a:gd name="T9" fmla="*/ 426 h 1210"/>
                  <a:gd name="T10" fmla="*/ 507 w 1155"/>
                  <a:gd name="T11" fmla="*/ 0 h 1210"/>
                  <a:gd name="T12" fmla="*/ 855 w 1155"/>
                  <a:gd name="T13" fmla="*/ 307 h 1210"/>
                  <a:gd name="T14" fmla="*/ 996 w 1155"/>
                  <a:gd name="T15" fmla="*/ 460 h 1210"/>
                  <a:gd name="T16" fmla="*/ 1147 w 1155"/>
                  <a:gd name="T17" fmla="*/ 711 h 1210"/>
                  <a:gd name="T18" fmla="*/ 1153 w 1155"/>
                  <a:gd name="T19" fmla="*/ 770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5" h="1210">
                    <a:moveTo>
                      <a:pt x="1153" y="770"/>
                    </a:moveTo>
                    <a:cubicBezTo>
                      <a:pt x="1139" y="935"/>
                      <a:pt x="811" y="1210"/>
                      <a:pt x="646" y="1196"/>
                    </a:cubicBezTo>
                    <a:cubicBezTo>
                      <a:pt x="584" y="1190"/>
                      <a:pt x="512" y="1139"/>
                      <a:pt x="439" y="1065"/>
                    </a:cubicBezTo>
                    <a:cubicBezTo>
                      <a:pt x="386" y="1012"/>
                      <a:pt x="334" y="947"/>
                      <a:pt x="284" y="879"/>
                    </a:cubicBezTo>
                    <a:cubicBezTo>
                      <a:pt x="128" y="667"/>
                      <a:pt x="0" y="426"/>
                      <a:pt x="0" y="426"/>
                    </a:cubicBezTo>
                    <a:cubicBezTo>
                      <a:pt x="507" y="0"/>
                      <a:pt x="507" y="0"/>
                      <a:pt x="507" y="0"/>
                    </a:cubicBezTo>
                    <a:cubicBezTo>
                      <a:pt x="507" y="0"/>
                      <a:pt x="686" y="139"/>
                      <a:pt x="855" y="307"/>
                    </a:cubicBezTo>
                    <a:cubicBezTo>
                      <a:pt x="904" y="357"/>
                      <a:pt x="953" y="408"/>
                      <a:pt x="996" y="460"/>
                    </a:cubicBezTo>
                    <a:cubicBezTo>
                      <a:pt x="1070" y="548"/>
                      <a:pt x="1129" y="637"/>
                      <a:pt x="1147" y="711"/>
                    </a:cubicBezTo>
                    <a:cubicBezTo>
                      <a:pt x="1153" y="732"/>
                      <a:pt x="1155" y="752"/>
                      <a:pt x="1153" y="770"/>
                    </a:cubicBez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6" name="Freeform 44">
                <a:extLst>
                  <a:ext uri="{FF2B5EF4-FFF2-40B4-BE49-F238E27FC236}">
                    <a16:creationId xmlns:a16="http://schemas.microsoft.com/office/drawing/2014/main" id="{CDBB5449-D19B-4035-9AB5-CF4F41C729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5" y="2520"/>
                <a:ext cx="391" cy="409"/>
              </a:xfrm>
              <a:custGeom>
                <a:avLst/>
                <a:gdLst>
                  <a:gd name="T0" fmla="*/ 714 w 716"/>
                  <a:gd name="T1" fmla="*/ 310 h 750"/>
                  <a:gd name="T2" fmla="*/ 207 w 716"/>
                  <a:gd name="T3" fmla="*/ 736 h 750"/>
                  <a:gd name="T4" fmla="*/ 0 w 716"/>
                  <a:gd name="T5" fmla="*/ 605 h 750"/>
                  <a:gd name="T6" fmla="*/ 371 w 716"/>
                  <a:gd name="T7" fmla="*/ 346 h 750"/>
                  <a:gd name="T8" fmla="*/ 557 w 716"/>
                  <a:gd name="T9" fmla="*/ 0 h 750"/>
                  <a:gd name="T10" fmla="*/ 708 w 716"/>
                  <a:gd name="T11" fmla="*/ 251 h 750"/>
                  <a:gd name="T12" fmla="*/ 714 w 716"/>
                  <a:gd name="T13" fmla="*/ 31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6" h="750">
                    <a:moveTo>
                      <a:pt x="714" y="310"/>
                    </a:moveTo>
                    <a:cubicBezTo>
                      <a:pt x="700" y="475"/>
                      <a:pt x="372" y="750"/>
                      <a:pt x="207" y="736"/>
                    </a:cubicBezTo>
                    <a:cubicBezTo>
                      <a:pt x="145" y="730"/>
                      <a:pt x="73" y="679"/>
                      <a:pt x="0" y="605"/>
                    </a:cubicBezTo>
                    <a:cubicBezTo>
                      <a:pt x="168" y="609"/>
                      <a:pt x="368" y="481"/>
                      <a:pt x="371" y="346"/>
                    </a:cubicBezTo>
                    <a:cubicBezTo>
                      <a:pt x="375" y="174"/>
                      <a:pt x="483" y="79"/>
                      <a:pt x="557" y="0"/>
                    </a:cubicBezTo>
                    <a:cubicBezTo>
                      <a:pt x="631" y="88"/>
                      <a:pt x="690" y="177"/>
                      <a:pt x="708" y="251"/>
                    </a:cubicBezTo>
                    <a:cubicBezTo>
                      <a:pt x="714" y="272"/>
                      <a:pt x="716" y="292"/>
                      <a:pt x="714" y="310"/>
                    </a:cubicBezTo>
                    <a:close/>
                  </a:path>
                </a:pathLst>
              </a:custGeom>
              <a:solidFill>
                <a:srgbClr val="EC40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7" name="Freeform 45">
                <a:extLst>
                  <a:ext uri="{FF2B5EF4-FFF2-40B4-BE49-F238E27FC236}">
                    <a16:creationId xmlns:a16="http://schemas.microsoft.com/office/drawing/2014/main" id="{35AE25BB-1973-4B47-B8E9-E4715CE4E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2" y="2695"/>
                <a:ext cx="499" cy="438"/>
              </a:xfrm>
              <a:custGeom>
                <a:avLst/>
                <a:gdLst>
                  <a:gd name="T0" fmla="*/ 0 w 910"/>
                  <a:gd name="T1" fmla="*/ 670 h 803"/>
                  <a:gd name="T2" fmla="*/ 799 w 910"/>
                  <a:gd name="T3" fmla="*/ 0 h 803"/>
                  <a:gd name="T4" fmla="*/ 851 w 910"/>
                  <a:gd name="T5" fmla="*/ 62 h 803"/>
                  <a:gd name="T6" fmla="*/ 831 w 910"/>
                  <a:gd name="T7" fmla="*/ 297 h 803"/>
                  <a:gd name="T8" fmla="*/ 614 w 910"/>
                  <a:gd name="T9" fmla="*/ 590 h 803"/>
                  <a:gd name="T10" fmla="*/ 287 w 910"/>
                  <a:gd name="T11" fmla="*/ 753 h 803"/>
                  <a:gd name="T12" fmla="*/ 53 w 910"/>
                  <a:gd name="T13" fmla="*/ 732 h 803"/>
                  <a:gd name="T14" fmla="*/ 0 w 910"/>
                  <a:gd name="T15" fmla="*/ 670 h 8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0" h="803">
                    <a:moveTo>
                      <a:pt x="0" y="670"/>
                    </a:moveTo>
                    <a:cubicBezTo>
                      <a:pt x="799" y="0"/>
                      <a:pt x="799" y="0"/>
                      <a:pt x="799" y="0"/>
                    </a:cubicBezTo>
                    <a:cubicBezTo>
                      <a:pt x="851" y="62"/>
                      <a:pt x="851" y="62"/>
                      <a:pt x="851" y="62"/>
                    </a:cubicBezTo>
                    <a:cubicBezTo>
                      <a:pt x="910" y="133"/>
                      <a:pt x="861" y="246"/>
                      <a:pt x="831" y="297"/>
                    </a:cubicBezTo>
                    <a:cubicBezTo>
                      <a:pt x="784" y="375"/>
                      <a:pt x="614" y="590"/>
                      <a:pt x="614" y="590"/>
                    </a:cubicBezTo>
                    <a:cubicBezTo>
                      <a:pt x="614" y="590"/>
                      <a:pt x="372" y="720"/>
                      <a:pt x="287" y="753"/>
                    </a:cubicBezTo>
                    <a:cubicBezTo>
                      <a:pt x="232" y="774"/>
                      <a:pt x="112" y="803"/>
                      <a:pt x="53" y="732"/>
                    </a:cubicBezTo>
                    <a:lnTo>
                      <a:pt x="0" y="670"/>
                    </a:ln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8" name="Freeform 46">
                <a:extLst>
                  <a:ext uri="{FF2B5EF4-FFF2-40B4-BE49-F238E27FC236}">
                    <a16:creationId xmlns:a16="http://schemas.microsoft.com/office/drawing/2014/main" id="{0607F2B9-52D5-46E4-B79A-412D7CFB54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" y="2651"/>
                <a:ext cx="459" cy="428"/>
              </a:xfrm>
              <a:custGeom>
                <a:avLst/>
                <a:gdLst>
                  <a:gd name="T0" fmla="*/ 92 w 837"/>
                  <a:gd name="T1" fmla="*/ 354 h 783"/>
                  <a:gd name="T2" fmla="*/ 237 w 837"/>
                  <a:gd name="T3" fmla="*/ 296 h 783"/>
                  <a:gd name="T4" fmla="*/ 333 w 837"/>
                  <a:gd name="T5" fmla="*/ 215 h 783"/>
                  <a:gd name="T6" fmla="*/ 416 w 837"/>
                  <a:gd name="T7" fmla="*/ 83 h 783"/>
                  <a:gd name="T8" fmla="*/ 768 w 837"/>
                  <a:gd name="T9" fmla="*/ 127 h 783"/>
                  <a:gd name="T10" fmla="*/ 837 w 837"/>
                  <a:gd name="T11" fmla="*/ 162 h 783"/>
                  <a:gd name="T12" fmla="*/ 97 w 837"/>
                  <a:gd name="T13" fmla="*/ 783 h 783"/>
                  <a:gd name="T14" fmla="*/ 75 w 837"/>
                  <a:gd name="T15" fmla="*/ 709 h 783"/>
                  <a:gd name="T16" fmla="*/ 92 w 837"/>
                  <a:gd name="T17" fmla="*/ 354 h 7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37" h="783">
                    <a:moveTo>
                      <a:pt x="92" y="354"/>
                    </a:moveTo>
                    <a:cubicBezTo>
                      <a:pt x="121" y="339"/>
                      <a:pt x="187" y="314"/>
                      <a:pt x="237" y="296"/>
                    </a:cubicBezTo>
                    <a:cubicBezTo>
                      <a:pt x="277" y="281"/>
                      <a:pt x="311" y="252"/>
                      <a:pt x="333" y="215"/>
                    </a:cubicBezTo>
                    <a:cubicBezTo>
                      <a:pt x="360" y="169"/>
                      <a:pt x="396" y="109"/>
                      <a:pt x="416" y="83"/>
                    </a:cubicBezTo>
                    <a:cubicBezTo>
                      <a:pt x="480" y="0"/>
                      <a:pt x="674" y="80"/>
                      <a:pt x="768" y="127"/>
                    </a:cubicBezTo>
                    <a:cubicBezTo>
                      <a:pt x="837" y="162"/>
                      <a:pt x="837" y="162"/>
                      <a:pt x="837" y="162"/>
                    </a:cubicBezTo>
                    <a:cubicBezTo>
                      <a:pt x="97" y="783"/>
                      <a:pt x="97" y="783"/>
                      <a:pt x="97" y="783"/>
                    </a:cubicBezTo>
                    <a:cubicBezTo>
                      <a:pt x="75" y="709"/>
                      <a:pt x="75" y="709"/>
                      <a:pt x="75" y="709"/>
                    </a:cubicBezTo>
                    <a:cubicBezTo>
                      <a:pt x="45" y="608"/>
                      <a:pt x="0" y="403"/>
                      <a:pt x="92" y="354"/>
                    </a:cubicBezTo>
                    <a:close/>
                  </a:path>
                </a:pathLst>
              </a:custGeom>
              <a:solidFill>
                <a:srgbClr val="F06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9" name="Freeform 47">
                <a:extLst>
                  <a:ext uri="{FF2B5EF4-FFF2-40B4-BE49-F238E27FC236}">
                    <a16:creationId xmlns:a16="http://schemas.microsoft.com/office/drawing/2014/main" id="{F5BD1795-2483-49C4-B803-BF4627B2C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2" y="2240"/>
                <a:ext cx="709" cy="722"/>
              </a:xfrm>
              <a:custGeom>
                <a:avLst/>
                <a:gdLst>
                  <a:gd name="T0" fmla="*/ 772 w 1295"/>
                  <a:gd name="T1" fmla="*/ 0 h 1324"/>
                  <a:gd name="T2" fmla="*/ 987 w 1295"/>
                  <a:gd name="T3" fmla="*/ 181 h 1324"/>
                  <a:gd name="T4" fmla="*/ 474 w 1295"/>
                  <a:gd name="T5" fmla="*/ 832 h 1324"/>
                  <a:gd name="T6" fmla="*/ 369 w 1295"/>
                  <a:gd name="T7" fmla="*/ 1007 h 1324"/>
                  <a:gd name="T8" fmla="*/ 506 w 1295"/>
                  <a:gd name="T9" fmla="*/ 879 h 1324"/>
                  <a:gd name="T10" fmla="*/ 1058 w 1295"/>
                  <a:gd name="T11" fmla="*/ 241 h 1324"/>
                  <a:gd name="T12" fmla="*/ 1295 w 1295"/>
                  <a:gd name="T13" fmla="*/ 440 h 1324"/>
                  <a:gd name="T14" fmla="*/ 657 w 1295"/>
                  <a:gd name="T15" fmla="*/ 1323 h 1324"/>
                  <a:gd name="T16" fmla="*/ 12 w 1295"/>
                  <a:gd name="T17" fmla="*/ 782 h 1324"/>
                  <a:gd name="T18" fmla="*/ 772 w 1295"/>
                  <a:gd name="T19" fmla="*/ 0 h 1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95" h="1324">
                    <a:moveTo>
                      <a:pt x="772" y="0"/>
                    </a:moveTo>
                    <a:cubicBezTo>
                      <a:pt x="987" y="181"/>
                      <a:pt x="987" y="181"/>
                      <a:pt x="987" y="181"/>
                    </a:cubicBezTo>
                    <a:cubicBezTo>
                      <a:pt x="987" y="181"/>
                      <a:pt x="651" y="589"/>
                      <a:pt x="474" y="832"/>
                    </a:cubicBezTo>
                    <a:cubicBezTo>
                      <a:pt x="404" y="928"/>
                      <a:pt x="358" y="998"/>
                      <a:pt x="369" y="1007"/>
                    </a:cubicBezTo>
                    <a:cubicBezTo>
                      <a:pt x="377" y="1013"/>
                      <a:pt x="431" y="960"/>
                      <a:pt x="506" y="879"/>
                    </a:cubicBezTo>
                    <a:cubicBezTo>
                      <a:pt x="708" y="660"/>
                      <a:pt x="1058" y="241"/>
                      <a:pt x="1058" y="241"/>
                    </a:cubicBezTo>
                    <a:cubicBezTo>
                      <a:pt x="1295" y="440"/>
                      <a:pt x="1295" y="440"/>
                      <a:pt x="1295" y="440"/>
                    </a:cubicBezTo>
                    <a:cubicBezTo>
                      <a:pt x="1295" y="440"/>
                      <a:pt x="743" y="1324"/>
                      <a:pt x="657" y="1323"/>
                    </a:cubicBezTo>
                    <a:cubicBezTo>
                      <a:pt x="469" y="1322"/>
                      <a:pt x="32" y="961"/>
                      <a:pt x="12" y="782"/>
                    </a:cubicBezTo>
                    <a:cubicBezTo>
                      <a:pt x="0" y="675"/>
                      <a:pt x="772" y="0"/>
                      <a:pt x="772" y="0"/>
                    </a:cubicBezTo>
                  </a:path>
                </a:pathLst>
              </a:custGeom>
              <a:solidFill>
                <a:srgbClr val="213C4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0" name="Freeform 48">
                <a:extLst>
                  <a:ext uri="{FF2B5EF4-FFF2-40B4-BE49-F238E27FC236}">
                    <a16:creationId xmlns:a16="http://schemas.microsoft.com/office/drawing/2014/main" id="{263482B7-8058-45E6-8794-89CD4192F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5" y="2460"/>
                <a:ext cx="430" cy="502"/>
              </a:xfrm>
              <a:custGeom>
                <a:avLst/>
                <a:gdLst>
                  <a:gd name="T0" fmla="*/ 326 w 785"/>
                  <a:gd name="T1" fmla="*/ 0 h 919"/>
                  <a:gd name="T2" fmla="*/ 516 w 785"/>
                  <a:gd name="T3" fmla="*/ 363 h 919"/>
                  <a:gd name="T4" fmla="*/ 468 w 785"/>
                  <a:gd name="T5" fmla="*/ 427 h 919"/>
                  <a:gd name="T6" fmla="*/ 363 w 785"/>
                  <a:gd name="T7" fmla="*/ 603 h 919"/>
                  <a:gd name="T8" fmla="*/ 500 w 785"/>
                  <a:gd name="T9" fmla="*/ 475 h 919"/>
                  <a:gd name="T10" fmla="*/ 549 w 785"/>
                  <a:gd name="T11" fmla="*/ 421 h 919"/>
                  <a:gd name="T12" fmla="*/ 785 w 785"/>
                  <a:gd name="T13" fmla="*/ 784 h 919"/>
                  <a:gd name="T14" fmla="*/ 651 w 785"/>
                  <a:gd name="T15" fmla="*/ 919 h 919"/>
                  <a:gd name="T16" fmla="*/ 6 w 785"/>
                  <a:gd name="T17" fmla="*/ 378 h 919"/>
                  <a:gd name="T18" fmla="*/ 326 w 785"/>
                  <a:gd name="T19" fmla="*/ 0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5" h="919">
                    <a:moveTo>
                      <a:pt x="326" y="0"/>
                    </a:moveTo>
                    <a:cubicBezTo>
                      <a:pt x="384" y="118"/>
                      <a:pt x="449" y="243"/>
                      <a:pt x="516" y="363"/>
                    </a:cubicBezTo>
                    <a:cubicBezTo>
                      <a:pt x="499" y="385"/>
                      <a:pt x="483" y="407"/>
                      <a:pt x="468" y="427"/>
                    </a:cubicBezTo>
                    <a:cubicBezTo>
                      <a:pt x="398" y="524"/>
                      <a:pt x="352" y="594"/>
                      <a:pt x="363" y="603"/>
                    </a:cubicBezTo>
                    <a:cubicBezTo>
                      <a:pt x="371" y="609"/>
                      <a:pt x="425" y="556"/>
                      <a:pt x="500" y="475"/>
                    </a:cubicBezTo>
                    <a:cubicBezTo>
                      <a:pt x="516" y="458"/>
                      <a:pt x="532" y="440"/>
                      <a:pt x="549" y="421"/>
                    </a:cubicBezTo>
                    <a:cubicBezTo>
                      <a:pt x="629" y="560"/>
                      <a:pt x="710" y="689"/>
                      <a:pt x="785" y="784"/>
                    </a:cubicBezTo>
                    <a:cubicBezTo>
                      <a:pt x="722" y="866"/>
                      <a:pt x="672" y="919"/>
                      <a:pt x="651" y="919"/>
                    </a:cubicBezTo>
                    <a:cubicBezTo>
                      <a:pt x="463" y="918"/>
                      <a:pt x="26" y="557"/>
                      <a:pt x="6" y="378"/>
                    </a:cubicBezTo>
                    <a:cubicBezTo>
                      <a:pt x="0" y="330"/>
                      <a:pt x="155" y="166"/>
                      <a:pt x="326" y="0"/>
                    </a:cubicBezTo>
                    <a:close/>
                  </a:path>
                </a:pathLst>
              </a:custGeom>
              <a:solidFill>
                <a:srgbClr val="1B33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1" name="Freeform 49">
                <a:extLst>
                  <a:ext uri="{FF2B5EF4-FFF2-40B4-BE49-F238E27FC236}">
                    <a16:creationId xmlns:a16="http://schemas.microsoft.com/office/drawing/2014/main" id="{EE5AAC3D-3209-4B7B-A086-4B4B2BA22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2" y="2627"/>
                <a:ext cx="614" cy="548"/>
              </a:xfrm>
              <a:custGeom>
                <a:avLst/>
                <a:gdLst>
                  <a:gd name="T0" fmla="*/ 176 w 1122"/>
                  <a:gd name="T1" fmla="*/ 0 h 1004"/>
                  <a:gd name="T2" fmla="*/ 1122 w 1122"/>
                  <a:gd name="T3" fmla="*/ 793 h 1004"/>
                  <a:gd name="T4" fmla="*/ 1021 w 1122"/>
                  <a:gd name="T5" fmla="*/ 914 h 1004"/>
                  <a:gd name="T6" fmla="*/ 410 w 1122"/>
                  <a:gd name="T7" fmla="*/ 682 h 1004"/>
                  <a:gd name="T8" fmla="*/ 75 w 1122"/>
                  <a:gd name="T9" fmla="*/ 120 h 1004"/>
                  <a:gd name="T10" fmla="*/ 176 w 1122"/>
                  <a:gd name="T11" fmla="*/ 0 h 1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22" h="1004">
                    <a:moveTo>
                      <a:pt x="176" y="0"/>
                    </a:moveTo>
                    <a:cubicBezTo>
                      <a:pt x="1122" y="793"/>
                      <a:pt x="1122" y="793"/>
                      <a:pt x="1122" y="793"/>
                    </a:cubicBezTo>
                    <a:cubicBezTo>
                      <a:pt x="1021" y="914"/>
                      <a:pt x="1021" y="914"/>
                      <a:pt x="1021" y="914"/>
                    </a:cubicBezTo>
                    <a:cubicBezTo>
                      <a:pt x="946" y="1004"/>
                      <a:pt x="699" y="924"/>
                      <a:pt x="410" y="682"/>
                    </a:cubicBezTo>
                    <a:cubicBezTo>
                      <a:pt x="105" y="426"/>
                      <a:pt x="0" y="210"/>
                      <a:pt x="75" y="120"/>
                    </a:cubicBezTo>
                    <a:cubicBezTo>
                      <a:pt x="92" y="100"/>
                      <a:pt x="176" y="0"/>
                      <a:pt x="176" y="0"/>
                    </a:cubicBezTo>
                    <a:close/>
                  </a:path>
                </a:pathLst>
              </a:custGeom>
              <a:solidFill>
                <a:srgbClr val="4470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2" name="Freeform 50">
                <a:extLst>
                  <a:ext uri="{FF2B5EF4-FFF2-40B4-BE49-F238E27FC236}">
                    <a16:creationId xmlns:a16="http://schemas.microsoft.com/office/drawing/2014/main" id="{1F56ABCF-2BC2-41A6-8E90-EB4A758B57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9" y="2610"/>
                <a:ext cx="490" cy="441"/>
              </a:xfrm>
              <a:custGeom>
                <a:avLst/>
                <a:gdLst>
                  <a:gd name="T0" fmla="*/ 420 w 896"/>
                  <a:gd name="T1" fmla="*/ 86 h 808"/>
                  <a:gd name="T2" fmla="*/ 783 w 896"/>
                  <a:gd name="T3" fmla="*/ 390 h 808"/>
                  <a:gd name="T4" fmla="*/ 859 w 896"/>
                  <a:gd name="T5" fmla="*/ 651 h 808"/>
                  <a:gd name="T6" fmla="*/ 830 w 896"/>
                  <a:gd name="T7" fmla="*/ 808 h 808"/>
                  <a:gd name="T8" fmla="*/ 0 w 896"/>
                  <a:gd name="T9" fmla="*/ 111 h 808"/>
                  <a:gd name="T10" fmla="*/ 150 w 896"/>
                  <a:gd name="T11" fmla="*/ 56 h 808"/>
                  <a:gd name="T12" fmla="*/ 420 w 896"/>
                  <a:gd name="T13" fmla="*/ 86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96" h="808">
                    <a:moveTo>
                      <a:pt x="420" y="86"/>
                    </a:moveTo>
                    <a:cubicBezTo>
                      <a:pt x="512" y="160"/>
                      <a:pt x="693" y="313"/>
                      <a:pt x="783" y="390"/>
                    </a:cubicBezTo>
                    <a:cubicBezTo>
                      <a:pt x="838" y="439"/>
                      <a:pt x="896" y="541"/>
                      <a:pt x="859" y="651"/>
                    </a:cubicBezTo>
                    <a:cubicBezTo>
                      <a:pt x="830" y="808"/>
                      <a:pt x="830" y="808"/>
                      <a:pt x="830" y="808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252" y="0"/>
                      <a:pt x="362" y="39"/>
                      <a:pt x="420" y="86"/>
                    </a:cubicBezTo>
                    <a:close/>
                  </a:path>
                </a:pathLst>
              </a:custGeom>
              <a:solidFill>
                <a:srgbClr val="4470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3" name="Freeform 51">
                <a:extLst>
                  <a:ext uri="{FF2B5EF4-FFF2-40B4-BE49-F238E27FC236}">
                    <a16:creationId xmlns:a16="http://schemas.microsoft.com/office/drawing/2014/main" id="{7E7A7239-7E27-4D36-9211-068044E882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4" y="2684"/>
                <a:ext cx="407" cy="405"/>
              </a:xfrm>
              <a:custGeom>
                <a:avLst/>
                <a:gdLst>
                  <a:gd name="T0" fmla="*/ 126 w 743"/>
                  <a:gd name="T1" fmla="*/ 179 h 741"/>
                  <a:gd name="T2" fmla="*/ 599 w 743"/>
                  <a:gd name="T3" fmla="*/ 114 h 741"/>
                  <a:gd name="T4" fmla="*/ 617 w 743"/>
                  <a:gd name="T5" fmla="*/ 591 h 741"/>
                  <a:gd name="T6" fmla="*/ 172 w 743"/>
                  <a:gd name="T7" fmla="*/ 623 h 741"/>
                  <a:gd name="T8" fmla="*/ 126 w 743"/>
                  <a:gd name="T9" fmla="*/ 179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3" h="741">
                    <a:moveTo>
                      <a:pt x="126" y="179"/>
                    </a:moveTo>
                    <a:cubicBezTo>
                      <a:pt x="251" y="29"/>
                      <a:pt x="463" y="0"/>
                      <a:pt x="599" y="114"/>
                    </a:cubicBezTo>
                    <a:cubicBezTo>
                      <a:pt x="735" y="228"/>
                      <a:pt x="743" y="442"/>
                      <a:pt x="617" y="591"/>
                    </a:cubicBezTo>
                    <a:cubicBezTo>
                      <a:pt x="491" y="741"/>
                      <a:pt x="307" y="737"/>
                      <a:pt x="172" y="623"/>
                    </a:cubicBezTo>
                    <a:cubicBezTo>
                      <a:pt x="36" y="509"/>
                      <a:pt x="0" y="329"/>
                      <a:pt x="126" y="179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" name="Freeform 52">
                <a:extLst>
                  <a:ext uri="{FF2B5EF4-FFF2-40B4-BE49-F238E27FC236}">
                    <a16:creationId xmlns:a16="http://schemas.microsoft.com/office/drawing/2014/main" id="{B158B3FC-FF73-4F0B-B547-E7B5ADB0A1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9" y="2723"/>
                <a:ext cx="442" cy="405"/>
              </a:xfrm>
              <a:custGeom>
                <a:avLst/>
                <a:gdLst>
                  <a:gd name="T0" fmla="*/ 142 w 806"/>
                  <a:gd name="T1" fmla="*/ 134 h 741"/>
                  <a:gd name="T2" fmla="*/ 365 w 806"/>
                  <a:gd name="T3" fmla="*/ 4 h 741"/>
                  <a:gd name="T4" fmla="*/ 457 w 806"/>
                  <a:gd name="T5" fmla="*/ 57 h 741"/>
                  <a:gd name="T6" fmla="*/ 637 w 806"/>
                  <a:gd name="T7" fmla="*/ 74 h 741"/>
                  <a:gd name="T8" fmla="*/ 664 w 806"/>
                  <a:gd name="T9" fmla="*/ 572 h 741"/>
                  <a:gd name="T10" fmla="*/ 223 w 806"/>
                  <a:gd name="T11" fmla="*/ 568 h 741"/>
                  <a:gd name="T12" fmla="*/ 142 w 806"/>
                  <a:gd name="T13" fmla="*/ 134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6" h="741">
                    <a:moveTo>
                      <a:pt x="142" y="134"/>
                    </a:moveTo>
                    <a:cubicBezTo>
                      <a:pt x="208" y="54"/>
                      <a:pt x="292" y="0"/>
                      <a:pt x="365" y="4"/>
                    </a:cubicBezTo>
                    <a:cubicBezTo>
                      <a:pt x="400" y="6"/>
                      <a:pt x="419" y="49"/>
                      <a:pt x="457" y="57"/>
                    </a:cubicBezTo>
                    <a:cubicBezTo>
                      <a:pt x="510" y="69"/>
                      <a:pt x="552" y="4"/>
                      <a:pt x="637" y="74"/>
                    </a:cubicBezTo>
                    <a:cubicBezTo>
                      <a:pt x="783" y="194"/>
                      <a:pt x="806" y="403"/>
                      <a:pt x="664" y="572"/>
                    </a:cubicBezTo>
                    <a:cubicBezTo>
                      <a:pt x="522" y="741"/>
                      <a:pt x="367" y="689"/>
                      <a:pt x="223" y="568"/>
                    </a:cubicBezTo>
                    <a:cubicBezTo>
                      <a:pt x="78" y="447"/>
                      <a:pt x="0" y="303"/>
                      <a:pt x="142" y="134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" name="Freeform 53">
                <a:extLst>
                  <a:ext uri="{FF2B5EF4-FFF2-40B4-BE49-F238E27FC236}">
                    <a16:creationId xmlns:a16="http://schemas.microsoft.com/office/drawing/2014/main" id="{16413F5E-70EB-47F8-8FC2-807885A30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5" y="2743"/>
                <a:ext cx="374" cy="361"/>
              </a:xfrm>
              <a:custGeom>
                <a:avLst/>
                <a:gdLst>
                  <a:gd name="T0" fmla="*/ 127 w 684"/>
                  <a:gd name="T1" fmla="*/ 177 h 661"/>
                  <a:gd name="T2" fmla="*/ 314 w 684"/>
                  <a:gd name="T3" fmla="*/ 49 h 661"/>
                  <a:gd name="T4" fmla="*/ 390 w 684"/>
                  <a:gd name="T5" fmla="*/ 69 h 661"/>
                  <a:gd name="T6" fmla="*/ 533 w 684"/>
                  <a:gd name="T7" fmla="*/ 62 h 661"/>
                  <a:gd name="T8" fmla="*/ 557 w 684"/>
                  <a:gd name="T9" fmla="*/ 510 h 661"/>
                  <a:gd name="T10" fmla="*/ 161 w 684"/>
                  <a:gd name="T11" fmla="*/ 506 h 661"/>
                  <a:gd name="T12" fmla="*/ 127 w 684"/>
                  <a:gd name="T13" fmla="*/ 177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4" h="661">
                    <a:moveTo>
                      <a:pt x="127" y="177"/>
                    </a:moveTo>
                    <a:cubicBezTo>
                      <a:pt x="187" y="105"/>
                      <a:pt x="248" y="45"/>
                      <a:pt x="314" y="49"/>
                    </a:cubicBezTo>
                    <a:cubicBezTo>
                      <a:pt x="345" y="51"/>
                      <a:pt x="356" y="62"/>
                      <a:pt x="390" y="69"/>
                    </a:cubicBezTo>
                    <a:cubicBezTo>
                      <a:pt x="437" y="79"/>
                      <a:pt x="456" y="0"/>
                      <a:pt x="533" y="62"/>
                    </a:cubicBezTo>
                    <a:cubicBezTo>
                      <a:pt x="663" y="170"/>
                      <a:pt x="684" y="358"/>
                      <a:pt x="557" y="510"/>
                    </a:cubicBezTo>
                    <a:cubicBezTo>
                      <a:pt x="430" y="661"/>
                      <a:pt x="290" y="614"/>
                      <a:pt x="161" y="506"/>
                    </a:cubicBezTo>
                    <a:cubicBezTo>
                      <a:pt x="31" y="397"/>
                      <a:pt x="0" y="328"/>
                      <a:pt x="127" y="177"/>
                    </a:cubicBezTo>
                    <a:close/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" name="Freeform 54">
                <a:extLst>
                  <a:ext uri="{FF2B5EF4-FFF2-40B4-BE49-F238E27FC236}">
                    <a16:creationId xmlns:a16="http://schemas.microsoft.com/office/drawing/2014/main" id="{E75F928F-EF38-4B9F-AB97-0B873C8BDA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" y="2713"/>
                <a:ext cx="81" cy="80"/>
              </a:xfrm>
              <a:custGeom>
                <a:avLst/>
                <a:gdLst>
                  <a:gd name="T0" fmla="*/ 141 w 147"/>
                  <a:gd name="T1" fmla="*/ 61 h 147"/>
                  <a:gd name="T2" fmla="*/ 126 w 147"/>
                  <a:gd name="T3" fmla="*/ 147 h 147"/>
                  <a:gd name="T4" fmla="*/ 0 w 147"/>
                  <a:gd name="T5" fmla="*/ 41 h 147"/>
                  <a:gd name="T6" fmla="*/ 82 w 147"/>
                  <a:gd name="T7" fmla="*/ 11 h 147"/>
                  <a:gd name="T8" fmla="*/ 141 w 147"/>
                  <a:gd name="T9" fmla="*/ 61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7" h="147">
                    <a:moveTo>
                      <a:pt x="141" y="61"/>
                    </a:moveTo>
                    <a:cubicBezTo>
                      <a:pt x="126" y="147"/>
                      <a:pt x="126" y="147"/>
                      <a:pt x="126" y="147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114" y="0"/>
                      <a:pt x="147" y="27"/>
                      <a:pt x="141" y="61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" name="Freeform 55">
                <a:extLst>
                  <a:ext uri="{FF2B5EF4-FFF2-40B4-BE49-F238E27FC236}">
                    <a16:creationId xmlns:a16="http://schemas.microsoft.com/office/drawing/2014/main" id="{0ACBDDBE-62B5-4CC6-966D-5C280ABF8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4" y="483"/>
                <a:ext cx="539" cy="661"/>
              </a:xfrm>
              <a:custGeom>
                <a:avLst/>
                <a:gdLst>
                  <a:gd name="T0" fmla="*/ 829 w 986"/>
                  <a:gd name="T1" fmla="*/ 1211 h 1211"/>
                  <a:gd name="T2" fmla="*/ 547 w 986"/>
                  <a:gd name="T3" fmla="*/ 1211 h 1211"/>
                  <a:gd name="T4" fmla="*/ 522 w 986"/>
                  <a:gd name="T5" fmla="*/ 383 h 1211"/>
                  <a:gd name="T6" fmla="*/ 490 w 986"/>
                  <a:gd name="T7" fmla="*/ 181 h 1211"/>
                  <a:gd name="T8" fmla="*/ 467 w 986"/>
                  <a:gd name="T9" fmla="*/ 367 h 1211"/>
                  <a:gd name="T10" fmla="*/ 454 w 986"/>
                  <a:gd name="T11" fmla="*/ 1211 h 1211"/>
                  <a:gd name="T12" fmla="*/ 145 w 986"/>
                  <a:gd name="T13" fmla="*/ 1211 h 1211"/>
                  <a:gd name="T14" fmla="*/ 66 w 986"/>
                  <a:gd name="T15" fmla="*/ 124 h 1211"/>
                  <a:gd name="T16" fmla="*/ 908 w 986"/>
                  <a:gd name="T17" fmla="*/ 124 h 1211"/>
                  <a:gd name="T18" fmla="*/ 829 w 986"/>
                  <a:gd name="T19" fmla="*/ 1211 h 1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86" h="1211">
                    <a:moveTo>
                      <a:pt x="829" y="1211"/>
                    </a:moveTo>
                    <a:cubicBezTo>
                      <a:pt x="547" y="1211"/>
                      <a:pt x="547" y="1211"/>
                      <a:pt x="547" y="1211"/>
                    </a:cubicBezTo>
                    <a:cubicBezTo>
                      <a:pt x="547" y="1211"/>
                      <a:pt x="543" y="683"/>
                      <a:pt x="522" y="383"/>
                    </a:cubicBezTo>
                    <a:cubicBezTo>
                      <a:pt x="514" y="264"/>
                      <a:pt x="504" y="181"/>
                      <a:pt x="490" y="181"/>
                    </a:cubicBezTo>
                    <a:cubicBezTo>
                      <a:pt x="480" y="181"/>
                      <a:pt x="472" y="257"/>
                      <a:pt x="467" y="367"/>
                    </a:cubicBezTo>
                    <a:cubicBezTo>
                      <a:pt x="453" y="664"/>
                      <a:pt x="454" y="1211"/>
                      <a:pt x="454" y="1211"/>
                    </a:cubicBezTo>
                    <a:cubicBezTo>
                      <a:pt x="145" y="1211"/>
                      <a:pt x="145" y="1211"/>
                      <a:pt x="145" y="1211"/>
                    </a:cubicBezTo>
                    <a:cubicBezTo>
                      <a:pt x="145" y="1211"/>
                      <a:pt x="0" y="178"/>
                      <a:pt x="66" y="124"/>
                    </a:cubicBezTo>
                    <a:cubicBezTo>
                      <a:pt x="210" y="4"/>
                      <a:pt x="777" y="0"/>
                      <a:pt x="908" y="124"/>
                    </a:cubicBezTo>
                    <a:cubicBezTo>
                      <a:pt x="986" y="198"/>
                      <a:pt x="829" y="1211"/>
                      <a:pt x="829" y="1211"/>
                    </a:cubicBezTo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" name="Freeform 56">
                <a:extLst>
                  <a:ext uri="{FF2B5EF4-FFF2-40B4-BE49-F238E27FC236}">
                    <a16:creationId xmlns:a16="http://schemas.microsoft.com/office/drawing/2014/main" id="{3E45DEE8-5703-4681-8B7A-92708FAFC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9" y="483"/>
                <a:ext cx="491" cy="338"/>
              </a:xfrm>
              <a:custGeom>
                <a:avLst/>
                <a:gdLst>
                  <a:gd name="T0" fmla="*/ 860 w 897"/>
                  <a:gd name="T1" fmla="*/ 619 h 619"/>
                  <a:gd name="T2" fmla="*/ 481 w 897"/>
                  <a:gd name="T3" fmla="*/ 463 h 619"/>
                  <a:gd name="T4" fmla="*/ 476 w 897"/>
                  <a:gd name="T5" fmla="*/ 383 h 619"/>
                  <a:gd name="T6" fmla="*/ 444 w 897"/>
                  <a:gd name="T7" fmla="*/ 181 h 619"/>
                  <a:gd name="T8" fmla="*/ 421 w 897"/>
                  <a:gd name="T9" fmla="*/ 368 h 619"/>
                  <a:gd name="T10" fmla="*/ 418 w 897"/>
                  <a:gd name="T11" fmla="*/ 440 h 619"/>
                  <a:gd name="T12" fmla="*/ 4 w 897"/>
                  <a:gd name="T13" fmla="*/ 313 h 619"/>
                  <a:gd name="T14" fmla="*/ 20 w 897"/>
                  <a:gd name="T15" fmla="*/ 124 h 619"/>
                  <a:gd name="T16" fmla="*/ 862 w 897"/>
                  <a:gd name="T17" fmla="*/ 124 h 619"/>
                  <a:gd name="T18" fmla="*/ 860 w 897"/>
                  <a:gd name="T19" fmla="*/ 619 h 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97" h="619">
                    <a:moveTo>
                      <a:pt x="860" y="619"/>
                    </a:moveTo>
                    <a:cubicBezTo>
                      <a:pt x="739" y="566"/>
                      <a:pt x="609" y="512"/>
                      <a:pt x="481" y="463"/>
                    </a:cubicBezTo>
                    <a:cubicBezTo>
                      <a:pt x="480" y="435"/>
                      <a:pt x="478" y="408"/>
                      <a:pt x="476" y="383"/>
                    </a:cubicBezTo>
                    <a:cubicBezTo>
                      <a:pt x="468" y="264"/>
                      <a:pt x="458" y="181"/>
                      <a:pt x="444" y="181"/>
                    </a:cubicBezTo>
                    <a:cubicBezTo>
                      <a:pt x="434" y="181"/>
                      <a:pt x="427" y="257"/>
                      <a:pt x="421" y="368"/>
                    </a:cubicBezTo>
                    <a:cubicBezTo>
                      <a:pt x="420" y="390"/>
                      <a:pt x="419" y="414"/>
                      <a:pt x="418" y="440"/>
                    </a:cubicBezTo>
                    <a:cubicBezTo>
                      <a:pt x="268" y="384"/>
                      <a:pt x="123" y="338"/>
                      <a:pt x="4" y="313"/>
                    </a:cubicBezTo>
                    <a:cubicBezTo>
                      <a:pt x="0" y="210"/>
                      <a:pt x="4" y="137"/>
                      <a:pt x="20" y="124"/>
                    </a:cubicBezTo>
                    <a:cubicBezTo>
                      <a:pt x="164" y="4"/>
                      <a:pt x="732" y="0"/>
                      <a:pt x="862" y="124"/>
                    </a:cubicBezTo>
                    <a:cubicBezTo>
                      <a:pt x="897" y="157"/>
                      <a:pt x="885" y="382"/>
                      <a:pt x="860" y="619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" name="Freeform 57">
                <a:extLst>
                  <a:ext uri="{FF2B5EF4-FFF2-40B4-BE49-F238E27FC236}">
                    <a16:creationId xmlns:a16="http://schemas.microsoft.com/office/drawing/2014/main" id="{CA8A355B-9D21-439E-970A-3C7BF16F38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4" y="307"/>
                <a:ext cx="677" cy="203"/>
              </a:xfrm>
              <a:custGeom>
                <a:avLst/>
                <a:gdLst>
                  <a:gd name="T0" fmla="*/ 1236 w 1236"/>
                  <a:gd name="T1" fmla="*/ 372 h 372"/>
                  <a:gd name="T2" fmla="*/ 0 w 1236"/>
                  <a:gd name="T3" fmla="*/ 372 h 372"/>
                  <a:gd name="T4" fmla="*/ 0 w 1236"/>
                  <a:gd name="T5" fmla="*/ 215 h 372"/>
                  <a:gd name="T6" fmla="*/ 618 w 1236"/>
                  <a:gd name="T7" fmla="*/ 0 h 372"/>
                  <a:gd name="T8" fmla="*/ 1236 w 1236"/>
                  <a:gd name="T9" fmla="*/ 215 h 372"/>
                  <a:gd name="T10" fmla="*/ 1236 w 1236"/>
                  <a:gd name="T11" fmla="*/ 372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36" h="372">
                    <a:moveTo>
                      <a:pt x="1236" y="372"/>
                    </a:moveTo>
                    <a:cubicBezTo>
                      <a:pt x="0" y="372"/>
                      <a:pt x="0" y="372"/>
                      <a:pt x="0" y="372"/>
                    </a:cubicBezTo>
                    <a:cubicBezTo>
                      <a:pt x="0" y="215"/>
                      <a:pt x="0" y="215"/>
                      <a:pt x="0" y="215"/>
                    </a:cubicBezTo>
                    <a:cubicBezTo>
                      <a:pt x="0" y="98"/>
                      <a:pt x="241" y="0"/>
                      <a:pt x="618" y="0"/>
                    </a:cubicBezTo>
                    <a:cubicBezTo>
                      <a:pt x="1016" y="0"/>
                      <a:pt x="1236" y="98"/>
                      <a:pt x="1236" y="215"/>
                    </a:cubicBezTo>
                    <a:cubicBezTo>
                      <a:pt x="1236" y="241"/>
                      <a:pt x="1236" y="372"/>
                      <a:pt x="1236" y="372"/>
                    </a:cubicBez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" name="Freeform 58">
                <a:extLst>
                  <a:ext uri="{FF2B5EF4-FFF2-40B4-BE49-F238E27FC236}">
                    <a16:creationId xmlns:a16="http://schemas.microsoft.com/office/drawing/2014/main" id="{DC4A0D5B-0F11-490A-9B0A-FDDD55100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457"/>
                <a:ext cx="594" cy="159"/>
              </a:xfrm>
              <a:custGeom>
                <a:avLst/>
                <a:gdLst>
                  <a:gd name="T0" fmla="*/ 779 w 1084"/>
                  <a:gd name="T1" fmla="*/ 290 h 292"/>
                  <a:gd name="T2" fmla="*/ 305 w 1084"/>
                  <a:gd name="T3" fmla="*/ 290 h 292"/>
                  <a:gd name="T4" fmla="*/ 79 w 1084"/>
                  <a:gd name="T5" fmla="*/ 139 h 292"/>
                  <a:gd name="T6" fmla="*/ 0 w 1084"/>
                  <a:gd name="T7" fmla="*/ 0 h 292"/>
                  <a:gd name="T8" fmla="*/ 1084 w 1084"/>
                  <a:gd name="T9" fmla="*/ 0 h 292"/>
                  <a:gd name="T10" fmla="*/ 1004 w 1084"/>
                  <a:gd name="T11" fmla="*/ 139 h 292"/>
                  <a:gd name="T12" fmla="*/ 779 w 1084"/>
                  <a:gd name="T13" fmla="*/ 290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4" h="292">
                    <a:moveTo>
                      <a:pt x="779" y="290"/>
                    </a:moveTo>
                    <a:cubicBezTo>
                      <a:pt x="660" y="292"/>
                      <a:pt x="423" y="292"/>
                      <a:pt x="305" y="290"/>
                    </a:cubicBezTo>
                    <a:cubicBezTo>
                      <a:pt x="231" y="289"/>
                      <a:pt x="121" y="248"/>
                      <a:pt x="79" y="13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84" y="0"/>
                      <a:pt x="1084" y="0"/>
                      <a:pt x="1084" y="0"/>
                    </a:cubicBezTo>
                    <a:cubicBezTo>
                      <a:pt x="1004" y="139"/>
                      <a:pt x="1004" y="139"/>
                      <a:pt x="1004" y="139"/>
                    </a:cubicBezTo>
                    <a:cubicBezTo>
                      <a:pt x="962" y="248"/>
                      <a:pt x="852" y="289"/>
                      <a:pt x="779" y="290"/>
                    </a:cubicBez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" name="Oval 59">
                <a:extLst>
                  <a:ext uri="{FF2B5EF4-FFF2-40B4-BE49-F238E27FC236}">
                    <a16:creationId xmlns:a16="http://schemas.microsoft.com/office/drawing/2014/main" id="{5CDC4DDA-8AAE-415B-9754-A891090942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4" y="276"/>
                <a:ext cx="351" cy="363"/>
              </a:xfrm>
              <a:prstGeom prst="ellipse">
                <a:avLst/>
              </a:pr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" name="Freeform 60">
                <a:extLst>
                  <a:ext uri="{FF2B5EF4-FFF2-40B4-BE49-F238E27FC236}">
                    <a16:creationId xmlns:a16="http://schemas.microsoft.com/office/drawing/2014/main" id="{4B8D1EE1-05D8-4061-86E9-A3E4EBF86C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0" y="616"/>
                <a:ext cx="60" cy="64"/>
              </a:xfrm>
              <a:custGeom>
                <a:avLst/>
                <a:gdLst>
                  <a:gd name="T0" fmla="*/ 29 w 109"/>
                  <a:gd name="T1" fmla="*/ 87 h 117"/>
                  <a:gd name="T2" fmla="*/ 0 w 109"/>
                  <a:gd name="T3" fmla="*/ 0 h 117"/>
                  <a:gd name="T4" fmla="*/ 109 w 109"/>
                  <a:gd name="T5" fmla="*/ 0 h 117"/>
                  <a:gd name="T6" fmla="*/ 80 w 109"/>
                  <a:gd name="T7" fmla="*/ 87 h 117"/>
                  <a:gd name="T8" fmla="*/ 29 w 109"/>
                  <a:gd name="T9" fmla="*/ 8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117">
                    <a:moveTo>
                      <a:pt x="29" y="87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80" y="87"/>
                      <a:pt x="80" y="87"/>
                      <a:pt x="80" y="87"/>
                    </a:cubicBezTo>
                    <a:cubicBezTo>
                      <a:pt x="69" y="117"/>
                      <a:pt x="40" y="117"/>
                      <a:pt x="29" y="87"/>
                    </a:cubicBezTo>
                    <a:close/>
                  </a:path>
                </a:pathLst>
              </a:custGeom>
              <a:solidFill>
                <a:srgbClr val="F9C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" name="Freeform 61">
                <a:extLst>
                  <a:ext uri="{FF2B5EF4-FFF2-40B4-BE49-F238E27FC236}">
                    <a16:creationId xmlns:a16="http://schemas.microsoft.com/office/drawing/2014/main" id="{E0D4A6BA-7474-4B01-8437-09FEB68DE2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265"/>
                <a:ext cx="373" cy="369"/>
              </a:xfrm>
              <a:custGeom>
                <a:avLst/>
                <a:gdLst>
                  <a:gd name="T0" fmla="*/ 682 w 682"/>
                  <a:gd name="T1" fmla="*/ 280 h 676"/>
                  <a:gd name="T2" fmla="*/ 341 w 682"/>
                  <a:gd name="T3" fmla="*/ 0 h 676"/>
                  <a:gd name="T4" fmla="*/ 0 w 682"/>
                  <a:gd name="T5" fmla="*/ 280 h 676"/>
                  <a:gd name="T6" fmla="*/ 219 w 682"/>
                  <a:gd name="T7" fmla="*/ 610 h 676"/>
                  <a:gd name="T8" fmla="*/ 219 w 682"/>
                  <a:gd name="T9" fmla="*/ 610 h 676"/>
                  <a:gd name="T10" fmla="*/ 222 w 682"/>
                  <a:gd name="T11" fmla="*/ 611 h 676"/>
                  <a:gd name="T12" fmla="*/ 224 w 682"/>
                  <a:gd name="T13" fmla="*/ 612 h 676"/>
                  <a:gd name="T14" fmla="*/ 270 w 682"/>
                  <a:gd name="T15" fmla="*/ 676 h 676"/>
                  <a:gd name="T16" fmla="*/ 389 w 682"/>
                  <a:gd name="T17" fmla="*/ 623 h 676"/>
                  <a:gd name="T18" fmla="*/ 391 w 682"/>
                  <a:gd name="T19" fmla="*/ 623 h 676"/>
                  <a:gd name="T20" fmla="*/ 374 w 682"/>
                  <a:gd name="T21" fmla="*/ 652 h 676"/>
                  <a:gd name="T22" fmla="*/ 473 w 682"/>
                  <a:gd name="T23" fmla="*/ 599 h 676"/>
                  <a:gd name="T24" fmla="*/ 473 w 682"/>
                  <a:gd name="T25" fmla="*/ 627 h 676"/>
                  <a:gd name="T26" fmla="*/ 628 w 682"/>
                  <a:gd name="T27" fmla="*/ 489 h 676"/>
                  <a:gd name="T28" fmla="*/ 627 w 682"/>
                  <a:gd name="T29" fmla="*/ 489 h 676"/>
                  <a:gd name="T30" fmla="*/ 682 w 682"/>
                  <a:gd name="T31" fmla="*/ 280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82" h="676">
                    <a:moveTo>
                      <a:pt x="682" y="280"/>
                    </a:moveTo>
                    <a:cubicBezTo>
                      <a:pt x="682" y="59"/>
                      <a:pt x="530" y="0"/>
                      <a:pt x="341" y="0"/>
                    </a:cubicBezTo>
                    <a:cubicBezTo>
                      <a:pt x="153" y="0"/>
                      <a:pt x="0" y="59"/>
                      <a:pt x="0" y="280"/>
                    </a:cubicBezTo>
                    <a:cubicBezTo>
                      <a:pt x="0" y="450"/>
                      <a:pt x="91" y="566"/>
                      <a:pt x="219" y="610"/>
                    </a:cubicBezTo>
                    <a:cubicBezTo>
                      <a:pt x="219" y="610"/>
                      <a:pt x="219" y="610"/>
                      <a:pt x="219" y="610"/>
                    </a:cubicBezTo>
                    <a:cubicBezTo>
                      <a:pt x="219" y="610"/>
                      <a:pt x="220" y="610"/>
                      <a:pt x="222" y="611"/>
                    </a:cubicBezTo>
                    <a:cubicBezTo>
                      <a:pt x="223" y="611"/>
                      <a:pt x="224" y="611"/>
                      <a:pt x="224" y="612"/>
                    </a:cubicBezTo>
                    <a:cubicBezTo>
                      <a:pt x="243" y="618"/>
                      <a:pt x="303" y="642"/>
                      <a:pt x="270" y="676"/>
                    </a:cubicBezTo>
                    <a:cubicBezTo>
                      <a:pt x="389" y="623"/>
                      <a:pt x="389" y="623"/>
                      <a:pt x="389" y="623"/>
                    </a:cubicBezTo>
                    <a:cubicBezTo>
                      <a:pt x="390" y="623"/>
                      <a:pt x="390" y="623"/>
                      <a:pt x="391" y="623"/>
                    </a:cubicBezTo>
                    <a:cubicBezTo>
                      <a:pt x="392" y="624"/>
                      <a:pt x="396" y="629"/>
                      <a:pt x="374" y="652"/>
                    </a:cubicBezTo>
                    <a:cubicBezTo>
                      <a:pt x="407" y="656"/>
                      <a:pt x="473" y="599"/>
                      <a:pt x="473" y="599"/>
                    </a:cubicBezTo>
                    <a:cubicBezTo>
                      <a:pt x="473" y="599"/>
                      <a:pt x="483" y="608"/>
                      <a:pt x="473" y="627"/>
                    </a:cubicBezTo>
                    <a:cubicBezTo>
                      <a:pt x="541" y="602"/>
                      <a:pt x="628" y="489"/>
                      <a:pt x="628" y="489"/>
                    </a:cubicBezTo>
                    <a:cubicBezTo>
                      <a:pt x="627" y="489"/>
                      <a:pt x="627" y="489"/>
                      <a:pt x="627" y="489"/>
                    </a:cubicBezTo>
                    <a:cubicBezTo>
                      <a:pt x="664" y="439"/>
                      <a:pt x="682" y="362"/>
                      <a:pt x="682" y="280"/>
                    </a:cubicBezTo>
                    <a:close/>
                  </a:path>
                </a:pathLst>
              </a:custGeom>
              <a:solidFill>
                <a:srgbClr val="4D2C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" name="Freeform 62">
                <a:extLst>
                  <a:ext uri="{FF2B5EF4-FFF2-40B4-BE49-F238E27FC236}">
                    <a16:creationId xmlns:a16="http://schemas.microsoft.com/office/drawing/2014/main" id="{37BBF909-DFAC-47A1-92AB-4DA38E887F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5" y="287"/>
                <a:ext cx="321" cy="332"/>
              </a:xfrm>
              <a:custGeom>
                <a:avLst/>
                <a:gdLst>
                  <a:gd name="T0" fmla="*/ 580 w 585"/>
                  <a:gd name="T1" fmla="*/ 240 h 608"/>
                  <a:gd name="T2" fmla="*/ 300 w 585"/>
                  <a:gd name="T3" fmla="*/ 0 h 608"/>
                  <a:gd name="T4" fmla="*/ 0 w 585"/>
                  <a:gd name="T5" fmla="*/ 247 h 608"/>
                  <a:gd name="T6" fmla="*/ 193 w 585"/>
                  <a:gd name="T7" fmla="*/ 538 h 608"/>
                  <a:gd name="T8" fmla="*/ 193 w 585"/>
                  <a:gd name="T9" fmla="*/ 538 h 608"/>
                  <a:gd name="T10" fmla="*/ 195 w 585"/>
                  <a:gd name="T11" fmla="*/ 538 h 608"/>
                  <a:gd name="T12" fmla="*/ 197 w 585"/>
                  <a:gd name="T13" fmla="*/ 539 h 608"/>
                  <a:gd name="T14" fmla="*/ 255 w 585"/>
                  <a:gd name="T15" fmla="*/ 608 h 608"/>
                  <a:gd name="T16" fmla="*/ 377 w 585"/>
                  <a:gd name="T17" fmla="*/ 550 h 608"/>
                  <a:gd name="T18" fmla="*/ 364 w 585"/>
                  <a:gd name="T19" fmla="*/ 575 h 608"/>
                  <a:gd name="T20" fmla="*/ 451 w 585"/>
                  <a:gd name="T21" fmla="*/ 528 h 608"/>
                  <a:gd name="T22" fmla="*/ 451 w 585"/>
                  <a:gd name="T23" fmla="*/ 553 h 608"/>
                  <a:gd name="T24" fmla="*/ 580 w 585"/>
                  <a:gd name="T25" fmla="*/ 24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5" h="608">
                    <a:moveTo>
                      <a:pt x="580" y="240"/>
                    </a:moveTo>
                    <a:cubicBezTo>
                      <a:pt x="580" y="46"/>
                      <a:pt x="466" y="0"/>
                      <a:pt x="300" y="0"/>
                    </a:cubicBezTo>
                    <a:cubicBezTo>
                      <a:pt x="134" y="0"/>
                      <a:pt x="0" y="52"/>
                      <a:pt x="0" y="247"/>
                    </a:cubicBezTo>
                    <a:cubicBezTo>
                      <a:pt x="0" y="397"/>
                      <a:pt x="80" y="499"/>
                      <a:pt x="193" y="538"/>
                    </a:cubicBezTo>
                    <a:cubicBezTo>
                      <a:pt x="193" y="538"/>
                      <a:pt x="193" y="538"/>
                      <a:pt x="193" y="538"/>
                    </a:cubicBezTo>
                    <a:cubicBezTo>
                      <a:pt x="193" y="538"/>
                      <a:pt x="194" y="538"/>
                      <a:pt x="195" y="538"/>
                    </a:cubicBezTo>
                    <a:cubicBezTo>
                      <a:pt x="196" y="539"/>
                      <a:pt x="197" y="539"/>
                      <a:pt x="197" y="539"/>
                    </a:cubicBezTo>
                    <a:cubicBezTo>
                      <a:pt x="214" y="545"/>
                      <a:pt x="284" y="578"/>
                      <a:pt x="255" y="608"/>
                    </a:cubicBezTo>
                    <a:cubicBezTo>
                      <a:pt x="377" y="550"/>
                      <a:pt x="377" y="550"/>
                      <a:pt x="377" y="550"/>
                    </a:cubicBezTo>
                    <a:cubicBezTo>
                      <a:pt x="378" y="549"/>
                      <a:pt x="384" y="554"/>
                      <a:pt x="364" y="575"/>
                    </a:cubicBezTo>
                    <a:cubicBezTo>
                      <a:pt x="393" y="578"/>
                      <a:pt x="451" y="528"/>
                      <a:pt x="451" y="528"/>
                    </a:cubicBezTo>
                    <a:cubicBezTo>
                      <a:pt x="451" y="528"/>
                      <a:pt x="460" y="536"/>
                      <a:pt x="451" y="553"/>
                    </a:cubicBezTo>
                    <a:cubicBezTo>
                      <a:pt x="585" y="493"/>
                      <a:pt x="580" y="313"/>
                      <a:pt x="580" y="240"/>
                    </a:cubicBezTo>
                    <a:close/>
                  </a:path>
                </a:pathLst>
              </a:custGeom>
              <a:solidFill>
                <a:srgbClr val="693F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5" name="Oval 63">
                <a:extLst>
                  <a:ext uri="{FF2B5EF4-FFF2-40B4-BE49-F238E27FC236}">
                    <a16:creationId xmlns:a16="http://schemas.microsoft.com/office/drawing/2014/main" id="{188D2966-B231-47E6-83EA-4D27EE129C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7" y="801"/>
                <a:ext cx="2066" cy="2060"/>
              </a:xfrm>
              <a:prstGeom prst="ellipse">
                <a:avLst/>
              </a:prstGeom>
              <a:solidFill>
                <a:srgbClr val="BF9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6" name="Freeform 64">
                <a:extLst>
                  <a:ext uri="{FF2B5EF4-FFF2-40B4-BE49-F238E27FC236}">
                    <a16:creationId xmlns:a16="http://schemas.microsoft.com/office/drawing/2014/main" id="{FEA5E51C-5F1F-42EF-899C-89BC399171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1" y="1900"/>
                <a:ext cx="164" cy="226"/>
              </a:xfrm>
              <a:custGeom>
                <a:avLst/>
                <a:gdLst>
                  <a:gd name="T0" fmla="*/ 57 w 299"/>
                  <a:gd name="T1" fmla="*/ 19 h 414"/>
                  <a:gd name="T2" fmla="*/ 57 w 299"/>
                  <a:gd name="T3" fmla="*/ 19 h 414"/>
                  <a:gd name="T4" fmla="*/ 163 w 299"/>
                  <a:gd name="T5" fmla="*/ 57 h 414"/>
                  <a:gd name="T6" fmla="*/ 299 w 299"/>
                  <a:gd name="T7" fmla="*/ 346 h 414"/>
                  <a:gd name="T8" fmla="*/ 154 w 299"/>
                  <a:gd name="T9" fmla="*/ 414 h 414"/>
                  <a:gd name="T10" fmla="*/ 18 w 299"/>
                  <a:gd name="T11" fmla="*/ 125 h 414"/>
                  <a:gd name="T12" fmla="*/ 57 w 299"/>
                  <a:gd name="T13" fmla="*/ 19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9" h="414">
                    <a:moveTo>
                      <a:pt x="57" y="19"/>
                    </a:moveTo>
                    <a:cubicBezTo>
                      <a:pt x="57" y="19"/>
                      <a:pt x="57" y="19"/>
                      <a:pt x="57" y="19"/>
                    </a:cubicBezTo>
                    <a:cubicBezTo>
                      <a:pt x="97" y="0"/>
                      <a:pt x="145" y="17"/>
                      <a:pt x="163" y="57"/>
                    </a:cubicBezTo>
                    <a:cubicBezTo>
                      <a:pt x="299" y="346"/>
                      <a:pt x="299" y="346"/>
                      <a:pt x="299" y="346"/>
                    </a:cubicBezTo>
                    <a:cubicBezTo>
                      <a:pt x="154" y="414"/>
                      <a:pt x="154" y="414"/>
                      <a:pt x="154" y="414"/>
                    </a:cubicBezTo>
                    <a:cubicBezTo>
                      <a:pt x="18" y="125"/>
                      <a:pt x="18" y="125"/>
                      <a:pt x="18" y="125"/>
                    </a:cubicBezTo>
                    <a:cubicBezTo>
                      <a:pt x="0" y="85"/>
                      <a:pt x="17" y="37"/>
                      <a:pt x="57" y="1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7" name="Freeform 65">
                <a:extLst>
                  <a:ext uri="{FF2B5EF4-FFF2-40B4-BE49-F238E27FC236}">
                    <a16:creationId xmlns:a16="http://schemas.microsoft.com/office/drawing/2014/main" id="{D8AA0FF3-A2EA-4F2E-9F53-D1719123F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063"/>
                <a:ext cx="74" cy="51"/>
              </a:xfrm>
              <a:custGeom>
                <a:avLst/>
                <a:gdLst>
                  <a:gd name="T0" fmla="*/ 0 w 74"/>
                  <a:gd name="T1" fmla="*/ 30 h 51"/>
                  <a:gd name="T2" fmla="*/ 64 w 74"/>
                  <a:gd name="T3" fmla="*/ 0 h 51"/>
                  <a:gd name="T4" fmla="*/ 74 w 74"/>
                  <a:gd name="T5" fmla="*/ 21 h 51"/>
                  <a:gd name="T6" fmla="*/ 11 w 74"/>
                  <a:gd name="T7" fmla="*/ 51 h 51"/>
                  <a:gd name="T8" fmla="*/ 0 w 74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51">
                    <a:moveTo>
                      <a:pt x="0" y="30"/>
                    </a:moveTo>
                    <a:lnTo>
                      <a:pt x="64" y="0"/>
                    </a:lnTo>
                    <a:lnTo>
                      <a:pt x="74" y="21"/>
                    </a:lnTo>
                    <a:lnTo>
                      <a:pt x="11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BCAA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8" name="Freeform 66">
                <a:extLst>
                  <a:ext uri="{FF2B5EF4-FFF2-40B4-BE49-F238E27FC236}">
                    <a16:creationId xmlns:a16="http://schemas.microsoft.com/office/drawing/2014/main" id="{D550EDB7-E310-4FB2-9BFF-750F190654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8" y="2038"/>
                <a:ext cx="73" cy="50"/>
              </a:xfrm>
              <a:custGeom>
                <a:avLst/>
                <a:gdLst>
                  <a:gd name="T0" fmla="*/ 0 w 73"/>
                  <a:gd name="T1" fmla="*/ 30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3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30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188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9" name="Freeform 67">
                <a:extLst>
                  <a:ext uri="{FF2B5EF4-FFF2-40B4-BE49-F238E27FC236}">
                    <a16:creationId xmlns:a16="http://schemas.microsoft.com/office/drawing/2014/main" id="{A866751A-FCA4-4826-B6B7-D0B1FB4F8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6" y="2012"/>
                <a:ext cx="73" cy="51"/>
              </a:xfrm>
              <a:custGeom>
                <a:avLst/>
                <a:gdLst>
                  <a:gd name="T0" fmla="*/ 0 w 73"/>
                  <a:gd name="T1" fmla="*/ 30 h 51"/>
                  <a:gd name="T2" fmla="*/ 63 w 73"/>
                  <a:gd name="T3" fmla="*/ 0 h 51"/>
                  <a:gd name="T4" fmla="*/ 73 w 73"/>
                  <a:gd name="T5" fmla="*/ 22 h 51"/>
                  <a:gd name="T6" fmla="*/ 10 w 73"/>
                  <a:gd name="T7" fmla="*/ 51 h 51"/>
                  <a:gd name="T8" fmla="*/ 0 w 73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1">
                    <a:moveTo>
                      <a:pt x="0" y="30"/>
                    </a:moveTo>
                    <a:lnTo>
                      <a:pt x="63" y="0"/>
                    </a:lnTo>
                    <a:lnTo>
                      <a:pt x="73" y="22"/>
                    </a:lnTo>
                    <a:lnTo>
                      <a:pt x="10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0" name="Freeform 68">
                <a:extLst>
                  <a:ext uri="{FF2B5EF4-FFF2-40B4-BE49-F238E27FC236}">
                    <a16:creationId xmlns:a16="http://schemas.microsoft.com/office/drawing/2014/main" id="{63E9E06C-CEEA-4FB3-8304-6D15523FB3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987"/>
                <a:ext cx="73" cy="51"/>
              </a:xfrm>
              <a:custGeom>
                <a:avLst/>
                <a:gdLst>
                  <a:gd name="T0" fmla="*/ 0 w 73"/>
                  <a:gd name="T1" fmla="*/ 30 h 51"/>
                  <a:gd name="T2" fmla="*/ 63 w 73"/>
                  <a:gd name="T3" fmla="*/ 0 h 51"/>
                  <a:gd name="T4" fmla="*/ 73 w 73"/>
                  <a:gd name="T5" fmla="*/ 22 h 51"/>
                  <a:gd name="T6" fmla="*/ 10 w 73"/>
                  <a:gd name="T7" fmla="*/ 51 h 51"/>
                  <a:gd name="T8" fmla="*/ 0 w 73"/>
                  <a:gd name="T9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1">
                    <a:moveTo>
                      <a:pt x="0" y="30"/>
                    </a:moveTo>
                    <a:lnTo>
                      <a:pt x="63" y="0"/>
                    </a:lnTo>
                    <a:lnTo>
                      <a:pt x="73" y="22"/>
                    </a:lnTo>
                    <a:lnTo>
                      <a:pt x="10" y="51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1" name="Freeform 69">
                <a:extLst>
                  <a:ext uri="{FF2B5EF4-FFF2-40B4-BE49-F238E27FC236}">
                    <a16:creationId xmlns:a16="http://schemas.microsoft.com/office/drawing/2014/main" id="{3F5AB45A-6330-446D-A414-83F8338606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2" y="1962"/>
                <a:ext cx="73" cy="50"/>
              </a:xfrm>
              <a:custGeom>
                <a:avLst/>
                <a:gdLst>
                  <a:gd name="T0" fmla="*/ 0 w 73"/>
                  <a:gd name="T1" fmla="*/ 29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2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29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6D4C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2" name="Freeform 70">
                <a:extLst>
                  <a:ext uri="{FF2B5EF4-FFF2-40B4-BE49-F238E27FC236}">
                    <a16:creationId xmlns:a16="http://schemas.microsoft.com/office/drawing/2014/main" id="{4EA31756-E02D-44B9-B25A-CB91A1EACD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" y="1937"/>
                <a:ext cx="73" cy="50"/>
              </a:xfrm>
              <a:custGeom>
                <a:avLst/>
                <a:gdLst>
                  <a:gd name="T0" fmla="*/ 0 w 73"/>
                  <a:gd name="T1" fmla="*/ 29 h 50"/>
                  <a:gd name="T2" fmla="*/ 63 w 73"/>
                  <a:gd name="T3" fmla="*/ 0 h 50"/>
                  <a:gd name="T4" fmla="*/ 73 w 73"/>
                  <a:gd name="T5" fmla="*/ 21 h 50"/>
                  <a:gd name="T6" fmla="*/ 10 w 73"/>
                  <a:gd name="T7" fmla="*/ 50 h 50"/>
                  <a:gd name="T8" fmla="*/ 0 w 73"/>
                  <a:gd name="T9" fmla="*/ 2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50">
                    <a:moveTo>
                      <a:pt x="0" y="29"/>
                    </a:moveTo>
                    <a:lnTo>
                      <a:pt x="63" y="0"/>
                    </a:lnTo>
                    <a:lnTo>
                      <a:pt x="73" y="21"/>
                    </a:lnTo>
                    <a:lnTo>
                      <a:pt x="10" y="50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5D4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" name="Freeform 71">
                <a:extLst>
                  <a:ext uri="{FF2B5EF4-FFF2-40B4-BE49-F238E27FC236}">
                    <a16:creationId xmlns:a16="http://schemas.microsoft.com/office/drawing/2014/main" id="{BB3C6AE9-E14B-4FA2-817A-AD687EB49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3" y="1922"/>
                <a:ext cx="18" cy="18"/>
              </a:xfrm>
              <a:custGeom>
                <a:avLst/>
                <a:gdLst>
                  <a:gd name="T0" fmla="*/ 3 w 34"/>
                  <a:gd name="T1" fmla="*/ 23 h 34"/>
                  <a:gd name="T2" fmla="*/ 10 w 34"/>
                  <a:gd name="T3" fmla="*/ 3 h 34"/>
                  <a:gd name="T4" fmla="*/ 30 w 34"/>
                  <a:gd name="T5" fmla="*/ 10 h 34"/>
                  <a:gd name="T6" fmla="*/ 23 w 34"/>
                  <a:gd name="T7" fmla="*/ 30 h 34"/>
                  <a:gd name="T8" fmla="*/ 3 w 34"/>
                  <a:gd name="T9" fmla="*/ 2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3" y="23"/>
                    </a:moveTo>
                    <a:cubicBezTo>
                      <a:pt x="0" y="16"/>
                      <a:pt x="3" y="7"/>
                      <a:pt x="10" y="3"/>
                    </a:cubicBezTo>
                    <a:cubicBezTo>
                      <a:pt x="18" y="0"/>
                      <a:pt x="27" y="3"/>
                      <a:pt x="30" y="10"/>
                    </a:cubicBezTo>
                    <a:cubicBezTo>
                      <a:pt x="34" y="18"/>
                      <a:pt x="30" y="27"/>
                      <a:pt x="23" y="30"/>
                    </a:cubicBezTo>
                    <a:cubicBezTo>
                      <a:pt x="16" y="34"/>
                      <a:pt x="7" y="30"/>
                      <a:pt x="3" y="23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" name="Freeform 72">
                <a:extLst>
                  <a:ext uri="{FF2B5EF4-FFF2-40B4-BE49-F238E27FC236}">
                    <a16:creationId xmlns:a16="http://schemas.microsoft.com/office/drawing/2014/main" id="{6E07BE48-2D8D-415B-AE55-211D5AE4C3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3" y="1898"/>
                <a:ext cx="189" cy="215"/>
              </a:xfrm>
              <a:custGeom>
                <a:avLst/>
                <a:gdLst>
                  <a:gd name="T0" fmla="*/ 43 w 345"/>
                  <a:gd name="T1" fmla="*/ 26 h 394"/>
                  <a:gd name="T2" fmla="*/ 43 w 345"/>
                  <a:gd name="T3" fmla="*/ 26 h 394"/>
                  <a:gd name="T4" fmla="*/ 155 w 345"/>
                  <a:gd name="T5" fmla="*/ 42 h 394"/>
                  <a:gd name="T6" fmla="*/ 345 w 345"/>
                  <a:gd name="T7" fmla="*/ 298 h 394"/>
                  <a:gd name="T8" fmla="*/ 216 w 345"/>
                  <a:gd name="T9" fmla="*/ 394 h 394"/>
                  <a:gd name="T10" fmla="*/ 26 w 345"/>
                  <a:gd name="T11" fmla="*/ 138 h 394"/>
                  <a:gd name="T12" fmla="*/ 43 w 345"/>
                  <a:gd name="T13" fmla="*/ 26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5" h="394">
                    <a:moveTo>
                      <a:pt x="43" y="26"/>
                    </a:moveTo>
                    <a:cubicBezTo>
                      <a:pt x="43" y="26"/>
                      <a:pt x="43" y="26"/>
                      <a:pt x="43" y="26"/>
                    </a:cubicBezTo>
                    <a:cubicBezTo>
                      <a:pt x="78" y="0"/>
                      <a:pt x="128" y="7"/>
                      <a:pt x="155" y="42"/>
                    </a:cubicBezTo>
                    <a:cubicBezTo>
                      <a:pt x="345" y="298"/>
                      <a:pt x="345" y="298"/>
                      <a:pt x="345" y="298"/>
                    </a:cubicBezTo>
                    <a:cubicBezTo>
                      <a:pt x="216" y="394"/>
                      <a:pt x="216" y="394"/>
                      <a:pt x="216" y="394"/>
                    </a:cubicBezTo>
                    <a:cubicBezTo>
                      <a:pt x="26" y="138"/>
                      <a:pt x="26" y="138"/>
                      <a:pt x="26" y="138"/>
                    </a:cubicBezTo>
                    <a:cubicBezTo>
                      <a:pt x="0" y="103"/>
                      <a:pt x="7" y="52"/>
                      <a:pt x="43" y="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5" name="Freeform 73">
                <a:extLst>
                  <a:ext uri="{FF2B5EF4-FFF2-40B4-BE49-F238E27FC236}">
                    <a16:creationId xmlns:a16="http://schemas.microsoft.com/office/drawing/2014/main" id="{FDABCC91-CD3E-4CD6-B37E-A65595047B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9" y="2040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EF9A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6" name="Freeform 74">
                <a:extLst>
                  <a:ext uri="{FF2B5EF4-FFF2-40B4-BE49-F238E27FC236}">
                    <a16:creationId xmlns:a16="http://schemas.microsoft.com/office/drawing/2014/main" id="{9DC5DF73-1C1E-4DDB-BE34-3BA17DC6CB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" y="2017"/>
                <a:ext cx="69" cy="61"/>
              </a:xfrm>
              <a:custGeom>
                <a:avLst/>
                <a:gdLst>
                  <a:gd name="T0" fmla="*/ 0 w 69"/>
                  <a:gd name="T1" fmla="*/ 42 h 61"/>
                  <a:gd name="T2" fmla="*/ 55 w 69"/>
                  <a:gd name="T3" fmla="*/ 0 h 61"/>
                  <a:gd name="T4" fmla="*/ 69 w 69"/>
                  <a:gd name="T5" fmla="*/ 19 h 61"/>
                  <a:gd name="T6" fmla="*/ 13 w 69"/>
                  <a:gd name="T7" fmla="*/ 61 h 61"/>
                  <a:gd name="T8" fmla="*/ 0 w 69"/>
                  <a:gd name="T9" fmla="*/ 42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61">
                    <a:moveTo>
                      <a:pt x="0" y="42"/>
                    </a:moveTo>
                    <a:lnTo>
                      <a:pt x="55" y="0"/>
                    </a:lnTo>
                    <a:lnTo>
                      <a:pt x="69" y="19"/>
                    </a:lnTo>
                    <a:lnTo>
                      <a:pt x="13" y="61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E5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7" name="Freeform 75">
                <a:extLst>
                  <a:ext uri="{FF2B5EF4-FFF2-40B4-BE49-F238E27FC236}">
                    <a16:creationId xmlns:a16="http://schemas.microsoft.com/office/drawing/2014/main" id="{3D82EA04-162C-4821-AB9B-17ABD55BB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1995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5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5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EF53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8" name="Freeform 76">
                <a:extLst>
                  <a:ext uri="{FF2B5EF4-FFF2-40B4-BE49-F238E27FC236}">
                    <a16:creationId xmlns:a16="http://schemas.microsoft.com/office/drawing/2014/main" id="{28CC8D1F-AE39-450F-A7E5-476B29403E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9" y="1973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8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8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F443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9" name="Freeform 77">
                <a:extLst>
                  <a:ext uri="{FF2B5EF4-FFF2-40B4-BE49-F238E27FC236}">
                    <a16:creationId xmlns:a16="http://schemas.microsoft.com/office/drawing/2014/main" id="{88A4E00F-B1F9-4E35-926C-56F4E1AA82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1950"/>
                <a:ext cx="70" cy="60"/>
              </a:xfrm>
              <a:custGeom>
                <a:avLst/>
                <a:gdLst>
                  <a:gd name="T0" fmla="*/ 0 w 70"/>
                  <a:gd name="T1" fmla="*/ 42 h 60"/>
                  <a:gd name="T2" fmla="*/ 56 w 70"/>
                  <a:gd name="T3" fmla="*/ 0 h 60"/>
                  <a:gd name="T4" fmla="*/ 70 w 70"/>
                  <a:gd name="T5" fmla="*/ 19 h 60"/>
                  <a:gd name="T6" fmla="*/ 14 w 70"/>
                  <a:gd name="T7" fmla="*/ 60 h 60"/>
                  <a:gd name="T8" fmla="*/ 0 w 70"/>
                  <a:gd name="T9" fmla="*/ 4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2"/>
                    </a:moveTo>
                    <a:lnTo>
                      <a:pt x="56" y="0"/>
                    </a:lnTo>
                    <a:lnTo>
                      <a:pt x="70" y="19"/>
                    </a:lnTo>
                    <a:lnTo>
                      <a:pt x="14" y="60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E539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0" name="Freeform 78">
                <a:extLst>
                  <a:ext uri="{FF2B5EF4-FFF2-40B4-BE49-F238E27FC236}">
                    <a16:creationId xmlns:a16="http://schemas.microsoft.com/office/drawing/2014/main" id="{58396785-982C-4C73-8D52-781635E9E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5" y="1928"/>
                <a:ext cx="70" cy="60"/>
              </a:xfrm>
              <a:custGeom>
                <a:avLst/>
                <a:gdLst>
                  <a:gd name="T0" fmla="*/ 0 w 70"/>
                  <a:gd name="T1" fmla="*/ 41 h 60"/>
                  <a:gd name="T2" fmla="*/ 56 w 70"/>
                  <a:gd name="T3" fmla="*/ 0 h 60"/>
                  <a:gd name="T4" fmla="*/ 70 w 70"/>
                  <a:gd name="T5" fmla="*/ 18 h 60"/>
                  <a:gd name="T6" fmla="*/ 14 w 70"/>
                  <a:gd name="T7" fmla="*/ 60 h 60"/>
                  <a:gd name="T8" fmla="*/ 0 w 70"/>
                  <a:gd name="T9" fmla="*/ 4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0" y="41"/>
                    </a:moveTo>
                    <a:lnTo>
                      <a:pt x="56" y="0"/>
                    </a:lnTo>
                    <a:lnTo>
                      <a:pt x="70" y="18"/>
                    </a:lnTo>
                    <a:lnTo>
                      <a:pt x="14" y="60"/>
                    </a:ln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D3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1" name="Freeform 79">
                <a:extLst>
                  <a:ext uri="{FF2B5EF4-FFF2-40B4-BE49-F238E27FC236}">
                    <a16:creationId xmlns:a16="http://schemas.microsoft.com/office/drawing/2014/main" id="{6F7B70CB-6D3D-4E85-96E0-14A37BD6C2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1"/>
                <a:ext cx="18" cy="18"/>
              </a:xfrm>
              <a:custGeom>
                <a:avLst/>
                <a:gdLst>
                  <a:gd name="T0" fmla="*/ 5 w 34"/>
                  <a:gd name="T1" fmla="*/ 26 h 33"/>
                  <a:gd name="T2" fmla="*/ 8 w 34"/>
                  <a:gd name="T3" fmla="*/ 5 h 33"/>
                  <a:gd name="T4" fmla="*/ 29 w 34"/>
                  <a:gd name="T5" fmla="*/ 8 h 33"/>
                  <a:gd name="T6" fmla="*/ 26 w 34"/>
                  <a:gd name="T7" fmla="*/ 29 h 33"/>
                  <a:gd name="T8" fmla="*/ 5 w 34"/>
                  <a:gd name="T9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3">
                    <a:moveTo>
                      <a:pt x="5" y="26"/>
                    </a:moveTo>
                    <a:cubicBezTo>
                      <a:pt x="0" y="19"/>
                      <a:pt x="1" y="10"/>
                      <a:pt x="8" y="5"/>
                    </a:cubicBezTo>
                    <a:cubicBezTo>
                      <a:pt x="15" y="0"/>
                      <a:pt x="24" y="1"/>
                      <a:pt x="29" y="8"/>
                    </a:cubicBezTo>
                    <a:cubicBezTo>
                      <a:pt x="34" y="14"/>
                      <a:pt x="32" y="24"/>
                      <a:pt x="26" y="29"/>
                    </a:cubicBezTo>
                    <a:cubicBezTo>
                      <a:pt x="19" y="33"/>
                      <a:pt x="10" y="32"/>
                      <a:pt x="5" y="26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2" name="Freeform 80">
                <a:extLst>
                  <a:ext uri="{FF2B5EF4-FFF2-40B4-BE49-F238E27FC236}">
                    <a16:creationId xmlns:a16="http://schemas.microsoft.com/office/drawing/2014/main" id="{E22FA0C5-3AAF-496E-A5BF-274A3139C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2" y="1898"/>
                <a:ext cx="207" cy="198"/>
              </a:xfrm>
              <a:custGeom>
                <a:avLst/>
                <a:gdLst>
                  <a:gd name="T0" fmla="*/ 30 w 378"/>
                  <a:gd name="T1" fmla="*/ 35 h 363"/>
                  <a:gd name="T2" fmla="*/ 30 w 378"/>
                  <a:gd name="T3" fmla="*/ 35 h 363"/>
                  <a:gd name="T4" fmla="*/ 143 w 378"/>
                  <a:gd name="T5" fmla="*/ 30 h 363"/>
                  <a:gd name="T6" fmla="*/ 378 w 378"/>
                  <a:gd name="T7" fmla="*/ 245 h 363"/>
                  <a:gd name="T8" fmla="*/ 270 w 378"/>
                  <a:gd name="T9" fmla="*/ 363 h 363"/>
                  <a:gd name="T10" fmla="*/ 35 w 378"/>
                  <a:gd name="T11" fmla="*/ 149 h 363"/>
                  <a:gd name="T12" fmla="*/ 30 w 378"/>
                  <a:gd name="T13" fmla="*/ 35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8" h="363">
                    <a:moveTo>
                      <a:pt x="30" y="35"/>
                    </a:moveTo>
                    <a:cubicBezTo>
                      <a:pt x="30" y="35"/>
                      <a:pt x="30" y="35"/>
                      <a:pt x="30" y="35"/>
                    </a:cubicBezTo>
                    <a:cubicBezTo>
                      <a:pt x="59" y="3"/>
                      <a:pt x="110" y="0"/>
                      <a:pt x="143" y="30"/>
                    </a:cubicBezTo>
                    <a:cubicBezTo>
                      <a:pt x="378" y="245"/>
                      <a:pt x="378" y="245"/>
                      <a:pt x="378" y="245"/>
                    </a:cubicBezTo>
                    <a:cubicBezTo>
                      <a:pt x="270" y="363"/>
                      <a:pt x="270" y="363"/>
                      <a:pt x="270" y="363"/>
                    </a:cubicBezTo>
                    <a:cubicBezTo>
                      <a:pt x="35" y="149"/>
                      <a:pt x="35" y="149"/>
                      <a:pt x="35" y="149"/>
                    </a:cubicBezTo>
                    <a:cubicBezTo>
                      <a:pt x="2" y="119"/>
                      <a:pt x="0" y="68"/>
                      <a:pt x="30" y="3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3" name="Freeform 81">
                <a:extLst>
                  <a:ext uri="{FF2B5EF4-FFF2-40B4-BE49-F238E27FC236}">
                    <a16:creationId xmlns:a16="http://schemas.microsoft.com/office/drawing/2014/main" id="{A181CF10-6A52-4615-B0D7-5F2147E3E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017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6 w 64"/>
                  <a:gd name="T3" fmla="*/ 0 h 67"/>
                  <a:gd name="T4" fmla="*/ 64 w 64"/>
                  <a:gd name="T5" fmla="*/ 16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6" y="0"/>
                    </a:lnTo>
                    <a:lnTo>
                      <a:pt x="64" y="16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CC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4" name="Freeform 82">
                <a:extLst>
                  <a:ext uri="{FF2B5EF4-FFF2-40B4-BE49-F238E27FC236}">
                    <a16:creationId xmlns:a16="http://schemas.microsoft.com/office/drawing/2014/main" id="{FF8EF73D-DC8B-46DE-8BCF-BB2D4177A4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1" y="1998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5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5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B7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5" name="Freeform 83">
                <a:extLst>
                  <a:ext uri="{FF2B5EF4-FFF2-40B4-BE49-F238E27FC236}">
                    <a16:creationId xmlns:a16="http://schemas.microsoft.com/office/drawing/2014/main" id="{8C6327A9-F585-4F3E-BD25-8FCB73694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0" y="1979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6 h 67"/>
                  <a:gd name="T6" fmla="*/ 18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8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A7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6" name="Freeform 84">
                <a:extLst>
                  <a:ext uri="{FF2B5EF4-FFF2-40B4-BE49-F238E27FC236}">
                    <a16:creationId xmlns:a16="http://schemas.microsoft.com/office/drawing/2014/main" id="{0D4F97B8-E9AD-40CA-A233-BF051AE1A9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0" y="1960"/>
                <a:ext cx="64" cy="67"/>
              </a:xfrm>
              <a:custGeom>
                <a:avLst/>
                <a:gdLst>
                  <a:gd name="T0" fmla="*/ 0 w 64"/>
                  <a:gd name="T1" fmla="*/ 51 h 67"/>
                  <a:gd name="T2" fmla="*/ 47 w 64"/>
                  <a:gd name="T3" fmla="*/ 0 h 67"/>
                  <a:gd name="T4" fmla="*/ 64 w 64"/>
                  <a:gd name="T5" fmla="*/ 16 h 67"/>
                  <a:gd name="T6" fmla="*/ 17 w 64"/>
                  <a:gd name="T7" fmla="*/ 67 h 67"/>
                  <a:gd name="T8" fmla="*/ 0 w 64"/>
                  <a:gd name="T9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7">
                    <a:moveTo>
                      <a:pt x="0" y="51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7" y="67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FF9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7" name="Freeform 85">
                <a:extLst>
                  <a:ext uri="{FF2B5EF4-FFF2-40B4-BE49-F238E27FC236}">
                    <a16:creationId xmlns:a16="http://schemas.microsoft.com/office/drawing/2014/main" id="{69B176E8-5DD5-467E-A131-1001F7D25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1941"/>
                <a:ext cx="64" cy="68"/>
              </a:xfrm>
              <a:custGeom>
                <a:avLst/>
                <a:gdLst>
                  <a:gd name="T0" fmla="*/ 0 w 64"/>
                  <a:gd name="T1" fmla="*/ 52 h 68"/>
                  <a:gd name="T2" fmla="*/ 47 w 64"/>
                  <a:gd name="T3" fmla="*/ 0 h 68"/>
                  <a:gd name="T4" fmla="*/ 64 w 64"/>
                  <a:gd name="T5" fmla="*/ 16 h 68"/>
                  <a:gd name="T6" fmla="*/ 17 w 64"/>
                  <a:gd name="T7" fmla="*/ 68 h 68"/>
                  <a:gd name="T8" fmla="*/ 0 w 64"/>
                  <a:gd name="T9" fmla="*/ 52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8">
                    <a:moveTo>
                      <a:pt x="0" y="52"/>
                    </a:moveTo>
                    <a:lnTo>
                      <a:pt x="47" y="0"/>
                    </a:lnTo>
                    <a:lnTo>
                      <a:pt x="64" y="16"/>
                    </a:lnTo>
                    <a:lnTo>
                      <a:pt x="17" y="68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F57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8" name="Freeform 86">
                <a:extLst>
                  <a:ext uri="{FF2B5EF4-FFF2-40B4-BE49-F238E27FC236}">
                    <a16:creationId xmlns:a16="http://schemas.microsoft.com/office/drawing/2014/main" id="{C1E6594C-5BC3-466A-9C50-BD976E134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8" y="1922"/>
                <a:ext cx="65" cy="67"/>
              </a:xfrm>
              <a:custGeom>
                <a:avLst/>
                <a:gdLst>
                  <a:gd name="T0" fmla="*/ 0 w 65"/>
                  <a:gd name="T1" fmla="*/ 52 h 67"/>
                  <a:gd name="T2" fmla="*/ 47 w 65"/>
                  <a:gd name="T3" fmla="*/ 0 h 67"/>
                  <a:gd name="T4" fmla="*/ 65 w 65"/>
                  <a:gd name="T5" fmla="*/ 16 h 67"/>
                  <a:gd name="T6" fmla="*/ 17 w 65"/>
                  <a:gd name="T7" fmla="*/ 67 h 67"/>
                  <a:gd name="T8" fmla="*/ 0 w 65"/>
                  <a:gd name="T9" fmla="*/ 5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67">
                    <a:moveTo>
                      <a:pt x="0" y="52"/>
                    </a:moveTo>
                    <a:lnTo>
                      <a:pt x="47" y="0"/>
                    </a:lnTo>
                    <a:lnTo>
                      <a:pt x="65" y="16"/>
                    </a:lnTo>
                    <a:lnTo>
                      <a:pt x="17" y="67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EF6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9" name="Freeform 87">
                <a:extLst>
                  <a:ext uri="{FF2B5EF4-FFF2-40B4-BE49-F238E27FC236}">
                    <a16:creationId xmlns:a16="http://schemas.microsoft.com/office/drawing/2014/main" id="{BC081AAF-A0D6-4602-AAD2-C7AF38959A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8"/>
              </a:xfrm>
              <a:custGeom>
                <a:avLst/>
                <a:gdLst>
                  <a:gd name="T0" fmla="*/ 7 w 33"/>
                  <a:gd name="T1" fmla="*/ 28 h 33"/>
                  <a:gd name="T2" fmla="*/ 6 w 33"/>
                  <a:gd name="T3" fmla="*/ 7 h 33"/>
                  <a:gd name="T4" fmla="*/ 27 w 33"/>
                  <a:gd name="T5" fmla="*/ 6 h 33"/>
                  <a:gd name="T6" fmla="*/ 28 w 33"/>
                  <a:gd name="T7" fmla="*/ 27 h 33"/>
                  <a:gd name="T8" fmla="*/ 7 w 33"/>
                  <a:gd name="T9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3">
                    <a:moveTo>
                      <a:pt x="7" y="28"/>
                    </a:moveTo>
                    <a:cubicBezTo>
                      <a:pt x="1" y="22"/>
                      <a:pt x="0" y="13"/>
                      <a:pt x="6" y="7"/>
                    </a:cubicBezTo>
                    <a:cubicBezTo>
                      <a:pt x="11" y="1"/>
                      <a:pt x="21" y="0"/>
                      <a:pt x="27" y="6"/>
                    </a:cubicBezTo>
                    <a:cubicBezTo>
                      <a:pt x="33" y="11"/>
                      <a:pt x="33" y="21"/>
                      <a:pt x="28" y="27"/>
                    </a:cubicBezTo>
                    <a:cubicBezTo>
                      <a:pt x="22" y="33"/>
                      <a:pt x="13" y="33"/>
                      <a:pt x="7" y="28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0" name="Freeform 88">
                <a:extLst>
                  <a:ext uri="{FF2B5EF4-FFF2-40B4-BE49-F238E27FC236}">
                    <a16:creationId xmlns:a16="http://schemas.microsoft.com/office/drawing/2014/main" id="{D4484202-5762-4E9C-BA21-297799D03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8" y="1892"/>
                <a:ext cx="221" cy="179"/>
              </a:xfrm>
              <a:custGeom>
                <a:avLst/>
                <a:gdLst>
                  <a:gd name="T0" fmla="*/ 23 w 404"/>
                  <a:gd name="T1" fmla="*/ 49 h 328"/>
                  <a:gd name="T2" fmla="*/ 23 w 404"/>
                  <a:gd name="T3" fmla="*/ 49 h 328"/>
                  <a:gd name="T4" fmla="*/ 134 w 404"/>
                  <a:gd name="T5" fmla="*/ 23 h 328"/>
                  <a:gd name="T6" fmla="*/ 404 w 404"/>
                  <a:gd name="T7" fmla="*/ 192 h 328"/>
                  <a:gd name="T8" fmla="*/ 319 w 404"/>
                  <a:gd name="T9" fmla="*/ 328 h 328"/>
                  <a:gd name="T10" fmla="*/ 49 w 404"/>
                  <a:gd name="T11" fmla="*/ 159 h 328"/>
                  <a:gd name="T12" fmla="*/ 23 w 404"/>
                  <a:gd name="T13" fmla="*/ 4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4" h="328">
                    <a:moveTo>
                      <a:pt x="23" y="49"/>
                    </a:moveTo>
                    <a:cubicBezTo>
                      <a:pt x="23" y="49"/>
                      <a:pt x="23" y="49"/>
                      <a:pt x="23" y="49"/>
                    </a:cubicBezTo>
                    <a:cubicBezTo>
                      <a:pt x="47" y="11"/>
                      <a:pt x="96" y="0"/>
                      <a:pt x="134" y="23"/>
                    </a:cubicBezTo>
                    <a:cubicBezTo>
                      <a:pt x="404" y="192"/>
                      <a:pt x="404" y="192"/>
                      <a:pt x="404" y="192"/>
                    </a:cubicBezTo>
                    <a:cubicBezTo>
                      <a:pt x="319" y="328"/>
                      <a:pt x="319" y="328"/>
                      <a:pt x="319" y="328"/>
                    </a:cubicBezTo>
                    <a:cubicBezTo>
                      <a:pt x="49" y="159"/>
                      <a:pt x="49" y="159"/>
                      <a:pt x="49" y="159"/>
                    </a:cubicBezTo>
                    <a:cubicBezTo>
                      <a:pt x="11" y="136"/>
                      <a:pt x="0" y="86"/>
                      <a:pt x="23" y="4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1" name="Freeform 89">
                <a:extLst>
                  <a:ext uri="{FF2B5EF4-FFF2-40B4-BE49-F238E27FC236}">
                    <a16:creationId xmlns:a16="http://schemas.microsoft.com/office/drawing/2014/main" id="{2BC3A16C-5427-43FA-A41E-F1669D3C2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9" y="1987"/>
                <a:ext cx="57" cy="71"/>
              </a:xfrm>
              <a:custGeom>
                <a:avLst/>
                <a:gdLst>
                  <a:gd name="T0" fmla="*/ 0 w 57"/>
                  <a:gd name="T1" fmla="*/ 59 h 71"/>
                  <a:gd name="T2" fmla="*/ 38 w 57"/>
                  <a:gd name="T3" fmla="*/ 0 h 71"/>
                  <a:gd name="T4" fmla="*/ 57 w 57"/>
                  <a:gd name="T5" fmla="*/ 13 h 71"/>
                  <a:gd name="T6" fmla="*/ 21 w 57"/>
                  <a:gd name="T7" fmla="*/ 71 h 71"/>
                  <a:gd name="T8" fmla="*/ 0 w 57"/>
                  <a:gd name="T9" fmla="*/ 5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9"/>
                    </a:moveTo>
                    <a:lnTo>
                      <a:pt x="38" y="0"/>
                    </a:lnTo>
                    <a:lnTo>
                      <a:pt x="57" y="13"/>
                    </a:lnTo>
                    <a:lnTo>
                      <a:pt x="21" y="71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FFF1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2" name="Freeform 90">
                <a:extLst>
                  <a:ext uri="{FF2B5EF4-FFF2-40B4-BE49-F238E27FC236}">
                    <a16:creationId xmlns:a16="http://schemas.microsoft.com/office/drawing/2014/main" id="{C6AD274A-BEF3-4F88-B231-B79A9995DD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" y="1973"/>
                <a:ext cx="57" cy="71"/>
              </a:xfrm>
              <a:custGeom>
                <a:avLst/>
                <a:gdLst>
                  <a:gd name="T0" fmla="*/ 0 w 57"/>
                  <a:gd name="T1" fmla="*/ 58 h 71"/>
                  <a:gd name="T2" fmla="*/ 36 w 57"/>
                  <a:gd name="T3" fmla="*/ 0 h 71"/>
                  <a:gd name="T4" fmla="*/ 57 w 57"/>
                  <a:gd name="T5" fmla="*/ 12 h 71"/>
                  <a:gd name="T6" fmla="*/ 19 w 57"/>
                  <a:gd name="T7" fmla="*/ 71 h 71"/>
                  <a:gd name="T8" fmla="*/ 0 w 57"/>
                  <a:gd name="T9" fmla="*/ 5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8"/>
                    </a:moveTo>
                    <a:lnTo>
                      <a:pt x="36" y="0"/>
                    </a:lnTo>
                    <a:lnTo>
                      <a:pt x="57" y="12"/>
                    </a:lnTo>
                    <a:lnTo>
                      <a:pt x="19" y="71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FFEE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3" name="Freeform 91">
                <a:extLst>
                  <a:ext uri="{FF2B5EF4-FFF2-40B4-BE49-F238E27FC236}">
                    <a16:creationId xmlns:a16="http://schemas.microsoft.com/office/drawing/2014/main" id="{53031A32-B1F0-4AED-B628-BDAE850E2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2" y="1957"/>
                <a:ext cx="57" cy="72"/>
              </a:xfrm>
              <a:custGeom>
                <a:avLst/>
                <a:gdLst>
                  <a:gd name="T0" fmla="*/ 0 w 57"/>
                  <a:gd name="T1" fmla="*/ 59 h 72"/>
                  <a:gd name="T2" fmla="*/ 37 w 57"/>
                  <a:gd name="T3" fmla="*/ 0 h 72"/>
                  <a:gd name="T4" fmla="*/ 57 w 57"/>
                  <a:gd name="T5" fmla="*/ 13 h 72"/>
                  <a:gd name="T6" fmla="*/ 20 w 57"/>
                  <a:gd name="T7" fmla="*/ 72 h 72"/>
                  <a:gd name="T8" fmla="*/ 0 w 57"/>
                  <a:gd name="T9" fmla="*/ 5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2">
                    <a:moveTo>
                      <a:pt x="0" y="59"/>
                    </a:moveTo>
                    <a:lnTo>
                      <a:pt x="37" y="0"/>
                    </a:lnTo>
                    <a:lnTo>
                      <a:pt x="57" y="13"/>
                    </a:lnTo>
                    <a:lnTo>
                      <a:pt x="20" y="72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4" name="Freeform 92">
                <a:extLst>
                  <a:ext uri="{FF2B5EF4-FFF2-40B4-BE49-F238E27FC236}">
                    <a16:creationId xmlns:a16="http://schemas.microsoft.com/office/drawing/2014/main" id="{08E38D7B-919C-4434-8D49-DA594F595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8" y="1943"/>
                <a:ext cx="57" cy="71"/>
              </a:xfrm>
              <a:custGeom>
                <a:avLst/>
                <a:gdLst>
                  <a:gd name="T0" fmla="*/ 0 w 57"/>
                  <a:gd name="T1" fmla="*/ 58 h 71"/>
                  <a:gd name="T2" fmla="*/ 37 w 57"/>
                  <a:gd name="T3" fmla="*/ 0 h 71"/>
                  <a:gd name="T4" fmla="*/ 57 w 57"/>
                  <a:gd name="T5" fmla="*/ 12 h 71"/>
                  <a:gd name="T6" fmla="*/ 20 w 57"/>
                  <a:gd name="T7" fmla="*/ 71 h 71"/>
                  <a:gd name="T8" fmla="*/ 0 w 57"/>
                  <a:gd name="T9" fmla="*/ 5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8"/>
                    </a:moveTo>
                    <a:lnTo>
                      <a:pt x="37" y="0"/>
                    </a:lnTo>
                    <a:lnTo>
                      <a:pt x="57" y="12"/>
                    </a:lnTo>
                    <a:lnTo>
                      <a:pt x="20" y="71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FDD8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" name="Freeform 93">
                <a:extLst>
                  <a:ext uri="{FF2B5EF4-FFF2-40B4-BE49-F238E27FC236}">
                    <a16:creationId xmlns:a16="http://schemas.microsoft.com/office/drawing/2014/main" id="{E05E122E-6F56-4413-A8F4-2AFE148E9D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5" y="1928"/>
                <a:ext cx="57" cy="71"/>
              </a:xfrm>
              <a:custGeom>
                <a:avLst/>
                <a:gdLst>
                  <a:gd name="T0" fmla="*/ 0 w 57"/>
                  <a:gd name="T1" fmla="*/ 59 h 71"/>
                  <a:gd name="T2" fmla="*/ 36 w 57"/>
                  <a:gd name="T3" fmla="*/ 0 h 71"/>
                  <a:gd name="T4" fmla="*/ 57 w 57"/>
                  <a:gd name="T5" fmla="*/ 12 h 71"/>
                  <a:gd name="T6" fmla="*/ 19 w 57"/>
                  <a:gd name="T7" fmla="*/ 71 h 71"/>
                  <a:gd name="T8" fmla="*/ 0 w 57"/>
                  <a:gd name="T9" fmla="*/ 5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71">
                    <a:moveTo>
                      <a:pt x="0" y="59"/>
                    </a:moveTo>
                    <a:lnTo>
                      <a:pt x="36" y="0"/>
                    </a:lnTo>
                    <a:lnTo>
                      <a:pt x="57" y="12"/>
                    </a:lnTo>
                    <a:lnTo>
                      <a:pt x="19" y="71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E3C8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" name="Freeform 94">
                <a:extLst>
                  <a:ext uri="{FF2B5EF4-FFF2-40B4-BE49-F238E27FC236}">
                    <a16:creationId xmlns:a16="http://schemas.microsoft.com/office/drawing/2014/main" id="{6656C0CE-DFC8-43BF-BE91-0F45A3C2B0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" y="1913"/>
                <a:ext cx="56" cy="72"/>
              </a:xfrm>
              <a:custGeom>
                <a:avLst/>
                <a:gdLst>
                  <a:gd name="T0" fmla="*/ 0 w 56"/>
                  <a:gd name="T1" fmla="*/ 59 h 72"/>
                  <a:gd name="T2" fmla="*/ 37 w 56"/>
                  <a:gd name="T3" fmla="*/ 0 h 72"/>
                  <a:gd name="T4" fmla="*/ 56 w 56"/>
                  <a:gd name="T5" fmla="*/ 13 h 72"/>
                  <a:gd name="T6" fmla="*/ 20 w 56"/>
                  <a:gd name="T7" fmla="*/ 72 h 72"/>
                  <a:gd name="T8" fmla="*/ 0 w 56"/>
                  <a:gd name="T9" fmla="*/ 5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72">
                    <a:moveTo>
                      <a:pt x="0" y="59"/>
                    </a:moveTo>
                    <a:lnTo>
                      <a:pt x="37" y="0"/>
                    </a:lnTo>
                    <a:lnTo>
                      <a:pt x="56" y="13"/>
                    </a:lnTo>
                    <a:lnTo>
                      <a:pt x="20" y="72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7" name="Freeform 95">
                <a:extLst>
                  <a:ext uri="{FF2B5EF4-FFF2-40B4-BE49-F238E27FC236}">
                    <a16:creationId xmlns:a16="http://schemas.microsoft.com/office/drawing/2014/main" id="{D587F3E1-7E71-4AA6-955A-1E01FFF4A8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1"/>
                <a:ext cx="18" cy="19"/>
              </a:xfrm>
              <a:custGeom>
                <a:avLst/>
                <a:gdLst>
                  <a:gd name="T0" fmla="*/ 9 w 34"/>
                  <a:gd name="T1" fmla="*/ 29 h 34"/>
                  <a:gd name="T2" fmla="*/ 4 w 34"/>
                  <a:gd name="T3" fmla="*/ 9 h 34"/>
                  <a:gd name="T4" fmla="*/ 25 w 34"/>
                  <a:gd name="T5" fmla="*/ 4 h 34"/>
                  <a:gd name="T6" fmla="*/ 30 w 34"/>
                  <a:gd name="T7" fmla="*/ 25 h 34"/>
                  <a:gd name="T8" fmla="*/ 9 w 34"/>
                  <a:gd name="T9" fmla="*/ 2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9" y="29"/>
                    </a:moveTo>
                    <a:cubicBezTo>
                      <a:pt x="2" y="25"/>
                      <a:pt x="0" y="16"/>
                      <a:pt x="4" y="9"/>
                    </a:cubicBezTo>
                    <a:cubicBezTo>
                      <a:pt x="9" y="2"/>
                      <a:pt x="18" y="0"/>
                      <a:pt x="25" y="4"/>
                    </a:cubicBezTo>
                    <a:cubicBezTo>
                      <a:pt x="32" y="9"/>
                      <a:pt x="34" y="18"/>
                      <a:pt x="30" y="25"/>
                    </a:cubicBezTo>
                    <a:cubicBezTo>
                      <a:pt x="25" y="32"/>
                      <a:pt x="16" y="34"/>
                      <a:pt x="9" y="29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8" name="Freeform 96">
                <a:extLst>
                  <a:ext uri="{FF2B5EF4-FFF2-40B4-BE49-F238E27FC236}">
                    <a16:creationId xmlns:a16="http://schemas.microsoft.com/office/drawing/2014/main" id="{65D28321-5E42-4B38-9631-98D7F74CC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" y="1891"/>
                <a:ext cx="229" cy="149"/>
              </a:xfrm>
              <a:custGeom>
                <a:avLst/>
                <a:gdLst>
                  <a:gd name="T0" fmla="*/ 15 w 418"/>
                  <a:gd name="T1" fmla="*/ 63 h 272"/>
                  <a:gd name="T2" fmla="*/ 15 w 418"/>
                  <a:gd name="T3" fmla="*/ 63 h 272"/>
                  <a:gd name="T4" fmla="*/ 117 w 418"/>
                  <a:gd name="T5" fmla="*/ 15 h 272"/>
                  <a:gd name="T6" fmla="*/ 418 w 418"/>
                  <a:gd name="T7" fmla="*/ 121 h 272"/>
                  <a:gd name="T8" fmla="*/ 364 w 418"/>
                  <a:gd name="T9" fmla="*/ 272 h 272"/>
                  <a:gd name="T10" fmla="*/ 64 w 418"/>
                  <a:gd name="T11" fmla="*/ 166 h 272"/>
                  <a:gd name="T12" fmla="*/ 15 w 418"/>
                  <a:gd name="T13" fmla="*/ 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8" h="272">
                    <a:moveTo>
                      <a:pt x="15" y="63"/>
                    </a:moveTo>
                    <a:cubicBezTo>
                      <a:pt x="15" y="63"/>
                      <a:pt x="15" y="63"/>
                      <a:pt x="15" y="63"/>
                    </a:cubicBezTo>
                    <a:cubicBezTo>
                      <a:pt x="30" y="22"/>
                      <a:pt x="76" y="0"/>
                      <a:pt x="117" y="15"/>
                    </a:cubicBezTo>
                    <a:cubicBezTo>
                      <a:pt x="418" y="121"/>
                      <a:pt x="418" y="121"/>
                      <a:pt x="418" y="121"/>
                    </a:cubicBezTo>
                    <a:cubicBezTo>
                      <a:pt x="364" y="272"/>
                      <a:pt x="364" y="272"/>
                      <a:pt x="364" y="272"/>
                    </a:cubicBezTo>
                    <a:cubicBezTo>
                      <a:pt x="64" y="166"/>
                      <a:pt x="64" y="166"/>
                      <a:pt x="64" y="166"/>
                    </a:cubicBezTo>
                    <a:cubicBezTo>
                      <a:pt x="22" y="151"/>
                      <a:pt x="0" y="105"/>
                      <a:pt x="15" y="6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9" name="Freeform 97">
                <a:extLst>
                  <a:ext uri="{FF2B5EF4-FFF2-40B4-BE49-F238E27FC236}">
                    <a16:creationId xmlns:a16="http://schemas.microsoft.com/office/drawing/2014/main" id="{565565E1-DA7C-4C7C-81BE-3897131B68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955"/>
                <a:ext cx="45" cy="73"/>
              </a:xfrm>
              <a:custGeom>
                <a:avLst/>
                <a:gdLst>
                  <a:gd name="T0" fmla="*/ 0 w 45"/>
                  <a:gd name="T1" fmla="*/ 66 h 73"/>
                  <a:gd name="T2" fmla="*/ 23 w 45"/>
                  <a:gd name="T3" fmla="*/ 0 h 73"/>
                  <a:gd name="T4" fmla="*/ 45 w 45"/>
                  <a:gd name="T5" fmla="*/ 8 h 73"/>
                  <a:gd name="T6" fmla="*/ 22 w 45"/>
                  <a:gd name="T7" fmla="*/ 73 h 73"/>
                  <a:gd name="T8" fmla="*/ 0 w 45"/>
                  <a:gd name="T9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6"/>
                    </a:moveTo>
                    <a:lnTo>
                      <a:pt x="23" y="0"/>
                    </a:lnTo>
                    <a:lnTo>
                      <a:pt x="45" y="8"/>
                    </a:lnTo>
                    <a:lnTo>
                      <a:pt x="22" y="73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E6EE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0" name="Freeform 98">
                <a:extLst>
                  <a:ext uri="{FF2B5EF4-FFF2-40B4-BE49-F238E27FC236}">
                    <a16:creationId xmlns:a16="http://schemas.microsoft.com/office/drawing/2014/main" id="{A726B54A-F4F4-4DA4-8282-724AC687F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0" y="1946"/>
                <a:ext cx="45" cy="73"/>
              </a:xfrm>
              <a:custGeom>
                <a:avLst/>
                <a:gdLst>
                  <a:gd name="T0" fmla="*/ 0 w 45"/>
                  <a:gd name="T1" fmla="*/ 65 h 73"/>
                  <a:gd name="T2" fmla="*/ 24 w 45"/>
                  <a:gd name="T3" fmla="*/ 0 h 73"/>
                  <a:gd name="T4" fmla="*/ 45 w 45"/>
                  <a:gd name="T5" fmla="*/ 7 h 73"/>
                  <a:gd name="T6" fmla="*/ 22 w 45"/>
                  <a:gd name="T7" fmla="*/ 73 h 73"/>
                  <a:gd name="T8" fmla="*/ 0 w 45"/>
                  <a:gd name="T9" fmla="*/ 6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5"/>
                    </a:moveTo>
                    <a:lnTo>
                      <a:pt x="24" y="0"/>
                    </a:lnTo>
                    <a:lnTo>
                      <a:pt x="45" y="7"/>
                    </a:lnTo>
                    <a:lnTo>
                      <a:pt x="22" y="73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DCE77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1" name="Freeform 99">
                <a:extLst>
                  <a:ext uri="{FF2B5EF4-FFF2-40B4-BE49-F238E27FC236}">
                    <a16:creationId xmlns:a16="http://schemas.microsoft.com/office/drawing/2014/main" id="{F69E95FD-011E-4FC5-B499-6C359ED9E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4" y="1937"/>
                <a:ext cx="45" cy="73"/>
              </a:xfrm>
              <a:custGeom>
                <a:avLst/>
                <a:gdLst>
                  <a:gd name="T0" fmla="*/ 0 w 45"/>
                  <a:gd name="T1" fmla="*/ 64 h 73"/>
                  <a:gd name="T2" fmla="*/ 23 w 45"/>
                  <a:gd name="T3" fmla="*/ 0 h 73"/>
                  <a:gd name="T4" fmla="*/ 45 w 45"/>
                  <a:gd name="T5" fmla="*/ 7 h 73"/>
                  <a:gd name="T6" fmla="*/ 22 w 45"/>
                  <a:gd name="T7" fmla="*/ 73 h 73"/>
                  <a:gd name="T8" fmla="*/ 0 w 45"/>
                  <a:gd name="T9" fmla="*/ 6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3">
                    <a:moveTo>
                      <a:pt x="0" y="64"/>
                    </a:moveTo>
                    <a:lnTo>
                      <a:pt x="23" y="0"/>
                    </a:lnTo>
                    <a:lnTo>
                      <a:pt x="45" y="7"/>
                    </a:lnTo>
                    <a:lnTo>
                      <a:pt x="22" y="73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2" name="Freeform 100">
                <a:extLst>
                  <a:ext uri="{FF2B5EF4-FFF2-40B4-BE49-F238E27FC236}">
                    <a16:creationId xmlns:a16="http://schemas.microsoft.com/office/drawing/2014/main" id="{3320A667-29D2-4325-9627-6DD64612C1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7" y="1927"/>
                <a:ext cx="46" cy="73"/>
              </a:xfrm>
              <a:custGeom>
                <a:avLst/>
                <a:gdLst>
                  <a:gd name="T0" fmla="*/ 0 w 46"/>
                  <a:gd name="T1" fmla="*/ 65 h 73"/>
                  <a:gd name="T2" fmla="*/ 23 w 46"/>
                  <a:gd name="T3" fmla="*/ 0 h 73"/>
                  <a:gd name="T4" fmla="*/ 46 w 46"/>
                  <a:gd name="T5" fmla="*/ 8 h 73"/>
                  <a:gd name="T6" fmla="*/ 22 w 46"/>
                  <a:gd name="T7" fmla="*/ 73 h 73"/>
                  <a:gd name="T8" fmla="*/ 0 w 46"/>
                  <a:gd name="T9" fmla="*/ 6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0" y="65"/>
                    </a:moveTo>
                    <a:lnTo>
                      <a:pt x="23" y="0"/>
                    </a:lnTo>
                    <a:lnTo>
                      <a:pt x="46" y="8"/>
                    </a:lnTo>
                    <a:lnTo>
                      <a:pt x="22" y="73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CDDC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3" name="Freeform 101">
                <a:extLst>
                  <a:ext uri="{FF2B5EF4-FFF2-40B4-BE49-F238E27FC236}">
                    <a16:creationId xmlns:a16="http://schemas.microsoft.com/office/drawing/2014/main" id="{9F976ACC-0A27-4728-8AB9-92F1DC017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1" y="1917"/>
                <a:ext cx="45" cy="74"/>
              </a:xfrm>
              <a:custGeom>
                <a:avLst/>
                <a:gdLst>
                  <a:gd name="T0" fmla="*/ 0 w 45"/>
                  <a:gd name="T1" fmla="*/ 66 h 74"/>
                  <a:gd name="T2" fmla="*/ 23 w 45"/>
                  <a:gd name="T3" fmla="*/ 0 h 74"/>
                  <a:gd name="T4" fmla="*/ 45 w 45"/>
                  <a:gd name="T5" fmla="*/ 9 h 74"/>
                  <a:gd name="T6" fmla="*/ 22 w 45"/>
                  <a:gd name="T7" fmla="*/ 74 h 74"/>
                  <a:gd name="T8" fmla="*/ 0 w 45"/>
                  <a:gd name="T9" fmla="*/ 6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74">
                    <a:moveTo>
                      <a:pt x="0" y="66"/>
                    </a:moveTo>
                    <a:lnTo>
                      <a:pt x="23" y="0"/>
                    </a:lnTo>
                    <a:lnTo>
                      <a:pt x="45" y="9"/>
                    </a:lnTo>
                    <a:lnTo>
                      <a:pt x="22" y="74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C0CA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4" name="Freeform 102">
                <a:extLst>
                  <a:ext uri="{FF2B5EF4-FFF2-40B4-BE49-F238E27FC236}">
                    <a16:creationId xmlns:a16="http://schemas.microsoft.com/office/drawing/2014/main" id="{5E758009-E188-468F-8DF0-D50F294FC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908"/>
                <a:ext cx="46" cy="73"/>
              </a:xfrm>
              <a:custGeom>
                <a:avLst/>
                <a:gdLst>
                  <a:gd name="T0" fmla="*/ 0 w 46"/>
                  <a:gd name="T1" fmla="*/ 66 h 73"/>
                  <a:gd name="T2" fmla="*/ 24 w 46"/>
                  <a:gd name="T3" fmla="*/ 0 h 73"/>
                  <a:gd name="T4" fmla="*/ 46 w 46"/>
                  <a:gd name="T5" fmla="*/ 8 h 73"/>
                  <a:gd name="T6" fmla="*/ 23 w 46"/>
                  <a:gd name="T7" fmla="*/ 73 h 73"/>
                  <a:gd name="T8" fmla="*/ 0 w 46"/>
                  <a:gd name="T9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0" y="66"/>
                    </a:moveTo>
                    <a:lnTo>
                      <a:pt x="24" y="0"/>
                    </a:lnTo>
                    <a:lnTo>
                      <a:pt x="46" y="8"/>
                    </a:lnTo>
                    <a:lnTo>
                      <a:pt x="23" y="73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AFB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5" name="Freeform 103">
                <a:extLst>
                  <a:ext uri="{FF2B5EF4-FFF2-40B4-BE49-F238E27FC236}">
                    <a16:creationId xmlns:a16="http://schemas.microsoft.com/office/drawing/2014/main" id="{80356FB1-D90D-4EF3-84A4-00B7FE1863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9"/>
              </a:xfrm>
              <a:custGeom>
                <a:avLst/>
                <a:gdLst>
                  <a:gd name="T0" fmla="*/ 12 w 33"/>
                  <a:gd name="T1" fmla="*/ 30 h 33"/>
                  <a:gd name="T2" fmla="*/ 2 w 33"/>
                  <a:gd name="T3" fmla="*/ 11 h 33"/>
                  <a:gd name="T4" fmla="*/ 21 w 33"/>
                  <a:gd name="T5" fmla="*/ 2 h 33"/>
                  <a:gd name="T6" fmla="*/ 31 w 33"/>
                  <a:gd name="T7" fmla="*/ 21 h 33"/>
                  <a:gd name="T8" fmla="*/ 12 w 33"/>
                  <a:gd name="T9" fmla="*/ 3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3">
                    <a:moveTo>
                      <a:pt x="12" y="30"/>
                    </a:moveTo>
                    <a:cubicBezTo>
                      <a:pt x="4" y="28"/>
                      <a:pt x="0" y="19"/>
                      <a:pt x="2" y="11"/>
                    </a:cubicBezTo>
                    <a:cubicBezTo>
                      <a:pt x="5" y="4"/>
                      <a:pt x="14" y="0"/>
                      <a:pt x="21" y="2"/>
                    </a:cubicBezTo>
                    <a:cubicBezTo>
                      <a:pt x="29" y="5"/>
                      <a:pt x="33" y="14"/>
                      <a:pt x="31" y="21"/>
                    </a:cubicBezTo>
                    <a:cubicBezTo>
                      <a:pt x="28" y="29"/>
                      <a:pt x="19" y="33"/>
                      <a:pt x="12" y="30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6" name="Freeform 104">
                <a:extLst>
                  <a:ext uri="{FF2B5EF4-FFF2-40B4-BE49-F238E27FC236}">
                    <a16:creationId xmlns:a16="http://schemas.microsoft.com/office/drawing/2014/main" id="{F288D20D-0249-4BB9-B795-C0BCBCC03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" y="1887"/>
                <a:ext cx="225" cy="107"/>
              </a:xfrm>
              <a:custGeom>
                <a:avLst/>
                <a:gdLst>
                  <a:gd name="T0" fmla="*/ 5 w 410"/>
                  <a:gd name="T1" fmla="*/ 76 h 196"/>
                  <a:gd name="T2" fmla="*/ 5 w 410"/>
                  <a:gd name="T3" fmla="*/ 76 h 196"/>
                  <a:gd name="T4" fmla="*/ 93 w 410"/>
                  <a:gd name="T5" fmla="*/ 4 h 196"/>
                  <a:gd name="T6" fmla="*/ 410 w 410"/>
                  <a:gd name="T7" fmla="*/ 37 h 196"/>
                  <a:gd name="T8" fmla="*/ 393 w 410"/>
                  <a:gd name="T9" fmla="*/ 196 h 196"/>
                  <a:gd name="T10" fmla="*/ 76 w 410"/>
                  <a:gd name="T11" fmla="*/ 164 h 196"/>
                  <a:gd name="T12" fmla="*/ 5 w 410"/>
                  <a:gd name="T13" fmla="*/ 7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0" h="196">
                    <a:moveTo>
                      <a:pt x="5" y="76"/>
                    </a:moveTo>
                    <a:cubicBezTo>
                      <a:pt x="5" y="76"/>
                      <a:pt x="5" y="76"/>
                      <a:pt x="5" y="76"/>
                    </a:cubicBezTo>
                    <a:cubicBezTo>
                      <a:pt x="9" y="32"/>
                      <a:pt x="49" y="0"/>
                      <a:pt x="93" y="4"/>
                    </a:cubicBezTo>
                    <a:cubicBezTo>
                      <a:pt x="410" y="37"/>
                      <a:pt x="410" y="37"/>
                      <a:pt x="410" y="37"/>
                    </a:cubicBezTo>
                    <a:cubicBezTo>
                      <a:pt x="393" y="196"/>
                      <a:pt x="393" y="196"/>
                      <a:pt x="393" y="196"/>
                    </a:cubicBezTo>
                    <a:cubicBezTo>
                      <a:pt x="76" y="164"/>
                      <a:pt x="76" y="164"/>
                      <a:pt x="76" y="164"/>
                    </a:cubicBezTo>
                    <a:cubicBezTo>
                      <a:pt x="32" y="159"/>
                      <a:pt x="0" y="120"/>
                      <a:pt x="5" y="7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7" name="Freeform 105">
                <a:extLst>
                  <a:ext uri="{FF2B5EF4-FFF2-40B4-BE49-F238E27FC236}">
                    <a16:creationId xmlns:a16="http://schemas.microsoft.com/office/drawing/2014/main" id="{297A74DF-660D-472E-8098-462149FDFB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8" y="1912"/>
                <a:ext cx="31" cy="72"/>
              </a:xfrm>
              <a:custGeom>
                <a:avLst/>
                <a:gdLst>
                  <a:gd name="T0" fmla="*/ 0 w 31"/>
                  <a:gd name="T1" fmla="*/ 70 h 72"/>
                  <a:gd name="T2" fmla="*/ 7 w 31"/>
                  <a:gd name="T3" fmla="*/ 0 h 72"/>
                  <a:gd name="T4" fmla="*/ 31 w 31"/>
                  <a:gd name="T5" fmla="*/ 3 h 72"/>
                  <a:gd name="T6" fmla="*/ 24 w 31"/>
                  <a:gd name="T7" fmla="*/ 72 h 72"/>
                  <a:gd name="T8" fmla="*/ 0 w 31"/>
                  <a:gd name="T9" fmla="*/ 7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0" y="70"/>
                    </a:moveTo>
                    <a:lnTo>
                      <a:pt x="7" y="0"/>
                    </a:lnTo>
                    <a:lnTo>
                      <a:pt x="31" y="3"/>
                    </a:lnTo>
                    <a:lnTo>
                      <a:pt x="24" y="72"/>
                    </a:lnTo>
                    <a:lnTo>
                      <a:pt x="0" y="70"/>
                    </a:lnTo>
                    <a:close/>
                  </a:path>
                </a:pathLst>
              </a:custGeom>
              <a:solidFill>
                <a:srgbClr val="C5E1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8" name="Freeform 106">
                <a:extLst>
                  <a:ext uri="{FF2B5EF4-FFF2-40B4-BE49-F238E27FC236}">
                    <a16:creationId xmlns:a16="http://schemas.microsoft.com/office/drawing/2014/main" id="{4D6225FE-D55C-40DC-A38A-94CD4D9AB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" y="1910"/>
                <a:ext cx="31" cy="71"/>
              </a:xfrm>
              <a:custGeom>
                <a:avLst/>
                <a:gdLst>
                  <a:gd name="T0" fmla="*/ 0 w 31"/>
                  <a:gd name="T1" fmla="*/ 69 h 71"/>
                  <a:gd name="T2" fmla="*/ 7 w 31"/>
                  <a:gd name="T3" fmla="*/ 0 h 71"/>
                  <a:gd name="T4" fmla="*/ 31 w 31"/>
                  <a:gd name="T5" fmla="*/ 2 h 71"/>
                  <a:gd name="T6" fmla="*/ 24 w 31"/>
                  <a:gd name="T7" fmla="*/ 71 h 71"/>
                  <a:gd name="T8" fmla="*/ 0 w 31"/>
                  <a:gd name="T9" fmla="*/ 6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0" y="69"/>
                    </a:moveTo>
                    <a:lnTo>
                      <a:pt x="7" y="0"/>
                    </a:lnTo>
                    <a:lnTo>
                      <a:pt x="31" y="2"/>
                    </a:lnTo>
                    <a:lnTo>
                      <a:pt x="24" y="71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AED5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9" name="Freeform 107">
                <a:extLst>
                  <a:ext uri="{FF2B5EF4-FFF2-40B4-BE49-F238E27FC236}">
                    <a16:creationId xmlns:a16="http://schemas.microsoft.com/office/drawing/2014/main" id="{184F0614-A5A6-4C2A-A30B-2ECD9DD132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2" y="1907"/>
                <a:ext cx="31" cy="72"/>
              </a:xfrm>
              <a:custGeom>
                <a:avLst/>
                <a:gdLst>
                  <a:gd name="T0" fmla="*/ 0 w 31"/>
                  <a:gd name="T1" fmla="*/ 69 h 72"/>
                  <a:gd name="T2" fmla="*/ 7 w 31"/>
                  <a:gd name="T3" fmla="*/ 0 h 72"/>
                  <a:gd name="T4" fmla="*/ 31 w 31"/>
                  <a:gd name="T5" fmla="*/ 2 h 72"/>
                  <a:gd name="T6" fmla="*/ 24 w 31"/>
                  <a:gd name="T7" fmla="*/ 72 h 72"/>
                  <a:gd name="T8" fmla="*/ 0 w 31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0" y="69"/>
                    </a:moveTo>
                    <a:lnTo>
                      <a:pt x="7" y="0"/>
                    </a:lnTo>
                    <a:lnTo>
                      <a:pt x="31" y="2"/>
                    </a:lnTo>
                    <a:lnTo>
                      <a:pt x="24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9CCC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0" name="Freeform 108">
                <a:extLst>
                  <a:ext uri="{FF2B5EF4-FFF2-40B4-BE49-F238E27FC236}">
                    <a16:creationId xmlns:a16="http://schemas.microsoft.com/office/drawing/2014/main" id="{885973B0-D7BC-41B3-95B0-E0B3F35A58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1904"/>
                <a:ext cx="31" cy="71"/>
              </a:xfrm>
              <a:custGeom>
                <a:avLst/>
                <a:gdLst>
                  <a:gd name="T0" fmla="*/ 0 w 31"/>
                  <a:gd name="T1" fmla="*/ 69 h 71"/>
                  <a:gd name="T2" fmla="*/ 8 w 31"/>
                  <a:gd name="T3" fmla="*/ 0 h 71"/>
                  <a:gd name="T4" fmla="*/ 31 w 31"/>
                  <a:gd name="T5" fmla="*/ 2 h 71"/>
                  <a:gd name="T6" fmla="*/ 24 w 31"/>
                  <a:gd name="T7" fmla="*/ 71 h 71"/>
                  <a:gd name="T8" fmla="*/ 0 w 31"/>
                  <a:gd name="T9" fmla="*/ 6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0" y="69"/>
                    </a:moveTo>
                    <a:lnTo>
                      <a:pt x="8" y="0"/>
                    </a:lnTo>
                    <a:lnTo>
                      <a:pt x="31" y="2"/>
                    </a:lnTo>
                    <a:lnTo>
                      <a:pt x="24" y="71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CF30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1" name="Freeform 109">
                <a:extLst>
                  <a:ext uri="{FF2B5EF4-FFF2-40B4-BE49-F238E27FC236}">
                    <a16:creationId xmlns:a16="http://schemas.microsoft.com/office/drawing/2014/main" id="{E952FAAE-79ED-4F86-A93C-3626A2032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1901"/>
                <a:ext cx="30" cy="72"/>
              </a:xfrm>
              <a:custGeom>
                <a:avLst/>
                <a:gdLst>
                  <a:gd name="T0" fmla="*/ 0 w 30"/>
                  <a:gd name="T1" fmla="*/ 69 h 72"/>
                  <a:gd name="T2" fmla="*/ 7 w 30"/>
                  <a:gd name="T3" fmla="*/ 0 h 72"/>
                  <a:gd name="T4" fmla="*/ 30 w 30"/>
                  <a:gd name="T5" fmla="*/ 3 h 72"/>
                  <a:gd name="T6" fmla="*/ 23 w 30"/>
                  <a:gd name="T7" fmla="*/ 72 h 72"/>
                  <a:gd name="T8" fmla="*/ 0 w 30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72">
                    <a:moveTo>
                      <a:pt x="0" y="69"/>
                    </a:moveTo>
                    <a:lnTo>
                      <a:pt x="7" y="0"/>
                    </a:lnTo>
                    <a:lnTo>
                      <a:pt x="30" y="3"/>
                    </a:lnTo>
                    <a:lnTo>
                      <a:pt x="23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7CB3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2" name="Freeform 110">
                <a:extLst>
                  <a:ext uri="{FF2B5EF4-FFF2-40B4-BE49-F238E27FC236}">
                    <a16:creationId xmlns:a16="http://schemas.microsoft.com/office/drawing/2014/main" id="{FBF8D14E-A43B-49E7-8676-A560D1259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9" y="1898"/>
                <a:ext cx="30" cy="72"/>
              </a:xfrm>
              <a:custGeom>
                <a:avLst/>
                <a:gdLst>
                  <a:gd name="T0" fmla="*/ 0 w 30"/>
                  <a:gd name="T1" fmla="*/ 69 h 72"/>
                  <a:gd name="T2" fmla="*/ 7 w 30"/>
                  <a:gd name="T3" fmla="*/ 0 h 72"/>
                  <a:gd name="T4" fmla="*/ 30 w 30"/>
                  <a:gd name="T5" fmla="*/ 2 h 72"/>
                  <a:gd name="T6" fmla="*/ 23 w 30"/>
                  <a:gd name="T7" fmla="*/ 72 h 72"/>
                  <a:gd name="T8" fmla="*/ 0 w 30"/>
                  <a:gd name="T9" fmla="*/ 6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72">
                    <a:moveTo>
                      <a:pt x="0" y="69"/>
                    </a:moveTo>
                    <a:lnTo>
                      <a:pt x="7" y="0"/>
                    </a:lnTo>
                    <a:lnTo>
                      <a:pt x="30" y="2"/>
                    </a:lnTo>
                    <a:lnTo>
                      <a:pt x="23" y="7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689F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3" name="Freeform 111">
                <a:extLst>
                  <a:ext uri="{FF2B5EF4-FFF2-40B4-BE49-F238E27FC236}">
                    <a16:creationId xmlns:a16="http://schemas.microsoft.com/office/drawing/2014/main" id="{194F6BEB-A6F3-4204-A3E7-28D0AB2875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2"/>
                <a:ext cx="17" cy="17"/>
              </a:xfrm>
              <a:custGeom>
                <a:avLst/>
                <a:gdLst>
                  <a:gd name="T0" fmla="*/ 14 w 31"/>
                  <a:gd name="T1" fmla="*/ 31 h 32"/>
                  <a:gd name="T2" fmla="*/ 1 w 31"/>
                  <a:gd name="T3" fmla="*/ 14 h 32"/>
                  <a:gd name="T4" fmla="*/ 17 w 31"/>
                  <a:gd name="T5" fmla="*/ 1 h 32"/>
                  <a:gd name="T6" fmla="*/ 30 w 31"/>
                  <a:gd name="T7" fmla="*/ 17 h 32"/>
                  <a:gd name="T8" fmla="*/ 14 w 31"/>
                  <a:gd name="T9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2">
                    <a:moveTo>
                      <a:pt x="14" y="31"/>
                    </a:moveTo>
                    <a:cubicBezTo>
                      <a:pt x="6" y="30"/>
                      <a:pt x="0" y="23"/>
                      <a:pt x="1" y="14"/>
                    </a:cubicBezTo>
                    <a:cubicBezTo>
                      <a:pt x="2" y="6"/>
                      <a:pt x="9" y="0"/>
                      <a:pt x="17" y="1"/>
                    </a:cubicBezTo>
                    <a:cubicBezTo>
                      <a:pt x="25" y="2"/>
                      <a:pt x="31" y="9"/>
                      <a:pt x="30" y="17"/>
                    </a:cubicBezTo>
                    <a:cubicBezTo>
                      <a:pt x="30" y="26"/>
                      <a:pt x="22" y="32"/>
                      <a:pt x="14" y="31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4" name="Freeform 112">
                <a:extLst>
                  <a:ext uri="{FF2B5EF4-FFF2-40B4-BE49-F238E27FC236}">
                    <a16:creationId xmlns:a16="http://schemas.microsoft.com/office/drawing/2014/main" id="{E6A7D0A3-C279-46E0-A2AD-A201233ACE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" y="1866"/>
                <a:ext cx="224" cy="109"/>
              </a:xfrm>
              <a:custGeom>
                <a:avLst/>
                <a:gdLst>
                  <a:gd name="T0" fmla="*/ 5 w 410"/>
                  <a:gd name="T1" fmla="*/ 124 h 200"/>
                  <a:gd name="T2" fmla="*/ 5 w 410"/>
                  <a:gd name="T3" fmla="*/ 124 h 200"/>
                  <a:gd name="T4" fmla="*/ 75 w 410"/>
                  <a:gd name="T5" fmla="*/ 35 h 200"/>
                  <a:gd name="T6" fmla="*/ 392 w 410"/>
                  <a:gd name="T7" fmla="*/ 0 h 200"/>
                  <a:gd name="T8" fmla="*/ 410 w 410"/>
                  <a:gd name="T9" fmla="*/ 159 h 200"/>
                  <a:gd name="T10" fmla="*/ 93 w 410"/>
                  <a:gd name="T11" fmla="*/ 195 h 200"/>
                  <a:gd name="T12" fmla="*/ 5 w 410"/>
                  <a:gd name="T13" fmla="*/ 124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0" h="200">
                    <a:moveTo>
                      <a:pt x="5" y="124"/>
                    </a:moveTo>
                    <a:cubicBezTo>
                      <a:pt x="5" y="124"/>
                      <a:pt x="5" y="124"/>
                      <a:pt x="5" y="124"/>
                    </a:cubicBezTo>
                    <a:cubicBezTo>
                      <a:pt x="0" y="80"/>
                      <a:pt x="31" y="40"/>
                      <a:pt x="75" y="35"/>
                    </a:cubicBezTo>
                    <a:cubicBezTo>
                      <a:pt x="392" y="0"/>
                      <a:pt x="392" y="0"/>
                      <a:pt x="392" y="0"/>
                    </a:cubicBezTo>
                    <a:cubicBezTo>
                      <a:pt x="410" y="159"/>
                      <a:pt x="410" y="159"/>
                      <a:pt x="410" y="159"/>
                    </a:cubicBezTo>
                    <a:cubicBezTo>
                      <a:pt x="93" y="195"/>
                      <a:pt x="93" y="195"/>
                      <a:pt x="93" y="195"/>
                    </a:cubicBezTo>
                    <a:cubicBezTo>
                      <a:pt x="49" y="200"/>
                      <a:pt x="10" y="168"/>
                      <a:pt x="5" y="1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5" name="Freeform 113">
                <a:extLst>
                  <a:ext uri="{FF2B5EF4-FFF2-40B4-BE49-F238E27FC236}">
                    <a16:creationId xmlns:a16="http://schemas.microsoft.com/office/drawing/2014/main" id="{D9EB15A7-C8BC-498E-B5AC-BF1CB4446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7" y="1876"/>
                <a:ext cx="31" cy="71"/>
              </a:xfrm>
              <a:custGeom>
                <a:avLst/>
                <a:gdLst>
                  <a:gd name="T0" fmla="*/ 8 w 31"/>
                  <a:gd name="T1" fmla="*/ 71 h 71"/>
                  <a:gd name="T2" fmla="*/ 0 w 31"/>
                  <a:gd name="T3" fmla="*/ 3 h 71"/>
                  <a:gd name="T4" fmla="*/ 23 w 31"/>
                  <a:gd name="T5" fmla="*/ 0 h 71"/>
                  <a:gd name="T6" fmla="*/ 31 w 31"/>
                  <a:gd name="T7" fmla="*/ 69 h 71"/>
                  <a:gd name="T8" fmla="*/ 8 w 31"/>
                  <a:gd name="T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1">
                    <a:moveTo>
                      <a:pt x="8" y="71"/>
                    </a:moveTo>
                    <a:lnTo>
                      <a:pt x="0" y="3"/>
                    </a:lnTo>
                    <a:lnTo>
                      <a:pt x="23" y="0"/>
                    </a:lnTo>
                    <a:lnTo>
                      <a:pt x="31" y="69"/>
                    </a:lnTo>
                    <a:lnTo>
                      <a:pt x="8" y="71"/>
                    </a:lnTo>
                    <a:close/>
                  </a:path>
                </a:pathLst>
              </a:custGeom>
              <a:solidFill>
                <a:srgbClr val="80CB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6" name="Freeform 114">
                <a:extLst>
                  <a:ext uri="{FF2B5EF4-FFF2-40B4-BE49-F238E27FC236}">
                    <a16:creationId xmlns:a16="http://schemas.microsoft.com/office/drawing/2014/main" id="{FC3880F6-7A19-4FBC-80C9-497368FF86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9" y="1879"/>
                <a:ext cx="31" cy="72"/>
              </a:xfrm>
              <a:custGeom>
                <a:avLst/>
                <a:gdLst>
                  <a:gd name="T0" fmla="*/ 8 w 31"/>
                  <a:gd name="T1" fmla="*/ 72 h 72"/>
                  <a:gd name="T2" fmla="*/ 0 w 31"/>
                  <a:gd name="T3" fmla="*/ 3 h 72"/>
                  <a:gd name="T4" fmla="*/ 23 w 31"/>
                  <a:gd name="T5" fmla="*/ 0 h 72"/>
                  <a:gd name="T6" fmla="*/ 31 w 31"/>
                  <a:gd name="T7" fmla="*/ 69 h 72"/>
                  <a:gd name="T8" fmla="*/ 8 w 31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8" y="72"/>
                    </a:moveTo>
                    <a:lnTo>
                      <a:pt x="0" y="3"/>
                    </a:lnTo>
                    <a:lnTo>
                      <a:pt x="23" y="0"/>
                    </a:lnTo>
                    <a:lnTo>
                      <a:pt x="31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4DB6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7" name="Freeform 115">
                <a:extLst>
                  <a:ext uri="{FF2B5EF4-FFF2-40B4-BE49-F238E27FC236}">
                    <a16:creationId xmlns:a16="http://schemas.microsoft.com/office/drawing/2014/main" id="{8995C09D-66A0-4A50-A710-B881A9354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" y="1882"/>
                <a:ext cx="31" cy="72"/>
              </a:xfrm>
              <a:custGeom>
                <a:avLst/>
                <a:gdLst>
                  <a:gd name="T0" fmla="*/ 8 w 31"/>
                  <a:gd name="T1" fmla="*/ 72 h 72"/>
                  <a:gd name="T2" fmla="*/ 0 w 31"/>
                  <a:gd name="T3" fmla="*/ 3 h 72"/>
                  <a:gd name="T4" fmla="*/ 24 w 31"/>
                  <a:gd name="T5" fmla="*/ 0 h 72"/>
                  <a:gd name="T6" fmla="*/ 31 w 31"/>
                  <a:gd name="T7" fmla="*/ 69 h 72"/>
                  <a:gd name="T8" fmla="*/ 8 w 31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1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26A6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8" name="Freeform 116">
                <a:extLst>
                  <a:ext uri="{FF2B5EF4-FFF2-40B4-BE49-F238E27FC236}">
                    <a16:creationId xmlns:a16="http://schemas.microsoft.com/office/drawing/2014/main" id="{02E1561F-A0A1-4AD5-A216-6818D5F3E4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3" y="1885"/>
                <a:ext cx="32" cy="72"/>
              </a:xfrm>
              <a:custGeom>
                <a:avLst/>
                <a:gdLst>
                  <a:gd name="T0" fmla="*/ 8 w 32"/>
                  <a:gd name="T1" fmla="*/ 72 h 72"/>
                  <a:gd name="T2" fmla="*/ 0 w 32"/>
                  <a:gd name="T3" fmla="*/ 3 h 72"/>
                  <a:gd name="T4" fmla="*/ 24 w 32"/>
                  <a:gd name="T5" fmla="*/ 0 h 72"/>
                  <a:gd name="T6" fmla="*/ 32 w 32"/>
                  <a:gd name="T7" fmla="*/ 70 h 72"/>
                  <a:gd name="T8" fmla="*/ 8 w 32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2" y="70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0096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9" name="Freeform 117">
                <a:extLst>
                  <a:ext uri="{FF2B5EF4-FFF2-40B4-BE49-F238E27FC236}">
                    <a16:creationId xmlns:a16="http://schemas.microsoft.com/office/drawing/2014/main" id="{5C290804-0A41-4923-BFD7-F8C5E6004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5" y="1888"/>
                <a:ext cx="32" cy="72"/>
              </a:xfrm>
              <a:custGeom>
                <a:avLst/>
                <a:gdLst>
                  <a:gd name="T0" fmla="*/ 8 w 32"/>
                  <a:gd name="T1" fmla="*/ 72 h 72"/>
                  <a:gd name="T2" fmla="*/ 0 w 32"/>
                  <a:gd name="T3" fmla="*/ 3 h 72"/>
                  <a:gd name="T4" fmla="*/ 24 w 32"/>
                  <a:gd name="T5" fmla="*/ 0 h 72"/>
                  <a:gd name="T6" fmla="*/ 32 w 32"/>
                  <a:gd name="T7" fmla="*/ 69 h 72"/>
                  <a:gd name="T8" fmla="*/ 8 w 32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2">
                    <a:moveTo>
                      <a:pt x="8" y="72"/>
                    </a:moveTo>
                    <a:lnTo>
                      <a:pt x="0" y="3"/>
                    </a:lnTo>
                    <a:lnTo>
                      <a:pt x="24" y="0"/>
                    </a:lnTo>
                    <a:lnTo>
                      <a:pt x="32" y="69"/>
                    </a:lnTo>
                    <a:lnTo>
                      <a:pt x="8" y="72"/>
                    </a:lnTo>
                    <a:close/>
                  </a:path>
                </a:pathLst>
              </a:custGeom>
              <a:solidFill>
                <a:srgbClr val="0089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0" name="Freeform 118">
                <a:extLst>
                  <a:ext uri="{FF2B5EF4-FFF2-40B4-BE49-F238E27FC236}">
                    <a16:creationId xmlns:a16="http://schemas.microsoft.com/office/drawing/2014/main" id="{FA5CDC67-A3F0-4D12-AEF7-61F0B5829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7" y="1892"/>
                <a:ext cx="32" cy="71"/>
              </a:xfrm>
              <a:custGeom>
                <a:avLst/>
                <a:gdLst>
                  <a:gd name="T0" fmla="*/ 8 w 32"/>
                  <a:gd name="T1" fmla="*/ 71 h 71"/>
                  <a:gd name="T2" fmla="*/ 0 w 32"/>
                  <a:gd name="T3" fmla="*/ 2 h 71"/>
                  <a:gd name="T4" fmla="*/ 24 w 32"/>
                  <a:gd name="T5" fmla="*/ 0 h 71"/>
                  <a:gd name="T6" fmla="*/ 32 w 32"/>
                  <a:gd name="T7" fmla="*/ 69 h 71"/>
                  <a:gd name="T8" fmla="*/ 8 w 32"/>
                  <a:gd name="T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1">
                    <a:moveTo>
                      <a:pt x="8" y="71"/>
                    </a:moveTo>
                    <a:lnTo>
                      <a:pt x="0" y="2"/>
                    </a:lnTo>
                    <a:lnTo>
                      <a:pt x="24" y="0"/>
                    </a:lnTo>
                    <a:lnTo>
                      <a:pt x="32" y="69"/>
                    </a:lnTo>
                    <a:lnTo>
                      <a:pt x="8" y="71"/>
                    </a:lnTo>
                    <a:close/>
                  </a:path>
                </a:pathLst>
              </a:custGeom>
              <a:solidFill>
                <a:srgbClr val="0079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1" name="Freeform 119">
                <a:extLst>
                  <a:ext uri="{FF2B5EF4-FFF2-40B4-BE49-F238E27FC236}">
                    <a16:creationId xmlns:a16="http://schemas.microsoft.com/office/drawing/2014/main" id="{1F040C92-6377-4ECA-B87E-2652886FAE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1" y="1923"/>
                <a:ext cx="17" cy="17"/>
              </a:xfrm>
              <a:custGeom>
                <a:avLst/>
                <a:gdLst>
                  <a:gd name="T0" fmla="*/ 17 w 31"/>
                  <a:gd name="T1" fmla="*/ 30 h 31"/>
                  <a:gd name="T2" fmla="*/ 0 w 31"/>
                  <a:gd name="T3" fmla="*/ 17 h 31"/>
                  <a:gd name="T4" fmla="*/ 14 w 31"/>
                  <a:gd name="T5" fmla="*/ 1 h 31"/>
                  <a:gd name="T6" fmla="*/ 30 w 31"/>
                  <a:gd name="T7" fmla="*/ 14 h 31"/>
                  <a:gd name="T8" fmla="*/ 17 w 31"/>
                  <a:gd name="T9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1">
                    <a:moveTo>
                      <a:pt x="17" y="30"/>
                    </a:moveTo>
                    <a:cubicBezTo>
                      <a:pt x="9" y="31"/>
                      <a:pt x="1" y="25"/>
                      <a:pt x="0" y="17"/>
                    </a:cubicBezTo>
                    <a:cubicBezTo>
                      <a:pt x="0" y="9"/>
                      <a:pt x="5" y="1"/>
                      <a:pt x="14" y="1"/>
                    </a:cubicBezTo>
                    <a:cubicBezTo>
                      <a:pt x="22" y="0"/>
                      <a:pt x="29" y="5"/>
                      <a:pt x="30" y="14"/>
                    </a:cubicBezTo>
                    <a:cubicBezTo>
                      <a:pt x="31" y="22"/>
                      <a:pt x="25" y="29"/>
                      <a:pt x="17" y="30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2" name="Freeform 120">
                <a:extLst>
                  <a:ext uri="{FF2B5EF4-FFF2-40B4-BE49-F238E27FC236}">
                    <a16:creationId xmlns:a16="http://schemas.microsoft.com/office/drawing/2014/main" id="{7868BCA3-300A-48B0-AACE-433A61A35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" y="1825"/>
                <a:ext cx="228" cy="151"/>
              </a:xfrm>
              <a:custGeom>
                <a:avLst/>
                <a:gdLst>
                  <a:gd name="T0" fmla="*/ 15 w 417"/>
                  <a:gd name="T1" fmla="*/ 213 h 276"/>
                  <a:gd name="T2" fmla="*/ 15 w 417"/>
                  <a:gd name="T3" fmla="*/ 213 h 276"/>
                  <a:gd name="T4" fmla="*/ 62 w 417"/>
                  <a:gd name="T5" fmla="*/ 110 h 276"/>
                  <a:gd name="T6" fmla="*/ 361 w 417"/>
                  <a:gd name="T7" fmla="*/ 0 h 276"/>
                  <a:gd name="T8" fmla="*/ 417 w 417"/>
                  <a:gd name="T9" fmla="*/ 150 h 276"/>
                  <a:gd name="T10" fmla="*/ 118 w 417"/>
                  <a:gd name="T11" fmla="*/ 260 h 276"/>
                  <a:gd name="T12" fmla="*/ 15 w 417"/>
                  <a:gd name="T13" fmla="*/ 213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7" h="276">
                    <a:moveTo>
                      <a:pt x="15" y="213"/>
                    </a:moveTo>
                    <a:cubicBezTo>
                      <a:pt x="15" y="213"/>
                      <a:pt x="15" y="213"/>
                      <a:pt x="15" y="213"/>
                    </a:cubicBezTo>
                    <a:cubicBezTo>
                      <a:pt x="0" y="171"/>
                      <a:pt x="21" y="125"/>
                      <a:pt x="62" y="110"/>
                    </a:cubicBezTo>
                    <a:cubicBezTo>
                      <a:pt x="361" y="0"/>
                      <a:pt x="361" y="0"/>
                      <a:pt x="361" y="0"/>
                    </a:cubicBezTo>
                    <a:cubicBezTo>
                      <a:pt x="417" y="150"/>
                      <a:pt x="417" y="150"/>
                      <a:pt x="417" y="150"/>
                    </a:cubicBezTo>
                    <a:cubicBezTo>
                      <a:pt x="118" y="260"/>
                      <a:pt x="118" y="260"/>
                      <a:pt x="118" y="260"/>
                    </a:cubicBezTo>
                    <a:cubicBezTo>
                      <a:pt x="76" y="276"/>
                      <a:pt x="30" y="254"/>
                      <a:pt x="15" y="2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3" name="Freeform 121">
                <a:extLst>
                  <a:ext uri="{FF2B5EF4-FFF2-40B4-BE49-F238E27FC236}">
                    <a16:creationId xmlns:a16="http://schemas.microsoft.com/office/drawing/2014/main" id="{BDD2F821-504A-4880-94B5-0D04B3F1A4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5" y="1837"/>
                <a:ext cx="47" cy="73"/>
              </a:xfrm>
              <a:custGeom>
                <a:avLst/>
                <a:gdLst>
                  <a:gd name="T0" fmla="*/ 24 w 47"/>
                  <a:gd name="T1" fmla="*/ 73 h 73"/>
                  <a:gd name="T2" fmla="*/ 0 w 47"/>
                  <a:gd name="T3" fmla="*/ 8 h 73"/>
                  <a:gd name="T4" fmla="*/ 23 w 47"/>
                  <a:gd name="T5" fmla="*/ 0 h 73"/>
                  <a:gd name="T6" fmla="*/ 47 w 47"/>
                  <a:gd name="T7" fmla="*/ 65 h 73"/>
                  <a:gd name="T8" fmla="*/ 24 w 47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3">
                    <a:moveTo>
                      <a:pt x="24" y="73"/>
                    </a:moveTo>
                    <a:lnTo>
                      <a:pt x="0" y="8"/>
                    </a:lnTo>
                    <a:lnTo>
                      <a:pt x="23" y="0"/>
                    </a:lnTo>
                    <a:lnTo>
                      <a:pt x="47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81D4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4" name="Freeform 122">
                <a:extLst>
                  <a:ext uri="{FF2B5EF4-FFF2-40B4-BE49-F238E27FC236}">
                    <a16:creationId xmlns:a16="http://schemas.microsoft.com/office/drawing/2014/main" id="{74E1474D-72B8-4E21-99E0-C0EA235A4C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1846"/>
                <a:ext cx="46" cy="74"/>
              </a:xfrm>
              <a:custGeom>
                <a:avLst/>
                <a:gdLst>
                  <a:gd name="T0" fmla="*/ 24 w 46"/>
                  <a:gd name="T1" fmla="*/ 74 h 74"/>
                  <a:gd name="T2" fmla="*/ 0 w 46"/>
                  <a:gd name="T3" fmla="*/ 8 h 74"/>
                  <a:gd name="T4" fmla="*/ 22 w 46"/>
                  <a:gd name="T5" fmla="*/ 0 h 74"/>
                  <a:gd name="T6" fmla="*/ 46 w 46"/>
                  <a:gd name="T7" fmla="*/ 65 h 74"/>
                  <a:gd name="T8" fmla="*/ 24 w 46"/>
                  <a:gd name="T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4">
                    <a:moveTo>
                      <a:pt x="24" y="74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4"/>
                    </a:lnTo>
                    <a:close/>
                  </a:path>
                </a:pathLst>
              </a:custGeom>
              <a:solidFill>
                <a:srgbClr val="4FC3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5" name="Freeform 123">
                <a:extLst>
                  <a:ext uri="{FF2B5EF4-FFF2-40B4-BE49-F238E27FC236}">
                    <a16:creationId xmlns:a16="http://schemas.microsoft.com/office/drawing/2014/main" id="{B46B7594-62AF-4D46-B95E-6CEC97D81D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3" y="1856"/>
                <a:ext cx="46" cy="73"/>
              </a:xfrm>
              <a:custGeom>
                <a:avLst/>
                <a:gdLst>
                  <a:gd name="T0" fmla="*/ 24 w 46"/>
                  <a:gd name="T1" fmla="*/ 73 h 73"/>
                  <a:gd name="T2" fmla="*/ 0 w 46"/>
                  <a:gd name="T3" fmla="*/ 8 h 73"/>
                  <a:gd name="T4" fmla="*/ 22 w 46"/>
                  <a:gd name="T5" fmla="*/ 0 h 73"/>
                  <a:gd name="T6" fmla="*/ 46 w 46"/>
                  <a:gd name="T7" fmla="*/ 65 h 73"/>
                  <a:gd name="T8" fmla="*/ 24 w 46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24" y="73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29B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6" name="Freeform 124">
                <a:extLst>
                  <a:ext uri="{FF2B5EF4-FFF2-40B4-BE49-F238E27FC236}">
                    <a16:creationId xmlns:a16="http://schemas.microsoft.com/office/drawing/2014/main" id="{E36BE161-1C98-4A65-9E28-29C9BF2FD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6" y="1866"/>
                <a:ext cx="47" cy="73"/>
              </a:xfrm>
              <a:custGeom>
                <a:avLst/>
                <a:gdLst>
                  <a:gd name="T0" fmla="*/ 24 w 47"/>
                  <a:gd name="T1" fmla="*/ 73 h 73"/>
                  <a:gd name="T2" fmla="*/ 0 w 47"/>
                  <a:gd name="T3" fmla="*/ 8 h 73"/>
                  <a:gd name="T4" fmla="*/ 23 w 47"/>
                  <a:gd name="T5" fmla="*/ 0 h 73"/>
                  <a:gd name="T6" fmla="*/ 47 w 47"/>
                  <a:gd name="T7" fmla="*/ 64 h 73"/>
                  <a:gd name="T8" fmla="*/ 24 w 47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3">
                    <a:moveTo>
                      <a:pt x="24" y="73"/>
                    </a:moveTo>
                    <a:lnTo>
                      <a:pt x="0" y="8"/>
                    </a:lnTo>
                    <a:lnTo>
                      <a:pt x="23" y="0"/>
                    </a:lnTo>
                    <a:lnTo>
                      <a:pt x="47" y="64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03A9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7" name="Freeform 125">
                <a:extLst>
                  <a:ext uri="{FF2B5EF4-FFF2-40B4-BE49-F238E27FC236}">
                    <a16:creationId xmlns:a16="http://schemas.microsoft.com/office/drawing/2014/main" id="{FFD2CA59-B02F-40A9-BF67-2DE923216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0" y="1875"/>
                <a:ext cx="47" cy="74"/>
              </a:xfrm>
              <a:custGeom>
                <a:avLst/>
                <a:gdLst>
                  <a:gd name="T0" fmla="*/ 24 w 47"/>
                  <a:gd name="T1" fmla="*/ 74 h 74"/>
                  <a:gd name="T2" fmla="*/ 0 w 47"/>
                  <a:gd name="T3" fmla="*/ 9 h 74"/>
                  <a:gd name="T4" fmla="*/ 22 w 47"/>
                  <a:gd name="T5" fmla="*/ 0 h 74"/>
                  <a:gd name="T6" fmla="*/ 47 w 47"/>
                  <a:gd name="T7" fmla="*/ 65 h 74"/>
                  <a:gd name="T8" fmla="*/ 24 w 47"/>
                  <a:gd name="T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74">
                    <a:moveTo>
                      <a:pt x="24" y="74"/>
                    </a:moveTo>
                    <a:lnTo>
                      <a:pt x="0" y="9"/>
                    </a:lnTo>
                    <a:lnTo>
                      <a:pt x="22" y="0"/>
                    </a:lnTo>
                    <a:lnTo>
                      <a:pt x="47" y="65"/>
                    </a:lnTo>
                    <a:lnTo>
                      <a:pt x="24" y="74"/>
                    </a:lnTo>
                    <a:close/>
                  </a:path>
                </a:pathLst>
              </a:custGeom>
              <a:solidFill>
                <a:srgbClr val="039B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8" name="Freeform 126">
                <a:extLst>
                  <a:ext uri="{FF2B5EF4-FFF2-40B4-BE49-F238E27FC236}">
                    <a16:creationId xmlns:a16="http://schemas.microsoft.com/office/drawing/2014/main" id="{1D05BC67-9929-44B7-83A6-5BA3D2873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" y="1885"/>
                <a:ext cx="46" cy="73"/>
              </a:xfrm>
              <a:custGeom>
                <a:avLst/>
                <a:gdLst>
                  <a:gd name="T0" fmla="*/ 24 w 46"/>
                  <a:gd name="T1" fmla="*/ 73 h 73"/>
                  <a:gd name="T2" fmla="*/ 0 w 46"/>
                  <a:gd name="T3" fmla="*/ 8 h 73"/>
                  <a:gd name="T4" fmla="*/ 22 w 46"/>
                  <a:gd name="T5" fmla="*/ 0 h 73"/>
                  <a:gd name="T6" fmla="*/ 46 w 46"/>
                  <a:gd name="T7" fmla="*/ 65 h 73"/>
                  <a:gd name="T8" fmla="*/ 24 w 46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73">
                    <a:moveTo>
                      <a:pt x="24" y="73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46" y="65"/>
                    </a:lnTo>
                    <a:lnTo>
                      <a:pt x="24" y="73"/>
                    </a:lnTo>
                    <a:close/>
                  </a:path>
                </a:pathLst>
              </a:custGeom>
              <a:solidFill>
                <a:srgbClr val="0288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9" name="Freeform 127">
                <a:extLst>
                  <a:ext uri="{FF2B5EF4-FFF2-40B4-BE49-F238E27FC236}">
                    <a16:creationId xmlns:a16="http://schemas.microsoft.com/office/drawing/2014/main" id="{F6B8E404-D271-410F-9E05-9DAF97083D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6" y="1924"/>
                <a:ext cx="18" cy="19"/>
              </a:xfrm>
              <a:custGeom>
                <a:avLst/>
                <a:gdLst>
                  <a:gd name="T0" fmla="*/ 22 w 33"/>
                  <a:gd name="T1" fmla="*/ 31 h 34"/>
                  <a:gd name="T2" fmla="*/ 2 w 33"/>
                  <a:gd name="T3" fmla="*/ 22 h 34"/>
                  <a:gd name="T4" fmla="*/ 11 w 33"/>
                  <a:gd name="T5" fmla="*/ 3 h 34"/>
                  <a:gd name="T6" fmla="*/ 30 w 33"/>
                  <a:gd name="T7" fmla="*/ 12 h 34"/>
                  <a:gd name="T8" fmla="*/ 22 w 33"/>
                  <a:gd name="T9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4">
                    <a:moveTo>
                      <a:pt x="22" y="31"/>
                    </a:moveTo>
                    <a:cubicBezTo>
                      <a:pt x="14" y="34"/>
                      <a:pt x="5" y="30"/>
                      <a:pt x="2" y="22"/>
                    </a:cubicBezTo>
                    <a:cubicBezTo>
                      <a:pt x="0" y="15"/>
                      <a:pt x="4" y="6"/>
                      <a:pt x="11" y="3"/>
                    </a:cubicBezTo>
                    <a:cubicBezTo>
                      <a:pt x="19" y="0"/>
                      <a:pt x="28" y="4"/>
                      <a:pt x="30" y="12"/>
                    </a:cubicBezTo>
                    <a:cubicBezTo>
                      <a:pt x="33" y="20"/>
                      <a:pt x="29" y="28"/>
                      <a:pt x="22" y="31"/>
                    </a:cubicBezTo>
                    <a:close/>
                  </a:path>
                </a:pathLst>
              </a:custGeom>
              <a:solidFill>
                <a:srgbClr val="2929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0" name="Freeform 128">
                <a:extLst>
                  <a:ext uri="{FF2B5EF4-FFF2-40B4-BE49-F238E27FC236}">
                    <a16:creationId xmlns:a16="http://schemas.microsoft.com/office/drawing/2014/main" id="{9ED94142-CE4D-400D-BF8C-381737330E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14"/>
                <a:ext cx="492" cy="389"/>
              </a:xfrm>
              <a:custGeom>
                <a:avLst/>
                <a:gdLst>
                  <a:gd name="T0" fmla="*/ 729 w 900"/>
                  <a:gd name="T1" fmla="*/ 705 h 711"/>
                  <a:gd name="T2" fmla="*/ 34 w 900"/>
                  <a:gd name="T3" fmla="*/ 519 h 711"/>
                  <a:gd name="T4" fmla="*/ 6 w 900"/>
                  <a:gd name="T5" fmla="*/ 471 h 711"/>
                  <a:gd name="T6" fmla="*/ 123 w 900"/>
                  <a:gd name="T7" fmla="*/ 34 h 711"/>
                  <a:gd name="T8" fmla="*/ 172 w 900"/>
                  <a:gd name="T9" fmla="*/ 6 h 711"/>
                  <a:gd name="T10" fmla="*/ 866 w 900"/>
                  <a:gd name="T11" fmla="*/ 192 h 711"/>
                  <a:gd name="T12" fmla="*/ 894 w 900"/>
                  <a:gd name="T13" fmla="*/ 240 h 711"/>
                  <a:gd name="T14" fmla="*/ 777 w 900"/>
                  <a:gd name="T15" fmla="*/ 677 h 711"/>
                  <a:gd name="T16" fmla="*/ 729 w 900"/>
                  <a:gd name="T17" fmla="*/ 705 h 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0" h="711">
                    <a:moveTo>
                      <a:pt x="729" y="705"/>
                    </a:moveTo>
                    <a:cubicBezTo>
                      <a:pt x="34" y="519"/>
                      <a:pt x="34" y="519"/>
                      <a:pt x="34" y="519"/>
                    </a:cubicBezTo>
                    <a:cubicBezTo>
                      <a:pt x="13" y="514"/>
                      <a:pt x="0" y="492"/>
                      <a:pt x="6" y="471"/>
                    </a:cubicBezTo>
                    <a:cubicBezTo>
                      <a:pt x="123" y="34"/>
                      <a:pt x="123" y="34"/>
                      <a:pt x="123" y="34"/>
                    </a:cubicBezTo>
                    <a:cubicBezTo>
                      <a:pt x="129" y="12"/>
                      <a:pt x="151" y="0"/>
                      <a:pt x="172" y="6"/>
                    </a:cubicBezTo>
                    <a:cubicBezTo>
                      <a:pt x="866" y="192"/>
                      <a:pt x="866" y="192"/>
                      <a:pt x="866" y="192"/>
                    </a:cubicBezTo>
                    <a:cubicBezTo>
                      <a:pt x="888" y="197"/>
                      <a:pt x="900" y="219"/>
                      <a:pt x="894" y="240"/>
                    </a:cubicBezTo>
                    <a:cubicBezTo>
                      <a:pt x="777" y="677"/>
                      <a:pt x="777" y="677"/>
                      <a:pt x="777" y="677"/>
                    </a:cubicBezTo>
                    <a:cubicBezTo>
                      <a:pt x="772" y="698"/>
                      <a:pt x="750" y="711"/>
                      <a:pt x="729" y="705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1" name="Freeform 129">
                <a:extLst>
                  <a:ext uri="{FF2B5EF4-FFF2-40B4-BE49-F238E27FC236}">
                    <a16:creationId xmlns:a16="http://schemas.microsoft.com/office/drawing/2014/main" id="{929AA544-EC89-400D-A01F-6076D4388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2239"/>
                <a:ext cx="253" cy="299"/>
              </a:xfrm>
              <a:custGeom>
                <a:avLst/>
                <a:gdLst>
                  <a:gd name="T0" fmla="*/ 462 w 462"/>
                  <a:gd name="T1" fmla="*/ 87 h 548"/>
                  <a:gd name="T2" fmla="*/ 152 w 462"/>
                  <a:gd name="T3" fmla="*/ 5 h 548"/>
                  <a:gd name="T4" fmla="*/ 111 w 462"/>
                  <a:gd name="T5" fmla="*/ 28 h 548"/>
                  <a:gd name="T6" fmla="*/ 5 w 462"/>
                  <a:gd name="T7" fmla="*/ 424 h 548"/>
                  <a:gd name="T8" fmla="*/ 29 w 462"/>
                  <a:gd name="T9" fmla="*/ 465 h 548"/>
                  <a:gd name="T10" fmla="*/ 338 w 462"/>
                  <a:gd name="T11" fmla="*/ 548 h 548"/>
                  <a:gd name="T12" fmla="*/ 462 w 462"/>
                  <a:gd name="T13" fmla="*/ 87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8">
                    <a:moveTo>
                      <a:pt x="462" y="87"/>
                    </a:moveTo>
                    <a:cubicBezTo>
                      <a:pt x="152" y="5"/>
                      <a:pt x="152" y="5"/>
                      <a:pt x="152" y="5"/>
                    </a:cubicBezTo>
                    <a:cubicBezTo>
                      <a:pt x="134" y="0"/>
                      <a:pt x="116" y="10"/>
                      <a:pt x="111" y="28"/>
                    </a:cubicBezTo>
                    <a:cubicBezTo>
                      <a:pt x="5" y="424"/>
                      <a:pt x="5" y="424"/>
                      <a:pt x="5" y="424"/>
                    </a:cubicBezTo>
                    <a:cubicBezTo>
                      <a:pt x="0" y="442"/>
                      <a:pt x="11" y="461"/>
                      <a:pt x="29" y="465"/>
                    </a:cubicBezTo>
                    <a:cubicBezTo>
                      <a:pt x="338" y="548"/>
                      <a:pt x="338" y="548"/>
                      <a:pt x="338" y="548"/>
                    </a:cubicBezTo>
                    <a:cubicBezTo>
                      <a:pt x="462" y="87"/>
                      <a:pt x="462" y="87"/>
                      <a:pt x="462" y="87"/>
                    </a:cubicBezTo>
                  </a:path>
                </a:pathLst>
              </a:custGeom>
              <a:solidFill>
                <a:srgbClr val="454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2" name="Freeform 130">
                <a:extLst>
                  <a:ext uri="{FF2B5EF4-FFF2-40B4-BE49-F238E27FC236}">
                    <a16:creationId xmlns:a16="http://schemas.microsoft.com/office/drawing/2014/main" id="{D781287F-E95B-4B89-B4CC-A35700D4BA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4" y="2289"/>
                <a:ext cx="253" cy="299"/>
              </a:xfrm>
              <a:custGeom>
                <a:avLst/>
                <a:gdLst>
                  <a:gd name="T0" fmla="*/ 124 w 462"/>
                  <a:gd name="T1" fmla="*/ 0 h 549"/>
                  <a:gd name="T2" fmla="*/ 0 w 462"/>
                  <a:gd name="T3" fmla="*/ 461 h 549"/>
                  <a:gd name="T4" fmla="*/ 310 w 462"/>
                  <a:gd name="T5" fmla="*/ 544 h 549"/>
                  <a:gd name="T6" fmla="*/ 351 w 462"/>
                  <a:gd name="T7" fmla="*/ 520 h 549"/>
                  <a:gd name="T8" fmla="*/ 457 w 462"/>
                  <a:gd name="T9" fmla="*/ 124 h 549"/>
                  <a:gd name="T10" fmla="*/ 434 w 462"/>
                  <a:gd name="T11" fmla="*/ 83 h 549"/>
                  <a:gd name="T12" fmla="*/ 124 w 462"/>
                  <a:gd name="T13" fmla="*/ 0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9">
                    <a:moveTo>
                      <a:pt x="124" y="0"/>
                    </a:moveTo>
                    <a:cubicBezTo>
                      <a:pt x="0" y="461"/>
                      <a:pt x="0" y="461"/>
                      <a:pt x="0" y="461"/>
                    </a:cubicBezTo>
                    <a:cubicBezTo>
                      <a:pt x="310" y="544"/>
                      <a:pt x="310" y="544"/>
                      <a:pt x="310" y="544"/>
                    </a:cubicBezTo>
                    <a:cubicBezTo>
                      <a:pt x="328" y="549"/>
                      <a:pt x="346" y="538"/>
                      <a:pt x="351" y="520"/>
                    </a:cubicBezTo>
                    <a:cubicBezTo>
                      <a:pt x="457" y="124"/>
                      <a:pt x="457" y="124"/>
                      <a:pt x="457" y="124"/>
                    </a:cubicBezTo>
                    <a:cubicBezTo>
                      <a:pt x="462" y="106"/>
                      <a:pt x="451" y="88"/>
                      <a:pt x="434" y="83"/>
                    </a:cubicBezTo>
                    <a:cubicBezTo>
                      <a:pt x="124" y="0"/>
                      <a:pt x="124" y="0"/>
                      <a:pt x="124" y="0"/>
                    </a:cubicBezTo>
                  </a:path>
                </a:pathLst>
              </a:custGeom>
              <a:solidFill>
                <a:srgbClr val="454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3" name="Freeform 131">
                <a:extLst>
                  <a:ext uri="{FF2B5EF4-FFF2-40B4-BE49-F238E27FC236}">
                    <a16:creationId xmlns:a16="http://schemas.microsoft.com/office/drawing/2014/main" id="{3A7A8ECC-86C1-4AB3-A109-4BEB37B6E4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9" y="2234"/>
                <a:ext cx="252" cy="299"/>
              </a:xfrm>
              <a:custGeom>
                <a:avLst/>
                <a:gdLst>
                  <a:gd name="T0" fmla="*/ 461 w 461"/>
                  <a:gd name="T1" fmla="*/ 87 h 548"/>
                  <a:gd name="T2" fmla="*/ 152 w 461"/>
                  <a:gd name="T3" fmla="*/ 4 h 548"/>
                  <a:gd name="T4" fmla="*/ 111 w 461"/>
                  <a:gd name="T5" fmla="*/ 28 h 548"/>
                  <a:gd name="T6" fmla="*/ 5 w 461"/>
                  <a:gd name="T7" fmla="*/ 424 h 548"/>
                  <a:gd name="T8" fmla="*/ 28 w 461"/>
                  <a:gd name="T9" fmla="*/ 465 h 548"/>
                  <a:gd name="T10" fmla="*/ 338 w 461"/>
                  <a:gd name="T11" fmla="*/ 548 h 548"/>
                  <a:gd name="T12" fmla="*/ 461 w 461"/>
                  <a:gd name="T13" fmla="*/ 87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1" h="548">
                    <a:moveTo>
                      <a:pt x="461" y="87"/>
                    </a:moveTo>
                    <a:cubicBezTo>
                      <a:pt x="152" y="4"/>
                      <a:pt x="152" y="4"/>
                      <a:pt x="152" y="4"/>
                    </a:cubicBezTo>
                    <a:cubicBezTo>
                      <a:pt x="134" y="0"/>
                      <a:pt x="115" y="10"/>
                      <a:pt x="111" y="28"/>
                    </a:cubicBezTo>
                    <a:cubicBezTo>
                      <a:pt x="5" y="424"/>
                      <a:pt x="5" y="424"/>
                      <a:pt x="5" y="424"/>
                    </a:cubicBezTo>
                    <a:cubicBezTo>
                      <a:pt x="0" y="442"/>
                      <a:pt x="10" y="460"/>
                      <a:pt x="28" y="465"/>
                    </a:cubicBezTo>
                    <a:cubicBezTo>
                      <a:pt x="338" y="548"/>
                      <a:pt x="338" y="548"/>
                      <a:pt x="338" y="548"/>
                    </a:cubicBezTo>
                    <a:cubicBezTo>
                      <a:pt x="461" y="87"/>
                      <a:pt x="461" y="87"/>
                      <a:pt x="461" y="87"/>
                    </a:cubicBezTo>
                  </a:path>
                </a:pathLst>
              </a:cu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4" name="Freeform 132">
                <a:extLst>
                  <a:ext uri="{FF2B5EF4-FFF2-40B4-BE49-F238E27FC236}">
                    <a16:creationId xmlns:a16="http://schemas.microsoft.com/office/drawing/2014/main" id="{0E2781FA-0F5E-4D2B-9452-AA49BBBDE9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1" y="2284"/>
                <a:ext cx="253" cy="299"/>
              </a:xfrm>
              <a:custGeom>
                <a:avLst/>
                <a:gdLst>
                  <a:gd name="T0" fmla="*/ 123 w 462"/>
                  <a:gd name="T1" fmla="*/ 0 h 548"/>
                  <a:gd name="T2" fmla="*/ 0 w 462"/>
                  <a:gd name="T3" fmla="*/ 461 h 548"/>
                  <a:gd name="T4" fmla="*/ 310 w 462"/>
                  <a:gd name="T5" fmla="*/ 544 h 548"/>
                  <a:gd name="T6" fmla="*/ 351 w 462"/>
                  <a:gd name="T7" fmla="*/ 520 h 548"/>
                  <a:gd name="T8" fmla="*/ 457 w 462"/>
                  <a:gd name="T9" fmla="*/ 124 h 548"/>
                  <a:gd name="T10" fmla="*/ 433 w 462"/>
                  <a:gd name="T11" fmla="*/ 83 h 548"/>
                  <a:gd name="T12" fmla="*/ 123 w 462"/>
                  <a:gd name="T13" fmla="*/ 0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548">
                    <a:moveTo>
                      <a:pt x="123" y="0"/>
                    </a:moveTo>
                    <a:cubicBezTo>
                      <a:pt x="0" y="461"/>
                      <a:pt x="0" y="461"/>
                      <a:pt x="0" y="461"/>
                    </a:cubicBezTo>
                    <a:cubicBezTo>
                      <a:pt x="310" y="544"/>
                      <a:pt x="310" y="544"/>
                      <a:pt x="310" y="544"/>
                    </a:cubicBezTo>
                    <a:cubicBezTo>
                      <a:pt x="328" y="548"/>
                      <a:pt x="346" y="538"/>
                      <a:pt x="351" y="520"/>
                    </a:cubicBezTo>
                    <a:cubicBezTo>
                      <a:pt x="457" y="124"/>
                      <a:pt x="457" y="124"/>
                      <a:pt x="457" y="124"/>
                    </a:cubicBezTo>
                    <a:cubicBezTo>
                      <a:pt x="462" y="106"/>
                      <a:pt x="451" y="88"/>
                      <a:pt x="433" y="83"/>
                    </a:cubicBezTo>
                    <a:cubicBezTo>
                      <a:pt x="123" y="0"/>
                      <a:pt x="123" y="0"/>
                      <a:pt x="123" y="0"/>
                    </a:cubicBezTo>
                  </a:path>
                </a:pathLst>
              </a:cu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5" name="Freeform 133">
                <a:extLst>
                  <a:ext uri="{FF2B5EF4-FFF2-40B4-BE49-F238E27FC236}">
                    <a16:creationId xmlns:a16="http://schemas.microsoft.com/office/drawing/2014/main" id="{F75E5D12-B8DA-4CA5-BD74-245710789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2" y="2281"/>
                <a:ext cx="249" cy="252"/>
              </a:xfrm>
              <a:custGeom>
                <a:avLst/>
                <a:gdLst>
                  <a:gd name="T0" fmla="*/ 451 w 455"/>
                  <a:gd name="T1" fmla="*/ 0 h 462"/>
                  <a:gd name="T2" fmla="*/ 329 w 455"/>
                  <a:gd name="T3" fmla="*/ 457 h 462"/>
                  <a:gd name="T4" fmla="*/ 19 w 455"/>
                  <a:gd name="T5" fmla="*/ 374 h 462"/>
                  <a:gd name="T6" fmla="*/ 0 w 455"/>
                  <a:gd name="T7" fmla="*/ 361 h 462"/>
                  <a:gd name="T8" fmla="*/ 22 w 455"/>
                  <a:gd name="T9" fmla="*/ 379 h 462"/>
                  <a:gd name="T10" fmla="*/ 332 w 455"/>
                  <a:gd name="T11" fmla="*/ 462 h 462"/>
                  <a:gd name="T12" fmla="*/ 455 w 455"/>
                  <a:gd name="T13" fmla="*/ 1 h 462"/>
                  <a:gd name="T14" fmla="*/ 451 w 455"/>
                  <a:gd name="T15" fmla="*/ 0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5" h="462">
                    <a:moveTo>
                      <a:pt x="451" y="0"/>
                    </a:moveTo>
                    <a:cubicBezTo>
                      <a:pt x="329" y="457"/>
                      <a:pt x="329" y="457"/>
                      <a:pt x="329" y="457"/>
                    </a:cubicBezTo>
                    <a:cubicBezTo>
                      <a:pt x="19" y="374"/>
                      <a:pt x="19" y="374"/>
                      <a:pt x="19" y="374"/>
                    </a:cubicBezTo>
                    <a:cubicBezTo>
                      <a:pt x="11" y="372"/>
                      <a:pt x="5" y="367"/>
                      <a:pt x="0" y="361"/>
                    </a:cubicBezTo>
                    <a:cubicBezTo>
                      <a:pt x="4" y="369"/>
                      <a:pt x="12" y="376"/>
                      <a:pt x="22" y="379"/>
                    </a:cubicBezTo>
                    <a:cubicBezTo>
                      <a:pt x="332" y="462"/>
                      <a:pt x="332" y="462"/>
                      <a:pt x="332" y="462"/>
                    </a:cubicBezTo>
                    <a:cubicBezTo>
                      <a:pt x="455" y="1"/>
                      <a:pt x="455" y="1"/>
                      <a:pt x="455" y="1"/>
                    </a:cubicBezTo>
                    <a:cubicBezTo>
                      <a:pt x="451" y="0"/>
                      <a:pt x="451" y="0"/>
                      <a:pt x="451" y="0"/>
                    </a:cubicBezTo>
                  </a:path>
                </a:pathLst>
              </a:custGeom>
              <a:solidFill>
                <a:srgbClr val="D6D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6" name="Freeform 134">
                <a:extLst>
                  <a:ext uri="{FF2B5EF4-FFF2-40B4-BE49-F238E27FC236}">
                    <a16:creationId xmlns:a16="http://schemas.microsoft.com/office/drawing/2014/main" id="{6F6C67F7-A486-4D39-9157-733A17DD2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1" y="2336"/>
                <a:ext cx="252" cy="247"/>
              </a:xfrm>
              <a:custGeom>
                <a:avLst/>
                <a:gdLst>
                  <a:gd name="T0" fmla="*/ 452 w 460"/>
                  <a:gd name="T1" fmla="*/ 0 h 452"/>
                  <a:gd name="T2" fmla="*/ 454 w 460"/>
                  <a:gd name="T3" fmla="*/ 22 h 452"/>
                  <a:gd name="T4" fmla="*/ 348 w 460"/>
                  <a:gd name="T5" fmla="*/ 418 h 452"/>
                  <a:gd name="T6" fmla="*/ 307 w 460"/>
                  <a:gd name="T7" fmla="*/ 442 h 452"/>
                  <a:gd name="T8" fmla="*/ 1 w 460"/>
                  <a:gd name="T9" fmla="*/ 360 h 452"/>
                  <a:gd name="T10" fmla="*/ 0 w 460"/>
                  <a:gd name="T11" fmla="*/ 365 h 452"/>
                  <a:gd name="T12" fmla="*/ 310 w 460"/>
                  <a:gd name="T13" fmla="*/ 448 h 452"/>
                  <a:gd name="T14" fmla="*/ 351 w 460"/>
                  <a:gd name="T15" fmla="*/ 424 h 452"/>
                  <a:gd name="T16" fmla="*/ 457 w 460"/>
                  <a:gd name="T17" fmla="*/ 28 h 452"/>
                  <a:gd name="T18" fmla="*/ 452 w 460"/>
                  <a:gd name="T19" fmla="*/ 0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0" h="452">
                    <a:moveTo>
                      <a:pt x="452" y="0"/>
                    </a:moveTo>
                    <a:cubicBezTo>
                      <a:pt x="455" y="7"/>
                      <a:pt x="456" y="15"/>
                      <a:pt x="454" y="22"/>
                    </a:cubicBezTo>
                    <a:cubicBezTo>
                      <a:pt x="348" y="418"/>
                      <a:pt x="348" y="418"/>
                      <a:pt x="348" y="418"/>
                    </a:cubicBezTo>
                    <a:cubicBezTo>
                      <a:pt x="343" y="436"/>
                      <a:pt x="324" y="447"/>
                      <a:pt x="307" y="442"/>
                    </a:cubicBezTo>
                    <a:cubicBezTo>
                      <a:pt x="1" y="360"/>
                      <a:pt x="1" y="360"/>
                      <a:pt x="1" y="360"/>
                    </a:cubicBezTo>
                    <a:cubicBezTo>
                      <a:pt x="0" y="365"/>
                      <a:pt x="0" y="365"/>
                      <a:pt x="0" y="365"/>
                    </a:cubicBezTo>
                    <a:cubicBezTo>
                      <a:pt x="310" y="448"/>
                      <a:pt x="310" y="448"/>
                      <a:pt x="310" y="448"/>
                    </a:cubicBezTo>
                    <a:cubicBezTo>
                      <a:pt x="328" y="452"/>
                      <a:pt x="346" y="442"/>
                      <a:pt x="351" y="424"/>
                    </a:cubicBezTo>
                    <a:cubicBezTo>
                      <a:pt x="457" y="28"/>
                      <a:pt x="457" y="28"/>
                      <a:pt x="457" y="28"/>
                    </a:cubicBezTo>
                    <a:cubicBezTo>
                      <a:pt x="460" y="18"/>
                      <a:pt x="457" y="8"/>
                      <a:pt x="452" y="0"/>
                    </a:cubicBezTo>
                    <a:close/>
                  </a:path>
                </a:pathLst>
              </a:custGeom>
              <a:solidFill>
                <a:srgbClr val="D6D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7" name="Freeform 135">
                <a:extLst>
                  <a:ext uri="{FF2B5EF4-FFF2-40B4-BE49-F238E27FC236}">
                    <a16:creationId xmlns:a16="http://schemas.microsoft.com/office/drawing/2014/main" id="{D0557176-3D17-4324-8754-7AA2CAF2B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8" y="2301"/>
                <a:ext cx="10" cy="9"/>
              </a:xfrm>
              <a:custGeom>
                <a:avLst/>
                <a:gdLst>
                  <a:gd name="T0" fmla="*/ 16 w 17"/>
                  <a:gd name="T1" fmla="*/ 10 h 16"/>
                  <a:gd name="T2" fmla="*/ 6 w 17"/>
                  <a:gd name="T3" fmla="*/ 15 h 16"/>
                  <a:gd name="T4" fmla="*/ 1 w 17"/>
                  <a:gd name="T5" fmla="*/ 6 h 16"/>
                  <a:gd name="T6" fmla="*/ 10 w 17"/>
                  <a:gd name="T7" fmla="*/ 1 h 16"/>
                  <a:gd name="T8" fmla="*/ 16 w 17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6">
                    <a:moveTo>
                      <a:pt x="16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7" y="6"/>
                      <a:pt x="16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8" name="Freeform 136">
                <a:extLst>
                  <a:ext uri="{FF2B5EF4-FFF2-40B4-BE49-F238E27FC236}">
                    <a16:creationId xmlns:a16="http://schemas.microsoft.com/office/drawing/2014/main" id="{452F5131-FBC4-431E-9881-F2D0BAAC8F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8" y="2341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5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9" name="Freeform 137">
                <a:extLst>
                  <a:ext uri="{FF2B5EF4-FFF2-40B4-BE49-F238E27FC236}">
                    <a16:creationId xmlns:a16="http://schemas.microsoft.com/office/drawing/2014/main" id="{9E0AA0F9-CDB4-44C5-92CE-983366CB74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7" y="2380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6 w 17"/>
                  <a:gd name="T3" fmla="*/ 16 h 17"/>
                  <a:gd name="T4" fmla="*/ 1 w 17"/>
                  <a:gd name="T5" fmla="*/ 7 h 17"/>
                  <a:gd name="T6" fmla="*/ 10 w 17"/>
                  <a:gd name="T7" fmla="*/ 2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0" y="17"/>
                      <a:pt x="6" y="16"/>
                    </a:cubicBezTo>
                    <a:cubicBezTo>
                      <a:pt x="2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2"/>
                    </a:cubicBezTo>
                    <a:cubicBezTo>
                      <a:pt x="14" y="3"/>
                      <a:pt x="17" y="7"/>
                      <a:pt x="16" y="11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0" name="Freeform 138">
                <a:extLst>
                  <a:ext uri="{FF2B5EF4-FFF2-40B4-BE49-F238E27FC236}">
                    <a16:creationId xmlns:a16="http://schemas.microsoft.com/office/drawing/2014/main" id="{B069C2DA-3D81-4ECD-9BBA-D3606A29E9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5" y="2499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1" name="Freeform 139">
                <a:extLst>
                  <a:ext uri="{FF2B5EF4-FFF2-40B4-BE49-F238E27FC236}">
                    <a16:creationId xmlns:a16="http://schemas.microsoft.com/office/drawing/2014/main" id="{C16E0FBA-C5A8-4B0F-ACB6-ED184B66D4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" y="2459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1 w 17"/>
                  <a:gd name="T7" fmla="*/ 2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7" y="0"/>
                      <a:pt x="11" y="2"/>
                    </a:cubicBezTo>
                    <a:cubicBezTo>
                      <a:pt x="15" y="3"/>
                      <a:pt x="17" y="7"/>
                      <a:pt x="16" y="11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2" name="Freeform 140">
                <a:extLst>
                  <a:ext uri="{FF2B5EF4-FFF2-40B4-BE49-F238E27FC236}">
                    <a16:creationId xmlns:a16="http://schemas.microsoft.com/office/drawing/2014/main" id="{9D8FFD49-F164-47E9-A903-62A9498860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6" y="2420"/>
                <a:ext cx="9" cy="9"/>
              </a:xfrm>
              <a:custGeom>
                <a:avLst/>
                <a:gdLst>
                  <a:gd name="T0" fmla="*/ 15 w 16"/>
                  <a:gd name="T1" fmla="*/ 10 h 17"/>
                  <a:gd name="T2" fmla="*/ 6 w 16"/>
                  <a:gd name="T3" fmla="*/ 16 h 17"/>
                  <a:gd name="T4" fmla="*/ 1 w 16"/>
                  <a:gd name="T5" fmla="*/ 6 h 17"/>
                  <a:gd name="T6" fmla="*/ 10 w 16"/>
                  <a:gd name="T7" fmla="*/ 1 h 17"/>
                  <a:gd name="T8" fmla="*/ 15 w 16"/>
                  <a:gd name="T9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5" y="10"/>
                    </a:moveTo>
                    <a:cubicBezTo>
                      <a:pt x="14" y="14"/>
                      <a:pt x="10" y="17"/>
                      <a:pt x="6" y="16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3" name="Freeform 141">
                <a:extLst>
                  <a:ext uri="{FF2B5EF4-FFF2-40B4-BE49-F238E27FC236}">
                    <a16:creationId xmlns:a16="http://schemas.microsoft.com/office/drawing/2014/main" id="{7196D28A-6498-4F67-A11F-9F5BF76DCA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8" y="2309"/>
                <a:ext cx="10" cy="9"/>
              </a:xfrm>
              <a:custGeom>
                <a:avLst/>
                <a:gdLst>
                  <a:gd name="T0" fmla="*/ 16 w 17"/>
                  <a:gd name="T1" fmla="*/ 11 h 17"/>
                  <a:gd name="T2" fmla="*/ 6 w 17"/>
                  <a:gd name="T3" fmla="*/ 16 h 17"/>
                  <a:gd name="T4" fmla="*/ 1 w 17"/>
                  <a:gd name="T5" fmla="*/ 7 h 17"/>
                  <a:gd name="T6" fmla="*/ 10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0" y="17"/>
                      <a:pt x="6" y="16"/>
                    </a:cubicBezTo>
                    <a:cubicBezTo>
                      <a:pt x="2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1"/>
                    </a:cubicBezTo>
                    <a:cubicBezTo>
                      <a:pt x="14" y="2"/>
                      <a:pt x="17" y="7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4" name="Freeform 142">
                <a:extLst>
                  <a:ext uri="{FF2B5EF4-FFF2-40B4-BE49-F238E27FC236}">
                    <a16:creationId xmlns:a16="http://schemas.microsoft.com/office/drawing/2014/main" id="{DFEEF809-7DE3-4CF5-9B6A-CA52D021E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" y="2349"/>
                <a:ext cx="9" cy="8"/>
              </a:xfrm>
              <a:custGeom>
                <a:avLst/>
                <a:gdLst>
                  <a:gd name="T0" fmla="*/ 15 w 16"/>
                  <a:gd name="T1" fmla="*/ 10 h 16"/>
                  <a:gd name="T2" fmla="*/ 6 w 16"/>
                  <a:gd name="T3" fmla="*/ 15 h 16"/>
                  <a:gd name="T4" fmla="*/ 1 w 16"/>
                  <a:gd name="T5" fmla="*/ 6 h 16"/>
                  <a:gd name="T6" fmla="*/ 10 w 16"/>
                  <a:gd name="T7" fmla="*/ 1 h 16"/>
                  <a:gd name="T8" fmla="*/ 15 w 16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5" name="Freeform 143">
                <a:extLst>
                  <a:ext uri="{FF2B5EF4-FFF2-40B4-BE49-F238E27FC236}">
                    <a16:creationId xmlns:a16="http://schemas.microsoft.com/office/drawing/2014/main" id="{27271D7D-6C8C-4898-B62F-50227D4D2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" y="2388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0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6" y="0"/>
                      <a:pt x="10" y="1"/>
                    </a:cubicBezTo>
                    <a:cubicBezTo>
                      <a:pt x="14" y="2"/>
                      <a:pt x="17" y="7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6" name="Freeform 144">
                <a:extLst>
                  <a:ext uri="{FF2B5EF4-FFF2-40B4-BE49-F238E27FC236}">
                    <a16:creationId xmlns:a16="http://schemas.microsoft.com/office/drawing/2014/main" id="{A01E69B0-9E9D-4800-A071-94D724630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507"/>
                <a:ext cx="10" cy="9"/>
              </a:xfrm>
              <a:custGeom>
                <a:avLst/>
                <a:gdLst>
                  <a:gd name="T0" fmla="*/ 15 w 17"/>
                  <a:gd name="T1" fmla="*/ 10 h 16"/>
                  <a:gd name="T2" fmla="*/ 6 w 17"/>
                  <a:gd name="T3" fmla="*/ 15 h 16"/>
                  <a:gd name="T4" fmla="*/ 1 w 17"/>
                  <a:gd name="T5" fmla="*/ 6 h 16"/>
                  <a:gd name="T6" fmla="*/ 10 w 17"/>
                  <a:gd name="T7" fmla="*/ 1 h 16"/>
                  <a:gd name="T8" fmla="*/ 15 w 17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7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7" name="Freeform 145">
                <a:extLst>
                  <a:ext uri="{FF2B5EF4-FFF2-40B4-BE49-F238E27FC236}">
                    <a16:creationId xmlns:a16="http://schemas.microsoft.com/office/drawing/2014/main" id="{97C5AAC5-A058-45DE-BE4F-788BFB4F9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" y="2467"/>
                <a:ext cx="9" cy="9"/>
              </a:xfrm>
              <a:custGeom>
                <a:avLst/>
                <a:gdLst>
                  <a:gd name="T0" fmla="*/ 16 w 17"/>
                  <a:gd name="T1" fmla="*/ 11 h 17"/>
                  <a:gd name="T2" fmla="*/ 7 w 17"/>
                  <a:gd name="T3" fmla="*/ 16 h 17"/>
                  <a:gd name="T4" fmla="*/ 1 w 17"/>
                  <a:gd name="T5" fmla="*/ 7 h 17"/>
                  <a:gd name="T6" fmla="*/ 11 w 17"/>
                  <a:gd name="T7" fmla="*/ 1 h 17"/>
                  <a:gd name="T8" fmla="*/ 16 w 17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6" y="11"/>
                    </a:moveTo>
                    <a:cubicBezTo>
                      <a:pt x="15" y="15"/>
                      <a:pt x="11" y="17"/>
                      <a:pt x="7" y="16"/>
                    </a:cubicBezTo>
                    <a:cubicBezTo>
                      <a:pt x="3" y="15"/>
                      <a:pt x="0" y="11"/>
                      <a:pt x="1" y="7"/>
                    </a:cubicBezTo>
                    <a:cubicBezTo>
                      <a:pt x="2" y="3"/>
                      <a:pt x="7" y="0"/>
                      <a:pt x="11" y="1"/>
                    </a:cubicBezTo>
                    <a:cubicBezTo>
                      <a:pt x="15" y="2"/>
                      <a:pt x="17" y="6"/>
                      <a:pt x="16" y="11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8" name="Freeform 146">
                <a:extLst>
                  <a:ext uri="{FF2B5EF4-FFF2-40B4-BE49-F238E27FC236}">
                    <a16:creationId xmlns:a16="http://schemas.microsoft.com/office/drawing/2014/main" id="{3FCABD4D-5EC9-47E5-B42A-32719E9DF6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28"/>
                <a:ext cx="8" cy="9"/>
              </a:xfrm>
              <a:custGeom>
                <a:avLst/>
                <a:gdLst>
                  <a:gd name="T0" fmla="*/ 15 w 16"/>
                  <a:gd name="T1" fmla="*/ 10 h 16"/>
                  <a:gd name="T2" fmla="*/ 6 w 16"/>
                  <a:gd name="T3" fmla="*/ 15 h 16"/>
                  <a:gd name="T4" fmla="*/ 1 w 16"/>
                  <a:gd name="T5" fmla="*/ 6 h 16"/>
                  <a:gd name="T6" fmla="*/ 10 w 16"/>
                  <a:gd name="T7" fmla="*/ 1 h 16"/>
                  <a:gd name="T8" fmla="*/ 15 w 16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10"/>
                    </a:moveTo>
                    <a:cubicBezTo>
                      <a:pt x="14" y="14"/>
                      <a:pt x="10" y="16"/>
                      <a:pt x="6" y="15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2" y="2"/>
                      <a:pt x="6" y="0"/>
                      <a:pt x="10" y="1"/>
                    </a:cubicBezTo>
                    <a:cubicBezTo>
                      <a:pt x="14" y="2"/>
                      <a:pt x="16" y="6"/>
                      <a:pt x="15" y="10"/>
                    </a:cubicBezTo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9" name="Freeform 147">
                <a:extLst>
                  <a:ext uri="{FF2B5EF4-FFF2-40B4-BE49-F238E27FC236}">
                    <a16:creationId xmlns:a16="http://schemas.microsoft.com/office/drawing/2014/main" id="{CC954639-0540-4E3E-B78E-901088D35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304"/>
                <a:ext cx="30" cy="11"/>
              </a:xfrm>
              <a:custGeom>
                <a:avLst/>
                <a:gdLst>
                  <a:gd name="T0" fmla="*/ 55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5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5" y="18"/>
                    </a:moveTo>
                    <a:cubicBezTo>
                      <a:pt x="55" y="19"/>
                      <a:pt x="54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2"/>
                      <a:pt x="1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5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0" name="Freeform 148">
                <a:extLst>
                  <a:ext uri="{FF2B5EF4-FFF2-40B4-BE49-F238E27FC236}">
                    <a16:creationId xmlns:a16="http://schemas.microsoft.com/office/drawing/2014/main" id="{C26C0854-DBE7-47BD-BECE-0B8C3B447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304"/>
                <a:ext cx="30" cy="9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4 w 55"/>
                  <a:gd name="T5" fmla="*/ 15 h 16"/>
                  <a:gd name="T6" fmla="*/ 55 w 55"/>
                  <a:gd name="T7" fmla="*/ 16 h 16"/>
                  <a:gd name="T8" fmla="*/ 53 w 55"/>
                  <a:gd name="T9" fmla="*/ 13 h 16"/>
                  <a:gd name="T10" fmla="*/ 5 w 55"/>
                  <a:gd name="T11" fmla="*/ 0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4" y="15"/>
                      <a:pt x="55" y="15"/>
                      <a:pt x="55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4"/>
                      <a:pt x="0" y="6"/>
                      <a:pt x="1" y="7"/>
                    </a:cubicBezTo>
                    <a:cubicBezTo>
                      <a:pt x="1" y="6"/>
                      <a:pt x="1" y="5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1" name="Freeform 149">
                <a:extLst>
                  <a:ext uri="{FF2B5EF4-FFF2-40B4-BE49-F238E27FC236}">
                    <a16:creationId xmlns:a16="http://schemas.microsoft.com/office/drawing/2014/main" id="{2BC59B2B-7C53-4333-94D6-E061631EBE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8" y="2308"/>
                <a:ext cx="4" cy="5"/>
              </a:xfrm>
              <a:custGeom>
                <a:avLst/>
                <a:gdLst>
                  <a:gd name="T0" fmla="*/ 0 w 4"/>
                  <a:gd name="T1" fmla="*/ 4 h 5"/>
                  <a:gd name="T2" fmla="*/ 0 w 4"/>
                  <a:gd name="T3" fmla="*/ 4 h 5"/>
                  <a:gd name="T4" fmla="*/ 3 w 4"/>
                  <a:gd name="T5" fmla="*/ 5 h 5"/>
                  <a:gd name="T6" fmla="*/ 3 w 4"/>
                  <a:gd name="T7" fmla="*/ 5 h 5"/>
                  <a:gd name="T8" fmla="*/ 0 w 4"/>
                  <a:gd name="T9" fmla="*/ 4 h 5"/>
                  <a:gd name="T10" fmla="*/ 1 w 4"/>
                  <a:gd name="T11" fmla="*/ 0 h 5"/>
                  <a:gd name="T12" fmla="*/ 1 w 4"/>
                  <a:gd name="T13" fmla="*/ 0 h 5"/>
                  <a:gd name="T14" fmla="*/ 4 w 4"/>
                  <a:gd name="T15" fmla="*/ 0 h 5"/>
                  <a:gd name="T16" fmla="*/ 4 w 4"/>
                  <a:gd name="T17" fmla="*/ 0 h 5"/>
                  <a:gd name="T18" fmla="*/ 1 w 4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5">
                    <a:moveTo>
                      <a:pt x="0" y="4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4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2" name="Freeform 150">
                <a:extLst>
                  <a:ext uri="{FF2B5EF4-FFF2-40B4-BE49-F238E27FC236}">
                    <a16:creationId xmlns:a16="http://schemas.microsoft.com/office/drawing/2014/main" id="{D98D57EF-CC79-4C01-8AFC-BEFECF1552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8" y="2308"/>
                <a:ext cx="4" cy="5"/>
              </a:xfrm>
              <a:custGeom>
                <a:avLst/>
                <a:gdLst>
                  <a:gd name="T0" fmla="*/ 0 w 4"/>
                  <a:gd name="T1" fmla="*/ 4 h 5"/>
                  <a:gd name="T2" fmla="*/ 0 w 4"/>
                  <a:gd name="T3" fmla="*/ 4 h 5"/>
                  <a:gd name="T4" fmla="*/ 3 w 4"/>
                  <a:gd name="T5" fmla="*/ 5 h 5"/>
                  <a:gd name="T6" fmla="*/ 3 w 4"/>
                  <a:gd name="T7" fmla="*/ 5 h 5"/>
                  <a:gd name="T8" fmla="*/ 0 w 4"/>
                  <a:gd name="T9" fmla="*/ 4 h 5"/>
                  <a:gd name="T10" fmla="*/ 1 w 4"/>
                  <a:gd name="T11" fmla="*/ 0 h 5"/>
                  <a:gd name="T12" fmla="*/ 1 w 4"/>
                  <a:gd name="T13" fmla="*/ 0 h 5"/>
                  <a:gd name="T14" fmla="*/ 4 w 4"/>
                  <a:gd name="T15" fmla="*/ 0 h 5"/>
                  <a:gd name="T16" fmla="*/ 4 w 4"/>
                  <a:gd name="T17" fmla="*/ 0 h 5"/>
                  <a:gd name="T18" fmla="*/ 1 w 4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5">
                    <a:moveTo>
                      <a:pt x="0" y="4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4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3" name="Freeform 151">
                <a:extLst>
                  <a:ext uri="{FF2B5EF4-FFF2-40B4-BE49-F238E27FC236}">
                    <a16:creationId xmlns:a16="http://schemas.microsoft.com/office/drawing/2014/main" id="{98D45B23-5FC9-4F77-B8F1-64A0C4AFC4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7" y="2307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1 w 2"/>
                  <a:gd name="T5" fmla="*/ 5 h 5"/>
                  <a:gd name="T6" fmla="*/ 1 w 2"/>
                  <a:gd name="T7" fmla="*/ 5 h 5"/>
                  <a:gd name="T8" fmla="*/ 0 w 2"/>
                  <a:gd name="T9" fmla="*/ 5 h 5"/>
                  <a:gd name="T10" fmla="*/ 2 w 2"/>
                  <a:gd name="T11" fmla="*/ 0 h 5"/>
                  <a:gd name="T12" fmla="*/ 2 w 2"/>
                  <a:gd name="T13" fmla="*/ 0 h 5"/>
                  <a:gd name="T14" fmla="*/ 2 w 2"/>
                  <a:gd name="T15" fmla="*/ 1 h 5"/>
                  <a:gd name="T16" fmla="*/ 2 w 2"/>
                  <a:gd name="T17" fmla="*/ 1 h 5"/>
                  <a:gd name="T18" fmla="*/ 2 w 2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5"/>
                    </a:lnTo>
                    <a:close/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4" name="Freeform 152">
                <a:extLst>
                  <a:ext uri="{FF2B5EF4-FFF2-40B4-BE49-F238E27FC236}">
                    <a16:creationId xmlns:a16="http://schemas.microsoft.com/office/drawing/2014/main" id="{0450F220-CED6-442A-A883-5442B54462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7" y="2307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1 w 2"/>
                  <a:gd name="T5" fmla="*/ 5 h 5"/>
                  <a:gd name="T6" fmla="*/ 1 w 2"/>
                  <a:gd name="T7" fmla="*/ 5 h 5"/>
                  <a:gd name="T8" fmla="*/ 0 w 2"/>
                  <a:gd name="T9" fmla="*/ 5 h 5"/>
                  <a:gd name="T10" fmla="*/ 2 w 2"/>
                  <a:gd name="T11" fmla="*/ 0 h 5"/>
                  <a:gd name="T12" fmla="*/ 2 w 2"/>
                  <a:gd name="T13" fmla="*/ 0 h 5"/>
                  <a:gd name="T14" fmla="*/ 2 w 2"/>
                  <a:gd name="T15" fmla="*/ 1 h 5"/>
                  <a:gd name="T16" fmla="*/ 2 w 2"/>
                  <a:gd name="T17" fmla="*/ 1 h 5"/>
                  <a:gd name="T18" fmla="*/ 2 w 2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5"/>
                    </a:lnTo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5" name="Freeform 153">
                <a:extLst>
                  <a:ext uri="{FF2B5EF4-FFF2-40B4-BE49-F238E27FC236}">
                    <a16:creationId xmlns:a16="http://schemas.microsoft.com/office/drawing/2014/main" id="{DE3EECDF-EAA2-4843-A36C-3CFE2712A6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1" y="2308"/>
                <a:ext cx="9" cy="7"/>
              </a:xfrm>
              <a:custGeom>
                <a:avLst/>
                <a:gdLst>
                  <a:gd name="T0" fmla="*/ 0 w 9"/>
                  <a:gd name="T1" fmla="*/ 5 h 7"/>
                  <a:gd name="T2" fmla="*/ 0 w 9"/>
                  <a:gd name="T3" fmla="*/ 5 h 7"/>
                  <a:gd name="T4" fmla="*/ 8 w 9"/>
                  <a:gd name="T5" fmla="*/ 7 h 7"/>
                  <a:gd name="T6" fmla="*/ 8 w 9"/>
                  <a:gd name="T7" fmla="*/ 7 h 7"/>
                  <a:gd name="T8" fmla="*/ 0 w 9"/>
                  <a:gd name="T9" fmla="*/ 5 h 7"/>
                  <a:gd name="T10" fmla="*/ 1 w 9"/>
                  <a:gd name="T11" fmla="*/ 0 h 7"/>
                  <a:gd name="T12" fmla="*/ 1 w 9"/>
                  <a:gd name="T13" fmla="*/ 0 h 7"/>
                  <a:gd name="T14" fmla="*/ 9 w 9"/>
                  <a:gd name="T15" fmla="*/ 2 h 7"/>
                  <a:gd name="T16" fmla="*/ 9 w 9"/>
                  <a:gd name="T17" fmla="*/ 2 h 7"/>
                  <a:gd name="T18" fmla="*/ 1 w 9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7">
                    <a:moveTo>
                      <a:pt x="0" y="5"/>
                    </a:moveTo>
                    <a:lnTo>
                      <a:pt x="0" y="5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0" y="5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6" name="Freeform 154">
                <a:extLst>
                  <a:ext uri="{FF2B5EF4-FFF2-40B4-BE49-F238E27FC236}">
                    <a16:creationId xmlns:a16="http://schemas.microsoft.com/office/drawing/2014/main" id="{9C8545D3-C945-41A6-AD9D-1F2E09C0BE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1" y="2308"/>
                <a:ext cx="9" cy="7"/>
              </a:xfrm>
              <a:custGeom>
                <a:avLst/>
                <a:gdLst>
                  <a:gd name="T0" fmla="*/ 0 w 9"/>
                  <a:gd name="T1" fmla="*/ 5 h 7"/>
                  <a:gd name="T2" fmla="*/ 0 w 9"/>
                  <a:gd name="T3" fmla="*/ 5 h 7"/>
                  <a:gd name="T4" fmla="*/ 8 w 9"/>
                  <a:gd name="T5" fmla="*/ 7 h 7"/>
                  <a:gd name="T6" fmla="*/ 8 w 9"/>
                  <a:gd name="T7" fmla="*/ 7 h 7"/>
                  <a:gd name="T8" fmla="*/ 0 w 9"/>
                  <a:gd name="T9" fmla="*/ 5 h 7"/>
                  <a:gd name="T10" fmla="*/ 1 w 9"/>
                  <a:gd name="T11" fmla="*/ 0 h 7"/>
                  <a:gd name="T12" fmla="*/ 1 w 9"/>
                  <a:gd name="T13" fmla="*/ 0 h 7"/>
                  <a:gd name="T14" fmla="*/ 9 w 9"/>
                  <a:gd name="T15" fmla="*/ 2 h 7"/>
                  <a:gd name="T16" fmla="*/ 9 w 9"/>
                  <a:gd name="T17" fmla="*/ 2 h 7"/>
                  <a:gd name="T18" fmla="*/ 1 w 9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7">
                    <a:moveTo>
                      <a:pt x="0" y="5"/>
                    </a:moveTo>
                    <a:lnTo>
                      <a:pt x="0" y="5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0" y="5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7" name="Freeform 155">
                <a:extLst>
                  <a:ext uri="{FF2B5EF4-FFF2-40B4-BE49-F238E27FC236}">
                    <a16:creationId xmlns:a16="http://schemas.microsoft.com/office/drawing/2014/main" id="{6425F98C-AD42-4627-81DE-7706010C0D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9" y="2310"/>
                <a:ext cx="4" cy="5"/>
              </a:xfrm>
              <a:custGeom>
                <a:avLst/>
                <a:gdLst>
                  <a:gd name="T0" fmla="*/ 0 w 7"/>
                  <a:gd name="T1" fmla="*/ 8 h 8"/>
                  <a:gd name="T2" fmla="*/ 0 w 7"/>
                  <a:gd name="T3" fmla="*/ 8 h 8"/>
                  <a:gd name="T4" fmla="*/ 3 w 7"/>
                  <a:gd name="T5" fmla="*/ 8 h 8"/>
                  <a:gd name="T6" fmla="*/ 0 w 7"/>
                  <a:gd name="T7" fmla="*/ 8 h 8"/>
                  <a:gd name="T8" fmla="*/ 2 w 7"/>
                  <a:gd name="T9" fmla="*/ 0 h 8"/>
                  <a:gd name="T10" fmla="*/ 2 w 7"/>
                  <a:gd name="T11" fmla="*/ 0 h 8"/>
                  <a:gd name="T12" fmla="*/ 5 w 7"/>
                  <a:gd name="T13" fmla="*/ 1 h 8"/>
                  <a:gd name="T14" fmla="*/ 7 w 7"/>
                  <a:gd name="T15" fmla="*/ 5 h 8"/>
                  <a:gd name="T16" fmla="*/ 5 w 7"/>
                  <a:gd name="T17" fmla="*/ 1 h 8"/>
                  <a:gd name="T18" fmla="*/ 2 w 7"/>
                  <a:gd name="T1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8">
                    <a:moveTo>
                      <a:pt x="0" y="8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0" y="8"/>
                      <a:pt x="0" y="8"/>
                      <a:pt x="0" y="8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3"/>
                      <a:pt x="7" y="5"/>
                    </a:cubicBezTo>
                    <a:cubicBezTo>
                      <a:pt x="7" y="3"/>
                      <a:pt x="6" y="1"/>
                      <a:pt x="5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8" name="Freeform 156">
                <a:extLst>
                  <a:ext uri="{FF2B5EF4-FFF2-40B4-BE49-F238E27FC236}">
                    <a16:creationId xmlns:a16="http://schemas.microsoft.com/office/drawing/2014/main" id="{F479153C-B8B0-456C-A4A1-AC7710D500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7" y="2307"/>
                <a:ext cx="16" cy="8"/>
              </a:xfrm>
              <a:custGeom>
                <a:avLst/>
                <a:gdLst>
                  <a:gd name="T0" fmla="*/ 2 w 28"/>
                  <a:gd name="T1" fmla="*/ 0 h 14"/>
                  <a:gd name="T2" fmla="*/ 2 w 28"/>
                  <a:gd name="T3" fmla="*/ 0 h 14"/>
                  <a:gd name="T4" fmla="*/ 26 w 28"/>
                  <a:gd name="T5" fmla="*/ 7 h 14"/>
                  <a:gd name="T6" fmla="*/ 28 w 28"/>
                  <a:gd name="T7" fmla="*/ 10 h 14"/>
                  <a:gd name="T8" fmla="*/ 27 w 28"/>
                  <a:gd name="T9" fmla="*/ 9 h 14"/>
                  <a:gd name="T10" fmla="*/ 1 w 28"/>
                  <a:gd name="T11" fmla="*/ 2 h 14"/>
                  <a:gd name="T12" fmla="*/ 0 w 28"/>
                  <a:gd name="T13" fmla="*/ 8 h 14"/>
                  <a:gd name="T14" fmla="*/ 1 w 28"/>
                  <a:gd name="T15" fmla="*/ 8 h 14"/>
                  <a:gd name="T16" fmla="*/ 6 w 28"/>
                  <a:gd name="T17" fmla="*/ 10 h 14"/>
                  <a:gd name="T18" fmla="*/ 21 w 28"/>
                  <a:gd name="T19" fmla="*/ 14 h 14"/>
                  <a:gd name="T20" fmla="*/ 24 w 28"/>
                  <a:gd name="T21" fmla="*/ 14 h 14"/>
                  <a:gd name="T22" fmla="*/ 25 w 28"/>
                  <a:gd name="T23" fmla="*/ 14 h 14"/>
                  <a:gd name="T24" fmla="*/ 27 w 28"/>
                  <a:gd name="T25" fmla="*/ 14 h 14"/>
                  <a:gd name="T26" fmla="*/ 28 w 28"/>
                  <a:gd name="T27" fmla="*/ 12 h 14"/>
                  <a:gd name="T28" fmla="*/ 28 w 28"/>
                  <a:gd name="T29" fmla="*/ 11 h 14"/>
                  <a:gd name="T30" fmla="*/ 26 w 28"/>
                  <a:gd name="T31" fmla="*/ 7 h 14"/>
                  <a:gd name="T32" fmla="*/ 23 w 28"/>
                  <a:gd name="T33" fmla="*/ 6 h 14"/>
                  <a:gd name="T34" fmla="*/ 8 w 28"/>
                  <a:gd name="T35" fmla="*/ 2 h 14"/>
                  <a:gd name="T36" fmla="*/ 3 w 28"/>
                  <a:gd name="T37" fmla="*/ 1 h 14"/>
                  <a:gd name="T38" fmla="*/ 2 w 28"/>
                  <a:gd name="T3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8" y="10"/>
                    </a:cubicBezTo>
                    <a:cubicBezTo>
                      <a:pt x="28" y="9"/>
                      <a:pt x="27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4" y="14"/>
                      <a:pt x="25" y="14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7" y="13"/>
                      <a:pt x="28" y="13"/>
                      <a:pt x="28" y="12"/>
                    </a:cubicBezTo>
                    <a:cubicBezTo>
                      <a:pt x="28" y="11"/>
                      <a:pt x="28" y="11"/>
                      <a:pt x="28" y="11"/>
                    </a:cubicBezTo>
                    <a:cubicBezTo>
                      <a:pt x="28" y="9"/>
                      <a:pt x="27" y="7"/>
                      <a:pt x="26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9" name="Freeform 157">
                <a:extLst>
                  <a:ext uri="{FF2B5EF4-FFF2-40B4-BE49-F238E27FC236}">
                    <a16:creationId xmlns:a16="http://schemas.microsoft.com/office/drawing/2014/main" id="{7E76D4A4-D9D7-44B7-92E8-78E614674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" y="2307"/>
                <a:ext cx="15" cy="6"/>
              </a:xfrm>
              <a:custGeom>
                <a:avLst/>
                <a:gdLst>
                  <a:gd name="T0" fmla="*/ 1 w 27"/>
                  <a:gd name="T1" fmla="*/ 0 h 10"/>
                  <a:gd name="T2" fmla="*/ 0 w 27"/>
                  <a:gd name="T3" fmla="*/ 2 h 10"/>
                  <a:gd name="T4" fmla="*/ 26 w 27"/>
                  <a:gd name="T5" fmla="*/ 9 h 10"/>
                  <a:gd name="T6" fmla="*/ 27 w 27"/>
                  <a:gd name="T7" fmla="*/ 10 h 10"/>
                  <a:gd name="T8" fmla="*/ 25 w 27"/>
                  <a:gd name="T9" fmla="*/ 7 h 10"/>
                  <a:gd name="T10" fmla="*/ 1 w 27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6" y="9"/>
                      <a:pt x="27" y="9"/>
                      <a:pt x="27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0" name="Freeform 158">
                <a:extLst>
                  <a:ext uri="{FF2B5EF4-FFF2-40B4-BE49-F238E27FC236}">
                    <a16:creationId xmlns:a16="http://schemas.microsoft.com/office/drawing/2014/main" id="{8742E592-4BCA-4A17-9791-2169AF1370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343"/>
                <a:ext cx="30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1 h 21"/>
                  <a:gd name="T6" fmla="*/ 4 w 56"/>
                  <a:gd name="T7" fmla="*/ 8 h 21"/>
                  <a:gd name="T8" fmla="*/ 1 w 56"/>
                  <a:gd name="T9" fmla="*/ 3 h 21"/>
                  <a:gd name="T10" fmla="*/ 3 w 56"/>
                  <a:gd name="T11" fmla="*/ 1 h 21"/>
                  <a:gd name="T12" fmla="*/ 6 w 56"/>
                  <a:gd name="T13" fmla="*/ 1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6" y="19"/>
                      <a:pt x="55" y="20"/>
                      <a:pt x="54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3" y="1"/>
                      <a:pt x="5" y="0"/>
                      <a:pt x="6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1" name="Freeform 159">
                <a:extLst>
                  <a:ext uri="{FF2B5EF4-FFF2-40B4-BE49-F238E27FC236}">
                    <a16:creationId xmlns:a16="http://schemas.microsoft.com/office/drawing/2014/main" id="{40DCCC97-2150-4B81-BC4C-9C1D92B79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343"/>
                <a:ext cx="30" cy="9"/>
              </a:xfrm>
              <a:custGeom>
                <a:avLst/>
                <a:gdLst>
                  <a:gd name="T0" fmla="*/ 2 w 56"/>
                  <a:gd name="T1" fmla="*/ 5 h 16"/>
                  <a:gd name="T2" fmla="*/ 7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6 w 56"/>
                  <a:gd name="T11" fmla="*/ 1 h 16"/>
                  <a:gd name="T12" fmla="*/ 1 w 56"/>
                  <a:gd name="T13" fmla="*/ 3 h 16"/>
                  <a:gd name="T14" fmla="*/ 2 w 56"/>
                  <a:gd name="T15" fmla="*/ 7 h 16"/>
                  <a:gd name="T16" fmla="*/ 2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2" y="5"/>
                    </a:moveTo>
                    <a:cubicBezTo>
                      <a:pt x="2" y="3"/>
                      <a:pt x="5" y="2"/>
                      <a:pt x="7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6"/>
                      <a:pt x="56" y="16"/>
                    </a:cubicBezTo>
                    <a:cubicBezTo>
                      <a:pt x="56" y="15"/>
                      <a:pt x="55" y="14"/>
                      <a:pt x="53" y="13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3" y="0"/>
                      <a:pt x="1" y="1"/>
                      <a:pt x="1" y="3"/>
                    </a:cubicBezTo>
                    <a:cubicBezTo>
                      <a:pt x="0" y="5"/>
                      <a:pt x="1" y="6"/>
                      <a:pt x="2" y="7"/>
                    </a:cubicBezTo>
                    <a:cubicBezTo>
                      <a:pt x="2" y="6"/>
                      <a:pt x="2" y="6"/>
                      <a:pt x="2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2" name="Freeform 160">
                <a:extLst>
                  <a:ext uri="{FF2B5EF4-FFF2-40B4-BE49-F238E27FC236}">
                    <a16:creationId xmlns:a16="http://schemas.microsoft.com/office/drawing/2014/main" id="{BC381D31-BB2C-486B-BC91-11F164C30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6" y="2347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6 h 14"/>
                  <a:gd name="T6" fmla="*/ 29 w 29"/>
                  <a:gd name="T7" fmla="*/ 9 h 14"/>
                  <a:gd name="T8" fmla="*/ 27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3 h 14"/>
                  <a:gd name="T20" fmla="*/ 29 w 29"/>
                  <a:gd name="T21" fmla="*/ 11 h 14"/>
                  <a:gd name="T22" fmla="*/ 29 w 29"/>
                  <a:gd name="T23" fmla="*/ 10 h 14"/>
                  <a:gd name="T24" fmla="*/ 26 w 29"/>
                  <a:gd name="T25" fmla="*/ 6 h 14"/>
                  <a:gd name="T26" fmla="*/ 26 w 29"/>
                  <a:gd name="T27" fmla="*/ 6 h 14"/>
                  <a:gd name="T28" fmla="*/ 2 w 29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8" y="9"/>
                      <a:pt x="28" y="8"/>
                      <a:pt x="27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6" y="6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3" name="Freeform 161">
                <a:extLst>
                  <a:ext uri="{FF2B5EF4-FFF2-40B4-BE49-F238E27FC236}">
                    <a16:creationId xmlns:a16="http://schemas.microsoft.com/office/drawing/2014/main" id="{B9EEC40D-6233-447A-AAF5-352FAD9B6D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8" y="2347"/>
                <a:ext cx="14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5 w 27"/>
                  <a:gd name="T5" fmla="*/ 8 h 9"/>
                  <a:gd name="T6" fmla="*/ 27 w 27"/>
                  <a:gd name="T7" fmla="*/ 9 h 9"/>
                  <a:gd name="T8" fmla="*/ 24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6" y="8"/>
                      <a:pt x="26" y="9"/>
                      <a:pt x="27" y="9"/>
                    </a:cubicBezTo>
                    <a:cubicBezTo>
                      <a:pt x="27" y="8"/>
                      <a:pt x="26" y="7"/>
                      <a:pt x="24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4" name="Freeform 162">
                <a:extLst>
                  <a:ext uri="{FF2B5EF4-FFF2-40B4-BE49-F238E27FC236}">
                    <a16:creationId xmlns:a16="http://schemas.microsoft.com/office/drawing/2014/main" id="{6830D058-1AB9-4E67-BA08-CCC59DB7B3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1" y="2383"/>
                <a:ext cx="31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5" y="19"/>
                      <a:pt x="55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2"/>
                      <a:pt x="1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5" name="Freeform 163">
                <a:extLst>
                  <a:ext uri="{FF2B5EF4-FFF2-40B4-BE49-F238E27FC236}">
                    <a16:creationId xmlns:a16="http://schemas.microsoft.com/office/drawing/2014/main" id="{5CE19905-0BA7-421D-ADCD-AF08BA4BE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1" y="2383"/>
                <a:ext cx="31" cy="9"/>
              </a:xfrm>
              <a:custGeom>
                <a:avLst/>
                <a:gdLst>
                  <a:gd name="T0" fmla="*/ 1 w 56"/>
                  <a:gd name="T1" fmla="*/ 5 h 16"/>
                  <a:gd name="T2" fmla="*/ 6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5 w 56"/>
                  <a:gd name="T11" fmla="*/ 0 h 16"/>
                  <a:gd name="T12" fmla="*/ 0 w 56"/>
                  <a:gd name="T13" fmla="*/ 3 h 16"/>
                  <a:gd name="T14" fmla="*/ 1 w 56"/>
                  <a:gd name="T15" fmla="*/ 7 h 16"/>
                  <a:gd name="T16" fmla="*/ 1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1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5"/>
                      <a:pt x="56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4"/>
                      <a:pt x="0" y="6"/>
                      <a:pt x="1" y="7"/>
                    </a:cubicBezTo>
                    <a:cubicBezTo>
                      <a:pt x="1" y="6"/>
                      <a:pt x="1" y="5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6" name="Freeform 164">
                <a:extLst>
                  <a:ext uri="{FF2B5EF4-FFF2-40B4-BE49-F238E27FC236}">
                    <a16:creationId xmlns:a16="http://schemas.microsoft.com/office/drawing/2014/main" id="{C2BAE547-43FC-4487-89FF-B405A59833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2386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7 h 14"/>
                  <a:gd name="T6" fmla="*/ 29 w 29"/>
                  <a:gd name="T7" fmla="*/ 10 h 14"/>
                  <a:gd name="T8" fmla="*/ 27 w 29"/>
                  <a:gd name="T9" fmla="*/ 9 h 14"/>
                  <a:gd name="T10" fmla="*/ 1 w 29"/>
                  <a:gd name="T11" fmla="*/ 2 h 14"/>
                  <a:gd name="T12" fmla="*/ 0 w 29"/>
                  <a:gd name="T13" fmla="*/ 8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4 h 14"/>
                  <a:gd name="T20" fmla="*/ 29 w 29"/>
                  <a:gd name="T21" fmla="*/ 12 h 14"/>
                  <a:gd name="T22" fmla="*/ 29 w 29"/>
                  <a:gd name="T23" fmla="*/ 11 h 14"/>
                  <a:gd name="T24" fmla="*/ 26 w 29"/>
                  <a:gd name="T25" fmla="*/ 7 h 14"/>
                  <a:gd name="T26" fmla="*/ 23 w 29"/>
                  <a:gd name="T27" fmla="*/ 6 h 14"/>
                  <a:gd name="T28" fmla="*/ 8 w 29"/>
                  <a:gd name="T29" fmla="*/ 2 h 14"/>
                  <a:gd name="T30" fmla="*/ 3 w 29"/>
                  <a:gd name="T31" fmla="*/ 1 h 14"/>
                  <a:gd name="T32" fmla="*/ 2 w 29"/>
                  <a:gd name="T3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9" y="10"/>
                    </a:cubicBezTo>
                    <a:cubicBezTo>
                      <a:pt x="28" y="9"/>
                      <a:pt x="28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4" y="14"/>
                      <a:pt x="25" y="14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8" y="13"/>
                      <a:pt x="28" y="13"/>
                      <a:pt x="29" y="12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29" y="9"/>
                      <a:pt x="27" y="7"/>
                      <a:pt x="26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7" name="Freeform 165">
                <a:extLst>
                  <a:ext uri="{FF2B5EF4-FFF2-40B4-BE49-F238E27FC236}">
                    <a16:creationId xmlns:a16="http://schemas.microsoft.com/office/drawing/2014/main" id="{1809A618-FA26-4719-9D0A-9DFA53CEE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386"/>
                <a:ext cx="15" cy="6"/>
              </a:xfrm>
              <a:custGeom>
                <a:avLst/>
                <a:gdLst>
                  <a:gd name="T0" fmla="*/ 1 w 28"/>
                  <a:gd name="T1" fmla="*/ 0 h 10"/>
                  <a:gd name="T2" fmla="*/ 0 w 28"/>
                  <a:gd name="T3" fmla="*/ 2 h 10"/>
                  <a:gd name="T4" fmla="*/ 26 w 28"/>
                  <a:gd name="T5" fmla="*/ 9 h 10"/>
                  <a:gd name="T6" fmla="*/ 28 w 28"/>
                  <a:gd name="T7" fmla="*/ 10 h 10"/>
                  <a:gd name="T8" fmla="*/ 25 w 28"/>
                  <a:gd name="T9" fmla="*/ 7 h 10"/>
                  <a:gd name="T10" fmla="*/ 1 w 28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7" y="9"/>
                      <a:pt x="27" y="9"/>
                      <a:pt x="28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8" name="Freeform 166">
                <a:extLst>
                  <a:ext uri="{FF2B5EF4-FFF2-40B4-BE49-F238E27FC236}">
                    <a16:creationId xmlns:a16="http://schemas.microsoft.com/office/drawing/2014/main" id="{23982B3B-1B3D-4412-8750-F73C1A69C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0" y="2422"/>
                <a:ext cx="32" cy="12"/>
              </a:xfrm>
              <a:custGeom>
                <a:avLst/>
                <a:gdLst>
                  <a:gd name="T0" fmla="*/ 56 w 57"/>
                  <a:gd name="T1" fmla="*/ 18 h 21"/>
                  <a:gd name="T2" fmla="*/ 54 w 57"/>
                  <a:gd name="T3" fmla="*/ 20 h 21"/>
                  <a:gd name="T4" fmla="*/ 51 w 57"/>
                  <a:gd name="T5" fmla="*/ 21 h 21"/>
                  <a:gd name="T6" fmla="*/ 4 w 57"/>
                  <a:gd name="T7" fmla="*/ 8 h 21"/>
                  <a:gd name="T8" fmla="*/ 1 w 57"/>
                  <a:gd name="T9" fmla="*/ 3 h 21"/>
                  <a:gd name="T10" fmla="*/ 3 w 57"/>
                  <a:gd name="T11" fmla="*/ 1 h 21"/>
                  <a:gd name="T12" fmla="*/ 6 w 57"/>
                  <a:gd name="T13" fmla="*/ 1 h 21"/>
                  <a:gd name="T14" fmla="*/ 53 w 57"/>
                  <a:gd name="T15" fmla="*/ 13 h 21"/>
                  <a:gd name="T16" fmla="*/ 56 w 57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21">
                    <a:moveTo>
                      <a:pt x="56" y="18"/>
                    </a:moveTo>
                    <a:cubicBezTo>
                      <a:pt x="56" y="19"/>
                      <a:pt x="55" y="20"/>
                      <a:pt x="54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4" y="0"/>
                      <a:pt x="5" y="0"/>
                      <a:pt x="6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7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9" name="Freeform 167">
                <a:extLst>
                  <a:ext uri="{FF2B5EF4-FFF2-40B4-BE49-F238E27FC236}">
                    <a16:creationId xmlns:a16="http://schemas.microsoft.com/office/drawing/2014/main" id="{E7343D37-7A14-4E9D-855E-2D443C1780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1" y="2422"/>
                <a:ext cx="30" cy="9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3 w 55"/>
                  <a:gd name="T5" fmla="*/ 15 h 16"/>
                  <a:gd name="T6" fmla="*/ 55 w 55"/>
                  <a:gd name="T7" fmla="*/ 16 h 16"/>
                  <a:gd name="T8" fmla="*/ 52 w 55"/>
                  <a:gd name="T9" fmla="*/ 13 h 16"/>
                  <a:gd name="T10" fmla="*/ 5 w 55"/>
                  <a:gd name="T11" fmla="*/ 1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2"/>
                      <a:pt x="6" y="2"/>
                    </a:cubicBezTo>
                    <a:cubicBezTo>
                      <a:pt x="53" y="15"/>
                      <a:pt x="53" y="15"/>
                      <a:pt x="53" y="15"/>
                    </a:cubicBezTo>
                    <a:cubicBezTo>
                      <a:pt x="54" y="15"/>
                      <a:pt x="55" y="16"/>
                      <a:pt x="55" y="16"/>
                    </a:cubicBezTo>
                    <a:cubicBezTo>
                      <a:pt x="55" y="15"/>
                      <a:pt x="54" y="14"/>
                      <a:pt x="52" y="1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5"/>
                      <a:pt x="0" y="6"/>
                      <a:pt x="1" y="7"/>
                    </a:cubicBezTo>
                    <a:cubicBezTo>
                      <a:pt x="1" y="6"/>
                      <a:pt x="1" y="6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0" name="Freeform 168">
                <a:extLst>
                  <a:ext uri="{FF2B5EF4-FFF2-40B4-BE49-F238E27FC236}">
                    <a16:creationId xmlns:a16="http://schemas.microsoft.com/office/drawing/2014/main" id="{316F303C-645D-4CEE-A5C6-6661B5FB2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7" y="2426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0 w 3"/>
                  <a:gd name="T3" fmla="*/ 0 h 1"/>
                  <a:gd name="T4" fmla="*/ 3 w 3"/>
                  <a:gd name="T5" fmla="*/ 1 h 1"/>
                  <a:gd name="T6" fmla="*/ 3 w 3"/>
                  <a:gd name="T7" fmla="*/ 1 h 1"/>
                  <a:gd name="T8" fmla="*/ 0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1" name="Freeform 169">
                <a:extLst>
                  <a:ext uri="{FF2B5EF4-FFF2-40B4-BE49-F238E27FC236}">
                    <a16:creationId xmlns:a16="http://schemas.microsoft.com/office/drawing/2014/main" id="{31FC8C7F-961A-47EB-AA9C-4B8ECF3042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7" y="2426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0 w 3"/>
                  <a:gd name="T3" fmla="*/ 0 h 1"/>
                  <a:gd name="T4" fmla="*/ 3 w 3"/>
                  <a:gd name="T5" fmla="*/ 1 h 1"/>
                  <a:gd name="T6" fmla="*/ 3 w 3"/>
                  <a:gd name="T7" fmla="*/ 1 h 1"/>
                  <a:gd name="T8" fmla="*/ 0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2" name="Rectangle 170">
                <a:extLst>
                  <a:ext uri="{FF2B5EF4-FFF2-40B4-BE49-F238E27FC236}">
                    <a16:creationId xmlns:a16="http://schemas.microsoft.com/office/drawing/2014/main" id="{23066A20-55C9-43C7-920C-CADE039018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26"/>
                <a:ext cx="1" cy="1"/>
              </a:xfrm>
              <a:prstGeom prst="rect">
                <a:avLst/>
              </a:pr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3" name="Rectangle 171">
                <a:extLst>
                  <a:ext uri="{FF2B5EF4-FFF2-40B4-BE49-F238E27FC236}">
                    <a16:creationId xmlns:a16="http://schemas.microsoft.com/office/drawing/2014/main" id="{7B5D0D3B-97EB-4F4C-9DA6-518F0D7B12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26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4" name="Freeform 172">
                <a:extLst>
                  <a:ext uri="{FF2B5EF4-FFF2-40B4-BE49-F238E27FC236}">
                    <a16:creationId xmlns:a16="http://schemas.microsoft.com/office/drawing/2014/main" id="{B4047AE1-C7DF-4872-ADAF-95DEB8E62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0" y="2427"/>
                <a:ext cx="8" cy="3"/>
              </a:xfrm>
              <a:custGeom>
                <a:avLst/>
                <a:gdLst>
                  <a:gd name="T0" fmla="*/ 0 w 8"/>
                  <a:gd name="T1" fmla="*/ 0 h 3"/>
                  <a:gd name="T2" fmla="*/ 0 w 8"/>
                  <a:gd name="T3" fmla="*/ 0 h 3"/>
                  <a:gd name="T4" fmla="*/ 8 w 8"/>
                  <a:gd name="T5" fmla="*/ 3 h 3"/>
                  <a:gd name="T6" fmla="*/ 8 w 8"/>
                  <a:gd name="T7" fmla="*/ 3 h 3"/>
                  <a:gd name="T8" fmla="*/ 0 w 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0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5" name="Freeform 173">
                <a:extLst>
                  <a:ext uri="{FF2B5EF4-FFF2-40B4-BE49-F238E27FC236}">
                    <a16:creationId xmlns:a16="http://schemas.microsoft.com/office/drawing/2014/main" id="{B28F1AA0-22EE-401E-A8B5-4DFC0D6D9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0" y="2427"/>
                <a:ext cx="8" cy="3"/>
              </a:xfrm>
              <a:custGeom>
                <a:avLst/>
                <a:gdLst>
                  <a:gd name="T0" fmla="*/ 0 w 8"/>
                  <a:gd name="T1" fmla="*/ 0 h 3"/>
                  <a:gd name="T2" fmla="*/ 0 w 8"/>
                  <a:gd name="T3" fmla="*/ 0 h 3"/>
                  <a:gd name="T4" fmla="*/ 8 w 8"/>
                  <a:gd name="T5" fmla="*/ 3 h 3"/>
                  <a:gd name="T6" fmla="*/ 8 w 8"/>
                  <a:gd name="T7" fmla="*/ 3 h 3"/>
                  <a:gd name="T8" fmla="*/ 0 w 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0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6" name="Freeform 174">
                <a:extLst>
                  <a:ext uri="{FF2B5EF4-FFF2-40B4-BE49-F238E27FC236}">
                    <a16:creationId xmlns:a16="http://schemas.microsoft.com/office/drawing/2014/main" id="{867118F8-407F-4A06-B3EF-CBAFBD95B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8" y="2430"/>
                <a:ext cx="3" cy="2"/>
              </a:xfrm>
              <a:custGeom>
                <a:avLst/>
                <a:gdLst>
                  <a:gd name="T0" fmla="*/ 0 w 5"/>
                  <a:gd name="T1" fmla="*/ 0 h 4"/>
                  <a:gd name="T2" fmla="*/ 0 w 5"/>
                  <a:gd name="T3" fmla="*/ 0 h 4"/>
                  <a:gd name="T4" fmla="*/ 2 w 5"/>
                  <a:gd name="T5" fmla="*/ 0 h 4"/>
                  <a:gd name="T6" fmla="*/ 5 w 5"/>
                  <a:gd name="T7" fmla="*/ 4 h 4"/>
                  <a:gd name="T8" fmla="*/ 2 w 5"/>
                  <a:gd name="T9" fmla="*/ 0 h 4"/>
                  <a:gd name="T10" fmla="*/ 0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4" y="1"/>
                      <a:pt x="5" y="2"/>
                      <a:pt x="5" y="4"/>
                    </a:cubicBezTo>
                    <a:cubicBezTo>
                      <a:pt x="5" y="2"/>
                      <a:pt x="4" y="1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7" name="Rectangle 175">
                <a:extLst>
                  <a:ext uri="{FF2B5EF4-FFF2-40B4-BE49-F238E27FC236}">
                    <a16:creationId xmlns:a16="http://schemas.microsoft.com/office/drawing/2014/main" id="{3FC1DF01-18E7-4481-9EEA-5F78628D7B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31"/>
                <a:ext cx="3" cy="1"/>
              </a:xfrm>
              <a:prstGeom prst="rect">
                <a:avLst/>
              </a:pr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8" name="Rectangle 176">
                <a:extLst>
                  <a:ext uri="{FF2B5EF4-FFF2-40B4-BE49-F238E27FC236}">
                    <a16:creationId xmlns:a16="http://schemas.microsoft.com/office/drawing/2014/main" id="{617C6F6D-305F-430D-B04F-8AF59DFB2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" y="2431"/>
                <a:ext cx="3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9" name="Freeform 177">
                <a:extLst>
                  <a:ext uri="{FF2B5EF4-FFF2-40B4-BE49-F238E27FC236}">
                    <a16:creationId xmlns:a16="http://schemas.microsoft.com/office/drawing/2014/main" id="{E9312015-5D1A-4B6E-A2A4-819DB9D14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30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1 w 1"/>
                  <a:gd name="T7" fmla="*/ 1 h 1"/>
                  <a:gd name="T8" fmla="*/ 0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B3B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0" name="Freeform 178">
                <a:extLst>
                  <a:ext uri="{FF2B5EF4-FFF2-40B4-BE49-F238E27FC236}">
                    <a16:creationId xmlns:a16="http://schemas.microsoft.com/office/drawing/2014/main" id="{F3098728-8FAC-4346-89D8-56E5EB3AA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30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1 w 1"/>
                  <a:gd name="T7" fmla="*/ 1 h 1"/>
                  <a:gd name="T8" fmla="*/ 0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1" name="Freeform 179">
                <a:extLst>
                  <a:ext uri="{FF2B5EF4-FFF2-40B4-BE49-F238E27FC236}">
                    <a16:creationId xmlns:a16="http://schemas.microsoft.com/office/drawing/2014/main" id="{D0522D0F-ACCC-4D6F-B1F3-FAB35CD83E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9" y="2431"/>
                <a:ext cx="8" cy="2"/>
              </a:xfrm>
              <a:custGeom>
                <a:avLst/>
                <a:gdLst>
                  <a:gd name="T0" fmla="*/ 0 w 8"/>
                  <a:gd name="T1" fmla="*/ 0 h 2"/>
                  <a:gd name="T2" fmla="*/ 0 w 8"/>
                  <a:gd name="T3" fmla="*/ 0 h 2"/>
                  <a:gd name="T4" fmla="*/ 8 w 8"/>
                  <a:gd name="T5" fmla="*/ 2 h 2"/>
                  <a:gd name="T6" fmla="*/ 8 w 8"/>
                  <a:gd name="T7" fmla="*/ 2 h 2"/>
                  <a:gd name="T8" fmla="*/ 0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2" name="Freeform 180">
                <a:extLst>
                  <a:ext uri="{FF2B5EF4-FFF2-40B4-BE49-F238E27FC236}">
                    <a16:creationId xmlns:a16="http://schemas.microsoft.com/office/drawing/2014/main" id="{4A447CD6-9986-4BD0-A919-97073D05F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9" y="2431"/>
                <a:ext cx="8" cy="2"/>
              </a:xfrm>
              <a:custGeom>
                <a:avLst/>
                <a:gdLst>
                  <a:gd name="T0" fmla="*/ 0 w 8"/>
                  <a:gd name="T1" fmla="*/ 0 h 2"/>
                  <a:gd name="T2" fmla="*/ 0 w 8"/>
                  <a:gd name="T3" fmla="*/ 0 h 2"/>
                  <a:gd name="T4" fmla="*/ 8 w 8"/>
                  <a:gd name="T5" fmla="*/ 2 h 2"/>
                  <a:gd name="T6" fmla="*/ 8 w 8"/>
                  <a:gd name="T7" fmla="*/ 2 h 2"/>
                  <a:gd name="T8" fmla="*/ 0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3" name="Freeform 181">
                <a:extLst>
                  <a:ext uri="{FF2B5EF4-FFF2-40B4-BE49-F238E27FC236}">
                    <a16:creationId xmlns:a16="http://schemas.microsoft.com/office/drawing/2014/main" id="{80A35623-76FD-4FFA-95FE-67F7A90C7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33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747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4" name="Freeform 182">
                <a:extLst>
                  <a:ext uri="{FF2B5EF4-FFF2-40B4-BE49-F238E27FC236}">
                    <a16:creationId xmlns:a16="http://schemas.microsoft.com/office/drawing/2014/main" id="{5D31CC78-95CE-4EE2-9124-3313730A82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" y="2433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5" name="Freeform 183">
                <a:extLst>
                  <a:ext uri="{FF2B5EF4-FFF2-40B4-BE49-F238E27FC236}">
                    <a16:creationId xmlns:a16="http://schemas.microsoft.com/office/drawing/2014/main" id="{1CBDB465-0962-4CC8-B6E1-8682E3C955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2426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6 h 14"/>
                  <a:gd name="T6" fmla="*/ 29 w 29"/>
                  <a:gd name="T7" fmla="*/ 9 h 14"/>
                  <a:gd name="T8" fmla="*/ 27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1 w 29"/>
                  <a:gd name="T15" fmla="*/ 8 h 14"/>
                  <a:gd name="T16" fmla="*/ 7 w 29"/>
                  <a:gd name="T17" fmla="*/ 9 h 14"/>
                  <a:gd name="T18" fmla="*/ 22 w 29"/>
                  <a:gd name="T19" fmla="*/ 13 h 14"/>
                  <a:gd name="T20" fmla="*/ 24 w 29"/>
                  <a:gd name="T21" fmla="*/ 14 h 14"/>
                  <a:gd name="T22" fmla="*/ 25 w 29"/>
                  <a:gd name="T23" fmla="*/ 14 h 14"/>
                  <a:gd name="T24" fmla="*/ 27 w 29"/>
                  <a:gd name="T25" fmla="*/ 13 h 14"/>
                  <a:gd name="T26" fmla="*/ 29 w 29"/>
                  <a:gd name="T27" fmla="*/ 11 h 14"/>
                  <a:gd name="T28" fmla="*/ 29 w 29"/>
                  <a:gd name="T29" fmla="*/ 10 h 14"/>
                  <a:gd name="T30" fmla="*/ 26 w 29"/>
                  <a:gd name="T31" fmla="*/ 6 h 14"/>
                  <a:gd name="T32" fmla="*/ 24 w 29"/>
                  <a:gd name="T33" fmla="*/ 6 h 14"/>
                  <a:gd name="T34" fmla="*/ 9 w 29"/>
                  <a:gd name="T35" fmla="*/ 2 h 14"/>
                  <a:gd name="T36" fmla="*/ 3 w 29"/>
                  <a:gd name="T37" fmla="*/ 0 h 14"/>
                  <a:gd name="T38" fmla="*/ 2 w 29"/>
                  <a:gd name="T3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9" y="9"/>
                      <a:pt x="28" y="8"/>
                      <a:pt x="27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6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6" name="Freeform 184">
                <a:extLst>
                  <a:ext uri="{FF2B5EF4-FFF2-40B4-BE49-F238E27FC236}">
                    <a16:creationId xmlns:a16="http://schemas.microsoft.com/office/drawing/2014/main" id="{EF13A941-8D7E-42BF-A9D7-47B026796F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" y="2426"/>
                <a:ext cx="15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5 w 27"/>
                  <a:gd name="T5" fmla="*/ 8 h 9"/>
                  <a:gd name="T6" fmla="*/ 27 w 27"/>
                  <a:gd name="T7" fmla="*/ 9 h 9"/>
                  <a:gd name="T8" fmla="*/ 24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6" y="8"/>
                      <a:pt x="27" y="9"/>
                      <a:pt x="27" y="9"/>
                    </a:cubicBezTo>
                    <a:cubicBezTo>
                      <a:pt x="27" y="8"/>
                      <a:pt x="26" y="7"/>
                      <a:pt x="24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7" name="Freeform 185">
                <a:extLst>
                  <a:ext uri="{FF2B5EF4-FFF2-40B4-BE49-F238E27FC236}">
                    <a16:creationId xmlns:a16="http://schemas.microsoft.com/office/drawing/2014/main" id="{37C08602-DE69-44C1-8266-AD4B46677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0" y="2462"/>
                <a:ext cx="31" cy="12"/>
              </a:xfrm>
              <a:custGeom>
                <a:avLst/>
                <a:gdLst>
                  <a:gd name="T0" fmla="*/ 56 w 56"/>
                  <a:gd name="T1" fmla="*/ 18 h 21"/>
                  <a:gd name="T2" fmla="*/ 54 w 56"/>
                  <a:gd name="T3" fmla="*/ 20 h 21"/>
                  <a:gd name="T4" fmla="*/ 51 w 56"/>
                  <a:gd name="T5" fmla="*/ 20 h 21"/>
                  <a:gd name="T6" fmla="*/ 3 w 56"/>
                  <a:gd name="T7" fmla="*/ 8 h 21"/>
                  <a:gd name="T8" fmla="*/ 1 w 56"/>
                  <a:gd name="T9" fmla="*/ 3 h 21"/>
                  <a:gd name="T10" fmla="*/ 2 w 56"/>
                  <a:gd name="T11" fmla="*/ 0 h 21"/>
                  <a:gd name="T12" fmla="*/ 5 w 56"/>
                  <a:gd name="T13" fmla="*/ 0 h 21"/>
                  <a:gd name="T14" fmla="*/ 53 w 56"/>
                  <a:gd name="T15" fmla="*/ 13 h 21"/>
                  <a:gd name="T16" fmla="*/ 56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6" y="18"/>
                    </a:moveTo>
                    <a:cubicBezTo>
                      <a:pt x="55" y="19"/>
                      <a:pt x="55" y="19"/>
                      <a:pt x="54" y="20"/>
                    </a:cubicBezTo>
                    <a:cubicBezTo>
                      <a:pt x="53" y="20"/>
                      <a:pt x="52" y="21"/>
                      <a:pt x="51" y="20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1" y="2"/>
                      <a:pt x="2" y="1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3"/>
                      <a:pt x="56" y="16"/>
                      <a:pt x="56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8" name="Freeform 186">
                <a:extLst>
                  <a:ext uri="{FF2B5EF4-FFF2-40B4-BE49-F238E27FC236}">
                    <a16:creationId xmlns:a16="http://schemas.microsoft.com/office/drawing/2014/main" id="{44D72623-B546-4F70-B3AD-64351C4B4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0" y="2462"/>
                <a:ext cx="31" cy="9"/>
              </a:xfrm>
              <a:custGeom>
                <a:avLst/>
                <a:gdLst>
                  <a:gd name="T0" fmla="*/ 2 w 56"/>
                  <a:gd name="T1" fmla="*/ 5 h 16"/>
                  <a:gd name="T2" fmla="*/ 6 w 56"/>
                  <a:gd name="T3" fmla="*/ 2 h 16"/>
                  <a:gd name="T4" fmla="*/ 54 w 56"/>
                  <a:gd name="T5" fmla="*/ 15 h 16"/>
                  <a:gd name="T6" fmla="*/ 56 w 56"/>
                  <a:gd name="T7" fmla="*/ 16 h 16"/>
                  <a:gd name="T8" fmla="*/ 53 w 56"/>
                  <a:gd name="T9" fmla="*/ 13 h 16"/>
                  <a:gd name="T10" fmla="*/ 5 w 56"/>
                  <a:gd name="T11" fmla="*/ 0 h 16"/>
                  <a:gd name="T12" fmla="*/ 1 w 56"/>
                  <a:gd name="T13" fmla="*/ 3 h 16"/>
                  <a:gd name="T14" fmla="*/ 2 w 56"/>
                  <a:gd name="T15" fmla="*/ 7 h 16"/>
                  <a:gd name="T16" fmla="*/ 2 w 56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6">
                    <a:moveTo>
                      <a:pt x="2" y="5"/>
                    </a:moveTo>
                    <a:cubicBezTo>
                      <a:pt x="2" y="3"/>
                      <a:pt x="4" y="1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5" y="15"/>
                      <a:pt x="55" y="15"/>
                      <a:pt x="56" y="16"/>
                    </a:cubicBezTo>
                    <a:cubicBezTo>
                      <a:pt x="55" y="14"/>
                      <a:pt x="54" y="13"/>
                      <a:pt x="53" y="1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1" y="1"/>
                      <a:pt x="1" y="3"/>
                    </a:cubicBezTo>
                    <a:cubicBezTo>
                      <a:pt x="0" y="4"/>
                      <a:pt x="1" y="6"/>
                      <a:pt x="2" y="7"/>
                    </a:cubicBezTo>
                    <a:cubicBezTo>
                      <a:pt x="1" y="6"/>
                      <a:pt x="1" y="5"/>
                      <a:pt x="2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9" name="Freeform 187">
                <a:extLst>
                  <a:ext uri="{FF2B5EF4-FFF2-40B4-BE49-F238E27FC236}">
                    <a16:creationId xmlns:a16="http://schemas.microsoft.com/office/drawing/2014/main" id="{3EC875B0-F179-48A2-9CEF-7726801476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466"/>
                <a:ext cx="16" cy="7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6 w 29"/>
                  <a:gd name="T5" fmla="*/ 7 h 14"/>
                  <a:gd name="T6" fmla="*/ 29 w 29"/>
                  <a:gd name="T7" fmla="*/ 10 h 14"/>
                  <a:gd name="T8" fmla="*/ 27 w 29"/>
                  <a:gd name="T9" fmla="*/ 9 h 14"/>
                  <a:gd name="T10" fmla="*/ 1 w 29"/>
                  <a:gd name="T11" fmla="*/ 2 h 14"/>
                  <a:gd name="T12" fmla="*/ 0 w 29"/>
                  <a:gd name="T13" fmla="*/ 8 h 14"/>
                  <a:gd name="T14" fmla="*/ 24 w 29"/>
                  <a:gd name="T15" fmla="*/ 14 h 14"/>
                  <a:gd name="T16" fmla="*/ 25 w 29"/>
                  <a:gd name="T17" fmla="*/ 14 h 14"/>
                  <a:gd name="T18" fmla="*/ 27 w 29"/>
                  <a:gd name="T19" fmla="*/ 14 h 14"/>
                  <a:gd name="T20" fmla="*/ 29 w 29"/>
                  <a:gd name="T21" fmla="*/ 12 h 14"/>
                  <a:gd name="T22" fmla="*/ 29 w 29"/>
                  <a:gd name="T23" fmla="*/ 11 h 14"/>
                  <a:gd name="T24" fmla="*/ 26 w 29"/>
                  <a:gd name="T25" fmla="*/ 7 h 14"/>
                  <a:gd name="T26" fmla="*/ 26 w 29"/>
                  <a:gd name="T27" fmla="*/ 7 h 14"/>
                  <a:gd name="T28" fmla="*/ 2 w 29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7"/>
                      <a:pt x="28" y="8"/>
                      <a:pt x="29" y="10"/>
                    </a:cubicBezTo>
                    <a:cubicBezTo>
                      <a:pt x="28" y="9"/>
                      <a:pt x="28" y="9"/>
                      <a:pt x="27" y="9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5" y="14"/>
                      <a:pt x="25" y="14"/>
                    </a:cubicBezTo>
                    <a:cubicBezTo>
                      <a:pt x="26" y="14"/>
                      <a:pt x="26" y="14"/>
                      <a:pt x="27" y="14"/>
                    </a:cubicBezTo>
                    <a:cubicBezTo>
                      <a:pt x="28" y="13"/>
                      <a:pt x="28" y="13"/>
                      <a:pt x="29" y="12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29" y="9"/>
                      <a:pt x="28" y="7"/>
                      <a:pt x="26" y="7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0" name="Freeform 188">
                <a:extLst>
                  <a:ext uri="{FF2B5EF4-FFF2-40B4-BE49-F238E27FC236}">
                    <a16:creationId xmlns:a16="http://schemas.microsoft.com/office/drawing/2014/main" id="{D7B93DA0-EC89-44A1-BCBB-162569C69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" y="2466"/>
                <a:ext cx="16" cy="5"/>
              </a:xfrm>
              <a:custGeom>
                <a:avLst/>
                <a:gdLst>
                  <a:gd name="T0" fmla="*/ 1 w 28"/>
                  <a:gd name="T1" fmla="*/ 0 h 10"/>
                  <a:gd name="T2" fmla="*/ 0 w 28"/>
                  <a:gd name="T3" fmla="*/ 2 h 10"/>
                  <a:gd name="T4" fmla="*/ 26 w 28"/>
                  <a:gd name="T5" fmla="*/ 9 h 10"/>
                  <a:gd name="T6" fmla="*/ 28 w 28"/>
                  <a:gd name="T7" fmla="*/ 10 h 10"/>
                  <a:gd name="T8" fmla="*/ 25 w 28"/>
                  <a:gd name="T9" fmla="*/ 7 h 10"/>
                  <a:gd name="T10" fmla="*/ 1 w 28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7" y="9"/>
                      <a:pt x="27" y="9"/>
                      <a:pt x="28" y="10"/>
                    </a:cubicBezTo>
                    <a:cubicBezTo>
                      <a:pt x="27" y="8"/>
                      <a:pt x="26" y="7"/>
                      <a:pt x="25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1" name="Freeform 189">
                <a:extLst>
                  <a:ext uri="{FF2B5EF4-FFF2-40B4-BE49-F238E27FC236}">
                    <a16:creationId xmlns:a16="http://schemas.microsoft.com/office/drawing/2014/main" id="{7FFBEA9A-5CED-41B9-9113-30219B5A4F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" y="2502"/>
                <a:ext cx="30" cy="11"/>
              </a:xfrm>
              <a:custGeom>
                <a:avLst/>
                <a:gdLst>
                  <a:gd name="T0" fmla="*/ 55 w 56"/>
                  <a:gd name="T1" fmla="*/ 18 h 21"/>
                  <a:gd name="T2" fmla="*/ 53 w 56"/>
                  <a:gd name="T3" fmla="*/ 20 h 21"/>
                  <a:gd name="T4" fmla="*/ 51 w 56"/>
                  <a:gd name="T5" fmla="*/ 21 h 21"/>
                  <a:gd name="T6" fmla="*/ 3 w 56"/>
                  <a:gd name="T7" fmla="*/ 8 h 21"/>
                  <a:gd name="T8" fmla="*/ 0 w 56"/>
                  <a:gd name="T9" fmla="*/ 3 h 21"/>
                  <a:gd name="T10" fmla="*/ 2 w 56"/>
                  <a:gd name="T11" fmla="*/ 1 h 21"/>
                  <a:gd name="T12" fmla="*/ 5 w 56"/>
                  <a:gd name="T13" fmla="*/ 1 h 21"/>
                  <a:gd name="T14" fmla="*/ 53 w 56"/>
                  <a:gd name="T15" fmla="*/ 13 h 21"/>
                  <a:gd name="T16" fmla="*/ 55 w 5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1">
                    <a:moveTo>
                      <a:pt x="55" y="18"/>
                    </a:moveTo>
                    <a:cubicBezTo>
                      <a:pt x="55" y="19"/>
                      <a:pt x="54" y="20"/>
                      <a:pt x="53" y="20"/>
                    </a:cubicBezTo>
                    <a:cubicBezTo>
                      <a:pt x="53" y="21"/>
                      <a:pt x="52" y="21"/>
                      <a:pt x="51" y="21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2"/>
                      <a:pt x="1" y="1"/>
                      <a:pt x="2" y="1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5" y="14"/>
                      <a:pt x="56" y="16"/>
                      <a:pt x="55" y="18"/>
                    </a:cubicBezTo>
                  </a:path>
                </a:pathLst>
              </a:custGeom>
              <a:solidFill>
                <a:srgbClr val="CEC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2" name="Freeform 190">
                <a:extLst>
                  <a:ext uri="{FF2B5EF4-FFF2-40B4-BE49-F238E27FC236}">
                    <a16:creationId xmlns:a16="http://schemas.microsoft.com/office/drawing/2014/main" id="{9C1D49C4-082D-4B81-A8FF-3DCF987A6E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0" y="2502"/>
                <a:ext cx="30" cy="8"/>
              </a:xfrm>
              <a:custGeom>
                <a:avLst/>
                <a:gdLst>
                  <a:gd name="T0" fmla="*/ 1 w 55"/>
                  <a:gd name="T1" fmla="*/ 5 h 16"/>
                  <a:gd name="T2" fmla="*/ 6 w 55"/>
                  <a:gd name="T3" fmla="*/ 2 h 16"/>
                  <a:gd name="T4" fmla="*/ 54 w 55"/>
                  <a:gd name="T5" fmla="*/ 15 h 16"/>
                  <a:gd name="T6" fmla="*/ 55 w 55"/>
                  <a:gd name="T7" fmla="*/ 16 h 16"/>
                  <a:gd name="T8" fmla="*/ 53 w 55"/>
                  <a:gd name="T9" fmla="*/ 13 h 16"/>
                  <a:gd name="T10" fmla="*/ 5 w 55"/>
                  <a:gd name="T11" fmla="*/ 1 h 16"/>
                  <a:gd name="T12" fmla="*/ 0 w 55"/>
                  <a:gd name="T13" fmla="*/ 3 h 16"/>
                  <a:gd name="T14" fmla="*/ 1 w 55"/>
                  <a:gd name="T15" fmla="*/ 7 h 16"/>
                  <a:gd name="T16" fmla="*/ 1 w 55"/>
                  <a:gd name="T1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16">
                    <a:moveTo>
                      <a:pt x="1" y="5"/>
                    </a:moveTo>
                    <a:cubicBezTo>
                      <a:pt x="2" y="3"/>
                      <a:pt x="4" y="2"/>
                      <a:pt x="6" y="2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4" y="15"/>
                      <a:pt x="55" y="16"/>
                      <a:pt x="55" y="16"/>
                    </a:cubicBezTo>
                    <a:cubicBezTo>
                      <a:pt x="55" y="15"/>
                      <a:pt x="54" y="14"/>
                      <a:pt x="53" y="1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0" y="5"/>
                      <a:pt x="0" y="6"/>
                      <a:pt x="1" y="7"/>
                    </a:cubicBezTo>
                    <a:cubicBezTo>
                      <a:pt x="1" y="6"/>
                      <a:pt x="1" y="6"/>
                      <a:pt x="1" y="5"/>
                    </a:cubicBezTo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3" name="Freeform 191">
                <a:extLst>
                  <a:ext uri="{FF2B5EF4-FFF2-40B4-BE49-F238E27FC236}">
                    <a16:creationId xmlns:a16="http://schemas.microsoft.com/office/drawing/2014/main" id="{49629C6D-DD11-4CDB-B4CB-D5AE74EF47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4" y="2505"/>
                <a:ext cx="16" cy="8"/>
              </a:xfrm>
              <a:custGeom>
                <a:avLst/>
                <a:gdLst>
                  <a:gd name="T0" fmla="*/ 2 w 29"/>
                  <a:gd name="T1" fmla="*/ 0 h 14"/>
                  <a:gd name="T2" fmla="*/ 2 w 29"/>
                  <a:gd name="T3" fmla="*/ 0 h 14"/>
                  <a:gd name="T4" fmla="*/ 27 w 29"/>
                  <a:gd name="T5" fmla="*/ 6 h 14"/>
                  <a:gd name="T6" fmla="*/ 29 w 29"/>
                  <a:gd name="T7" fmla="*/ 9 h 14"/>
                  <a:gd name="T8" fmla="*/ 28 w 29"/>
                  <a:gd name="T9" fmla="*/ 8 h 14"/>
                  <a:gd name="T10" fmla="*/ 2 w 29"/>
                  <a:gd name="T11" fmla="*/ 1 h 14"/>
                  <a:gd name="T12" fmla="*/ 0 w 29"/>
                  <a:gd name="T13" fmla="*/ 7 h 14"/>
                  <a:gd name="T14" fmla="*/ 25 w 29"/>
                  <a:gd name="T15" fmla="*/ 14 h 14"/>
                  <a:gd name="T16" fmla="*/ 26 w 29"/>
                  <a:gd name="T17" fmla="*/ 14 h 14"/>
                  <a:gd name="T18" fmla="*/ 27 w 29"/>
                  <a:gd name="T19" fmla="*/ 13 h 14"/>
                  <a:gd name="T20" fmla="*/ 29 w 29"/>
                  <a:gd name="T21" fmla="*/ 11 h 14"/>
                  <a:gd name="T22" fmla="*/ 29 w 29"/>
                  <a:gd name="T23" fmla="*/ 10 h 14"/>
                  <a:gd name="T24" fmla="*/ 27 w 29"/>
                  <a:gd name="T25" fmla="*/ 6 h 14"/>
                  <a:gd name="T26" fmla="*/ 24 w 29"/>
                  <a:gd name="T27" fmla="*/ 6 h 14"/>
                  <a:gd name="T28" fmla="*/ 9 w 29"/>
                  <a:gd name="T29" fmla="*/ 2 h 14"/>
                  <a:gd name="T30" fmla="*/ 3 w 29"/>
                  <a:gd name="T31" fmla="*/ 0 h 14"/>
                  <a:gd name="T32" fmla="*/ 2 w 29"/>
                  <a:gd name="T3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14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8" y="7"/>
                      <a:pt x="29" y="8"/>
                      <a:pt x="29" y="9"/>
                    </a:cubicBezTo>
                    <a:cubicBezTo>
                      <a:pt x="29" y="9"/>
                      <a:pt x="28" y="8"/>
                      <a:pt x="28" y="8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5" y="14"/>
                      <a:pt x="25" y="14"/>
                      <a:pt x="26" y="14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8" y="13"/>
                      <a:pt x="29" y="12"/>
                      <a:pt x="29" y="11"/>
                    </a:cubicBezTo>
                    <a:cubicBezTo>
                      <a:pt x="29" y="11"/>
                      <a:pt x="29" y="10"/>
                      <a:pt x="29" y="10"/>
                    </a:cubicBezTo>
                    <a:cubicBezTo>
                      <a:pt x="29" y="8"/>
                      <a:pt x="28" y="7"/>
                      <a:pt x="27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4" name="Freeform 192">
                <a:extLst>
                  <a:ext uri="{FF2B5EF4-FFF2-40B4-BE49-F238E27FC236}">
                    <a16:creationId xmlns:a16="http://schemas.microsoft.com/office/drawing/2014/main" id="{0F1F4AFA-E954-4505-A904-BD5A49F1F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5" y="2505"/>
                <a:ext cx="15" cy="5"/>
              </a:xfrm>
              <a:custGeom>
                <a:avLst/>
                <a:gdLst>
                  <a:gd name="T0" fmla="*/ 0 w 27"/>
                  <a:gd name="T1" fmla="*/ 0 h 9"/>
                  <a:gd name="T2" fmla="*/ 0 w 27"/>
                  <a:gd name="T3" fmla="*/ 1 h 9"/>
                  <a:gd name="T4" fmla="*/ 26 w 27"/>
                  <a:gd name="T5" fmla="*/ 8 h 9"/>
                  <a:gd name="T6" fmla="*/ 27 w 27"/>
                  <a:gd name="T7" fmla="*/ 9 h 9"/>
                  <a:gd name="T8" fmla="*/ 25 w 27"/>
                  <a:gd name="T9" fmla="*/ 6 h 9"/>
                  <a:gd name="T10" fmla="*/ 0 w 27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9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6" y="8"/>
                      <a:pt x="27" y="9"/>
                      <a:pt x="27" y="9"/>
                    </a:cubicBezTo>
                    <a:cubicBezTo>
                      <a:pt x="27" y="8"/>
                      <a:pt x="26" y="7"/>
                      <a:pt x="25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5" name="Freeform 193">
                <a:extLst>
                  <a:ext uri="{FF2B5EF4-FFF2-40B4-BE49-F238E27FC236}">
                    <a16:creationId xmlns:a16="http://schemas.microsoft.com/office/drawing/2014/main" id="{C94BCCFC-6E1E-42B6-AA08-634FC5DE0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0" y="2362"/>
                <a:ext cx="20" cy="32"/>
              </a:xfrm>
              <a:custGeom>
                <a:avLst/>
                <a:gdLst>
                  <a:gd name="T0" fmla="*/ 13 w 20"/>
                  <a:gd name="T1" fmla="*/ 32 h 32"/>
                  <a:gd name="T2" fmla="*/ 0 w 20"/>
                  <a:gd name="T3" fmla="*/ 28 h 32"/>
                  <a:gd name="T4" fmla="*/ 7 w 20"/>
                  <a:gd name="T5" fmla="*/ 0 h 32"/>
                  <a:gd name="T6" fmla="*/ 20 w 20"/>
                  <a:gd name="T7" fmla="*/ 4 h 32"/>
                  <a:gd name="T8" fmla="*/ 13 w 20"/>
                  <a:gd name="T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2">
                    <a:moveTo>
                      <a:pt x="13" y="32"/>
                    </a:moveTo>
                    <a:lnTo>
                      <a:pt x="0" y="28"/>
                    </a:lnTo>
                    <a:lnTo>
                      <a:pt x="7" y="0"/>
                    </a:lnTo>
                    <a:lnTo>
                      <a:pt x="20" y="4"/>
                    </a:lnTo>
                    <a:lnTo>
                      <a:pt x="13" y="32"/>
                    </a:lnTo>
                    <a:close/>
                  </a:path>
                </a:pathLst>
              </a:custGeom>
              <a:solidFill>
                <a:srgbClr val="EF53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6" name="Freeform 194">
                <a:extLst>
                  <a:ext uri="{FF2B5EF4-FFF2-40B4-BE49-F238E27FC236}">
                    <a16:creationId xmlns:a16="http://schemas.microsoft.com/office/drawing/2014/main" id="{A4201B50-FE4A-4494-9B00-A0ADE304C2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9" y="2404"/>
                <a:ext cx="20" cy="32"/>
              </a:xfrm>
              <a:custGeom>
                <a:avLst/>
                <a:gdLst>
                  <a:gd name="T0" fmla="*/ 12 w 20"/>
                  <a:gd name="T1" fmla="*/ 32 h 32"/>
                  <a:gd name="T2" fmla="*/ 0 w 20"/>
                  <a:gd name="T3" fmla="*/ 28 h 32"/>
                  <a:gd name="T4" fmla="*/ 7 w 20"/>
                  <a:gd name="T5" fmla="*/ 0 h 32"/>
                  <a:gd name="T6" fmla="*/ 20 w 20"/>
                  <a:gd name="T7" fmla="*/ 3 h 32"/>
                  <a:gd name="T8" fmla="*/ 12 w 20"/>
                  <a:gd name="T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2">
                    <a:moveTo>
                      <a:pt x="12" y="32"/>
                    </a:moveTo>
                    <a:lnTo>
                      <a:pt x="0" y="28"/>
                    </a:lnTo>
                    <a:lnTo>
                      <a:pt x="7" y="0"/>
                    </a:lnTo>
                    <a:lnTo>
                      <a:pt x="20" y="3"/>
                    </a:lnTo>
                    <a:lnTo>
                      <a:pt x="12" y="32"/>
                    </a:lnTo>
                    <a:close/>
                  </a:path>
                </a:pathLst>
              </a:custGeom>
              <a:solidFill>
                <a:srgbClr val="8FDC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7" name="Freeform 195">
                <a:extLst>
                  <a:ext uri="{FF2B5EF4-FFF2-40B4-BE49-F238E27FC236}">
                    <a16:creationId xmlns:a16="http://schemas.microsoft.com/office/drawing/2014/main" id="{040EC471-B18B-4524-856E-E917E25575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" y="2387"/>
                <a:ext cx="25" cy="33"/>
              </a:xfrm>
              <a:custGeom>
                <a:avLst/>
                <a:gdLst>
                  <a:gd name="T0" fmla="*/ 17 w 25"/>
                  <a:gd name="T1" fmla="*/ 33 h 33"/>
                  <a:gd name="T2" fmla="*/ 0 w 25"/>
                  <a:gd name="T3" fmla="*/ 28 h 33"/>
                  <a:gd name="T4" fmla="*/ 8 w 25"/>
                  <a:gd name="T5" fmla="*/ 0 h 33"/>
                  <a:gd name="T6" fmla="*/ 25 w 25"/>
                  <a:gd name="T7" fmla="*/ 5 h 33"/>
                  <a:gd name="T8" fmla="*/ 17 w 25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33">
                    <a:moveTo>
                      <a:pt x="17" y="33"/>
                    </a:moveTo>
                    <a:lnTo>
                      <a:pt x="0" y="28"/>
                    </a:lnTo>
                    <a:lnTo>
                      <a:pt x="8" y="0"/>
                    </a:lnTo>
                    <a:lnTo>
                      <a:pt x="25" y="5"/>
                    </a:lnTo>
                    <a:lnTo>
                      <a:pt x="17" y="33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8" name="Freeform 196">
                <a:extLst>
                  <a:ext uri="{FF2B5EF4-FFF2-40B4-BE49-F238E27FC236}">
                    <a16:creationId xmlns:a16="http://schemas.microsoft.com/office/drawing/2014/main" id="{760A5B0F-2515-4410-8688-3BBF8312B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" y="2263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9" name="Freeform 197">
                <a:extLst>
                  <a:ext uri="{FF2B5EF4-FFF2-40B4-BE49-F238E27FC236}">
                    <a16:creationId xmlns:a16="http://schemas.microsoft.com/office/drawing/2014/main" id="{136B7A02-33E1-42E4-8FAE-B8B576DAF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" y="2276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0" name="Freeform 198">
                <a:extLst>
                  <a:ext uri="{FF2B5EF4-FFF2-40B4-BE49-F238E27FC236}">
                    <a16:creationId xmlns:a16="http://schemas.microsoft.com/office/drawing/2014/main" id="{A038D938-5D4E-4058-A4E1-504C0D303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5" y="2288"/>
                <a:ext cx="138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1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1" name="Freeform 199">
                <a:extLst>
                  <a:ext uri="{FF2B5EF4-FFF2-40B4-BE49-F238E27FC236}">
                    <a16:creationId xmlns:a16="http://schemas.microsoft.com/office/drawing/2014/main" id="{1B9D715A-EC9F-4B8A-A0B6-B52A154E0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2" y="2301"/>
                <a:ext cx="138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8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2" name="Freeform 200">
                <a:extLst>
                  <a:ext uri="{FF2B5EF4-FFF2-40B4-BE49-F238E27FC236}">
                    <a16:creationId xmlns:a16="http://schemas.microsoft.com/office/drawing/2014/main" id="{C42C2F4D-5A74-4676-AF9F-674E374861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313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8"/>
                      <a:pt x="253" y="68"/>
                      <a:pt x="253" y="68"/>
                    </a:cubicBezTo>
                    <a:cubicBezTo>
                      <a:pt x="252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3" name="Freeform 201">
                <a:extLst>
                  <a:ext uri="{FF2B5EF4-FFF2-40B4-BE49-F238E27FC236}">
                    <a16:creationId xmlns:a16="http://schemas.microsoft.com/office/drawing/2014/main" id="{86647506-B47B-4A12-93DA-D479FB3C2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5" y="2326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8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4" name="Freeform 202">
                <a:extLst>
                  <a:ext uri="{FF2B5EF4-FFF2-40B4-BE49-F238E27FC236}">
                    <a16:creationId xmlns:a16="http://schemas.microsoft.com/office/drawing/2014/main" id="{60B9C95F-56D4-4BDB-A109-729A91631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2" y="2338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8 h 69"/>
                  <a:gd name="T10" fmla="*/ 252 w 252"/>
                  <a:gd name="T11" fmla="*/ 69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2" y="68"/>
                      <a:pt x="252" y="69"/>
                    </a:cubicBezTo>
                    <a:cubicBezTo>
                      <a:pt x="252" y="69"/>
                      <a:pt x="252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5" name="Freeform 203">
                <a:extLst>
                  <a:ext uri="{FF2B5EF4-FFF2-40B4-BE49-F238E27FC236}">
                    <a16:creationId xmlns:a16="http://schemas.microsoft.com/office/drawing/2014/main" id="{72742FF2-CC75-48D5-A901-04594EB81E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51"/>
                <a:ext cx="137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1 w 252"/>
                  <a:gd name="T9" fmla="*/ 68 h 69"/>
                  <a:gd name="T10" fmla="*/ 252 w 252"/>
                  <a:gd name="T11" fmla="*/ 69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51" y="68"/>
                      <a:pt x="251" y="68"/>
                      <a:pt x="251" y="68"/>
                    </a:cubicBezTo>
                    <a:cubicBezTo>
                      <a:pt x="252" y="68"/>
                      <a:pt x="252" y="68"/>
                      <a:pt x="252" y="69"/>
                    </a:cubicBezTo>
                    <a:cubicBezTo>
                      <a:pt x="252" y="69"/>
                      <a:pt x="251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6" name="Freeform 204">
                <a:extLst>
                  <a:ext uri="{FF2B5EF4-FFF2-40B4-BE49-F238E27FC236}">
                    <a16:creationId xmlns:a16="http://schemas.microsoft.com/office/drawing/2014/main" id="{A1917ECF-7CD9-45B8-B9AC-361BBE00F3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5" y="2363"/>
                <a:ext cx="138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1 w 253"/>
                  <a:gd name="T5" fmla="*/ 1 h 69"/>
                  <a:gd name="T6" fmla="*/ 1 w 253"/>
                  <a:gd name="T7" fmla="*/ 1 h 69"/>
                  <a:gd name="T8" fmla="*/ 252 w 253"/>
                  <a:gd name="T9" fmla="*/ 68 h 69"/>
                  <a:gd name="T10" fmla="*/ 253 w 253"/>
                  <a:gd name="T11" fmla="*/ 69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1"/>
                      <a:pt x="1" y="0"/>
                      <a:pt x="1" y="1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3" y="68"/>
                      <a:pt x="253" y="68"/>
                      <a:pt x="253" y="69"/>
                    </a:cubicBezTo>
                    <a:cubicBezTo>
                      <a:pt x="253" y="69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" name="Group 406">
              <a:extLst>
                <a:ext uri="{FF2B5EF4-FFF2-40B4-BE49-F238E27FC236}">
                  <a16:creationId xmlns:a16="http://schemas.microsoft.com/office/drawing/2014/main" id="{53EA9CB8-50DC-473C-99CE-8AFCCA8D6E4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08950" y="1360488"/>
              <a:ext cx="2019300" cy="2759075"/>
              <a:chOff x="5108" y="857"/>
              <a:chExt cx="1272" cy="1738"/>
            </a:xfrm>
          </p:grpSpPr>
          <p:sp>
            <p:nvSpPr>
              <p:cNvPr id="367" name="Freeform 206">
                <a:extLst>
                  <a:ext uri="{FF2B5EF4-FFF2-40B4-BE49-F238E27FC236}">
                    <a16:creationId xmlns:a16="http://schemas.microsoft.com/office/drawing/2014/main" id="{4798BC5C-9BB4-4BEF-B74B-D74DC9D7C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1" y="2376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1 h 69"/>
                  <a:gd name="T8" fmla="*/ 252 w 253"/>
                  <a:gd name="T9" fmla="*/ 68 h 69"/>
                  <a:gd name="T10" fmla="*/ 253 w 253"/>
                  <a:gd name="T11" fmla="*/ 69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52" y="68"/>
                      <a:pt x="252" y="68"/>
                      <a:pt x="252" y="68"/>
                    </a:cubicBezTo>
                    <a:cubicBezTo>
                      <a:pt x="252" y="68"/>
                      <a:pt x="253" y="68"/>
                      <a:pt x="253" y="69"/>
                    </a:cubicBezTo>
                    <a:cubicBezTo>
                      <a:pt x="253" y="69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207">
                <a:extLst>
                  <a:ext uri="{FF2B5EF4-FFF2-40B4-BE49-F238E27FC236}">
                    <a16:creationId xmlns:a16="http://schemas.microsoft.com/office/drawing/2014/main" id="{A0EB452C-429D-43A4-BF61-139972950A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8" y="2389"/>
                <a:ext cx="139" cy="37"/>
              </a:xfrm>
              <a:custGeom>
                <a:avLst/>
                <a:gdLst>
                  <a:gd name="T0" fmla="*/ 252 w 253"/>
                  <a:gd name="T1" fmla="*/ 68 h 68"/>
                  <a:gd name="T2" fmla="*/ 1 w 253"/>
                  <a:gd name="T3" fmla="*/ 1 h 68"/>
                  <a:gd name="T4" fmla="*/ 0 w 253"/>
                  <a:gd name="T5" fmla="*/ 0 h 68"/>
                  <a:gd name="T6" fmla="*/ 1 w 253"/>
                  <a:gd name="T7" fmla="*/ 0 h 68"/>
                  <a:gd name="T8" fmla="*/ 252 w 253"/>
                  <a:gd name="T9" fmla="*/ 67 h 68"/>
                  <a:gd name="T10" fmla="*/ 252 w 253"/>
                  <a:gd name="T11" fmla="*/ 68 h 68"/>
                  <a:gd name="T12" fmla="*/ 252 w 253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8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7"/>
                      <a:pt x="252" y="68"/>
                    </a:cubicBezTo>
                    <a:cubicBezTo>
                      <a:pt x="252" y="68"/>
                      <a:pt x="252" y="68"/>
                      <a:pt x="252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208">
                <a:extLst>
                  <a:ext uri="{FF2B5EF4-FFF2-40B4-BE49-F238E27FC236}">
                    <a16:creationId xmlns:a16="http://schemas.microsoft.com/office/drawing/2014/main" id="{2ABE8BC9-3174-430E-89B0-0F09902AA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5" y="2402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1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2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8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209">
                <a:extLst>
                  <a:ext uri="{FF2B5EF4-FFF2-40B4-BE49-F238E27FC236}">
                    <a16:creationId xmlns:a16="http://schemas.microsoft.com/office/drawing/2014/main" id="{8C8B4ACF-C1DB-4164-9EF5-BA6B276939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2" y="2414"/>
                <a:ext cx="138" cy="38"/>
              </a:xfrm>
              <a:custGeom>
                <a:avLst/>
                <a:gdLst>
                  <a:gd name="T0" fmla="*/ 251 w 252"/>
                  <a:gd name="T1" fmla="*/ 68 h 69"/>
                  <a:gd name="T2" fmla="*/ 0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9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210">
                <a:extLst>
                  <a:ext uri="{FF2B5EF4-FFF2-40B4-BE49-F238E27FC236}">
                    <a16:creationId xmlns:a16="http://schemas.microsoft.com/office/drawing/2014/main" id="{95729F69-4135-42E8-84F4-D115D9BD5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8" y="2427"/>
                <a:ext cx="138" cy="37"/>
              </a:xfrm>
              <a:custGeom>
                <a:avLst/>
                <a:gdLst>
                  <a:gd name="T0" fmla="*/ 251 w 252"/>
                  <a:gd name="T1" fmla="*/ 68 h 69"/>
                  <a:gd name="T2" fmla="*/ 0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1 w 252"/>
                  <a:gd name="T9" fmla="*/ 67 h 69"/>
                  <a:gd name="T10" fmla="*/ 252 w 252"/>
                  <a:gd name="T11" fmla="*/ 68 h 69"/>
                  <a:gd name="T12" fmla="*/ 251 w 252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8"/>
                      <a:pt x="251" y="69"/>
                      <a:pt x="251" y="68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211">
                <a:extLst>
                  <a:ext uri="{FF2B5EF4-FFF2-40B4-BE49-F238E27FC236}">
                    <a16:creationId xmlns:a16="http://schemas.microsoft.com/office/drawing/2014/main" id="{B35A6572-A9D5-42F2-B142-EB51E9581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" y="2439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8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212">
                <a:extLst>
                  <a:ext uri="{FF2B5EF4-FFF2-40B4-BE49-F238E27FC236}">
                    <a16:creationId xmlns:a16="http://schemas.microsoft.com/office/drawing/2014/main" id="{724AF34D-A7CA-4631-A3DE-D64054DA3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1" y="2452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3" y="68"/>
                    </a:cubicBezTo>
                    <a:cubicBezTo>
                      <a:pt x="252" y="68"/>
                      <a:pt x="252" y="69"/>
                      <a:pt x="252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213">
                <a:extLst>
                  <a:ext uri="{FF2B5EF4-FFF2-40B4-BE49-F238E27FC236}">
                    <a16:creationId xmlns:a16="http://schemas.microsoft.com/office/drawing/2014/main" id="{929E761E-EEA1-43E0-8A22-F8E3A7D36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8" y="2464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1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214">
                <a:extLst>
                  <a:ext uri="{FF2B5EF4-FFF2-40B4-BE49-F238E27FC236}">
                    <a16:creationId xmlns:a16="http://schemas.microsoft.com/office/drawing/2014/main" id="{961B78A1-2549-45D1-8A96-69A74B297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8" y="2339"/>
                <a:ext cx="47" cy="14"/>
              </a:xfrm>
              <a:custGeom>
                <a:avLst/>
                <a:gdLst>
                  <a:gd name="T0" fmla="*/ 83 w 85"/>
                  <a:gd name="T1" fmla="*/ 24 h 24"/>
                  <a:gd name="T2" fmla="*/ 0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2 h 24"/>
                  <a:gd name="T10" fmla="*/ 84 w 85"/>
                  <a:gd name="T11" fmla="*/ 23 h 24"/>
                  <a:gd name="T12" fmla="*/ 83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3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84" y="22"/>
                      <a:pt x="84" y="22"/>
                      <a:pt x="84" y="22"/>
                    </a:cubicBezTo>
                    <a:cubicBezTo>
                      <a:pt x="84" y="23"/>
                      <a:pt x="85" y="23"/>
                      <a:pt x="84" y="23"/>
                    </a:cubicBezTo>
                    <a:cubicBezTo>
                      <a:pt x="84" y="24"/>
                      <a:pt x="84" y="24"/>
                      <a:pt x="83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Freeform 215">
                <a:extLst>
                  <a:ext uri="{FF2B5EF4-FFF2-40B4-BE49-F238E27FC236}">
                    <a16:creationId xmlns:a16="http://schemas.microsoft.com/office/drawing/2014/main" id="{F71F5D83-F820-4831-971A-332CBD4782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" y="2352"/>
                <a:ext cx="46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1 w 85"/>
                  <a:gd name="T5" fmla="*/ 1 h 24"/>
                  <a:gd name="T6" fmla="*/ 1 w 85"/>
                  <a:gd name="T7" fmla="*/ 0 h 24"/>
                  <a:gd name="T8" fmla="*/ 85 w 85"/>
                  <a:gd name="T9" fmla="*/ 22 h 24"/>
                  <a:gd name="T10" fmla="*/ 85 w 85"/>
                  <a:gd name="T11" fmla="*/ 23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85" y="22"/>
                      <a:pt x="85" y="22"/>
                      <a:pt x="85" y="22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4"/>
                      <a:pt x="85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Freeform 216">
                <a:extLst>
                  <a:ext uri="{FF2B5EF4-FFF2-40B4-BE49-F238E27FC236}">
                    <a16:creationId xmlns:a16="http://schemas.microsoft.com/office/drawing/2014/main" id="{D85BCA8D-A4C0-45BE-8163-CD5B7F2CCD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" y="2365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5 w 85"/>
                  <a:gd name="T9" fmla="*/ 23 h 24"/>
                  <a:gd name="T10" fmla="*/ 85 w 85"/>
                  <a:gd name="T11" fmla="*/ 23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85" y="24"/>
                      <a:pt x="85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8" name="Freeform 217">
                <a:extLst>
                  <a:ext uri="{FF2B5EF4-FFF2-40B4-BE49-F238E27FC236}">
                    <a16:creationId xmlns:a16="http://schemas.microsoft.com/office/drawing/2014/main" id="{B6A3291E-0158-4ED9-9B71-A1C0A37DC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8" y="2377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5" y="23"/>
                      <a:pt x="85" y="23"/>
                      <a:pt x="85" y="24"/>
                    </a:cubicBezTo>
                    <a:cubicBezTo>
                      <a:pt x="85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Freeform 218">
                <a:extLst>
                  <a:ext uri="{FF2B5EF4-FFF2-40B4-BE49-F238E27FC236}">
                    <a16:creationId xmlns:a16="http://schemas.microsoft.com/office/drawing/2014/main" id="{1E7A9B52-08CC-4676-BC25-BED9AA389F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" y="2390"/>
                <a:ext cx="46" cy="13"/>
              </a:xfrm>
              <a:custGeom>
                <a:avLst/>
                <a:gdLst>
                  <a:gd name="T0" fmla="*/ 84 w 85"/>
                  <a:gd name="T1" fmla="*/ 24 h 24"/>
                  <a:gd name="T2" fmla="*/ 1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5" y="23"/>
                      <a:pt x="85" y="23"/>
                      <a:pt x="85" y="24"/>
                    </a:cubicBezTo>
                    <a:cubicBezTo>
                      <a:pt x="85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Freeform 219">
                <a:extLst>
                  <a:ext uri="{FF2B5EF4-FFF2-40B4-BE49-F238E27FC236}">
                    <a16:creationId xmlns:a16="http://schemas.microsoft.com/office/drawing/2014/main" id="{7A375989-39E0-48AF-98E8-BD16A064E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1" y="2402"/>
                <a:ext cx="47" cy="13"/>
              </a:xfrm>
              <a:custGeom>
                <a:avLst/>
                <a:gdLst>
                  <a:gd name="T0" fmla="*/ 84 w 85"/>
                  <a:gd name="T1" fmla="*/ 24 h 24"/>
                  <a:gd name="T2" fmla="*/ 0 w 85"/>
                  <a:gd name="T3" fmla="*/ 2 h 24"/>
                  <a:gd name="T4" fmla="*/ 0 w 85"/>
                  <a:gd name="T5" fmla="*/ 1 h 24"/>
                  <a:gd name="T6" fmla="*/ 1 w 85"/>
                  <a:gd name="T7" fmla="*/ 0 h 24"/>
                  <a:gd name="T8" fmla="*/ 84 w 85"/>
                  <a:gd name="T9" fmla="*/ 23 h 24"/>
                  <a:gd name="T10" fmla="*/ 85 w 85"/>
                  <a:gd name="T11" fmla="*/ 24 h 24"/>
                  <a:gd name="T12" fmla="*/ 84 w 85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24">
                    <a:moveTo>
                      <a:pt x="84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4" y="23"/>
                      <a:pt x="85" y="23"/>
                      <a:pt x="85" y="24"/>
                    </a:cubicBezTo>
                    <a:cubicBezTo>
                      <a:pt x="84" y="24"/>
                      <a:pt x="84" y="24"/>
                      <a:pt x="84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Freeform 220">
                <a:extLst>
                  <a:ext uri="{FF2B5EF4-FFF2-40B4-BE49-F238E27FC236}">
                    <a16:creationId xmlns:a16="http://schemas.microsoft.com/office/drawing/2014/main" id="{4D436458-25E7-4C60-B0D1-74FC0A19F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15"/>
                <a:ext cx="46" cy="13"/>
              </a:xfrm>
              <a:custGeom>
                <a:avLst/>
                <a:gdLst>
                  <a:gd name="T0" fmla="*/ 83 w 84"/>
                  <a:gd name="T1" fmla="*/ 24 h 24"/>
                  <a:gd name="T2" fmla="*/ 0 w 84"/>
                  <a:gd name="T3" fmla="*/ 2 h 24"/>
                  <a:gd name="T4" fmla="*/ 0 w 84"/>
                  <a:gd name="T5" fmla="*/ 1 h 24"/>
                  <a:gd name="T6" fmla="*/ 1 w 84"/>
                  <a:gd name="T7" fmla="*/ 0 h 24"/>
                  <a:gd name="T8" fmla="*/ 84 w 84"/>
                  <a:gd name="T9" fmla="*/ 23 h 24"/>
                  <a:gd name="T10" fmla="*/ 84 w 84"/>
                  <a:gd name="T11" fmla="*/ 24 h 24"/>
                  <a:gd name="T12" fmla="*/ 83 w 84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24">
                    <a:moveTo>
                      <a:pt x="83" y="2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4" y="23"/>
                      <a:pt x="84" y="23"/>
                      <a:pt x="84" y="24"/>
                    </a:cubicBezTo>
                    <a:cubicBezTo>
                      <a:pt x="84" y="24"/>
                      <a:pt x="84" y="24"/>
                      <a:pt x="83" y="24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Freeform 221">
                <a:extLst>
                  <a:ext uri="{FF2B5EF4-FFF2-40B4-BE49-F238E27FC236}">
                    <a16:creationId xmlns:a16="http://schemas.microsoft.com/office/drawing/2014/main" id="{2E21A502-C4FF-4D97-8827-90BAF8BCC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3" y="2403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0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2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2" y="68"/>
                      <a:pt x="251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Freeform 222">
                <a:extLst>
                  <a:ext uri="{FF2B5EF4-FFF2-40B4-BE49-F238E27FC236}">
                    <a16:creationId xmlns:a16="http://schemas.microsoft.com/office/drawing/2014/main" id="{A4140B52-F92F-4B4A-8EFE-AF18F4E24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0" y="2416"/>
                <a:ext cx="138" cy="37"/>
              </a:xfrm>
              <a:custGeom>
                <a:avLst/>
                <a:gdLst>
                  <a:gd name="T0" fmla="*/ 251 w 252"/>
                  <a:gd name="T1" fmla="*/ 68 h 68"/>
                  <a:gd name="T2" fmla="*/ 0 w 252"/>
                  <a:gd name="T3" fmla="*/ 1 h 68"/>
                  <a:gd name="T4" fmla="*/ 0 w 252"/>
                  <a:gd name="T5" fmla="*/ 0 h 68"/>
                  <a:gd name="T6" fmla="*/ 1 w 252"/>
                  <a:gd name="T7" fmla="*/ 0 h 68"/>
                  <a:gd name="T8" fmla="*/ 251 w 252"/>
                  <a:gd name="T9" fmla="*/ 67 h 68"/>
                  <a:gd name="T10" fmla="*/ 252 w 252"/>
                  <a:gd name="T11" fmla="*/ 68 h 68"/>
                  <a:gd name="T12" fmla="*/ 251 w 252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8">
                    <a:moveTo>
                      <a:pt x="251" y="68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7"/>
                      <a:pt x="252" y="68"/>
                    </a:cubicBezTo>
                    <a:cubicBezTo>
                      <a:pt x="252" y="68"/>
                      <a:pt x="251" y="68"/>
                      <a:pt x="251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Freeform 223">
                <a:extLst>
                  <a:ext uri="{FF2B5EF4-FFF2-40B4-BE49-F238E27FC236}">
                    <a16:creationId xmlns:a16="http://schemas.microsoft.com/office/drawing/2014/main" id="{3138074F-679D-4718-A5C3-37FFE83E42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6" y="2428"/>
                <a:ext cx="138" cy="38"/>
              </a:xfrm>
              <a:custGeom>
                <a:avLst/>
                <a:gdLst>
                  <a:gd name="T0" fmla="*/ 252 w 253"/>
                  <a:gd name="T1" fmla="*/ 68 h 69"/>
                  <a:gd name="T2" fmla="*/ 1 w 253"/>
                  <a:gd name="T3" fmla="*/ 1 h 69"/>
                  <a:gd name="T4" fmla="*/ 1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7"/>
                      <a:pt x="253" y="68"/>
                    </a:cubicBezTo>
                    <a:cubicBezTo>
                      <a:pt x="253" y="68"/>
                      <a:pt x="252" y="69"/>
                      <a:pt x="252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Freeform 224">
                <a:extLst>
                  <a:ext uri="{FF2B5EF4-FFF2-40B4-BE49-F238E27FC236}">
                    <a16:creationId xmlns:a16="http://schemas.microsoft.com/office/drawing/2014/main" id="{52A93AF8-AC8B-4347-97FD-C2D1A5EAB7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2" y="2441"/>
                <a:ext cx="139" cy="38"/>
              </a:xfrm>
              <a:custGeom>
                <a:avLst/>
                <a:gdLst>
                  <a:gd name="T0" fmla="*/ 252 w 253"/>
                  <a:gd name="T1" fmla="*/ 68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8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8"/>
                      <a:pt x="252" y="69"/>
                      <a:pt x="252" y="68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Freeform 225">
                <a:extLst>
                  <a:ext uri="{FF2B5EF4-FFF2-40B4-BE49-F238E27FC236}">
                    <a16:creationId xmlns:a16="http://schemas.microsoft.com/office/drawing/2014/main" id="{4D9DEC18-B19B-4FAF-B9F3-3383055F13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9" y="2454"/>
                <a:ext cx="139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1 h 69"/>
                  <a:gd name="T4" fmla="*/ 0 w 253"/>
                  <a:gd name="T5" fmla="*/ 0 h 69"/>
                  <a:gd name="T6" fmla="*/ 1 w 253"/>
                  <a:gd name="T7" fmla="*/ 0 h 69"/>
                  <a:gd name="T8" fmla="*/ 252 w 253"/>
                  <a:gd name="T9" fmla="*/ 67 h 69"/>
                  <a:gd name="T10" fmla="*/ 252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2" y="68"/>
                    </a:cubicBezTo>
                    <a:cubicBezTo>
                      <a:pt x="252" y="68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Freeform 226">
                <a:extLst>
                  <a:ext uri="{FF2B5EF4-FFF2-40B4-BE49-F238E27FC236}">
                    <a16:creationId xmlns:a16="http://schemas.microsoft.com/office/drawing/2014/main" id="{971BE79F-923D-4A4D-A416-053168D78A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6" y="2466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1 w 252"/>
                  <a:gd name="T3" fmla="*/ 1 h 69"/>
                  <a:gd name="T4" fmla="*/ 0 w 252"/>
                  <a:gd name="T5" fmla="*/ 0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8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Freeform 227">
                <a:extLst>
                  <a:ext uri="{FF2B5EF4-FFF2-40B4-BE49-F238E27FC236}">
                    <a16:creationId xmlns:a16="http://schemas.microsoft.com/office/drawing/2014/main" id="{494E53A7-3C3F-4CDC-BD0B-DA2147628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479"/>
                <a:ext cx="138" cy="37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1 h 69"/>
                  <a:gd name="T4" fmla="*/ 0 w 252"/>
                  <a:gd name="T5" fmla="*/ 1 h 69"/>
                  <a:gd name="T6" fmla="*/ 1 w 252"/>
                  <a:gd name="T7" fmla="*/ 0 h 69"/>
                  <a:gd name="T8" fmla="*/ 252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2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Freeform 228">
                <a:extLst>
                  <a:ext uri="{FF2B5EF4-FFF2-40B4-BE49-F238E27FC236}">
                    <a16:creationId xmlns:a16="http://schemas.microsoft.com/office/drawing/2014/main" id="{78080B31-D1DB-46E4-883D-13E1FA5F22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9" y="2491"/>
                <a:ext cx="138" cy="38"/>
              </a:xfrm>
              <a:custGeom>
                <a:avLst/>
                <a:gdLst>
                  <a:gd name="T0" fmla="*/ 251 w 252"/>
                  <a:gd name="T1" fmla="*/ 69 h 69"/>
                  <a:gd name="T2" fmla="*/ 0 w 252"/>
                  <a:gd name="T3" fmla="*/ 2 h 69"/>
                  <a:gd name="T4" fmla="*/ 0 w 252"/>
                  <a:gd name="T5" fmla="*/ 1 h 69"/>
                  <a:gd name="T6" fmla="*/ 1 w 252"/>
                  <a:gd name="T7" fmla="*/ 0 h 69"/>
                  <a:gd name="T8" fmla="*/ 251 w 252"/>
                  <a:gd name="T9" fmla="*/ 67 h 69"/>
                  <a:gd name="T10" fmla="*/ 252 w 252"/>
                  <a:gd name="T11" fmla="*/ 68 h 69"/>
                  <a:gd name="T12" fmla="*/ 251 w 252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69">
                    <a:moveTo>
                      <a:pt x="251" y="6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51" y="67"/>
                      <a:pt x="251" y="67"/>
                      <a:pt x="251" y="67"/>
                    </a:cubicBezTo>
                    <a:cubicBezTo>
                      <a:pt x="252" y="67"/>
                      <a:pt x="252" y="68"/>
                      <a:pt x="252" y="68"/>
                    </a:cubicBezTo>
                    <a:cubicBezTo>
                      <a:pt x="252" y="69"/>
                      <a:pt x="251" y="69"/>
                      <a:pt x="251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Freeform 229">
                <a:extLst>
                  <a:ext uri="{FF2B5EF4-FFF2-40B4-BE49-F238E27FC236}">
                    <a16:creationId xmlns:a16="http://schemas.microsoft.com/office/drawing/2014/main" id="{C6491041-D199-46E5-82B5-55AF5BABF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2504"/>
                <a:ext cx="138" cy="37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3" y="67"/>
                      <a:pt x="253" y="68"/>
                      <a:pt x="253" y="68"/>
                    </a:cubicBezTo>
                    <a:cubicBezTo>
                      <a:pt x="253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Freeform 230">
                <a:extLst>
                  <a:ext uri="{FF2B5EF4-FFF2-40B4-BE49-F238E27FC236}">
                    <a16:creationId xmlns:a16="http://schemas.microsoft.com/office/drawing/2014/main" id="{5ADE6041-EDAB-41C0-B9E2-699796B8C0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516"/>
                <a:ext cx="139" cy="38"/>
              </a:xfrm>
              <a:custGeom>
                <a:avLst/>
                <a:gdLst>
                  <a:gd name="T0" fmla="*/ 252 w 253"/>
                  <a:gd name="T1" fmla="*/ 69 h 69"/>
                  <a:gd name="T2" fmla="*/ 1 w 253"/>
                  <a:gd name="T3" fmla="*/ 2 h 69"/>
                  <a:gd name="T4" fmla="*/ 0 w 253"/>
                  <a:gd name="T5" fmla="*/ 1 h 69"/>
                  <a:gd name="T6" fmla="*/ 1 w 253"/>
                  <a:gd name="T7" fmla="*/ 0 h 69"/>
                  <a:gd name="T8" fmla="*/ 252 w 253"/>
                  <a:gd name="T9" fmla="*/ 67 h 69"/>
                  <a:gd name="T10" fmla="*/ 253 w 253"/>
                  <a:gd name="T11" fmla="*/ 68 h 69"/>
                  <a:gd name="T12" fmla="*/ 252 w 253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3" h="69">
                    <a:moveTo>
                      <a:pt x="252" y="69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52" y="67"/>
                      <a:pt x="252" y="67"/>
                      <a:pt x="252" y="67"/>
                    </a:cubicBezTo>
                    <a:cubicBezTo>
                      <a:pt x="252" y="67"/>
                      <a:pt x="253" y="68"/>
                      <a:pt x="253" y="68"/>
                    </a:cubicBezTo>
                    <a:cubicBezTo>
                      <a:pt x="252" y="69"/>
                      <a:pt x="252" y="69"/>
                      <a:pt x="252" y="69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Freeform 231">
                <a:extLst>
                  <a:ext uri="{FF2B5EF4-FFF2-40B4-BE49-F238E27FC236}">
                    <a16:creationId xmlns:a16="http://schemas.microsoft.com/office/drawing/2014/main" id="{89D26C9E-77DB-439C-A41A-D935B7734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9" y="2314"/>
                <a:ext cx="22" cy="79"/>
              </a:xfrm>
              <a:custGeom>
                <a:avLst/>
                <a:gdLst>
                  <a:gd name="T0" fmla="*/ 1 w 41"/>
                  <a:gd name="T1" fmla="*/ 146 h 146"/>
                  <a:gd name="T2" fmla="*/ 1 w 41"/>
                  <a:gd name="T3" fmla="*/ 145 h 146"/>
                  <a:gd name="T4" fmla="*/ 39 w 41"/>
                  <a:gd name="T5" fmla="*/ 0 h 146"/>
                  <a:gd name="T6" fmla="*/ 40 w 41"/>
                  <a:gd name="T7" fmla="*/ 0 h 146"/>
                  <a:gd name="T8" fmla="*/ 41 w 41"/>
                  <a:gd name="T9" fmla="*/ 1 h 146"/>
                  <a:gd name="T10" fmla="*/ 2 w 41"/>
                  <a:gd name="T11" fmla="*/ 146 h 146"/>
                  <a:gd name="T12" fmla="*/ 1 w 41"/>
                  <a:gd name="T13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146">
                    <a:moveTo>
                      <a:pt x="1" y="146"/>
                    </a:moveTo>
                    <a:cubicBezTo>
                      <a:pt x="1" y="146"/>
                      <a:pt x="0" y="146"/>
                      <a:pt x="1" y="14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40" y="0"/>
                      <a:pt x="40" y="0"/>
                    </a:cubicBezTo>
                    <a:cubicBezTo>
                      <a:pt x="41" y="0"/>
                      <a:pt x="41" y="0"/>
                      <a:pt x="41" y="1"/>
                    </a:cubicBezTo>
                    <a:cubicBezTo>
                      <a:pt x="2" y="146"/>
                      <a:pt x="2" y="146"/>
                      <a:pt x="2" y="146"/>
                    </a:cubicBezTo>
                    <a:cubicBezTo>
                      <a:pt x="2" y="146"/>
                      <a:pt x="1" y="146"/>
                      <a:pt x="1" y="146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Freeform 232">
                <a:extLst>
                  <a:ext uri="{FF2B5EF4-FFF2-40B4-BE49-F238E27FC236}">
                    <a16:creationId xmlns:a16="http://schemas.microsoft.com/office/drawing/2014/main" id="{14C0270B-D41F-4ACE-8E23-9E39D785C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6" y="2387"/>
                <a:ext cx="81" cy="23"/>
              </a:xfrm>
              <a:custGeom>
                <a:avLst/>
                <a:gdLst>
                  <a:gd name="T0" fmla="*/ 146 w 148"/>
                  <a:gd name="T1" fmla="*/ 41 h 41"/>
                  <a:gd name="T2" fmla="*/ 1 w 148"/>
                  <a:gd name="T3" fmla="*/ 2 h 41"/>
                  <a:gd name="T4" fmla="*/ 0 w 148"/>
                  <a:gd name="T5" fmla="*/ 1 h 41"/>
                  <a:gd name="T6" fmla="*/ 1 w 148"/>
                  <a:gd name="T7" fmla="*/ 0 h 41"/>
                  <a:gd name="T8" fmla="*/ 147 w 148"/>
                  <a:gd name="T9" fmla="*/ 39 h 41"/>
                  <a:gd name="T10" fmla="*/ 147 w 148"/>
                  <a:gd name="T11" fmla="*/ 40 h 41"/>
                  <a:gd name="T12" fmla="*/ 146 w 148"/>
                  <a:gd name="T13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" h="41">
                    <a:moveTo>
                      <a:pt x="146" y="41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47" y="39"/>
                      <a:pt x="147" y="39"/>
                      <a:pt x="147" y="39"/>
                    </a:cubicBezTo>
                    <a:cubicBezTo>
                      <a:pt x="147" y="39"/>
                      <a:pt x="148" y="40"/>
                      <a:pt x="147" y="40"/>
                    </a:cubicBezTo>
                    <a:cubicBezTo>
                      <a:pt x="147" y="41"/>
                      <a:pt x="147" y="41"/>
                      <a:pt x="146" y="41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Freeform 233">
                <a:extLst>
                  <a:ext uri="{FF2B5EF4-FFF2-40B4-BE49-F238E27FC236}">
                    <a16:creationId xmlns:a16="http://schemas.microsoft.com/office/drawing/2014/main" id="{B3A106E9-D298-477B-9D94-C48936C46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0" y="2334"/>
                <a:ext cx="87" cy="52"/>
              </a:xfrm>
              <a:custGeom>
                <a:avLst/>
                <a:gdLst>
                  <a:gd name="T0" fmla="*/ 0 w 87"/>
                  <a:gd name="T1" fmla="*/ 47 h 52"/>
                  <a:gd name="T2" fmla="*/ 0 w 87"/>
                  <a:gd name="T3" fmla="*/ 47 h 52"/>
                  <a:gd name="T4" fmla="*/ 0 w 87"/>
                  <a:gd name="T5" fmla="*/ 47 h 52"/>
                  <a:gd name="T6" fmla="*/ 21 w 87"/>
                  <a:gd name="T7" fmla="*/ 27 h 52"/>
                  <a:gd name="T8" fmla="*/ 21 w 87"/>
                  <a:gd name="T9" fmla="*/ 27 h 52"/>
                  <a:gd name="T10" fmla="*/ 22 w 87"/>
                  <a:gd name="T11" fmla="*/ 27 h 52"/>
                  <a:gd name="T12" fmla="*/ 28 w 87"/>
                  <a:gd name="T13" fmla="*/ 35 h 52"/>
                  <a:gd name="T14" fmla="*/ 43 w 87"/>
                  <a:gd name="T15" fmla="*/ 15 h 52"/>
                  <a:gd name="T16" fmla="*/ 43 w 87"/>
                  <a:gd name="T17" fmla="*/ 15 h 52"/>
                  <a:gd name="T18" fmla="*/ 43 w 87"/>
                  <a:gd name="T19" fmla="*/ 15 h 52"/>
                  <a:gd name="T20" fmla="*/ 43 w 87"/>
                  <a:gd name="T21" fmla="*/ 15 h 52"/>
                  <a:gd name="T22" fmla="*/ 46 w 87"/>
                  <a:gd name="T23" fmla="*/ 50 h 52"/>
                  <a:gd name="T24" fmla="*/ 56 w 87"/>
                  <a:gd name="T25" fmla="*/ 31 h 52"/>
                  <a:gd name="T26" fmla="*/ 57 w 87"/>
                  <a:gd name="T27" fmla="*/ 30 h 52"/>
                  <a:gd name="T28" fmla="*/ 57 w 87"/>
                  <a:gd name="T29" fmla="*/ 31 h 52"/>
                  <a:gd name="T30" fmla="*/ 60 w 87"/>
                  <a:gd name="T31" fmla="*/ 39 h 52"/>
                  <a:gd name="T32" fmla="*/ 70 w 87"/>
                  <a:gd name="T33" fmla="*/ 17 h 52"/>
                  <a:gd name="T34" fmla="*/ 70 w 87"/>
                  <a:gd name="T35" fmla="*/ 17 h 52"/>
                  <a:gd name="T36" fmla="*/ 70 w 87"/>
                  <a:gd name="T37" fmla="*/ 17 h 52"/>
                  <a:gd name="T38" fmla="*/ 73 w 87"/>
                  <a:gd name="T39" fmla="*/ 22 h 52"/>
                  <a:gd name="T40" fmla="*/ 86 w 87"/>
                  <a:gd name="T41" fmla="*/ 0 h 52"/>
                  <a:gd name="T42" fmla="*/ 87 w 87"/>
                  <a:gd name="T43" fmla="*/ 0 h 52"/>
                  <a:gd name="T44" fmla="*/ 87 w 87"/>
                  <a:gd name="T45" fmla="*/ 1 h 52"/>
                  <a:gd name="T46" fmla="*/ 73 w 87"/>
                  <a:gd name="T47" fmla="*/ 23 h 52"/>
                  <a:gd name="T48" fmla="*/ 73 w 87"/>
                  <a:gd name="T49" fmla="*/ 23 h 52"/>
                  <a:gd name="T50" fmla="*/ 72 w 87"/>
                  <a:gd name="T51" fmla="*/ 23 h 52"/>
                  <a:gd name="T52" fmla="*/ 70 w 87"/>
                  <a:gd name="T53" fmla="*/ 19 h 52"/>
                  <a:gd name="T54" fmla="*/ 60 w 87"/>
                  <a:gd name="T55" fmla="*/ 40 h 52"/>
                  <a:gd name="T56" fmla="*/ 60 w 87"/>
                  <a:gd name="T57" fmla="*/ 40 h 52"/>
                  <a:gd name="T58" fmla="*/ 60 w 87"/>
                  <a:gd name="T59" fmla="*/ 40 h 52"/>
                  <a:gd name="T60" fmla="*/ 57 w 87"/>
                  <a:gd name="T61" fmla="*/ 32 h 52"/>
                  <a:gd name="T62" fmla="*/ 46 w 87"/>
                  <a:gd name="T63" fmla="*/ 52 h 52"/>
                  <a:gd name="T64" fmla="*/ 45 w 87"/>
                  <a:gd name="T65" fmla="*/ 52 h 52"/>
                  <a:gd name="T66" fmla="*/ 45 w 87"/>
                  <a:gd name="T67" fmla="*/ 52 h 52"/>
                  <a:gd name="T68" fmla="*/ 43 w 87"/>
                  <a:gd name="T69" fmla="*/ 16 h 52"/>
                  <a:gd name="T70" fmla="*/ 28 w 87"/>
                  <a:gd name="T71" fmla="*/ 36 h 52"/>
                  <a:gd name="T72" fmla="*/ 28 w 87"/>
                  <a:gd name="T73" fmla="*/ 36 h 52"/>
                  <a:gd name="T74" fmla="*/ 28 w 87"/>
                  <a:gd name="T75" fmla="*/ 36 h 52"/>
                  <a:gd name="T76" fmla="*/ 21 w 87"/>
                  <a:gd name="T77" fmla="*/ 28 h 52"/>
                  <a:gd name="T78" fmla="*/ 0 w 87"/>
                  <a:gd name="T79" fmla="*/ 47 h 52"/>
                  <a:gd name="T80" fmla="*/ 0 w 87"/>
                  <a:gd name="T81" fmla="*/ 47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7" h="52">
                    <a:moveTo>
                      <a:pt x="0" y="47"/>
                    </a:moveTo>
                    <a:lnTo>
                      <a:pt x="0" y="47"/>
                    </a:lnTo>
                    <a:lnTo>
                      <a:pt x="0" y="47"/>
                    </a:lnTo>
                    <a:lnTo>
                      <a:pt x="21" y="27"/>
                    </a:lnTo>
                    <a:lnTo>
                      <a:pt x="21" y="27"/>
                    </a:lnTo>
                    <a:lnTo>
                      <a:pt x="22" y="27"/>
                    </a:lnTo>
                    <a:lnTo>
                      <a:pt x="28" y="3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6" y="50"/>
                    </a:lnTo>
                    <a:lnTo>
                      <a:pt x="56" y="31"/>
                    </a:lnTo>
                    <a:lnTo>
                      <a:pt x="57" y="30"/>
                    </a:lnTo>
                    <a:lnTo>
                      <a:pt x="57" y="31"/>
                    </a:lnTo>
                    <a:lnTo>
                      <a:pt x="60" y="39"/>
                    </a:lnTo>
                    <a:lnTo>
                      <a:pt x="70" y="17"/>
                    </a:lnTo>
                    <a:lnTo>
                      <a:pt x="70" y="17"/>
                    </a:lnTo>
                    <a:lnTo>
                      <a:pt x="70" y="17"/>
                    </a:lnTo>
                    <a:lnTo>
                      <a:pt x="73" y="22"/>
                    </a:lnTo>
                    <a:lnTo>
                      <a:pt x="86" y="0"/>
                    </a:lnTo>
                    <a:lnTo>
                      <a:pt x="87" y="0"/>
                    </a:lnTo>
                    <a:lnTo>
                      <a:pt x="87" y="1"/>
                    </a:lnTo>
                    <a:lnTo>
                      <a:pt x="73" y="23"/>
                    </a:lnTo>
                    <a:lnTo>
                      <a:pt x="73" y="23"/>
                    </a:lnTo>
                    <a:lnTo>
                      <a:pt x="72" y="23"/>
                    </a:lnTo>
                    <a:lnTo>
                      <a:pt x="70" y="19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57" y="32"/>
                    </a:lnTo>
                    <a:lnTo>
                      <a:pt x="46" y="52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43" y="1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1" y="28"/>
                    </a:lnTo>
                    <a:lnTo>
                      <a:pt x="0" y="47"/>
                    </a:lnTo>
                    <a:lnTo>
                      <a:pt x="0" y="47"/>
                    </a:ln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Freeform 234">
                <a:extLst>
                  <a:ext uri="{FF2B5EF4-FFF2-40B4-BE49-F238E27FC236}">
                    <a16:creationId xmlns:a16="http://schemas.microsoft.com/office/drawing/2014/main" id="{4D1DCA91-FFF0-4EFE-986A-F086172B8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2" y="2334"/>
                <a:ext cx="5" cy="7"/>
              </a:xfrm>
              <a:custGeom>
                <a:avLst/>
                <a:gdLst>
                  <a:gd name="T0" fmla="*/ 6 w 9"/>
                  <a:gd name="T1" fmla="*/ 12 h 12"/>
                  <a:gd name="T2" fmla="*/ 5 w 9"/>
                  <a:gd name="T3" fmla="*/ 11 h 12"/>
                  <a:gd name="T4" fmla="*/ 7 w 9"/>
                  <a:gd name="T5" fmla="*/ 3 h 12"/>
                  <a:gd name="T6" fmla="*/ 1 w 9"/>
                  <a:gd name="T7" fmla="*/ 8 h 12"/>
                  <a:gd name="T8" fmla="*/ 0 w 9"/>
                  <a:gd name="T9" fmla="*/ 8 h 12"/>
                  <a:gd name="T10" fmla="*/ 0 w 9"/>
                  <a:gd name="T11" fmla="*/ 7 h 12"/>
                  <a:gd name="T12" fmla="*/ 8 w 9"/>
                  <a:gd name="T13" fmla="*/ 0 h 12"/>
                  <a:gd name="T14" fmla="*/ 9 w 9"/>
                  <a:gd name="T15" fmla="*/ 0 h 12"/>
                  <a:gd name="T16" fmla="*/ 9 w 9"/>
                  <a:gd name="T17" fmla="*/ 1 h 12"/>
                  <a:gd name="T18" fmla="*/ 7 w 9"/>
                  <a:gd name="T19" fmla="*/ 11 h 12"/>
                  <a:gd name="T20" fmla="*/ 6 w 9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12">
                    <a:moveTo>
                      <a:pt x="6" y="12"/>
                    </a:moveTo>
                    <a:cubicBezTo>
                      <a:pt x="5" y="11"/>
                      <a:pt x="5" y="11"/>
                      <a:pt x="5" y="1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11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rgbClr val="A0A0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Freeform 235">
                <a:extLst>
                  <a:ext uri="{FF2B5EF4-FFF2-40B4-BE49-F238E27FC236}">
                    <a16:creationId xmlns:a16="http://schemas.microsoft.com/office/drawing/2014/main" id="{6732AD72-9403-4264-A93A-E3AE94C5E0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8" y="2307"/>
                <a:ext cx="85" cy="288"/>
              </a:xfrm>
              <a:custGeom>
                <a:avLst/>
                <a:gdLst>
                  <a:gd name="T0" fmla="*/ 8 w 85"/>
                  <a:gd name="T1" fmla="*/ 288 h 288"/>
                  <a:gd name="T2" fmla="*/ 0 w 85"/>
                  <a:gd name="T3" fmla="*/ 286 h 288"/>
                  <a:gd name="T4" fmla="*/ 77 w 85"/>
                  <a:gd name="T5" fmla="*/ 0 h 288"/>
                  <a:gd name="T6" fmla="*/ 85 w 85"/>
                  <a:gd name="T7" fmla="*/ 2 h 288"/>
                  <a:gd name="T8" fmla="*/ 8 w 85"/>
                  <a:gd name="T9" fmla="*/ 288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288">
                    <a:moveTo>
                      <a:pt x="8" y="288"/>
                    </a:moveTo>
                    <a:lnTo>
                      <a:pt x="0" y="286"/>
                    </a:lnTo>
                    <a:lnTo>
                      <a:pt x="77" y="0"/>
                    </a:lnTo>
                    <a:lnTo>
                      <a:pt x="85" y="2"/>
                    </a:lnTo>
                    <a:lnTo>
                      <a:pt x="8" y="288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Freeform 236">
                <a:extLst>
                  <a:ext uri="{FF2B5EF4-FFF2-40B4-BE49-F238E27FC236}">
                    <a16:creationId xmlns:a16="http://schemas.microsoft.com/office/drawing/2014/main" id="{BA9D7340-C884-488F-B991-4DAEE78E1D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4" y="2159"/>
                <a:ext cx="13" cy="30"/>
              </a:xfrm>
              <a:custGeom>
                <a:avLst/>
                <a:gdLst>
                  <a:gd name="T0" fmla="*/ 1 w 24"/>
                  <a:gd name="T1" fmla="*/ 40 h 55"/>
                  <a:gd name="T2" fmla="*/ 8 w 24"/>
                  <a:gd name="T3" fmla="*/ 11 h 55"/>
                  <a:gd name="T4" fmla="*/ 23 w 24"/>
                  <a:gd name="T5" fmla="*/ 2 h 55"/>
                  <a:gd name="T6" fmla="*/ 24 w 24"/>
                  <a:gd name="T7" fmla="*/ 2 h 55"/>
                  <a:gd name="T8" fmla="*/ 12 w 24"/>
                  <a:gd name="T9" fmla="*/ 55 h 55"/>
                  <a:gd name="T10" fmla="*/ 10 w 24"/>
                  <a:gd name="T11" fmla="*/ 54 h 55"/>
                  <a:gd name="T12" fmla="*/ 1 w 24"/>
                  <a:gd name="T13" fmla="*/ 4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55">
                    <a:moveTo>
                      <a:pt x="1" y="40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10" y="4"/>
                      <a:pt x="16" y="0"/>
                      <a:pt x="23" y="2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0" y="54"/>
                      <a:pt x="10" y="54"/>
                      <a:pt x="10" y="54"/>
                    </a:cubicBezTo>
                    <a:cubicBezTo>
                      <a:pt x="4" y="53"/>
                      <a:pt x="0" y="46"/>
                      <a:pt x="1" y="4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Freeform 237">
                <a:extLst>
                  <a:ext uri="{FF2B5EF4-FFF2-40B4-BE49-F238E27FC236}">
                    <a16:creationId xmlns:a16="http://schemas.microsoft.com/office/drawing/2014/main" id="{99F5156E-9E47-4592-807E-FD36680F7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7" y="2154"/>
                <a:ext cx="132" cy="66"/>
              </a:xfrm>
              <a:custGeom>
                <a:avLst/>
                <a:gdLst>
                  <a:gd name="T0" fmla="*/ 196 w 240"/>
                  <a:gd name="T1" fmla="*/ 120 h 121"/>
                  <a:gd name="T2" fmla="*/ 17 w 240"/>
                  <a:gd name="T3" fmla="*/ 79 h 121"/>
                  <a:gd name="T4" fmla="*/ 2 w 240"/>
                  <a:gd name="T5" fmla="*/ 61 h 121"/>
                  <a:gd name="T6" fmla="*/ 13 w 240"/>
                  <a:gd name="T7" fmla="*/ 12 h 121"/>
                  <a:gd name="T8" fmla="*/ 35 w 240"/>
                  <a:gd name="T9" fmla="*/ 2 h 121"/>
                  <a:gd name="T10" fmla="*/ 214 w 240"/>
                  <a:gd name="T11" fmla="*/ 43 h 121"/>
                  <a:gd name="T12" fmla="*/ 216 w 240"/>
                  <a:gd name="T13" fmla="*/ 44 h 121"/>
                  <a:gd name="T14" fmla="*/ 229 w 240"/>
                  <a:gd name="T15" fmla="*/ 74 h 121"/>
                  <a:gd name="T16" fmla="*/ 229 w 240"/>
                  <a:gd name="T17" fmla="*/ 73 h 121"/>
                  <a:gd name="T18" fmla="*/ 240 w 240"/>
                  <a:gd name="T19" fmla="*/ 76 h 121"/>
                  <a:gd name="T20" fmla="*/ 234 w 240"/>
                  <a:gd name="T21" fmla="*/ 102 h 121"/>
                  <a:gd name="T22" fmla="*/ 223 w 240"/>
                  <a:gd name="T23" fmla="*/ 100 h 121"/>
                  <a:gd name="T24" fmla="*/ 223 w 240"/>
                  <a:gd name="T25" fmla="*/ 100 h 121"/>
                  <a:gd name="T26" fmla="*/ 198 w 240"/>
                  <a:gd name="T27" fmla="*/ 121 h 121"/>
                  <a:gd name="T28" fmla="*/ 196 w 240"/>
                  <a:gd name="T29" fmla="*/ 12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0" h="121">
                    <a:moveTo>
                      <a:pt x="196" y="120"/>
                    </a:moveTo>
                    <a:cubicBezTo>
                      <a:pt x="17" y="79"/>
                      <a:pt x="17" y="79"/>
                      <a:pt x="17" y="79"/>
                    </a:cubicBezTo>
                    <a:cubicBezTo>
                      <a:pt x="7" y="77"/>
                      <a:pt x="0" y="69"/>
                      <a:pt x="2" y="61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5" y="4"/>
                      <a:pt x="25" y="0"/>
                      <a:pt x="35" y="2"/>
                    </a:cubicBezTo>
                    <a:cubicBezTo>
                      <a:pt x="214" y="43"/>
                      <a:pt x="214" y="43"/>
                      <a:pt x="214" y="43"/>
                    </a:cubicBezTo>
                    <a:cubicBezTo>
                      <a:pt x="215" y="43"/>
                      <a:pt x="215" y="43"/>
                      <a:pt x="216" y="44"/>
                    </a:cubicBezTo>
                    <a:cubicBezTo>
                      <a:pt x="225" y="49"/>
                      <a:pt x="229" y="74"/>
                      <a:pt x="229" y="74"/>
                    </a:cubicBezTo>
                    <a:cubicBezTo>
                      <a:pt x="229" y="73"/>
                      <a:pt x="229" y="73"/>
                      <a:pt x="229" y="73"/>
                    </a:cubicBezTo>
                    <a:cubicBezTo>
                      <a:pt x="240" y="76"/>
                      <a:pt x="240" y="76"/>
                      <a:pt x="240" y="76"/>
                    </a:cubicBezTo>
                    <a:cubicBezTo>
                      <a:pt x="234" y="102"/>
                      <a:pt x="234" y="102"/>
                      <a:pt x="234" y="102"/>
                    </a:cubicBezTo>
                    <a:cubicBezTo>
                      <a:pt x="223" y="100"/>
                      <a:pt x="223" y="100"/>
                      <a:pt x="223" y="100"/>
                    </a:cubicBezTo>
                    <a:cubicBezTo>
                      <a:pt x="223" y="100"/>
                      <a:pt x="223" y="100"/>
                      <a:pt x="223" y="100"/>
                    </a:cubicBezTo>
                    <a:cubicBezTo>
                      <a:pt x="223" y="100"/>
                      <a:pt x="208" y="120"/>
                      <a:pt x="198" y="121"/>
                    </a:cubicBezTo>
                    <a:cubicBezTo>
                      <a:pt x="197" y="121"/>
                      <a:pt x="197" y="121"/>
                      <a:pt x="196" y="12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Freeform 238">
                <a:extLst>
                  <a:ext uri="{FF2B5EF4-FFF2-40B4-BE49-F238E27FC236}">
                    <a16:creationId xmlns:a16="http://schemas.microsoft.com/office/drawing/2014/main" id="{D7EAC1EA-79E6-4716-AF50-A81473C58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6" y="2178"/>
                <a:ext cx="23" cy="42"/>
              </a:xfrm>
              <a:custGeom>
                <a:avLst/>
                <a:gdLst>
                  <a:gd name="T0" fmla="*/ 0 w 42"/>
                  <a:gd name="T1" fmla="*/ 77 h 77"/>
                  <a:gd name="T2" fmla="*/ 18 w 42"/>
                  <a:gd name="T3" fmla="*/ 0 h 77"/>
                  <a:gd name="T4" fmla="*/ 31 w 42"/>
                  <a:gd name="T5" fmla="*/ 30 h 77"/>
                  <a:gd name="T6" fmla="*/ 31 w 42"/>
                  <a:gd name="T7" fmla="*/ 29 h 77"/>
                  <a:gd name="T8" fmla="*/ 42 w 42"/>
                  <a:gd name="T9" fmla="*/ 32 h 77"/>
                  <a:gd name="T10" fmla="*/ 36 w 42"/>
                  <a:gd name="T11" fmla="*/ 58 h 77"/>
                  <a:gd name="T12" fmla="*/ 25 w 42"/>
                  <a:gd name="T13" fmla="*/ 56 h 77"/>
                  <a:gd name="T14" fmla="*/ 25 w 42"/>
                  <a:gd name="T15" fmla="*/ 56 h 77"/>
                  <a:gd name="T16" fmla="*/ 0 w 42"/>
                  <a:gd name="T17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77">
                    <a:moveTo>
                      <a:pt x="0" y="77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27" y="5"/>
                      <a:pt x="31" y="30"/>
                      <a:pt x="31" y="30"/>
                    </a:cubicBezTo>
                    <a:cubicBezTo>
                      <a:pt x="31" y="29"/>
                      <a:pt x="31" y="29"/>
                      <a:pt x="31" y="29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25" y="56"/>
                      <a:pt x="25" y="56"/>
                      <a:pt x="25" y="56"/>
                    </a:cubicBezTo>
                    <a:cubicBezTo>
                      <a:pt x="25" y="56"/>
                      <a:pt x="25" y="56"/>
                      <a:pt x="25" y="56"/>
                    </a:cubicBezTo>
                    <a:cubicBezTo>
                      <a:pt x="25" y="56"/>
                      <a:pt x="10" y="76"/>
                      <a:pt x="0" y="77"/>
                    </a:cubicBezTo>
                  </a:path>
                </a:pathLst>
              </a:custGeom>
              <a:solidFill>
                <a:srgbClr val="C9B6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0" name="Freeform 239">
                <a:extLst>
                  <a:ext uri="{FF2B5EF4-FFF2-40B4-BE49-F238E27FC236}">
                    <a16:creationId xmlns:a16="http://schemas.microsoft.com/office/drawing/2014/main" id="{5BD6F254-7E97-4564-AEA1-6414D5897D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5" y="2197"/>
                <a:ext cx="14" cy="12"/>
              </a:xfrm>
              <a:custGeom>
                <a:avLst/>
                <a:gdLst>
                  <a:gd name="T0" fmla="*/ 0 w 24"/>
                  <a:gd name="T1" fmla="*/ 20 h 22"/>
                  <a:gd name="T2" fmla="*/ 5 w 24"/>
                  <a:gd name="T3" fmla="*/ 0 h 22"/>
                  <a:gd name="T4" fmla="*/ 23 w 24"/>
                  <a:gd name="T5" fmla="*/ 7 h 22"/>
                  <a:gd name="T6" fmla="*/ 24 w 24"/>
                  <a:gd name="T7" fmla="*/ 7 h 22"/>
                  <a:gd name="T8" fmla="*/ 24 w 24"/>
                  <a:gd name="T9" fmla="*/ 8 h 22"/>
                  <a:gd name="T10" fmla="*/ 21 w 24"/>
                  <a:gd name="T11" fmla="*/ 21 h 22"/>
                  <a:gd name="T12" fmla="*/ 20 w 24"/>
                  <a:gd name="T13" fmla="*/ 22 h 22"/>
                  <a:gd name="T14" fmla="*/ 19 w 24"/>
                  <a:gd name="T15" fmla="*/ 22 h 22"/>
                  <a:gd name="T16" fmla="*/ 0 w 24"/>
                  <a:gd name="T17" fmla="*/ 2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2">
                    <a:moveTo>
                      <a:pt x="0" y="2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7"/>
                      <a:pt x="24" y="8"/>
                      <a:pt x="24" y="8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1" y="21"/>
                      <a:pt x="21" y="22"/>
                      <a:pt x="20" y="22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0" y="20"/>
                      <a:pt x="0" y="20"/>
                      <a:pt x="0" y="2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1" name="Freeform 240">
                <a:extLst>
                  <a:ext uri="{FF2B5EF4-FFF2-40B4-BE49-F238E27FC236}">
                    <a16:creationId xmlns:a16="http://schemas.microsoft.com/office/drawing/2014/main" id="{DED403AA-BD71-4D1A-9A26-3218B38871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6" y="2201"/>
                <a:ext cx="3" cy="8"/>
              </a:xfrm>
              <a:custGeom>
                <a:avLst/>
                <a:gdLst>
                  <a:gd name="T0" fmla="*/ 0 w 5"/>
                  <a:gd name="T1" fmla="*/ 15 h 15"/>
                  <a:gd name="T2" fmla="*/ 4 w 5"/>
                  <a:gd name="T3" fmla="*/ 0 h 15"/>
                  <a:gd name="T4" fmla="*/ 5 w 5"/>
                  <a:gd name="T5" fmla="*/ 0 h 15"/>
                  <a:gd name="T6" fmla="*/ 5 w 5"/>
                  <a:gd name="T7" fmla="*/ 1 h 15"/>
                  <a:gd name="T8" fmla="*/ 2 w 5"/>
                  <a:gd name="T9" fmla="*/ 14 h 15"/>
                  <a:gd name="T10" fmla="*/ 1 w 5"/>
                  <a:gd name="T11" fmla="*/ 15 h 15"/>
                  <a:gd name="T12" fmla="*/ 0 w 5"/>
                  <a:gd name="T13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15">
                    <a:moveTo>
                      <a:pt x="0" y="15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2" y="14"/>
                      <a:pt x="2" y="15"/>
                      <a:pt x="1" y="15"/>
                    </a:cubicBez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30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2" name="Freeform 241">
                <a:extLst>
                  <a:ext uri="{FF2B5EF4-FFF2-40B4-BE49-F238E27FC236}">
                    <a16:creationId xmlns:a16="http://schemas.microsoft.com/office/drawing/2014/main" id="{6178053C-5132-4CEA-BFC7-65AB89BED1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54" y="2180"/>
                <a:ext cx="112" cy="40"/>
              </a:xfrm>
              <a:custGeom>
                <a:avLst/>
                <a:gdLst>
                  <a:gd name="T0" fmla="*/ 204 w 204"/>
                  <a:gd name="T1" fmla="*/ 74 h 74"/>
                  <a:gd name="T2" fmla="*/ 204 w 204"/>
                  <a:gd name="T3" fmla="*/ 74 h 74"/>
                  <a:gd name="T4" fmla="*/ 204 w 204"/>
                  <a:gd name="T5" fmla="*/ 74 h 74"/>
                  <a:gd name="T6" fmla="*/ 204 w 204"/>
                  <a:gd name="T7" fmla="*/ 74 h 74"/>
                  <a:gd name="T8" fmla="*/ 204 w 204"/>
                  <a:gd name="T9" fmla="*/ 74 h 74"/>
                  <a:gd name="T10" fmla="*/ 204 w 204"/>
                  <a:gd name="T11" fmla="*/ 74 h 74"/>
                  <a:gd name="T12" fmla="*/ 204 w 204"/>
                  <a:gd name="T13" fmla="*/ 74 h 74"/>
                  <a:gd name="T14" fmla="*/ 23 w 204"/>
                  <a:gd name="T15" fmla="*/ 32 h 74"/>
                  <a:gd name="T16" fmla="*/ 23 w 204"/>
                  <a:gd name="T17" fmla="*/ 32 h 74"/>
                  <a:gd name="T18" fmla="*/ 23 w 204"/>
                  <a:gd name="T19" fmla="*/ 32 h 74"/>
                  <a:gd name="T20" fmla="*/ 23 w 204"/>
                  <a:gd name="T21" fmla="*/ 32 h 74"/>
                  <a:gd name="T22" fmla="*/ 23 w 204"/>
                  <a:gd name="T23" fmla="*/ 32 h 74"/>
                  <a:gd name="T24" fmla="*/ 23 w 204"/>
                  <a:gd name="T25" fmla="*/ 32 h 74"/>
                  <a:gd name="T26" fmla="*/ 23 w 204"/>
                  <a:gd name="T27" fmla="*/ 32 h 74"/>
                  <a:gd name="T28" fmla="*/ 23 w 204"/>
                  <a:gd name="T29" fmla="*/ 32 h 74"/>
                  <a:gd name="T30" fmla="*/ 23 w 204"/>
                  <a:gd name="T31" fmla="*/ 32 h 74"/>
                  <a:gd name="T32" fmla="*/ 23 w 204"/>
                  <a:gd name="T33" fmla="*/ 32 h 74"/>
                  <a:gd name="T34" fmla="*/ 23 w 204"/>
                  <a:gd name="T35" fmla="*/ 32 h 74"/>
                  <a:gd name="T36" fmla="*/ 23 w 204"/>
                  <a:gd name="T37" fmla="*/ 32 h 74"/>
                  <a:gd name="T38" fmla="*/ 18 w 204"/>
                  <a:gd name="T39" fmla="*/ 30 h 74"/>
                  <a:gd name="T40" fmla="*/ 23 w 204"/>
                  <a:gd name="T41" fmla="*/ 32 h 74"/>
                  <a:gd name="T42" fmla="*/ 18 w 204"/>
                  <a:gd name="T43" fmla="*/ 30 h 74"/>
                  <a:gd name="T44" fmla="*/ 18 w 204"/>
                  <a:gd name="T45" fmla="*/ 30 h 74"/>
                  <a:gd name="T46" fmla="*/ 18 w 204"/>
                  <a:gd name="T47" fmla="*/ 30 h 74"/>
                  <a:gd name="T48" fmla="*/ 18 w 204"/>
                  <a:gd name="T49" fmla="*/ 30 h 74"/>
                  <a:gd name="T50" fmla="*/ 18 w 204"/>
                  <a:gd name="T51" fmla="*/ 30 h 74"/>
                  <a:gd name="T52" fmla="*/ 18 w 204"/>
                  <a:gd name="T53" fmla="*/ 30 h 74"/>
                  <a:gd name="T54" fmla="*/ 18 w 204"/>
                  <a:gd name="T55" fmla="*/ 30 h 74"/>
                  <a:gd name="T56" fmla="*/ 1 w 204"/>
                  <a:gd name="T57" fmla="*/ 0 h 74"/>
                  <a:gd name="T58" fmla="*/ 0 w 204"/>
                  <a:gd name="T59" fmla="*/ 3 h 74"/>
                  <a:gd name="T60" fmla="*/ 2 w 204"/>
                  <a:gd name="T61" fmla="*/ 11 h 74"/>
                  <a:gd name="T62" fmla="*/ 0 w 204"/>
                  <a:gd name="T63" fmla="*/ 2 h 74"/>
                  <a:gd name="T64" fmla="*/ 1 w 204"/>
                  <a:gd name="T6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4" h="74">
                    <a:moveTo>
                      <a:pt x="204" y="74"/>
                    </a:move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moveTo>
                      <a:pt x="204" y="74"/>
                    </a:move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4"/>
                      <a:pt x="204" y="74"/>
                      <a:pt x="204" y="74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23" y="32"/>
                    </a:moveTo>
                    <a:cubicBezTo>
                      <a:pt x="23" y="32"/>
                      <a:pt x="23" y="32"/>
                      <a:pt x="23" y="32"/>
                    </a:cubicBezTo>
                    <a:cubicBezTo>
                      <a:pt x="23" y="32"/>
                      <a:pt x="23" y="32"/>
                      <a:pt x="23" y="32"/>
                    </a:cubicBezTo>
                    <a:moveTo>
                      <a:pt x="18" y="30"/>
                    </a:moveTo>
                    <a:cubicBezTo>
                      <a:pt x="19" y="31"/>
                      <a:pt x="21" y="32"/>
                      <a:pt x="23" y="32"/>
                    </a:cubicBezTo>
                    <a:cubicBezTo>
                      <a:pt x="21" y="32"/>
                      <a:pt x="19" y="31"/>
                      <a:pt x="18" y="30"/>
                    </a:cubicBezTo>
                    <a:moveTo>
                      <a:pt x="18" y="30"/>
                    </a:moveTo>
                    <a:cubicBezTo>
                      <a:pt x="18" y="30"/>
                      <a:pt x="18" y="30"/>
                      <a:pt x="18" y="30"/>
                    </a:cubicBezTo>
                    <a:cubicBezTo>
                      <a:pt x="18" y="30"/>
                      <a:pt x="18" y="30"/>
                      <a:pt x="18" y="30"/>
                    </a:cubicBezTo>
                    <a:moveTo>
                      <a:pt x="18" y="30"/>
                    </a:moveTo>
                    <a:cubicBezTo>
                      <a:pt x="18" y="30"/>
                      <a:pt x="18" y="30"/>
                      <a:pt x="18" y="30"/>
                    </a:cubicBezTo>
                    <a:cubicBezTo>
                      <a:pt x="18" y="30"/>
                      <a:pt x="18" y="30"/>
                      <a:pt x="18" y="30"/>
                    </a:cubicBezTo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6"/>
                      <a:pt x="0" y="9"/>
                      <a:pt x="2" y="11"/>
                    </a:cubicBezTo>
                    <a:cubicBezTo>
                      <a:pt x="0" y="8"/>
                      <a:pt x="0" y="5"/>
                      <a:pt x="0" y="2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3" name="Freeform 242">
                <a:extLst>
                  <a:ext uri="{FF2B5EF4-FFF2-40B4-BE49-F238E27FC236}">
                    <a16:creationId xmlns:a16="http://schemas.microsoft.com/office/drawing/2014/main" id="{8449E19B-FD82-4876-ACCA-CAA9E3B42F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4" y="2178"/>
                <a:ext cx="5" cy="10"/>
              </a:xfrm>
              <a:custGeom>
                <a:avLst/>
                <a:gdLst>
                  <a:gd name="T0" fmla="*/ 2 w 9"/>
                  <a:gd name="T1" fmla="*/ 0 h 18"/>
                  <a:gd name="T2" fmla="*/ 1 w 9"/>
                  <a:gd name="T3" fmla="*/ 3 h 18"/>
                  <a:gd name="T4" fmla="*/ 0 w 9"/>
                  <a:gd name="T5" fmla="*/ 5 h 18"/>
                  <a:gd name="T6" fmla="*/ 2 w 9"/>
                  <a:gd name="T7" fmla="*/ 14 h 18"/>
                  <a:gd name="T8" fmla="*/ 8 w 9"/>
                  <a:gd name="T9" fmla="*/ 18 h 18"/>
                  <a:gd name="T10" fmla="*/ 8 w 9"/>
                  <a:gd name="T11" fmla="*/ 17 h 18"/>
                  <a:gd name="T12" fmla="*/ 9 w 9"/>
                  <a:gd name="T13" fmla="*/ 12 h 18"/>
                  <a:gd name="T14" fmla="*/ 2 w 9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8">
                    <a:moveTo>
                      <a:pt x="2" y="0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8"/>
                      <a:pt x="0" y="11"/>
                      <a:pt x="2" y="14"/>
                    </a:cubicBezTo>
                    <a:cubicBezTo>
                      <a:pt x="3" y="16"/>
                      <a:pt x="5" y="17"/>
                      <a:pt x="8" y="18"/>
                    </a:cubicBezTo>
                    <a:cubicBezTo>
                      <a:pt x="8" y="18"/>
                      <a:pt x="8" y="17"/>
                      <a:pt x="8" y="17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4" y="9"/>
                      <a:pt x="1" y="4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4" name="Freeform 243">
                <a:extLst>
                  <a:ext uri="{FF2B5EF4-FFF2-40B4-BE49-F238E27FC236}">
                    <a16:creationId xmlns:a16="http://schemas.microsoft.com/office/drawing/2014/main" id="{264C59A7-6688-4C1A-810A-A22053853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8" y="2185"/>
                <a:ext cx="109" cy="35"/>
              </a:xfrm>
              <a:custGeom>
                <a:avLst/>
                <a:gdLst>
                  <a:gd name="T0" fmla="*/ 2 w 199"/>
                  <a:gd name="T1" fmla="*/ 0 h 65"/>
                  <a:gd name="T2" fmla="*/ 1 w 199"/>
                  <a:gd name="T3" fmla="*/ 5 h 65"/>
                  <a:gd name="T4" fmla="*/ 1 w 199"/>
                  <a:gd name="T5" fmla="*/ 6 h 65"/>
                  <a:gd name="T6" fmla="*/ 1 w 199"/>
                  <a:gd name="T7" fmla="*/ 6 h 65"/>
                  <a:gd name="T8" fmla="*/ 11 w 199"/>
                  <a:gd name="T9" fmla="*/ 21 h 65"/>
                  <a:gd name="T10" fmla="*/ 11 w 199"/>
                  <a:gd name="T11" fmla="*/ 21 h 65"/>
                  <a:gd name="T12" fmla="*/ 11 w 199"/>
                  <a:gd name="T13" fmla="*/ 21 h 65"/>
                  <a:gd name="T14" fmla="*/ 11 w 199"/>
                  <a:gd name="T15" fmla="*/ 21 h 65"/>
                  <a:gd name="T16" fmla="*/ 11 w 199"/>
                  <a:gd name="T17" fmla="*/ 21 h 65"/>
                  <a:gd name="T18" fmla="*/ 16 w 199"/>
                  <a:gd name="T19" fmla="*/ 23 h 65"/>
                  <a:gd name="T20" fmla="*/ 16 w 199"/>
                  <a:gd name="T21" fmla="*/ 23 h 65"/>
                  <a:gd name="T22" fmla="*/ 16 w 199"/>
                  <a:gd name="T23" fmla="*/ 23 h 65"/>
                  <a:gd name="T24" fmla="*/ 16 w 199"/>
                  <a:gd name="T25" fmla="*/ 23 h 65"/>
                  <a:gd name="T26" fmla="*/ 16 w 199"/>
                  <a:gd name="T27" fmla="*/ 23 h 65"/>
                  <a:gd name="T28" fmla="*/ 16 w 199"/>
                  <a:gd name="T29" fmla="*/ 23 h 65"/>
                  <a:gd name="T30" fmla="*/ 16 w 199"/>
                  <a:gd name="T31" fmla="*/ 23 h 65"/>
                  <a:gd name="T32" fmla="*/ 16 w 199"/>
                  <a:gd name="T33" fmla="*/ 23 h 65"/>
                  <a:gd name="T34" fmla="*/ 16 w 199"/>
                  <a:gd name="T35" fmla="*/ 23 h 65"/>
                  <a:gd name="T36" fmla="*/ 16 w 199"/>
                  <a:gd name="T37" fmla="*/ 23 h 65"/>
                  <a:gd name="T38" fmla="*/ 195 w 199"/>
                  <a:gd name="T39" fmla="*/ 64 h 65"/>
                  <a:gd name="T40" fmla="*/ 197 w 199"/>
                  <a:gd name="T41" fmla="*/ 65 h 65"/>
                  <a:gd name="T42" fmla="*/ 197 w 199"/>
                  <a:gd name="T43" fmla="*/ 65 h 65"/>
                  <a:gd name="T44" fmla="*/ 197 w 199"/>
                  <a:gd name="T45" fmla="*/ 65 h 65"/>
                  <a:gd name="T46" fmla="*/ 197 w 199"/>
                  <a:gd name="T47" fmla="*/ 65 h 65"/>
                  <a:gd name="T48" fmla="*/ 197 w 199"/>
                  <a:gd name="T49" fmla="*/ 65 h 65"/>
                  <a:gd name="T50" fmla="*/ 197 w 199"/>
                  <a:gd name="T51" fmla="*/ 65 h 65"/>
                  <a:gd name="T52" fmla="*/ 199 w 199"/>
                  <a:gd name="T53" fmla="*/ 58 h 65"/>
                  <a:gd name="T54" fmla="*/ 198 w 199"/>
                  <a:gd name="T55" fmla="*/ 58 h 65"/>
                  <a:gd name="T56" fmla="*/ 197 w 199"/>
                  <a:gd name="T57" fmla="*/ 58 h 65"/>
                  <a:gd name="T58" fmla="*/ 18 w 199"/>
                  <a:gd name="T59" fmla="*/ 17 h 65"/>
                  <a:gd name="T60" fmla="*/ 2 w 199"/>
                  <a:gd name="T61" fmla="*/ 0 h 65"/>
                  <a:gd name="T62" fmla="*/ 2 w 199"/>
                  <a:gd name="T6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9" h="65">
                    <a:moveTo>
                      <a:pt x="2" y="0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12"/>
                      <a:pt x="4" y="18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2" y="22"/>
                      <a:pt x="14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95" y="64"/>
                      <a:pt x="195" y="64"/>
                      <a:pt x="195" y="64"/>
                    </a:cubicBezTo>
                    <a:cubicBezTo>
                      <a:pt x="196" y="65"/>
                      <a:pt x="196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7" y="65"/>
                      <a:pt x="197" y="65"/>
                      <a:pt x="197" y="65"/>
                    </a:cubicBezTo>
                    <a:cubicBezTo>
                      <a:pt x="199" y="58"/>
                      <a:pt x="199" y="58"/>
                      <a:pt x="199" y="58"/>
                    </a:cubicBezTo>
                    <a:cubicBezTo>
                      <a:pt x="198" y="58"/>
                      <a:pt x="198" y="58"/>
                      <a:pt x="198" y="58"/>
                    </a:cubicBezTo>
                    <a:cubicBezTo>
                      <a:pt x="198" y="58"/>
                      <a:pt x="197" y="58"/>
                      <a:pt x="197" y="58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8" y="15"/>
                      <a:pt x="2" y="7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5" name="Freeform 244">
                <a:extLst>
                  <a:ext uri="{FF2B5EF4-FFF2-40B4-BE49-F238E27FC236}">
                    <a16:creationId xmlns:a16="http://schemas.microsoft.com/office/drawing/2014/main" id="{DDC6264D-08B0-406A-82C6-5B73EEE51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6" y="2205"/>
                <a:ext cx="20" cy="15"/>
              </a:xfrm>
              <a:custGeom>
                <a:avLst/>
                <a:gdLst>
                  <a:gd name="T0" fmla="*/ 27 w 37"/>
                  <a:gd name="T1" fmla="*/ 0 h 28"/>
                  <a:gd name="T2" fmla="*/ 2 w 37"/>
                  <a:gd name="T3" fmla="*/ 21 h 28"/>
                  <a:gd name="T4" fmla="*/ 2 w 37"/>
                  <a:gd name="T5" fmla="*/ 21 h 28"/>
                  <a:gd name="T6" fmla="*/ 0 w 37"/>
                  <a:gd name="T7" fmla="*/ 28 h 28"/>
                  <a:gd name="T8" fmla="*/ 25 w 37"/>
                  <a:gd name="T9" fmla="*/ 7 h 28"/>
                  <a:gd name="T10" fmla="*/ 25 w 37"/>
                  <a:gd name="T11" fmla="*/ 7 h 28"/>
                  <a:gd name="T12" fmla="*/ 25 w 37"/>
                  <a:gd name="T13" fmla="*/ 7 h 28"/>
                  <a:gd name="T14" fmla="*/ 25 w 37"/>
                  <a:gd name="T15" fmla="*/ 7 h 28"/>
                  <a:gd name="T16" fmla="*/ 36 w 37"/>
                  <a:gd name="T17" fmla="*/ 9 h 28"/>
                  <a:gd name="T18" fmla="*/ 37 w 37"/>
                  <a:gd name="T19" fmla="*/ 3 h 28"/>
                  <a:gd name="T20" fmla="*/ 27 w 37"/>
                  <a:gd name="T21" fmla="*/ 0 h 28"/>
                  <a:gd name="T22" fmla="*/ 27 w 37"/>
                  <a:gd name="T2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28">
                    <a:moveTo>
                      <a:pt x="27" y="0"/>
                    </a:moveTo>
                    <a:cubicBezTo>
                      <a:pt x="27" y="0"/>
                      <a:pt x="12" y="21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10" y="2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0"/>
                      <a:pt x="27" y="0"/>
                      <a:pt x="27" y="0"/>
                    </a:cubicBezTo>
                  </a:path>
                </a:pathLst>
              </a:custGeom>
              <a:solidFill>
                <a:srgbClr val="9F9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6" name="Freeform 245">
                <a:extLst>
                  <a:ext uri="{FF2B5EF4-FFF2-40B4-BE49-F238E27FC236}">
                    <a16:creationId xmlns:a16="http://schemas.microsoft.com/office/drawing/2014/main" id="{A0E5697D-D1C9-4DFE-BB7E-7BD917635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3" y="2177"/>
                <a:ext cx="67" cy="19"/>
              </a:xfrm>
              <a:custGeom>
                <a:avLst/>
                <a:gdLst>
                  <a:gd name="T0" fmla="*/ 0 w 124"/>
                  <a:gd name="T1" fmla="*/ 3 h 35"/>
                  <a:gd name="T2" fmla="*/ 0 w 124"/>
                  <a:gd name="T3" fmla="*/ 3 h 35"/>
                  <a:gd name="T4" fmla="*/ 5 w 124"/>
                  <a:gd name="T5" fmla="*/ 0 h 35"/>
                  <a:gd name="T6" fmla="*/ 121 w 124"/>
                  <a:gd name="T7" fmla="*/ 27 h 35"/>
                  <a:gd name="T8" fmla="*/ 124 w 124"/>
                  <a:gd name="T9" fmla="*/ 32 h 35"/>
                  <a:gd name="T10" fmla="*/ 119 w 124"/>
                  <a:gd name="T11" fmla="*/ 34 h 35"/>
                  <a:gd name="T12" fmla="*/ 3 w 124"/>
                  <a:gd name="T13" fmla="*/ 8 h 35"/>
                  <a:gd name="T14" fmla="*/ 0 w 124"/>
                  <a:gd name="T15" fmla="*/ 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4" h="35">
                    <a:moveTo>
                      <a:pt x="0" y="3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121" y="27"/>
                      <a:pt x="121" y="27"/>
                      <a:pt x="121" y="27"/>
                    </a:cubicBezTo>
                    <a:cubicBezTo>
                      <a:pt x="123" y="28"/>
                      <a:pt x="124" y="30"/>
                      <a:pt x="124" y="32"/>
                    </a:cubicBezTo>
                    <a:cubicBezTo>
                      <a:pt x="123" y="34"/>
                      <a:pt x="121" y="35"/>
                      <a:pt x="119" y="34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lose/>
                  </a:path>
                </a:pathLst>
              </a:custGeom>
              <a:solidFill>
                <a:srgbClr val="C9B6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7" name="Freeform 246">
                <a:extLst>
                  <a:ext uri="{FF2B5EF4-FFF2-40B4-BE49-F238E27FC236}">
                    <a16:creationId xmlns:a16="http://schemas.microsoft.com/office/drawing/2014/main" id="{FE8B05E2-E65A-4E4F-9AFA-216D5FC52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3" y="1025"/>
                <a:ext cx="30" cy="7"/>
              </a:xfrm>
              <a:custGeom>
                <a:avLst/>
                <a:gdLst>
                  <a:gd name="T0" fmla="*/ 42 w 54"/>
                  <a:gd name="T1" fmla="*/ 0 h 14"/>
                  <a:gd name="T2" fmla="*/ 12 w 54"/>
                  <a:gd name="T3" fmla="*/ 0 h 14"/>
                  <a:gd name="T4" fmla="*/ 0 w 54"/>
                  <a:gd name="T5" fmla="*/ 12 h 14"/>
                  <a:gd name="T6" fmla="*/ 0 w 54"/>
                  <a:gd name="T7" fmla="*/ 14 h 14"/>
                  <a:gd name="T8" fmla="*/ 54 w 54"/>
                  <a:gd name="T9" fmla="*/ 14 h 14"/>
                  <a:gd name="T10" fmla="*/ 54 w 54"/>
                  <a:gd name="T11" fmla="*/ 12 h 14"/>
                  <a:gd name="T12" fmla="*/ 42 w 54"/>
                  <a:gd name="T1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14">
                    <a:moveTo>
                      <a:pt x="42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6"/>
                      <a:pt x="0" y="1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54" y="14"/>
                      <a:pt x="54" y="14"/>
                      <a:pt x="54" y="14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54" y="6"/>
                      <a:pt x="49" y="0"/>
                      <a:pt x="42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8" name="Freeform 247">
                <a:extLst>
                  <a:ext uri="{FF2B5EF4-FFF2-40B4-BE49-F238E27FC236}">
                    <a16:creationId xmlns:a16="http://schemas.microsoft.com/office/drawing/2014/main" id="{40C5B921-85EC-4D97-B1CB-6B01CA33D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1030"/>
                <a:ext cx="44" cy="159"/>
              </a:xfrm>
              <a:custGeom>
                <a:avLst/>
                <a:gdLst>
                  <a:gd name="T0" fmla="*/ 63 w 80"/>
                  <a:gd name="T1" fmla="*/ 0 h 291"/>
                  <a:gd name="T2" fmla="*/ 17 w 80"/>
                  <a:gd name="T3" fmla="*/ 0 h 291"/>
                  <a:gd name="T4" fmla="*/ 0 w 80"/>
                  <a:gd name="T5" fmla="*/ 17 h 291"/>
                  <a:gd name="T6" fmla="*/ 0 w 80"/>
                  <a:gd name="T7" fmla="*/ 275 h 291"/>
                  <a:gd name="T8" fmla="*/ 17 w 80"/>
                  <a:gd name="T9" fmla="*/ 291 h 291"/>
                  <a:gd name="T10" fmla="*/ 63 w 80"/>
                  <a:gd name="T11" fmla="*/ 291 h 291"/>
                  <a:gd name="T12" fmla="*/ 80 w 80"/>
                  <a:gd name="T13" fmla="*/ 275 h 291"/>
                  <a:gd name="T14" fmla="*/ 80 w 80"/>
                  <a:gd name="T15" fmla="*/ 17 h 291"/>
                  <a:gd name="T16" fmla="*/ 63 w 80"/>
                  <a:gd name="T17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291">
                    <a:moveTo>
                      <a:pt x="63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275"/>
                      <a:pt x="0" y="275"/>
                      <a:pt x="0" y="275"/>
                    </a:cubicBezTo>
                    <a:cubicBezTo>
                      <a:pt x="0" y="284"/>
                      <a:pt x="8" y="291"/>
                      <a:pt x="17" y="291"/>
                    </a:cubicBezTo>
                    <a:cubicBezTo>
                      <a:pt x="63" y="291"/>
                      <a:pt x="63" y="291"/>
                      <a:pt x="63" y="291"/>
                    </a:cubicBezTo>
                    <a:cubicBezTo>
                      <a:pt x="72" y="291"/>
                      <a:pt x="80" y="284"/>
                      <a:pt x="80" y="275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80" y="8"/>
                      <a:pt x="72" y="0"/>
                      <a:pt x="63" y="0"/>
                    </a:cubicBezTo>
                  </a:path>
                </a:pathLst>
              </a:custGeom>
              <a:solidFill>
                <a:srgbClr val="6550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9" name="Freeform 248">
                <a:extLst>
                  <a:ext uri="{FF2B5EF4-FFF2-40B4-BE49-F238E27FC236}">
                    <a16:creationId xmlns:a16="http://schemas.microsoft.com/office/drawing/2014/main" id="{655172B2-48DE-4394-A3EB-70C3F8E6B5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1141"/>
                <a:ext cx="44" cy="48"/>
              </a:xfrm>
              <a:custGeom>
                <a:avLst/>
                <a:gdLst>
                  <a:gd name="T0" fmla="*/ 80 w 80"/>
                  <a:gd name="T1" fmla="*/ 0 h 88"/>
                  <a:gd name="T2" fmla="*/ 80 w 80"/>
                  <a:gd name="T3" fmla="*/ 69 h 88"/>
                  <a:gd name="T4" fmla="*/ 65 w 80"/>
                  <a:gd name="T5" fmla="*/ 88 h 88"/>
                  <a:gd name="T6" fmla="*/ 15 w 80"/>
                  <a:gd name="T7" fmla="*/ 88 h 88"/>
                  <a:gd name="T8" fmla="*/ 0 w 80"/>
                  <a:gd name="T9" fmla="*/ 69 h 88"/>
                  <a:gd name="T10" fmla="*/ 0 w 80"/>
                  <a:gd name="T11" fmla="*/ 0 h 88"/>
                  <a:gd name="T12" fmla="*/ 80 w 80"/>
                  <a:gd name="T13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" h="88">
                    <a:moveTo>
                      <a:pt x="80" y="0"/>
                    </a:moveTo>
                    <a:cubicBezTo>
                      <a:pt x="80" y="69"/>
                      <a:pt x="80" y="69"/>
                      <a:pt x="80" y="69"/>
                    </a:cubicBezTo>
                    <a:cubicBezTo>
                      <a:pt x="80" y="80"/>
                      <a:pt x="73" y="88"/>
                      <a:pt x="65" y="88"/>
                    </a:cubicBezTo>
                    <a:cubicBezTo>
                      <a:pt x="15" y="88"/>
                      <a:pt x="15" y="88"/>
                      <a:pt x="15" y="88"/>
                    </a:cubicBezTo>
                    <a:cubicBezTo>
                      <a:pt x="7" y="88"/>
                      <a:pt x="0" y="80"/>
                      <a:pt x="0" y="6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0" y="0"/>
                      <a:pt x="80" y="0"/>
                      <a:pt x="80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0" name="Rectangle 249">
                <a:extLst>
                  <a:ext uri="{FF2B5EF4-FFF2-40B4-BE49-F238E27FC236}">
                    <a16:creationId xmlns:a16="http://schemas.microsoft.com/office/drawing/2014/main" id="{3091854D-1B18-4313-A1D8-42500ABA98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74"/>
                <a:ext cx="44" cy="4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1" name="Rectangle 250">
                <a:extLst>
                  <a:ext uri="{FF2B5EF4-FFF2-40B4-BE49-F238E27FC236}">
                    <a16:creationId xmlns:a16="http://schemas.microsoft.com/office/drawing/2014/main" id="{8DAD6FC0-0AA0-48A1-9D35-B1068558E2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74"/>
                <a:ext cx="44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2" name="Rectangle 251">
                <a:extLst>
                  <a:ext uri="{FF2B5EF4-FFF2-40B4-BE49-F238E27FC236}">
                    <a16:creationId xmlns:a16="http://schemas.microsoft.com/office/drawing/2014/main" id="{634E3984-85B7-43CE-9614-1B4FE2FC1D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9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3" name="Rectangle 252">
                <a:extLst>
                  <a:ext uri="{FF2B5EF4-FFF2-40B4-BE49-F238E27FC236}">
                    <a16:creationId xmlns:a16="http://schemas.microsoft.com/office/drawing/2014/main" id="{95DA32BD-DD37-4FB2-923E-367A8F69D9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9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4" name="Rectangle 253">
                <a:extLst>
                  <a:ext uri="{FF2B5EF4-FFF2-40B4-BE49-F238E27FC236}">
                    <a16:creationId xmlns:a16="http://schemas.microsoft.com/office/drawing/2014/main" id="{D168FD2D-C5E7-4C2D-98F7-88D25F7AB4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3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5" name="Rectangle 254">
                <a:extLst>
                  <a:ext uri="{FF2B5EF4-FFF2-40B4-BE49-F238E27FC236}">
                    <a16:creationId xmlns:a16="http://schemas.microsoft.com/office/drawing/2014/main" id="{F4E935A2-D583-43B9-9369-71B06A247D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63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6" name="Rectangle 255">
                <a:extLst>
                  <a:ext uri="{FF2B5EF4-FFF2-40B4-BE49-F238E27FC236}">
                    <a16:creationId xmlns:a16="http://schemas.microsoft.com/office/drawing/2014/main" id="{2F3219AB-F644-465D-A817-096816C80F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7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7" name="Rectangle 256">
                <a:extLst>
                  <a:ext uri="{FF2B5EF4-FFF2-40B4-BE49-F238E27FC236}">
                    <a16:creationId xmlns:a16="http://schemas.microsoft.com/office/drawing/2014/main" id="{B6C7A092-5083-49F0-B2DA-E660375B36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7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8" name="Rectangle 257">
                <a:extLst>
                  <a:ext uri="{FF2B5EF4-FFF2-40B4-BE49-F238E27FC236}">
                    <a16:creationId xmlns:a16="http://schemas.microsoft.com/office/drawing/2014/main" id="{C00B78D8-FE7E-43B5-8A11-09451E29D9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1"/>
                <a:ext cx="44" cy="3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9" name="Rectangle 258">
                <a:extLst>
                  <a:ext uri="{FF2B5EF4-FFF2-40B4-BE49-F238E27FC236}">
                    <a16:creationId xmlns:a16="http://schemas.microsoft.com/office/drawing/2014/main" id="{E905F2BF-0198-4693-AC8D-E085EDA042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51"/>
                <a:ext cx="44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0" name="Rectangle 259">
                <a:extLst>
                  <a:ext uri="{FF2B5EF4-FFF2-40B4-BE49-F238E27FC236}">
                    <a16:creationId xmlns:a16="http://schemas.microsoft.com/office/drawing/2014/main" id="{42559889-AE7B-4CAE-B2D9-16ECDF2D3C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45"/>
                <a:ext cx="44" cy="4"/>
              </a:xfrm>
              <a:prstGeom prst="rect">
                <a:avLst/>
              </a:pr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1" name="Rectangle 260">
                <a:extLst>
                  <a:ext uri="{FF2B5EF4-FFF2-40B4-BE49-F238E27FC236}">
                    <a16:creationId xmlns:a16="http://schemas.microsoft.com/office/drawing/2014/main" id="{F716DB4A-6603-44C4-B6A5-5B961D5725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6" y="1145"/>
                <a:ext cx="44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2" name="Freeform 261">
                <a:extLst>
                  <a:ext uri="{FF2B5EF4-FFF2-40B4-BE49-F238E27FC236}">
                    <a16:creationId xmlns:a16="http://schemas.microsoft.com/office/drawing/2014/main" id="{89B3A667-F707-4D14-8899-78F04E834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8" y="1123"/>
                <a:ext cx="23" cy="18"/>
              </a:xfrm>
              <a:custGeom>
                <a:avLst/>
                <a:gdLst>
                  <a:gd name="T0" fmla="*/ 29 w 41"/>
                  <a:gd name="T1" fmla="*/ 0 h 33"/>
                  <a:gd name="T2" fmla="*/ 11 w 41"/>
                  <a:gd name="T3" fmla="*/ 0 h 33"/>
                  <a:gd name="T4" fmla="*/ 0 w 41"/>
                  <a:gd name="T5" fmla="*/ 7 h 33"/>
                  <a:gd name="T6" fmla="*/ 8 w 41"/>
                  <a:gd name="T7" fmla="*/ 4 h 33"/>
                  <a:gd name="T8" fmla="*/ 26 w 41"/>
                  <a:gd name="T9" fmla="*/ 4 h 33"/>
                  <a:gd name="T10" fmla="*/ 38 w 41"/>
                  <a:gd name="T11" fmla="*/ 16 h 33"/>
                  <a:gd name="T12" fmla="*/ 38 w 41"/>
                  <a:gd name="T13" fmla="*/ 33 h 33"/>
                  <a:gd name="T14" fmla="*/ 41 w 41"/>
                  <a:gd name="T15" fmla="*/ 33 h 33"/>
                  <a:gd name="T16" fmla="*/ 41 w 41"/>
                  <a:gd name="T17" fmla="*/ 13 h 33"/>
                  <a:gd name="T18" fmla="*/ 29 w 41"/>
                  <a:gd name="T1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33">
                    <a:moveTo>
                      <a:pt x="29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6" y="0"/>
                      <a:pt x="2" y="3"/>
                      <a:pt x="0" y="7"/>
                    </a:cubicBezTo>
                    <a:cubicBezTo>
                      <a:pt x="2" y="5"/>
                      <a:pt x="5" y="4"/>
                      <a:pt x="8" y="4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32" y="4"/>
                      <a:pt x="38" y="9"/>
                      <a:pt x="38" y="16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41" y="6"/>
                      <a:pt x="35" y="0"/>
                      <a:pt x="29" y="0"/>
                    </a:cubicBezTo>
                  </a:path>
                </a:pathLst>
              </a:custGeom>
              <a:solidFill>
                <a:srgbClr val="503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3" name="Freeform 262">
                <a:extLst>
                  <a:ext uri="{FF2B5EF4-FFF2-40B4-BE49-F238E27FC236}">
                    <a16:creationId xmlns:a16="http://schemas.microsoft.com/office/drawing/2014/main" id="{FCA69BE7-CE15-473A-9C12-3BEAA70EB9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9" y="1141"/>
                <a:ext cx="2" cy="48"/>
              </a:xfrm>
              <a:custGeom>
                <a:avLst/>
                <a:gdLst>
                  <a:gd name="T0" fmla="*/ 3 w 3"/>
                  <a:gd name="T1" fmla="*/ 67 h 87"/>
                  <a:gd name="T2" fmla="*/ 0 w 3"/>
                  <a:gd name="T3" fmla="*/ 67 h 87"/>
                  <a:gd name="T4" fmla="*/ 0 w 3"/>
                  <a:gd name="T5" fmla="*/ 87 h 87"/>
                  <a:gd name="T6" fmla="*/ 3 w 3"/>
                  <a:gd name="T7" fmla="*/ 86 h 87"/>
                  <a:gd name="T8" fmla="*/ 3 w 3"/>
                  <a:gd name="T9" fmla="*/ 67 h 87"/>
                  <a:gd name="T10" fmla="*/ 3 w 3"/>
                  <a:gd name="T11" fmla="*/ 56 h 87"/>
                  <a:gd name="T12" fmla="*/ 0 w 3"/>
                  <a:gd name="T13" fmla="*/ 56 h 87"/>
                  <a:gd name="T14" fmla="*/ 0 w 3"/>
                  <a:gd name="T15" fmla="*/ 61 h 87"/>
                  <a:gd name="T16" fmla="*/ 3 w 3"/>
                  <a:gd name="T17" fmla="*/ 61 h 87"/>
                  <a:gd name="T18" fmla="*/ 3 w 3"/>
                  <a:gd name="T19" fmla="*/ 56 h 87"/>
                  <a:gd name="T20" fmla="*/ 3 w 3"/>
                  <a:gd name="T21" fmla="*/ 46 h 87"/>
                  <a:gd name="T22" fmla="*/ 0 w 3"/>
                  <a:gd name="T23" fmla="*/ 46 h 87"/>
                  <a:gd name="T24" fmla="*/ 0 w 3"/>
                  <a:gd name="T25" fmla="*/ 51 h 87"/>
                  <a:gd name="T26" fmla="*/ 3 w 3"/>
                  <a:gd name="T27" fmla="*/ 51 h 87"/>
                  <a:gd name="T28" fmla="*/ 3 w 3"/>
                  <a:gd name="T29" fmla="*/ 46 h 87"/>
                  <a:gd name="T30" fmla="*/ 3 w 3"/>
                  <a:gd name="T31" fmla="*/ 35 h 87"/>
                  <a:gd name="T32" fmla="*/ 0 w 3"/>
                  <a:gd name="T33" fmla="*/ 35 h 87"/>
                  <a:gd name="T34" fmla="*/ 0 w 3"/>
                  <a:gd name="T35" fmla="*/ 40 h 87"/>
                  <a:gd name="T36" fmla="*/ 3 w 3"/>
                  <a:gd name="T37" fmla="*/ 40 h 87"/>
                  <a:gd name="T38" fmla="*/ 3 w 3"/>
                  <a:gd name="T39" fmla="*/ 35 h 87"/>
                  <a:gd name="T40" fmla="*/ 3 w 3"/>
                  <a:gd name="T41" fmla="*/ 24 h 87"/>
                  <a:gd name="T42" fmla="*/ 0 w 3"/>
                  <a:gd name="T43" fmla="*/ 24 h 87"/>
                  <a:gd name="T44" fmla="*/ 0 w 3"/>
                  <a:gd name="T45" fmla="*/ 29 h 87"/>
                  <a:gd name="T46" fmla="*/ 3 w 3"/>
                  <a:gd name="T47" fmla="*/ 29 h 87"/>
                  <a:gd name="T48" fmla="*/ 3 w 3"/>
                  <a:gd name="T49" fmla="*/ 24 h 87"/>
                  <a:gd name="T50" fmla="*/ 3 w 3"/>
                  <a:gd name="T51" fmla="*/ 14 h 87"/>
                  <a:gd name="T52" fmla="*/ 0 w 3"/>
                  <a:gd name="T53" fmla="*/ 14 h 87"/>
                  <a:gd name="T54" fmla="*/ 0 w 3"/>
                  <a:gd name="T55" fmla="*/ 19 h 87"/>
                  <a:gd name="T56" fmla="*/ 3 w 3"/>
                  <a:gd name="T57" fmla="*/ 19 h 87"/>
                  <a:gd name="T58" fmla="*/ 3 w 3"/>
                  <a:gd name="T59" fmla="*/ 14 h 87"/>
                  <a:gd name="T60" fmla="*/ 3 w 3"/>
                  <a:gd name="T61" fmla="*/ 0 h 87"/>
                  <a:gd name="T62" fmla="*/ 0 w 3"/>
                  <a:gd name="T63" fmla="*/ 0 h 87"/>
                  <a:gd name="T64" fmla="*/ 0 w 3"/>
                  <a:gd name="T65" fmla="*/ 8 h 87"/>
                  <a:gd name="T66" fmla="*/ 3 w 3"/>
                  <a:gd name="T67" fmla="*/ 8 h 87"/>
                  <a:gd name="T68" fmla="*/ 3 w 3"/>
                  <a:gd name="T6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" h="87">
                    <a:moveTo>
                      <a:pt x="3" y="67"/>
                    </a:moveTo>
                    <a:cubicBezTo>
                      <a:pt x="0" y="67"/>
                      <a:pt x="0" y="67"/>
                      <a:pt x="0" y="67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1" y="87"/>
                      <a:pt x="2" y="86"/>
                      <a:pt x="3" y="86"/>
                    </a:cubicBezTo>
                    <a:cubicBezTo>
                      <a:pt x="3" y="67"/>
                      <a:pt x="3" y="67"/>
                      <a:pt x="3" y="67"/>
                    </a:cubicBezTo>
                    <a:moveTo>
                      <a:pt x="3" y="56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3" y="56"/>
                      <a:pt x="3" y="56"/>
                      <a:pt x="3" y="56"/>
                    </a:cubicBezTo>
                    <a:moveTo>
                      <a:pt x="3" y="46"/>
                    </a:moveTo>
                    <a:cubicBezTo>
                      <a:pt x="0" y="46"/>
                      <a:pt x="0" y="46"/>
                      <a:pt x="0" y="46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3" y="46"/>
                      <a:pt x="3" y="46"/>
                      <a:pt x="3" y="46"/>
                    </a:cubicBezTo>
                    <a:moveTo>
                      <a:pt x="3" y="35"/>
                    </a:moveTo>
                    <a:cubicBezTo>
                      <a:pt x="0" y="35"/>
                      <a:pt x="0" y="35"/>
                      <a:pt x="0" y="35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35"/>
                      <a:pt x="3" y="35"/>
                      <a:pt x="3" y="35"/>
                    </a:cubicBezTo>
                    <a:moveTo>
                      <a:pt x="3" y="24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24"/>
                      <a:pt x="3" y="24"/>
                      <a:pt x="3" y="24"/>
                    </a:cubicBezTo>
                    <a:moveTo>
                      <a:pt x="3" y="14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4"/>
                      <a:pt x="3" y="14"/>
                      <a:pt x="3" y="14"/>
                    </a:cubicBezTo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4" name="Rectangle 263">
                <a:extLst>
                  <a:ext uri="{FF2B5EF4-FFF2-40B4-BE49-F238E27FC236}">
                    <a16:creationId xmlns:a16="http://schemas.microsoft.com/office/drawing/2014/main" id="{B42DA2AE-55A1-41DC-958B-EAC0B85B07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74"/>
                <a:ext cx="2" cy="4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5" name="Rectangle 264">
                <a:extLst>
                  <a:ext uri="{FF2B5EF4-FFF2-40B4-BE49-F238E27FC236}">
                    <a16:creationId xmlns:a16="http://schemas.microsoft.com/office/drawing/2014/main" id="{B787B2DA-7C09-4B87-AC9E-E40B533173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74"/>
                <a:ext cx="2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6" name="Rectangle 265">
                <a:extLst>
                  <a:ext uri="{FF2B5EF4-FFF2-40B4-BE49-F238E27FC236}">
                    <a16:creationId xmlns:a16="http://schemas.microsoft.com/office/drawing/2014/main" id="{2D80265E-C8C5-47DE-BD66-729FEBE53E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9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7" name="Rectangle 266">
                <a:extLst>
                  <a:ext uri="{FF2B5EF4-FFF2-40B4-BE49-F238E27FC236}">
                    <a16:creationId xmlns:a16="http://schemas.microsoft.com/office/drawing/2014/main" id="{A863F956-6273-4925-9F5C-3F70B0571F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9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8" name="Rectangle 267">
                <a:extLst>
                  <a:ext uri="{FF2B5EF4-FFF2-40B4-BE49-F238E27FC236}">
                    <a16:creationId xmlns:a16="http://schemas.microsoft.com/office/drawing/2014/main" id="{759AEB5A-524C-4B0E-B4E0-AA8CB0F190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3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9" name="Rectangle 268">
                <a:extLst>
                  <a:ext uri="{FF2B5EF4-FFF2-40B4-BE49-F238E27FC236}">
                    <a16:creationId xmlns:a16="http://schemas.microsoft.com/office/drawing/2014/main" id="{6F6E782A-0381-43A6-867E-A7AAED6723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63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0" name="Rectangle 269">
                <a:extLst>
                  <a:ext uri="{FF2B5EF4-FFF2-40B4-BE49-F238E27FC236}">
                    <a16:creationId xmlns:a16="http://schemas.microsoft.com/office/drawing/2014/main" id="{CA3056B0-6482-4AD9-91A5-04C12019C9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7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1" name="Rectangle 270">
                <a:extLst>
                  <a:ext uri="{FF2B5EF4-FFF2-40B4-BE49-F238E27FC236}">
                    <a16:creationId xmlns:a16="http://schemas.microsoft.com/office/drawing/2014/main" id="{3DA2B673-739A-4FF9-A41E-A245EDB8A0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7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2" name="Rectangle 271">
                <a:extLst>
                  <a:ext uri="{FF2B5EF4-FFF2-40B4-BE49-F238E27FC236}">
                    <a16:creationId xmlns:a16="http://schemas.microsoft.com/office/drawing/2014/main" id="{22AEC0A4-FBA6-4428-AFE9-C18D3EBA04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1"/>
                <a:ext cx="2" cy="3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3" name="Rectangle 272">
                <a:extLst>
                  <a:ext uri="{FF2B5EF4-FFF2-40B4-BE49-F238E27FC236}">
                    <a16:creationId xmlns:a16="http://schemas.microsoft.com/office/drawing/2014/main" id="{E72B4B22-E1B3-4D55-AAC3-A3464D176F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51"/>
                <a:ext cx="2" cy="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4" name="Rectangle 273">
                <a:extLst>
                  <a:ext uri="{FF2B5EF4-FFF2-40B4-BE49-F238E27FC236}">
                    <a16:creationId xmlns:a16="http://schemas.microsoft.com/office/drawing/2014/main" id="{29F5F830-D260-4DD1-8BF5-6403171634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45"/>
                <a:ext cx="2" cy="4"/>
              </a:xfrm>
              <a:prstGeom prst="rect">
                <a:avLst/>
              </a:pr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5" name="Rectangle 274">
                <a:extLst>
                  <a:ext uri="{FF2B5EF4-FFF2-40B4-BE49-F238E27FC236}">
                    <a16:creationId xmlns:a16="http://schemas.microsoft.com/office/drawing/2014/main" id="{CCED615F-7B5B-4F65-AD62-2E2A9CEDB9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" y="1145"/>
                <a:ext cx="2" cy="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6" name="Freeform 275">
                <a:extLst>
                  <a:ext uri="{FF2B5EF4-FFF2-40B4-BE49-F238E27FC236}">
                    <a16:creationId xmlns:a16="http://schemas.microsoft.com/office/drawing/2014/main" id="{82C17471-658F-4D79-86A8-6B7C1E3058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6" y="1125"/>
                <a:ext cx="23" cy="66"/>
              </a:xfrm>
              <a:custGeom>
                <a:avLst/>
                <a:gdLst>
                  <a:gd name="T0" fmla="*/ 30 w 42"/>
                  <a:gd name="T1" fmla="*/ 0 h 121"/>
                  <a:gd name="T2" fmla="*/ 12 w 42"/>
                  <a:gd name="T3" fmla="*/ 0 h 121"/>
                  <a:gd name="T4" fmla="*/ 0 w 42"/>
                  <a:gd name="T5" fmla="*/ 12 h 121"/>
                  <a:gd name="T6" fmla="*/ 0 w 42"/>
                  <a:gd name="T7" fmla="*/ 121 h 121"/>
                  <a:gd name="T8" fmla="*/ 42 w 42"/>
                  <a:gd name="T9" fmla="*/ 121 h 121"/>
                  <a:gd name="T10" fmla="*/ 42 w 42"/>
                  <a:gd name="T11" fmla="*/ 12 h 121"/>
                  <a:gd name="T12" fmla="*/ 30 w 42"/>
                  <a:gd name="T1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121">
                    <a:moveTo>
                      <a:pt x="30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5"/>
                      <a:pt x="0" y="12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42" y="121"/>
                      <a:pt x="42" y="121"/>
                      <a:pt x="42" y="121"/>
                    </a:cubicBezTo>
                    <a:cubicBezTo>
                      <a:pt x="42" y="12"/>
                      <a:pt x="42" y="12"/>
                      <a:pt x="42" y="12"/>
                    </a:cubicBezTo>
                    <a:cubicBezTo>
                      <a:pt x="42" y="5"/>
                      <a:pt x="36" y="0"/>
                      <a:pt x="30" y="0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7" name="Freeform 276">
                <a:extLst>
                  <a:ext uri="{FF2B5EF4-FFF2-40B4-BE49-F238E27FC236}">
                    <a16:creationId xmlns:a16="http://schemas.microsoft.com/office/drawing/2014/main" id="{2E44F01F-A831-45EE-83F9-BA19891841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2" y="1025"/>
                <a:ext cx="15" cy="8"/>
              </a:xfrm>
              <a:custGeom>
                <a:avLst/>
                <a:gdLst>
                  <a:gd name="T0" fmla="*/ 19 w 27"/>
                  <a:gd name="T1" fmla="*/ 11 h 16"/>
                  <a:gd name="T2" fmla="*/ 19 w 27"/>
                  <a:gd name="T3" fmla="*/ 11 h 16"/>
                  <a:gd name="T4" fmla="*/ 27 w 27"/>
                  <a:gd name="T5" fmla="*/ 16 h 16"/>
                  <a:gd name="T6" fmla="*/ 19 w 27"/>
                  <a:gd name="T7" fmla="*/ 11 h 16"/>
                  <a:gd name="T8" fmla="*/ 8 w 27"/>
                  <a:gd name="T9" fmla="*/ 0 h 16"/>
                  <a:gd name="T10" fmla="*/ 0 w 27"/>
                  <a:gd name="T11" fmla="*/ 0 h 16"/>
                  <a:gd name="T12" fmla="*/ 0 w 27"/>
                  <a:gd name="T13" fmla="*/ 0 h 16"/>
                  <a:gd name="T14" fmla="*/ 7 w 27"/>
                  <a:gd name="T15" fmla="*/ 0 h 16"/>
                  <a:gd name="T16" fmla="*/ 16 w 27"/>
                  <a:gd name="T17" fmla="*/ 4 h 16"/>
                  <a:gd name="T18" fmla="*/ 8 w 27"/>
                  <a:gd name="T1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16">
                    <a:moveTo>
                      <a:pt x="19" y="11"/>
                    </a:moveTo>
                    <a:cubicBezTo>
                      <a:pt x="19" y="11"/>
                      <a:pt x="19" y="11"/>
                      <a:pt x="19" y="11"/>
                    </a:cubicBezTo>
                    <a:cubicBezTo>
                      <a:pt x="22" y="12"/>
                      <a:pt x="25" y="13"/>
                      <a:pt x="27" y="16"/>
                    </a:cubicBezTo>
                    <a:cubicBezTo>
                      <a:pt x="25" y="13"/>
                      <a:pt x="22" y="11"/>
                      <a:pt x="19" y="11"/>
                    </a:cubicBezTo>
                    <a:moveTo>
                      <a:pt x="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0" y="0"/>
                      <a:pt x="13" y="2"/>
                      <a:pt x="16" y="4"/>
                    </a:cubicBezTo>
                    <a:cubicBezTo>
                      <a:pt x="14" y="2"/>
                      <a:pt x="11" y="0"/>
                      <a:pt x="8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8" name="Freeform 277">
                <a:extLst>
                  <a:ext uri="{FF2B5EF4-FFF2-40B4-BE49-F238E27FC236}">
                    <a16:creationId xmlns:a16="http://schemas.microsoft.com/office/drawing/2014/main" id="{69CFBF8E-5DC4-4762-9DBA-577BD6D609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" y="1025"/>
                <a:ext cx="11" cy="6"/>
              </a:xfrm>
              <a:custGeom>
                <a:avLst/>
                <a:gdLst>
                  <a:gd name="T0" fmla="*/ 7 w 19"/>
                  <a:gd name="T1" fmla="*/ 0 h 11"/>
                  <a:gd name="T2" fmla="*/ 0 w 19"/>
                  <a:gd name="T3" fmla="*/ 0 h 11"/>
                  <a:gd name="T4" fmla="*/ 10 w 19"/>
                  <a:gd name="T5" fmla="*/ 10 h 11"/>
                  <a:gd name="T6" fmla="*/ 15 w 19"/>
                  <a:gd name="T7" fmla="*/ 10 h 11"/>
                  <a:gd name="T8" fmla="*/ 19 w 19"/>
                  <a:gd name="T9" fmla="*/ 11 h 11"/>
                  <a:gd name="T10" fmla="*/ 19 w 19"/>
                  <a:gd name="T11" fmla="*/ 11 h 11"/>
                  <a:gd name="T12" fmla="*/ 19 w 19"/>
                  <a:gd name="T13" fmla="*/ 11 h 11"/>
                  <a:gd name="T14" fmla="*/ 16 w 19"/>
                  <a:gd name="T15" fmla="*/ 4 h 11"/>
                  <a:gd name="T16" fmla="*/ 7 w 19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1">
                    <a:moveTo>
                      <a:pt x="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0"/>
                      <a:pt x="9" y="5"/>
                      <a:pt x="10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6" y="10"/>
                      <a:pt x="18" y="11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8" y="8"/>
                      <a:pt x="17" y="6"/>
                      <a:pt x="16" y="4"/>
                    </a:cubicBezTo>
                    <a:cubicBezTo>
                      <a:pt x="13" y="2"/>
                      <a:pt x="10" y="0"/>
                      <a:pt x="7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9" name="Freeform 278">
                <a:extLst>
                  <a:ext uri="{FF2B5EF4-FFF2-40B4-BE49-F238E27FC236}">
                    <a16:creationId xmlns:a16="http://schemas.microsoft.com/office/drawing/2014/main" id="{1EE55227-8407-4DBC-9D2E-99CE025A8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8" y="1030"/>
                <a:ext cx="12" cy="111"/>
              </a:xfrm>
              <a:custGeom>
                <a:avLst/>
                <a:gdLst>
                  <a:gd name="T0" fmla="*/ 5 w 22"/>
                  <a:gd name="T1" fmla="*/ 0 h 203"/>
                  <a:gd name="T2" fmla="*/ 0 w 22"/>
                  <a:gd name="T3" fmla="*/ 0 h 203"/>
                  <a:gd name="T4" fmla="*/ 0 w 22"/>
                  <a:gd name="T5" fmla="*/ 1 h 203"/>
                  <a:gd name="T6" fmla="*/ 13 w 22"/>
                  <a:gd name="T7" fmla="*/ 20 h 203"/>
                  <a:gd name="T8" fmla="*/ 13 w 22"/>
                  <a:gd name="T9" fmla="*/ 203 h 203"/>
                  <a:gd name="T10" fmla="*/ 22 w 22"/>
                  <a:gd name="T11" fmla="*/ 203 h 203"/>
                  <a:gd name="T12" fmla="*/ 22 w 22"/>
                  <a:gd name="T13" fmla="*/ 20 h 203"/>
                  <a:gd name="T14" fmla="*/ 17 w 22"/>
                  <a:gd name="T15" fmla="*/ 6 h 203"/>
                  <a:gd name="T16" fmla="*/ 9 w 22"/>
                  <a:gd name="T17" fmla="*/ 1 h 203"/>
                  <a:gd name="T18" fmla="*/ 5 w 22"/>
                  <a:gd name="T19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03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7" y="2"/>
                      <a:pt x="13" y="10"/>
                      <a:pt x="13" y="20"/>
                    </a:cubicBezTo>
                    <a:cubicBezTo>
                      <a:pt x="13" y="203"/>
                      <a:pt x="13" y="203"/>
                      <a:pt x="13" y="203"/>
                    </a:cubicBezTo>
                    <a:cubicBezTo>
                      <a:pt x="22" y="203"/>
                      <a:pt x="22" y="203"/>
                      <a:pt x="22" y="203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2" y="14"/>
                      <a:pt x="20" y="9"/>
                      <a:pt x="17" y="6"/>
                    </a:cubicBezTo>
                    <a:cubicBezTo>
                      <a:pt x="15" y="3"/>
                      <a:pt x="12" y="2"/>
                      <a:pt x="9" y="1"/>
                    </a:cubicBezTo>
                    <a:cubicBezTo>
                      <a:pt x="8" y="1"/>
                      <a:pt x="6" y="0"/>
                      <a:pt x="5" y="0"/>
                    </a:cubicBezTo>
                  </a:path>
                </a:pathLst>
              </a:custGeom>
              <a:solidFill>
                <a:srgbClr val="503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0" name="Freeform 279">
                <a:extLst>
                  <a:ext uri="{FF2B5EF4-FFF2-40B4-BE49-F238E27FC236}">
                    <a16:creationId xmlns:a16="http://schemas.microsoft.com/office/drawing/2014/main" id="{714F2CF0-A580-4F7B-B7E0-C32E076A34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1" y="1141"/>
                <a:ext cx="9" cy="48"/>
              </a:xfrm>
              <a:custGeom>
                <a:avLst/>
                <a:gdLst>
                  <a:gd name="T0" fmla="*/ 16 w 16"/>
                  <a:gd name="T1" fmla="*/ 67 h 88"/>
                  <a:gd name="T2" fmla="*/ 7 w 16"/>
                  <a:gd name="T3" fmla="*/ 67 h 88"/>
                  <a:gd name="T4" fmla="*/ 7 w 16"/>
                  <a:gd name="T5" fmla="*/ 69 h 88"/>
                  <a:gd name="T6" fmla="*/ 0 w 16"/>
                  <a:gd name="T7" fmla="*/ 86 h 88"/>
                  <a:gd name="T8" fmla="*/ 0 w 16"/>
                  <a:gd name="T9" fmla="*/ 88 h 88"/>
                  <a:gd name="T10" fmla="*/ 1 w 16"/>
                  <a:gd name="T11" fmla="*/ 88 h 88"/>
                  <a:gd name="T12" fmla="*/ 16 w 16"/>
                  <a:gd name="T13" fmla="*/ 69 h 88"/>
                  <a:gd name="T14" fmla="*/ 16 w 16"/>
                  <a:gd name="T15" fmla="*/ 67 h 88"/>
                  <a:gd name="T16" fmla="*/ 16 w 16"/>
                  <a:gd name="T17" fmla="*/ 56 h 88"/>
                  <a:gd name="T18" fmla="*/ 7 w 16"/>
                  <a:gd name="T19" fmla="*/ 56 h 88"/>
                  <a:gd name="T20" fmla="*/ 7 w 16"/>
                  <a:gd name="T21" fmla="*/ 61 h 88"/>
                  <a:gd name="T22" fmla="*/ 16 w 16"/>
                  <a:gd name="T23" fmla="*/ 61 h 88"/>
                  <a:gd name="T24" fmla="*/ 16 w 16"/>
                  <a:gd name="T25" fmla="*/ 56 h 88"/>
                  <a:gd name="T26" fmla="*/ 16 w 16"/>
                  <a:gd name="T27" fmla="*/ 46 h 88"/>
                  <a:gd name="T28" fmla="*/ 7 w 16"/>
                  <a:gd name="T29" fmla="*/ 46 h 88"/>
                  <a:gd name="T30" fmla="*/ 7 w 16"/>
                  <a:gd name="T31" fmla="*/ 51 h 88"/>
                  <a:gd name="T32" fmla="*/ 16 w 16"/>
                  <a:gd name="T33" fmla="*/ 51 h 88"/>
                  <a:gd name="T34" fmla="*/ 16 w 16"/>
                  <a:gd name="T35" fmla="*/ 46 h 88"/>
                  <a:gd name="T36" fmla="*/ 16 w 16"/>
                  <a:gd name="T37" fmla="*/ 35 h 88"/>
                  <a:gd name="T38" fmla="*/ 7 w 16"/>
                  <a:gd name="T39" fmla="*/ 35 h 88"/>
                  <a:gd name="T40" fmla="*/ 7 w 16"/>
                  <a:gd name="T41" fmla="*/ 40 h 88"/>
                  <a:gd name="T42" fmla="*/ 16 w 16"/>
                  <a:gd name="T43" fmla="*/ 40 h 88"/>
                  <a:gd name="T44" fmla="*/ 16 w 16"/>
                  <a:gd name="T45" fmla="*/ 35 h 88"/>
                  <a:gd name="T46" fmla="*/ 16 w 16"/>
                  <a:gd name="T47" fmla="*/ 24 h 88"/>
                  <a:gd name="T48" fmla="*/ 7 w 16"/>
                  <a:gd name="T49" fmla="*/ 24 h 88"/>
                  <a:gd name="T50" fmla="*/ 7 w 16"/>
                  <a:gd name="T51" fmla="*/ 29 h 88"/>
                  <a:gd name="T52" fmla="*/ 16 w 16"/>
                  <a:gd name="T53" fmla="*/ 29 h 88"/>
                  <a:gd name="T54" fmla="*/ 16 w 16"/>
                  <a:gd name="T55" fmla="*/ 24 h 88"/>
                  <a:gd name="T56" fmla="*/ 16 w 16"/>
                  <a:gd name="T57" fmla="*/ 14 h 88"/>
                  <a:gd name="T58" fmla="*/ 7 w 16"/>
                  <a:gd name="T59" fmla="*/ 14 h 88"/>
                  <a:gd name="T60" fmla="*/ 7 w 16"/>
                  <a:gd name="T61" fmla="*/ 19 h 88"/>
                  <a:gd name="T62" fmla="*/ 16 w 16"/>
                  <a:gd name="T63" fmla="*/ 19 h 88"/>
                  <a:gd name="T64" fmla="*/ 16 w 16"/>
                  <a:gd name="T65" fmla="*/ 14 h 88"/>
                  <a:gd name="T66" fmla="*/ 16 w 16"/>
                  <a:gd name="T67" fmla="*/ 0 h 88"/>
                  <a:gd name="T68" fmla="*/ 16 w 16"/>
                  <a:gd name="T69" fmla="*/ 0 h 88"/>
                  <a:gd name="T70" fmla="*/ 7 w 16"/>
                  <a:gd name="T71" fmla="*/ 0 h 88"/>
                  <a:gd name="T72" fmla="*/ 7 w 16"/>
                  <a:gd name="T73" fmla="*/ 8 h 88"/>
                  <a:gd name="T74" fmla="*/ 16 w 16"/>
                  <a:gd name="T75" fmla="*/ 8 h 88"/>
                  <a:gd name="T76" fmla="*/ 16 w 16"/>
                  <a:gd name="T77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6" h="88">
                    <a:moveTo>
                      <a:pt x="16" y="67"/>
                    </a:moveTo>
                    <a:cubicBezTo>
                      <a:pt x="7" y="67"/>
                      <a:pt x="7" y="67"/>
                      <a:pt x="7" y="67"/>
                    </a:cubicBezTo>
                    <a:cubicBezTo>
                      <a:pt x="7" y="69"/>
                      <a:pt x="7" y="69"/>
                      <a:pt x="7" y="69"/>
                    </a:cubicBezTo>
                    <a:cubicBezTo>
                      <a:pt x="7" y="76"/>
                      <a:pt x="4" y="82"/>
                      <a:pt x="0" y="86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1" y="88"/>
                      <a:pt x="1" y="88"/>
                      <a:pt x="1" y="88"/>
                    </a:cubicBezTo>
                    <a:cubicBezTo>
                      <a:pt x="9" y="88"/>
                      <a:pt x="16" y="80"/>
                      <a:pt x="16" y="69"/>
                    </a:cubicBezTo>
                    <a:cubicBezTo>
                      <a:pt x="16" y="67"/>
                      <a:pt x="16" y="67"/>
                      <a:pt x="16" y="67"/>
                    </a:cubicBezTo>
                    <a:moveTo>
                      <a:pt x="16" y="56"/>
                    </a:moveTo>
                    <a:cubicBezTo>
                      <a:pt x="7" y="56"/>
                      <a:pt x="7" y="56"/>
                      <a:pt x="7" y="56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16" y="61"/>
                      <a:pt x="16" y="61"/>
                      <a:pt x="16" y="61"/>
                    </a:cubicBezTo>
                    <a:cubicBezTo>
                      <a:pt x="16" y="56"/>
                      <a:pt x="16" y="56"/>
                      <a:pt x="16" y="56"/>
                    </a:cubicBezTo>
                    <a:moveTo>
                      <a:pt x="16" y="4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7" y="51"/>
                      <a:pt x="7" y="51"/>
                      <a:pt x="7" y="51"/>
                    </a:cubicBezTo>
                    <a:cubicBezTo>
                      <a:pt x="16" y="51"/>
                      <a:pt x="16" y="51"/>
                      <a:pt x="16" y="51"/>
                    </a:cubicBezTo>
                    <a:cubicBezTo>
                      <a:pt x="16" y="46"/>
                      <a:pt x="16" y="46"/>
                      <a:pt x="16" y="46"/>
                    </a:cubicBezTo>
                    <a:moveTo>
                      <a:pt x="16" y="35"/>
                    </a:moveTo>
                    <a:cubicBezTo>
                      <a:pt x="7" y="35"/>
                      <a:pt x="7" y="35"/>
                      <a:pt x="7" y="35"/>
                    </a:cubicBezTo>
                    <a:cubicBezTo>
                      <a:pt x="7" y="40"/>
                      <a:pt x="7" y="40"/>
                      <a:pt x="7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35"/>
                      <a:pt x="16" y="35"/>
                      <a:pt x="16" y="35"/>
                    </a:cubicBezTo>
                    <a:moveTo>
                      <a:pt x="16" y="24"/>
                    </a:moveTo>
                    <a:cubicBezTo>
                      <a:pt x="7" y="24"/>
                      <a:pt x="7" y="24"/>
                      <a:pt x="7" y="24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16" y="29"/>
                      <a:pt x="16" y="29"/>
                      <a:pt x="16" y="29"/>
                    </a:cubicBezTo>
                    <a:cubicBezTo>
                      <a:pt x="16" y="24"/>
                      <a:pt x="16" y="24"/>
                      <a:pt x="16" y="24"/>
                    </a:cubicBezTo>
                    <a:moveTo>
                      <a:pt x="16" y="14"/>
                    </a:moveTo>
                    <a:cubicBezTo>
                      <a:pt x="7" y="14"/>
                      <a:pt x="7" y="14"/>
                      <a:pt x="7" y="14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6" y="14"/>
                      <a:pt x="16" y="14"/>
                      <a:pt x="16" y="14"/>
                    </a:cubicBezTo>
                    <a:moveTo>
                      <a:pt x="16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1" name="Freeform 280">
                <a:extLst>
                  <a:ext uri="{FF2B5EF4-FFF2-40B4-BE49-F238E27FC236}">
                    <a16:creationId xmlns:a16="http://schemas.microsoft.com/office/drawing/2014/main" id="{2270E81A-102E-4936-91D0-812548463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74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2" name="Freeform 281">
                <a:extLst>
                  <a:ext uri="{FF2B5EF4-FFF2-40B4-BE49-F238E27FC236}">
                    <a16:creationId xmlns:a16="http://schemas.microsoft.com/office/drawing/2014/main" id="{09F69975-325F-42CF-B807-6624B0AE9F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74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3" name="Freeform 282">
                <a:extLst>
                  <a:ext uri="{FF2B5EF4-FFF2-40B4-BE49-F238E27FC236}">
                    <a16:creationId xmlns:a16="http://schemas.microsoft.com/office/drawing/2014/main" id="{951B4EB7-E605-4E02-BA09-2F95858BA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9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4" name="Freeform 283">
                <a:extLst>
                  <a:ext uri="{FF2B5EF4-FFF2-40B4-BE49-F238E27FC236}">
                    <a16:creationId xmlns:a16="http://schemas.microsoft.com/office/drawing/2014/main" id="{EF6D7A92-7B17-483F-B642-C4C7A47B3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9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5" name="Freeform 284">
                <a:extLst>
                  <a:ext uri="{FF2B5EF4-FFF2-40B4-BE49-F238E27FC236}">
                    <a16:creationId xmlns:a16="http://schemas.microsoft.com/office/drawing/2014/main" id="{5D07A1D8-3975-43F5-A598-66C824FB90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3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6" name="Freeform 285">
                <a:extLst>
                  <a:ext uri="{FF2B5EF4-FFF2-40B4-BE49-F238E27FC236}">
                    <a16:creationId xmlns:a16="http://schemas.microsoft.com/office/drawing/2014/main" id="{CD701FCA-D437-40C4-9D03-97B7CE0E7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63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7" name="Freeform 286">
                <a:extLst>
                  <a:ext uri="{FF2B5EF4-FFF2-40B4-BE49-F238E27FC236}">
                    <a16:creationId xmlns:a16="http://schemas.microsoft.com/office/drawing/2014/main" id="{545F19E8-1BB1-447E-9442-D0B41BDC52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7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8" name="Freeform 287">
                <a:extLst>
                  <a:ext uri="{FF2B5EF4-FFF2-40B4-BE49-F238E27FC236}">
                    <a16:creationId xmlns:a16="http://schemas.microsoft.com/office/drawing/2014/main" id="{695DDBBF-D411-4075-A805-B01D419E5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7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9" name="Freeform 288">
                <a:extLst>
                  <a:ext uri="{FF2B5EF4-FFF2-40B4-BE49-F238E27FC236}">
                    <a16:creationId xmlns:a16="http://schemas.microsoft.com/office/drawing/2014/main" id="{BC93D625-0429-4893-B576-AB87808907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1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0" name="Freeform 289">
                <a:extLst>
                  <a:ext uri="{FF2B5EF4-FFF2-40B4-BE49-F238E27FC236}">
                    <a16:creationId xmlns:a16="http://schemas.microsoft.com/office/drawing/2014/main" id="{B8CD1789-9C34-4B88-BBF4-A567CFCC6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51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0 h 3"/>
                  <a:gd name="T4" fmla="*/ 0 w 5"/>
                  <a:gd name="T5" fmla="*/ 0 h 3"/>
                  <a:gd name="T6" fmla="*/ 0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1" name="Freeform 290">
                <a:extLst>
                  <a:ext uri="{FF2B5EF4-FFF2-40B4-BE49-F238E27FC236}">
                    <a16:creationId xmlns:a16="http://schemas.microsoft.com/office/drawing/2014/main" id="{531DA057-D7F8-4ACA-9BEF-744E5D69AA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45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2" name="Freeform 291">
                <a:extLst>
                  <a:ext uri="{FF2B5EF4-FFF2-40B4-BE49-F238E27FC236}">
                    <a16:creationId xmlns:a16="http://schemas.microsoft.com/office/drawing/2014/main" id="{52BEA705-55B3-46D9-B40E-16B1BE0DE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" y="1145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0 w 5"/>
                  <a:gd name="T5" fmla="*/ 0 h 4"/>
                  <a:gd name="T6" fmla="*/ 0 w 5"/>
                  <a:gd name="T7" fmla="*/ 4 h 4"/>
                  <a:gd name="T8" fmla="*/ 5 w 5"/>
                  <a:gd name="T9" fmla="*/ 4 h 4"/>
                  <a:gd name="T10" fmla="*/ 5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292">
                <a:extLst>
                  <a:ext uri="{FF2B5EF4-FFF2-40B4-BE49-F238E27FC236}">
                    <a16:creationId xmlns:a16="http://schemas.microsoft.com/office/drawing/2014/main" id="{1EAD208A-8B4A-41A9-BC14-22C2B722E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9" y="1188"/>
                <a:ext cx="2" cy="1"/>
              </a:xfrm>
              <a:custGeom>
                <a:avLst/>
                <a:gdLst>
                  <a:gd name="T0" fmla="*/ 3 w 3"/>
                  <a:gd name="T1" fmla="*/ 0 h 2"/>
                  <a:gd name="T2" fmla="*/ 0 w 3"/>
                  <a:gd name="T3" fmla="*/ 1 h 2"/>
                  <a:gd name="T4" fmla="*/ 0 w 3"/>
                  <a:gd name="T5" fmla="*/ 2 h 2"/>
                  <a:gd name="T6" fmla="*/ 3 w 3"/>
                  <a:gd name="T7" fmla="*/ 2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cubicBezTo>
                      <a:pt x="2" y="0"/>
                      <a:pt x="1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2826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4" name="Freeform 293">
                <a:extLst>
                  <a:ext uri="{FF2B5EF4-FFF2-40B4-BE49-F238E27FC236}">
                    <a16:creationId xmlns:a16="http://schemas.microsoft.com/office/drawing/2014/main" id="{5B2A0D1D-51F1-4C0F-9A4C-52E6962CB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7" y="1189"/>
                <a:ext cx="2" cy="0"/>
              </a:xfrm>
              <a:custGeom>
                <a:avLst/>
                <a:gdLst>
                  <a:gd name="T0" fmla="*/ 5 w 5"/>
                  <a:gd name="T1" fmla="*/ 0 h 1"/>
                  <a:gd name="T2" fmla="*/ 0 w 5"/>
                  <a:gd name="T3" fmla="*/ 1 h 1"/>
                  <a:gd name="T4" fmla="*/ 5 w 5"/>
                  <a:gd name="T5" fmla="*/ 1 h 1"/>
                  <a:gd name="T6" fmla="*/ 5 w 5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cubicBezTo>
                      <a:pt x="3" y="1"/>
                      <a:pt x="2" y="1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5" name="Freeform 294">
                <a:extLst>
                  <a:ext uri="{FF2B5EF4-FFF2-40B4-BE49-F238E27FC236}">
                    <a16:creationId xmlns:a16="http://schemas.microsoft.com/office/drawing/2014/main" id="{0E474AF7-E52C-4349-9F8A-83BDC08518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1052"/>
                <a:ext cx="4" cy="69"/>
              </a:xfrm>
              <a:custGeom>
                <a:avLst/>
                <a:gdLst>
                  <a:gd name="T0" fmla="*/ 4 w 8"/>
                  <a:gd name="T1" fmla="*/ 0 h 127"/>
                  <a:gd name="T2" fmla="*/ 4 w 8"/>
                  <a:gd name="T3" fmla="*/ 0 h 127"/>
                  <a:gd name="T4" fmla="*/ 0 w 8"/>
                  <a:gd name="T5" fmla="*/ 4 h 127"/>
                  <a:gd name="T6" fmla="*/ 0 w 8"/>
                  <a:gd name="T7" fmla="*/ 123 h 127"/>
                  <a:gd name="T8" fmla="*/ 4 w 8"/>
                  <a:gd name="T9" fmla="*/ 127 h 127"/>
                  <a:gd name="T10" fmla="*/ 8 w 8"/>
                  <a:gd name="T11" fmla="*/ 123 h 127"/>
                  <a:gd name="T12" fmla="*/ 8 w 8"/>
                  <a:gd name="T13" fmla="*/ 4 h 127"/>
                  <a:gd name="T14" fmla="*/ 4 w 8"/>
                  <a:gd name="T15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27">
                    <a:moveTo>
                      <a:pt x="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23"/>
                      <a:pt x="0" y="123"/>
                      <a:pt x="0" y="123"/>
                    </a:cubicBezTo>
                    <a:cubicBezTo>
                      <a:pt x="0" y="125"/>
                      <a:pt x="2" y="127"/>
                      <a:pt x="4" y="127"/>
                    </a:cubicBezTo>
                    <a:cubicBezTo>
                      <a:pt x="6" y="127"/>
                      <a:pt x="8" y="125"/>
                      <a:pt x="8" y="12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solidFill>
                <a:srgbClr val="2C40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6" name="Freeform 295">
                <a:extLst>
                  <a:ext uri="{FF2B5EF4-FFF2-40B4-BE49-F238E27FC236}">
                    <a16:creationId xmlns:a16="http://schemas.microsoft.com/office/drawing/2014/main" id="{28EF8B93-35D6-4089-942A-986DA9C0FB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2" y="2184"/>
                <a:ext cx="57" cy="53"/>
              </a:xfrm>
              <a:custGeom>
                <a:avLst/>
                <a:gdLst>
                  <a:gd name="T0" fmla="*/ 0 w 103"/>
                  <a:gd name="T1" fmla="*/ 78 h 96"/>
                  <a:gd name="T2" fmla="*/ 68 w 103"/>
                  <a:gd name="T3" fmla="*/ 93 h 96"/>
                  <a:gd name="T4" fmla="*/ 90 w 103"/>
                  <a:gd name="T5" fmla="*/ 83 h 96"/>
                  <a:gd name="T6" fmla="*/ 101 w 103"/>
                  <a:gd name="T7" fmla="*/ 35 h 96"/>
                  <a:gd name="T8" fmla="*/ 85 w 103"/>
                  <a:gd name="T9" fmla="*/ 16 h 96"/>
                  <a:gd name="T10" fmla="*/ 18 w 103"/>
                  <a:gd name="T11" fmla="*/ 0 h 96"/>
                  <a:gd name="T12" fmla="*/ 0 w 103"/>
                  <a:gd name="T13" fmla="*/ 7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96">
                    <a:moveTo>
                      <a:pt x="0" y="78"/>
                    </a:moveTo>
                    <a:cubicBezTo>
                      <a:pt x="68" y="93"/>
                      <a:pt x="68" y="93"/>
                      <a:pt x="68" y="93"/>
                    </a:cubicBezTo>
                    <a:cubicBezTo>
                      <a:pt x="78" y="96"/>
                      <a:pt x="88" y="91"/>
                      <a:pt x="90" y="8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3" y="27"/>
                      <a:pt x="96" y="18"/>
                      <a:pt x="85" y="16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78"/>
                      <a:pt x="0" y="78"/>
                      <a:pt x="0" y="78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7" name="Freeform 296">
                <a:extLst>
                  <a:ext uri="{FF2B5EF4-FFF2-40B4-BE49-F238E27FC236}">
                    <a16:creationId xmlns:a16="http://schemas.microsoft.com/office/drawing/2014/main" id="{886F9BDC-91E4-4B2C-9794-425A0303F5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192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8" name="Freeform 297">
                <a:extLst>
                  <a:ext uri="{FF2B5EF4-FFF2-40B4-BE49-F238E27FC236}">
                    <a16:creationId xmlns:a16="http://schemas.microsoft.com/office/drawing/2014/main" id="{84AB0C22-5AE4-4D9E-9B55-0BB9821442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192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9" name="Freeform 298">
                <a:extLst>
                  <a:ext uri="{FF2B5EF4-FFF2-40B4-BE49-F238E27FC236}">
                    <a16:creationId xmlns:a16="http://schemas.microsoft.com/office/drawing/2014/main" id="{ED5D00F5-4E26-4B35-A14B-7F5A5B9345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191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0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0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0" name="Freeform 299">
                <a:extLst>
                  <a:ext uri="{FF2B5EF4-FFF2-40B4-BE49-F238E27FC236}">
                    <a16:creationId xmlns:a16="http://schemas.microsoft.com/office/drawing/2014/main" id="{7096A632-5CF5-4EC3-A707-026562DC84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191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0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0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" name="Freeform 300">
                <a:extLst>
                  <a:ext uri="{FF2B5EF4-FFF2-40B4-BE49-F238E27FC236}">
                    <a16:creationId xmlns:a16="http://schemas.microsoft.com/office/drawing/2014/main" id="{5985318C-571B-4BB7-9851-8A3BDCADE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189"/>
                <a:ext cx="12" cy="43"/>
              </a:xfrm>
              <a:custGeom>
                <a:avLst/>
                <a:gdLst>
                  <a:gd name="T0" fmla="*/ 0 w 12"/>
                  <a:gd name="T1" fmla="*/ 43 h 43"/>
                  <a:gd name="T2" fmla="*/ 10 w 12"/>
                  <a:gd name="T3" fmla="*/ 0 h 43"/>
                  <a:gd name="T4" fmla="*/ 12 w 12"/>
                  <a:gd name="T5" fmla="*/ 1 h 43"/>
                  <a:gd name="T6" fmla="*/ 3 w 12"/>
                  <a:gd name="T7" fmla="*/ 43 h 43"/>
                  <a:gd name="T8" fmla="*/ 0 w 12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2" name="Freeform 301">
                <a:extLst>
                  <a:ext uri="{FF2B5EF4-FFF2-40B4-BE49-F238E27FC236}">
                    <a16:creationId xmlns:a16="http://schemas.microsoft.com/office/drawing/2014/main" id="{4C03E55F-8F0E-4589-AB32-970271AD48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189"/>
                <a:ext cx="12" cy="43"/>
              </a:xfrm>
              <a:custGeom>
                <a:avLst/>
                <a:gdLst>
                  <a:gd name="T0" fmla="*/ 0 w 12"/>
                  <a:gd name="T1" fmla="*/ 43 h 43"/>
                  <a:gd name="T2" fmla="*/ 10 w 12"/>
                  <a:gd name="T3" fmla="*/ 0 h 43"/>
                  <a:gd name="T4" fmla="*/ 12 w 12"/>
                  <a:gd name="T5" fmla="*/ 1 h 43"/>
                  <a:gd name="T6" fmla="*/ 3 w 12"/>
                  <a:gd name="T7" fmla="*/ 43 h 43"/>
                  <a:gd name="T8" fmla="*/ 0 w 12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3" y="43"/>
                    </a:lnTo>
                    <a:lnTo>
                      <a:pt x="0" y="4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3" name="Freeform 302">
                <a:extLst>
                  <a:ext uri="{FF2B5EF4-FFF2-40B4-BE49-F238E27FC236}">
                    <a16:creationId xmlns:a16="http://schemas.microsoft.com/office/drawing/2014/main" id="{40E01002-F6F9-409B-82B6-2E3AD920C3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188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4" name="Freeform 303">
                <a:extLst>
                  <a:ext uri="{FF2B5EF4-FFF2-40B4-BE49-F238E27FC236}">
                    <a16:creationId xmlns:a16="http://schemas.microsoft.com/office/drawing/2014/main" id="{514269D5-5AE2-43F1-8CD5-D19B0031A6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188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3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3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Freeform 304">
                <a:extLst>
                  <a:ext uri="{FF2B5EF4-FFF2-40B4-BE49-F238E27FC236}">
                    <a16:creationId xmlns:a16="http://schemas.microsoft.com/office/drawing/2014/main" id="{D88CB003-30F5-44C9-91F2-8F929AC05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187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4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4" y="43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6" name="Freeform 305">
                <a:extLst>
                  <a:ext uri="{FF2B5EF4-FFF2-40B4-BE49-F238E27FC236}">
                    <a16:creationId xmlns:a16="http://schemas.microsoft.com/office/drawing/2014/main" id="{18128655-92FE-4A39-B224-A22A65942B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187"/>
                <a:ext cx="13" cy="43"/>
              </a:xfrm>
              <a:custGeom>
                <a:avLst/>
                <a:gdLst>
                  <a:gd name="T0" fmla="*/ 0 w 13"/>
                  <a:gd name="T1" fmla="*/ 42 h 43"/>
                  <a:gd name="T2" fmla="*/ 10 w 13"/>
                  <a:gd name="T3" fmla="*/ 0 h 43"/>
                  <a:gd name="T4" fmla="*/ 13 w 13"/>
                  <a:gd name="T5" fmla="*/ 1 h 43"/>
                  <a:gd name="T6" fmla="*/ 4 w 13"/>
                  <a:gd name="T7" fmla="*/ 43 h 43"/>
                  <a:gd name="T8" fmla="*/ 0 w 13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42"/>
                    </a:moveTo>
                    <a:lnTo>
                      <a:pt x="10" y="0"/>
                    </a:lnTo>
                    <a:lnTo>
                      <a:pt x="13" y="1"/>
                    </a:lnTo>
                    <a:lnTo>
                      <a:pt x="4" y="43"/>
                    </a:lnTo>
                    <a:lnTo>
                      <a:pt x="0" y="4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7" name="Freeform 306">
                <a:extLst>
                  <a:ext uri="{FF2B5EF4-FFF2-40B4-BE49-F238E27FC236}">
                    <a16:creationId xmlns:a16="http://schemas.microsoft.com/office/drawing/2014/main" id="{DF894BD8-8009-4004-8AD7-98B880818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185"/>
                <a:ext cx="12" cy="44"/>
              </a:xfrm>
              <a:custGeom>
                <a:avLst/>
                <a:gdLst>
                  <a:gd name="T0" fmla="*/ 0 w 12"/>
                  <a:gd name="T1" fmla="*/ 43 h 44"/>
                  <a:gd name="T2" fmla="*/ 10 w 12"/>
                  <a:gd name="T3" fmla="*/ 0 h 44"/>
                  <a:gd name="T4" fmla="*/ 12 w 12"/>
                  <a:gd name="T5" fmla="*/ 1 h 44"/>
                  <a:gd name="T6" fmla="*/ 2 w 12"/>
                  <a:gd name="T7" fmla="*/ 44 h 44"/>
                  <a:gd name="T8" fmla="*/ 0 w 12"/>
                  <a:gd name="T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4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2" y="44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53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Freeform 307">
                <a:extLst>
                  <a:ext uri="{FF2B5EF4-FFF2-40B4-BE49-F238E27FC236}">
                    <a16:creationId xmlns:a16="http://schemas.microsoft.com/office/drawing/2014/main" id="{0E3E2912-A20B-4CB7-BF00-981DE897C7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185"/>
                <a:ext cx="12" cy="44"/>
              </a:xfrm>
              <a:custGeom>
                <a:avLst/>
                <a:gdLst>
                  <a:gd name="T0" fmla="*/ 0 w 12"/>
                  <a:gd name="T1" fmla="*/ 43 h 44"/>
                  <a:gd name="T2" fmla="*/ 10 w 12"/>
                  <a:gd name="T3" fmla="*/ 0 h 44"/>
                  <a:gd name="T4" fmla="*/ 12 w 12"/>
                  <a:gd name="T5" fmla="*/ 1 h 44"/>
                  <a:gd name="T6" fmla="*/ 2 w 12"/>
                  <a:gd name="T7" fmla="*/ 44 h 44"/>
                  <a:gd name="T8" fmla="*/ 0 w 12"/>
                  <a:gd name="T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4">
                    <a:moveTo>
                      <a:pt x="0" y="43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2" y="44"/>
                    </a:lnTo>
                    <a:lnTo>
                      <a:pt x="0" y="4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9" name="Freeform 308">
                <a:extLst>
                  <a:ext uri="{FF2B5EF4-FFF2-40B4-BE49-F238E27FC236}">
                    <a16:creationId xmlns:a16="http://schemas.microsoft.com/office/drawing/2014/main" id="{EBD39137-F98F-4BF3-8DEA-DBF39B935F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194"/>
                <a:ext cx="17" cy="24"/>
              </a:xfrm>
              <a:custGeom>
                <a:avLst/>
                <a:gdLst>
                  <a:gd name="T0" fmla="*/ 14 w 31"/>
                  <a:gd name="T1" fmla="*/ 0 h 45"/>
                  <a:gd name="T2" fmla="*/ 5 w 31"/>
                  <a:gd name="T3" fmla="*/ 9 h 45"/>
                  <a:gd name="T4" fmla="*/ 2 w 31"/>
                  <a:gd name="T5" fmla="*/ 26 h 45"/>
                  <a:gd name="T6" fmla="*/ 11 w 31"/>
                  <a:gd name="T7" fmla="*/ 41 h 45"/>
                  <a:gd name="T8" fmla="*/ 31 w 31"/>
                  <a:gd name="T9" fmla="*/ 45 h 45"/>
                  <a:gd name="T10" fmla="*/ 31 w 31"/>
                  <a:gd name="T11" fmla="*/ 43 h 45"/>
                  <a:gd name="T12" fmla="*/ 15 w 31"/>
                  <a:gd name="T13" fmla="*/ 39 h 45"/>
                  <a:gd name="T14" fmla="*/ 6 w 31"/>
                  <a:gd name="T15" fmla="*/ 24 h 45"/>
                  <a:gd name="T16" fmla="*/ 10 w 31"/>
                  <a:gd name="T17" fmla="*/ 7 h 45"/>
                  <a:gd name="T18" fmla="*/ 14 w 31"/>
                  <a:gd name="T1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45">
                    <a:moveTo>
                      <a:pt x="14" y="0"/>
                    </a:moveTo>
                    <a:cubicBezTo>
                      <a:pt x="10" y="1"/>
                      <a:pt x="7" y="4"/>
                      <a:pt x="5" y="9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0" y="33"/>
                      <a:pt x="4" y="39"/>
                      <a:pt x="11" y="41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8" y="37"/>
                      <a:pt x="4" y="31"/>
                      <a:pt x="6" y="24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4"/>
                      <a:pt x="12" y="1"/>
                      <a:pt x="14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0" name="Freeform 309">
                <a:extLst>
                  <a:ext uri="{FF2B5EF4-FFF2-40B4-BE49-F238E27FC236}">
                    <a16:creationId xmlns:a16="http://schemas.microsoft.com/office/drawing/2014/main" id="{6D0CC0B9-E9A3-402A-99CC-8B0F579216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5" y="2217"/>
                <a:ext cx="27" cy="8"/>
              </a:xfrm>
              <a:custGeom>
                <a:avLst/>
                <a:gdLst>
                  <a:gd name="T0" fmla="*/ 24 w 27"/>
                  <a:gd name="T1" fmla="*/ 6 h 8"/>
                  <a:gd name="T2" fmla="*/ 24 w 27"/>
                  <a:gd name="T3" fmla="*/ 7 h 8"/>
                  <a:gd name="T4" fmla="*/ 26 w 27"/>
                  <a:gd name="T5" fmla="*/ 8 h 8"/>
                  <a:gd name="T6" fmla="*/ 27 w 27"/>
                  <a:gd name="T7" fmla="*/ 6 h 8"/>
                  <a:gd name="T8" fmla="*/ 24 w 27"/>
                  <a:gd name="T9" fmla="*/ 6 h 8"/>
                  <a:gd name="T10" fmla="*/ 18 w 27"/>
                  <a:gd name="T11" fmla="*/ 4 h 8"/>
                  <a:gd name="T12" fmla="*/ 18 w 27"/>
                  <a:gd name="T13" fmla="*/ 6 h 8"/>
                  <a:gd name="T14" fmla="*/ 21 w 27"/>
                  <a:gd name="T15" fmla="*/ 6 h 8"/>
                  <a:gd name="T16" fmla="*/ 21 w 27"/>
                  <a:gd name="T17" fmla="*/ 5 h 8"/>
                  <a:gd name="T18" fmla="*/ 18 w 27"/>
                  <a:gd name="T19" fmla="*/ 4 h 8"/>
                  <a:gd name="T20" fmla="*/ 13 w 27"/>
                  <a:gd name="T21" fmla="*/ 3 h 8"/>
                  <a:gd name="T22" fmla="*/ 12 w 27"/>
                  <a:gd name="T23" fmla="*/ 4 h 8"/>
                  <a:gd name="T24" fmla="*/ 15 w 27"/>
                  <a:gd name="T25" fmla="*/ 5 h 8"/>
                  <a:gd name="T26" fmla="*/ 15 w 27"/>
                  <a:gd name="T27" fmla="*/ 3 h 8"/>
                  <a:gd name="T28" fmla="*/ 13 w 27"/>
                  <a:gd name="T29" fmla="*/ 3 h 8"/>
                  <a:gd name="T30" fmla="*/ 7 w 27"/>
                  <a:gd name="T31" fmla="*/ 2 h 8"/>
                  <a:gd name="T32" fmla="*/ 7 w 27"/>
                  <a:gd name="T33" fmla="*/ 3 h 8"/>
                  <a:gd name="T34" fmla="*/ 9 w 27"/>
                  <a:gd name="T35" fmla="*/ 4 h 8"/>
                  <a:gd name="T36" fmla="*/ 10 w 27"/>
                  <a:gd name="T37" fmla="*/ 2 h 8"/>
                  <a:gd name="T38" fmla="*/ 7 w 27"/>
                  <a:gd name="T39" fmla="*/ 2 h 8"/>
                  <a:gd name="T40" fmla="*/ 0 w 27"/>
                  <a:gd name="T41" fmla="*/ 0 h 8"/>
                  <a:gd name="T42" fmla="*/ 0 w 27"/>
                  <a:gd name="T43" fmla="*/ 1 h 8"/>
                  <a:gd name="T44" fmla="*/ 4 w 27"/>
                  <a:gd name="T45" fmla="*/ 2 h 8"/>
                  <a:gd name="T46" fmla="*/ 4 w 27"/>
                  <a:gd name="T47" fmla="*/ 1 h 8"/>
                  <a:gd name="T48" fmla="*/ 0 w 27"/>
                  <a:gd name="T4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" h="8">
                    <a:moveTo>
                      <a:pt x="24" y="6"/>
                    </a:moveTo>
                    <a:lnTo>
                      <a:pt x="24" y="7"/>
                    </a:lnTo>
                    <a:lnTo>
                      <a:pt x="26" y="8"/>
                    </a:lnTo>
                    <a:lnTo>
                      <a:pt x="27" y="6"/>
                    </a:lnTo>
                    <a:lnTo>
                      <a:pt x="24" y="6"/>
                    </a:lnTo>
                    <a:close/>
                    <a:moveTo>
                      <a:pt x="18" y="4"/>
                    </a:moveTo>
                    <a:lnTo>
                      <a:pt x="18" y="6"/>
                    </a:lnTo>
                    <a:lnTo>
                      <a:pt x="21" y="6"/>
                    </a:lnTo>
                    <a:lnTo>
                      <a:pt x="21" y="5"/>
                    </a:lnTo>
                    <a:lnTo>
                      <a:pt x="18" y="4"/>
                    </a:lnTo>
                    <a:close/>
                    <a:moveTo>
                      <a:pt x="13" y="3"/>
                    </a:moveTo>
                    <a:lnTo>
                      <a:pt x="12" y="4"/>
                    </a:lnTo>
                    <a:lnTo>
                      <a:pt x="15" y="5"/>
                    </a:lnTo>
                    <a:lnTo>
                      <a:pt x="15" y="3"/>
                    </a:lnTo>
                    <a:lnTo>
                      <a:pt x="13" y="3"/>
                    </a:lnTo>
                    <a:close/>
                    <a:moveTo>
                      <a:pt x="7" y="2"/>
                    </a:moveTo>
                    <a:lnTo>
                      <a:pt x="7" y="3"/>
                    </a:lnTo>
                    <a:lnTo>
                      <a:pt x="9" y="4"/>
                    </a:lnTo>
                    <a:lnTo>
                      <a:pt x="10" y="2"/>
                    </a:lnTo>
                    <a:lnTo>
                      <a:pt x="7" y="2"/>
                    </a:lnTo>
                    <a:close/>
                    <a:moveTo>
                      <a:pt x="0" y="0"/>
                    </a:moveTo>
                    <a:lnTo>
                      <a:pt x="0" y="1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1" name="Freeform 310">
                <a:extLst>
                  <a:ext uri="{FF2B5EF4-FFF2-40B4-BE49-F238E27FC236}">
                    <a16:creationId xmlns:a16="http://schemas.microsoft.com/office/drawing/2014/main" id="{5E59173D-37ED-4261-A904-5F33C8416A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5" y="2217"/>
                <a:ext cx="27" cy="8"/>
              </a:xfrm>
              <a:custGeom>
                <a:avLst/>
                <a:gdLst>
                  <a:gd name="T0" fmla="*/ 24 w 27"/>
                  <a:gd name="T1" fmla="*/ 6 h 8"/>
                  <a:gd name="T2" fmla="*/ 24 w 27"/>
                  <a:gd name="T3" fmla="*/ 7 h 8"/>
                  <a:gd name="T4" fmla="*/ 26 w 27"/>
                  <a:gd name="T5" fmla="*/ 8 h 8"/>
                  <a:gd name="T6" fmla="*/ 27 w 27"/>
                  <a:gd name="T7" fmla="*/ 6 h 8"/>
                  <a:gd name="T8" fmla="*/ 24 w 27"/>
                  <a:gd name="T9" fmla="*/ 6 h 8"/>
                  <a:gd name="T10" fmla="*/ 18 w 27"/>
                  <a:gd name="T11" fmla="*/ 4 h 8"/>
                  <a:gd name="T12" fmla="*/ 18 w 27"/>
                  <a:gd name="T13" fmla="*/ 6 h 8"/>
                  <a:gd name="T14" fmla="*/ 21 w 27"/>
                  <a:gd name="T15" fmla="*/ 6 h 8"/>
                  <a:gd name="T16" fmla="*/ 21 w 27"/>
                  <a:gd name="T17" fmla="*/ 5 h 8"/>
                  <a:gd name="T18" fmla="*/ 18 w 27"/>
                  <a:gd name="T19" fmla="*/ 4 h 8"/>
                  <a:gd name="T20" fmla="*/ 13 w 27"/>
                  <a:gd name="T21" fmla="*/ 3 h 8"/>
                  <a:gd name="T22" fmla="*/ 12 w 27"/>
                  <a:gd name="T23" fmla="*/ 4 h 8"/>
                  <a:gd name="T24" fmla="*/ 15 w 27"/>
                  <a:gd name="T25" fmla="*/ 5 h 8"/>
                  <a:gd name="T26" fmla="*/ 15 w 27"/>
                  <a:gd name="T27" fmla="*/ 3 h 8"/>
                  <a:gd name="T28" fmla="*/ 13 w 27"/>
                  <a:gd name="T29" fmla="*/ 3 h 8"/>
                  <a:gd name="T30" fmla="*/ 7 w 27"/>
                  <a:gd name="T31" fmla="*/ 2 h 8"/>
                  <a:gd name="T32" fmla="*/ 7 w 27"/>
                  <a:gd name="T33" fmla="*/ 3 h 8"/>
                  <a:gd name="T34" fmla="*/ 9 w 27"/>
                  <a:gd name="T35" fmla="*/ 4 h 8"/>
                  <a:gd name="T36" fmla="*/ 10 w 27"/>
                  <a:gd name="T37" fmla="*/ 2 h 8"/>
                  <a:gd name="T38" fmla="*/ 7 w 27"/>
                  <a:gd name="T39" fmla="*/ 2 h 8"/>
                  <a:gd name="T40" fmla="*/ 0 w 27"/>
                  <a:gd name="T41" fmla="*/ 0 h 8"/>
                  <a:gd name="T42" fmla="*/ 0 w 27"/>
                  <a:gd name="T43" fmla="*/ 1 h 8"/>
                  <a:gd name="T44" fmla="*/ 4 w 27"/>
                  <a:gd name="T45" fmla="*/ 2 h 8"/>
                  <a:gd name="T46" fmla="*/ 4 w 27"/>
                  <a:gd name="T47" fmla="*/ 1 h 8"/>
                  <a:gd name="T48" fmla="*/ 0 w 27"/>
                  <a:gd name="T4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" h="8">
                    <a:moveTo>
                      <a:pt x="24" y="6"/>
                    </a:moveTo>
                    <a:lnTo>
                      <a:pt x="24" y="7"/>
                    </a:lnTo>
                    <a:lnTo>
                      <a:pt x="26" y="8"/>
                    </a:lnTo>
                    <a:lnTo>
                      <a:pt x="27" y="6"/>
                    </a:lnTo>
                    <a:lnTo>
                      <a:pt x="24" y="6"/>
                    </a:lnTo>
                    <a:moveTo>
                      <a:pt x="18" y="4"/>
                    </a:moveTo>
                    <a:lnTo>
                      <a:pt x="18" y="6"/>
                    </a:lnTo>
                    <a:lnTo>
                      <a:pt x="21" y="6"/>
                    </a:lnTo>
                    <a:lnTo>
                      <a:pt x="21" y="5"/>
                    </a:lnTo>
                    <a:lnTo>
                      <a:pt x="18" y="4"/>
                    </a:lnTo>
                    <a:moveTo>
                      <a:pt x="13" y="3"/>
                    </a:moveTo>
                    <a:lnTo>
                      <a:pt x="12" y="4"/>
                    </a:lnTo>
                    <a:lnTo>
                      <a:pt x="15" y="5"/>
                    </a:lnTo>
                    <a:lnTo>
                      <a:pt x="15" y="3"/>
                    </a:lnTo>
                    <a:lnTo>
                      <a:pt x="13" y="3"/>
                    </a:lnTo>
                    <a:moveTo>
                      <a:pt x="7" y="2"/>
                    </a:moveTo>
                    <a:lnTo>
                      <a:pt x="7" y="3"/>
                    </a:lnTo>
                    <a:lnTo>
                      <a:pt x="9" y="4"/>
                    </a:lnTo>
                    <a:lnTo>
                      <a:pt x="10" y="2"/>
                    </a:lnTo>
                    <a:lnTo>
                      <a:pt x="7" y="2"/>
                    </a:lnTo>
                    <a:moveTo>
                      <a:pt x="0" y="0"/>
                    </a:moveTo>
                    <a:lnTo>
                      <a:pt x="0" y="1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2" name="Rectangle 311">
                <a:extLst>
                  <a:ext uri="{FF2B5EF4-FFF2-40B4-BE49-F238E27FC236}">
                    <a16:creationId xmlns:a16="http://schemas.microsoft.com/office/drawing/2014/main" id="{9AD7DE13-AAFE-4369-97FD-05FE5D5484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3" name="Rectangle 312">
                <a:extLst>
                  <a:ext uri="{FF2B5EF4-FFF2-40B4-BE49-F238E27FC236}">
                    <a16:creationId xmlns:a16="http://schemas.microsoft.com/office/drawing/2014/main" id="{E16D78B7-27DA-4CF0-AB57-CE645A0478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4" name="Freeform 313">
                <a:extLst>
                  <a:ext uri="{FF2B5EF4-FFF2-40B4-BE49-F238E27FC236}">
                    <a16:creationId xmlns:a16="http://schemas.microsoft.com/office/drawing/2014/main" id="{0E19076A-7656-4EE8-B50C-E5DC6D5129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4" y="2224"/>
                <a:ext cx="18" cy="5"/>
              </a:xfrm>
              <a:custGeom>
                <a:avLst/>
                <a:gdLst>
                  <a:gd name="T0" fmla="*/ 11 w 32"/>
                  <a:gd name="T1" fmla="*/ 3 h 10"/>
                  <a:gd name="T2" fmla="*/ 11 w 32"/>
                  <a:gd name="T3" fmla="*/ 5 h 10"/>
                  <a:gd name="T4" fmla="*/ 29 w 32"/>
                  <a:gd name="T5" fmla="*/ 10 h 10"/>
                  <a:gd name="T6" fmla="*/ 32 w 32"/>
                  <a:gd name="T7" fmla="*/ 7 h 10"/>
                  <a:gd name="T8" fmla="*/ 11 w 32"/>
                  <a:gd name="T9" fmla="*/ 3 h 10"/>
                  <a:gd name="T10" fmla="*/ 1 w 32"/>
                  <a:gd name="T11" fmla="*/ 0 h 10"/>
                  <a:gd name="T12" fmla="*/ 0 w 32"/>
                  <a:gd name="T13" fmla="*/ 3 h 10"/>
                  <a:gd name="T14" fmla="*/ 5 w 32"/>
                  <a:gd name="T15" fmla="*/ 4 h 10"/>
                  <a:gd name="T16" fmla="*/ 6 w 32"/>
                  <a:gd name="T17" fmla="*/ 1 h 10"/>
                  <a:gd name="T18" fmla="*/ 1 w 32"/>
                  <a:gd name="T1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10">
                    <a:moveTo>
                      <a:pt x="11" y="3"/>
                    </a:moveTo>
                    <a:cubicBezTo>
                      <a:pt x="11" y="5"/>
                      <a:pt x="11" y="5"/>
                      <a:pt x="11" y="5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9"/>
                      <a:pt x="31" y="8"/>
                      <a:pt x="32" y="7"/>
                    </a:cubicBezTo>
                    <a:cubicBezTo>
                      <a:pt x="11" y="3"/>
                      <a:pt x="11" y="3"/>
                      <a:pt x="11" y="3"/>
                    </a:cubicBezTo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5" name="Freeform 314">
                <a:extLst>
                  <a:ext uri="{FF2B5EF4-FFF2-40B4-BE49-F238E27FC236}">
                    <a16:creationId xmlns:a16="http://schemas.microsoft.com/office/drawing/2014/main" id="{0F5D374D-8AC1-4BE4-A086-993889EA1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2224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6" name="Freeform 315">
                <a:extLst>
                  <a:ext uri="{FF2B5EF4-FFF2-40B4-BE49-F238E27FC236}">
                    <a16:creationId xmlns:a16="http://schemas.microsoft.com/office/drawing/2014/main" id="{81F23A47-CC08-48D4-9BA2-AD20C80D5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" y="2224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7" name="Freeform 316">
                <a:extLst>
                  <a:ext uri="{FF2B5EF4-FFF2-40B4-BE49-F238E27FC236}">
                    <a16:creationId xmlns:a16="http://schemas.microsoft.com/office/drawing/2014/main" id="{D46FC136-779D-41A1-9D55-5FDB87B0D5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1" y="2223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8" name="Freeform 317">
                <a:extLst>
                  <a:ext uri="{FF2B5EF4-FFF2-40B4-BE49-F238E27FC236}">
                    <a16:creationId xmlns:a16="http://schemas.microsoft.com/office/drawing/2014/main" id="{B5AA8F1A-8521-4D58-BC9C-E09B9EDDF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1" y="2223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9" name="Freeform 318">
                <a:extLst>
                  <a:ext uri="{FF2B5EF4-FFF2-40B4-BE49-F238E27FC236}">
                    <a16:creationId xmlns:a16="http://schemas.microsoft.com/office/drawing/2014/main" id="{76BE28C4-C918-4584-8495-E44E006D75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222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0" name="Freeform 319">
                <a:extLst>
                  <a:ext uri="{FF2B5EF4-FFF2-40B4-BE49-F238E27FC236}">
                    <a16:creationId xmlns:a16="http://schemas.microsoft.com/office/drawing/2014/main" id="{6548F4B1-5804-4316-9AE1-6E0A09DD6C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222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1" name="Freeform 320">
                <a:extLst>
                  <a:ext uri="{FF2B5EF4-FFF2-40B4-BE49-F238E27FC236}">
                    <a16:creationId xmlns:a16="http://schemas.microsoft.com/office/drawing/2014/main" id="{6697C27F-E433-44EC-9B30-1E9A525F7E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220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2 h 3"/>
                  <a:gd name="T4" fmla="*/ 3 w 3"/>
                  <a:gd name="T5" fmla="*/ 3 h 3"/>
                  <a:gd name="T6" fmla="*/ 3 w 3"/>
                  <a:gd name="T7" fmla="*/ 1 h 3"/>
                  <a:gd name="T8" fmla="*/ 0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2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2" name="Freeform 321">
                <a:extLst>
                  <a:ext uri="{FF2B5EF4-FFF2-40B4-BE49-F238E27FC236}">
                    <a16:creationId xmlns:a16="http://schemas.microsoft.com/office/drawing/2014/main" id="{F57788D8-1228-4FC8-9AB3-9CAB96A401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220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2 h 3"/>
                  <a:gd name="T4" fmla="*/ 3 w 3"/>
                  <a:gd name="T5" fmla="*/ 3 h 3"/>
                  <a:gd name="T6" fmla="*/ 3 w 3"/>
                  <a:gd name="T7" fmla="*/ 1 h 3"/>
                  <a:gd name="T8" fmla="*/ 0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2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3" name="Freeform 322">
                <a:extLst>
                  <a:ext uri="{FF2B5EF4-FFF2-40B4-BE49-F238E27FC236}">
                    <a16:creationId xmlns:a16="http://schemas.microsoft.com/office/drawing/2014/main" id="{D9B31C0A-69E9-43C9-ACA5-51FA9C524A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" y="2219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4" name="Freeform 323">
                <a:extLst>
                  <a:ext uri="{FF2B5EF4-FFF2-40B4-BE49-F238E27FC236}">
                    <a16:creationId xmlns:a16="http://schemas.microsoft.com/office/drawing/2014/main" id="{3691F7EC-B6B3-459C-AB5B-594B9A6C9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" y="2219"/>
                <a:ext cx="4" cy="2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3 w 4"/>
                  <a:gd name="T5" fmla="*/ 2 h 2"/>
                  <a:gd name="T6" fmla="*/ 4 w 4"/>
                  <a:gd name="T7" fmla="*/ 1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5" name="Freeform 324">
                <a:extLst>
                  <a:ext uri="{FF2B5EF4-FFF2-40B4-BE49-F238E27FC236}">
                    <a16:creationId xmlns:a16="http://schemas.microsoft.com/office/drawing/2014/main" id="{EFEBAD90-2B2E-489A-AA49-07C0D7568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9" y="2218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6" name="Freeform 325">
                <a:extLst>
                  <a:ext uri="{FF2B5EF4-FFF2-40B4-BE49-F238E27FC236}">
                    <a16:creationId xmlns:a16="http://schemas.microsoft.com/office/drawing/2014/main" id="{06A543B3-7B01-41BE-B670-A93CF0D15C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9" y="2218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3 w 3"/>
                  <a:gd name="T5" fmla="*/ 2 h 2"/>
                  <a:gd name="T6" fmla="*/ 3 w 3"/>
                  <a:gd name="T7" fmla="*/ 1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7" name="Freeform 326">
                <a:extLst>
                  <a:ext uri="{FF2B5EF4-FFF2-40B4-BE49-F238E27FC236}">
                    <a16:creationId xmlns:a16="http://schemas.microsoft.com/office/drawing/2014/main" id="{DC857BAD-B7EF-4914-A165-A6D9BF742B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0" y="2191"/>
                <a:ext cx="69" cy="37"/>
              </a:xfrm>
              <a:custGeom>
                <a:avLst/>
                <a:gdLst>
                  <a:gd name="T0" fmla="*/ 2 w 127"/>
                  <a:gd name="T1" fmla="*/ 28 h 67"/>
                  <a:gd name="T2" fmla="*/ 6 w 127"/>
                  <a:gd name="T3" fmla="*/ 11 h 67"/>
                  <a:gd name="T4" fmla="*/ 20 w 127"/>
                  <a:gd name="T5" fmla="*/ 2 h 67"/>
                  <a:gd name="T6" fmla="*/ 127 w 127"/>
                  <a:gd name="T7" fmla="*/ 26 h 67"/>
                  <a:gd name="T8" fmla="*/ 117 w 127"/>
                  <a:gd name="T9" fmla="*/ 67 h 67"/>
                  <a:gd name="T10" fmla="*/ 11 w 127"/>
                  <a:gd name="T11" fmla="*/ 43 h 67"/>
                  <a:gd name="T12" fmla="*/ 2 w 127"/>
                  <a:gd name="T13" fmla="*/ 2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67">
                    <a:moveTo>
                      <a:pt x="2" y="28"/>
                    </a:moveTo>
                    <a:cubicBezTo>
                      <a:pt x="6" y="11"/>
                      <a:pt x="6" y="11"/>
                      <a:pt x="6" y="11"/>
                    </a:cubicBezTo>
                    <a:cubicBezTo>
                      <a:pt x="7" y="4"/>
                      <a:pt x="14" y="0"/>
                      <a:pt x="20" y="2"/>
                    </a:cubicBezTo>
                    <a:cubicBezTo>
                      <a:pt x="127" y="26"/>
                      <a:pt x="127" y="26"/>
                      <a:pt x="127" y="26"/>
                    </a:cubicBezTo>
                    <a:cubicBezTo>
                      <a:pt x="117" y="67"/>
                      <a:pt x="117" y="67"/>
                      <a:pt x="117" y="67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4" y="41"/>
                      <a:pt x="0" y="35"/>
                      <a:pt x="2" y="28"/>
                    </a:cubicBezTo>
                  </a:path>
                </a:pathLst>
              </a:custGeom>
              <a:solidFill>
                <a:srgbClr val="3F3D3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8" name="Freeform 327">
                <a:extLst>
                  <a:ext uri="{FF2B5EF4-FFF2-40B4-BE49-F238E27FC236}">
                    <a16:creationId xmlns:a16="http://schemas.microsoft.com/office/drawing/2014/main" id="{46CC2F71-F3D1-4BA3-8BB9-D25AA38881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1" y="2229"/>
                <a:ext cx="1" cy="3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0 w 2"/>
                  <a:gd name="T5" fmla="*/ 5 h 5"/>
                  <a:gd name="T6" fmla="*/ 0 w 2"/>
                  <a:gd name="T7" fmla="*/ 5 h 5"/>
                  <a:gd name="T8" fmla="*/ 0 w 2"/>
                  <a:gd name="T9" fmla="*/ 5 h 5"/>
                  <a:gd name="T10" fmla="*/ 0 w 2"/>
                  <a:gd name="T11" fmla="*/ 5 h 5"/>
                  <a:gd name="T12" fmla="*/ 0 w 2"/>
                  <a:gd name="T13" fmla="*/ 5 h 5"/>
                  <a:gd name="T14" fmla="*/ 0 w 2"/>
                  <a:gd name="T15" fmla="*/ 5 h 5"/>
                  <a:gd name="T16" fmla="*/ 0 w 2"/>
                  <a:gd name="T17" fmla="*/ 5 h 5"/>
                  <a:gd name="T18" fmla="*/ 0 w 2"/>
                  <a:gd name="T19" fmla="*/ 5 h 5"/>
                  <a:gd name="T20" fmla="*/ 0 w 2"/>
                  <a:gd name="T21" fmla="*/ 5 h 5"/>
                  <a:gd name="T22" fmla="*/ 0 w 2"/>
                  <a:gd name="T23" fmla="*/ 5 h 5"/>
                  <a:gd name="T24" fmla="*/ 1 w 2"/>
                  <a:gd name="T25" fmla="*/ 4 h 5"/>
                  <a:gd name="T26" fmla="*/ 0 w 2"/>
                  <a:gd name="T27" fmla="*/ 4 h 5"/>
                  <a:gd name="T28" fmla="*/ 1 w 2"/>
                  <a:gd name="T29" fmla="*/ 4 h 5"/>
                  <a:gd name="T30" fmla="*/ 1 w 2"/>
                  <a:gd name="T31" fmla="*/ 4 h 5"/>
                  <a:gd name="T32" fmla="*/ 1 w 2"/>
                  <a:gd name="T33" fmla="*/ 4 h 5"/>
                  <a:gd name="T34" fmla="*/ 1 w 2"/>
                  <a:gd name="T35" fmla="*/ 4 h 5"/>
                  <a:gd name="T36" fmla="*/ 1 w 2"/>
                  <a:gd name="T37" fmla="*/ 4 h 5"/>
                  <a:gd name="T38" fmla="*/ 1 w 2"/>
                  <a:gd name="T39" fmla="*/ 4 h 5"/>
                  <a:gd name="T40" fmla="*/ 1 w 2"/>
                  <a:gd name="T41" fmla="*/ 4 h 5"/>
                  <a:gd name="T42" fmla="*/ 1 w 2"/>
                  <a:gd name="T43" fmla="*/ 4 h 5"/>
                  <a:gd name="T44" fmla="*/ 1 w 2"/>
                  <a:gd name="T45" fmla="*/ 4 h 5"/>
                  <a:gd name="T46" fmla="*/ 1 w 2"/>
                  <a:gd name="T47" fmla="*/ 4 h 5"/>
                  <a:gd name="T48" fmla="*/ 1 w 2"/>
                  <a:gd name="T49" fmla="*/ 4 h 5"/>
                  <a:gd name="T50" fmla="*/ 1 w 2"/>
                  <a:gd name="T51" fmla="*/ 4 h 5"/>
                  <a:gd name="T52" fmla="*/ 1 w 2"/>
                  <a:gd name="T53" fmla="*/ 4 h 5"/>
                  <a:gd name="T54" fmla="*/ 1 w 2"/>
                  <a:gd name="T55" fmla="*/ 4 h 5"/>
                  <a:gd name="T56" fmla="*/ 1 w 2"/>
                  <a:gd name="T57" fmla="*/ 4 h 5"/>
                  <a:gd name="T58" fmla="*/ 1 w 2"/>
                  <a:gd name="T59" fmla="*/ 4 h 5"/>
                  <a:gd name="T60" fmla="*/ 1 w 2"/>
                  <a:gd name="T61" fmla="*/ 3 h 5"/>
                  <a:gd name="T62" fmla="*/ 1 w 2"/>
                  <a:gd name="T63" fmla="*/ 4 h 5"/>
                  <a:gd name="T64" fmla="*/ 1 w 2"/>
                  <a:gd name="T65" fmla="*/ 3 h 5"/>
                  <a:gd name="T66" fmla="*/ 1 w 2"/>
                  <a:gd name="T67" fmla="*/ 3 h 5"/>
                  <a:gd name="T68" fmla="*/ 1 w 2"/>
                  <a:gd name="T69" fmla="*/ 3 h 5"/>
                  <a:gd name="T70" fmla="*/ 1 w 2"/>
                  <a:gd name="T71" fmla="*/ 3 h 5"/>
                  <a:gd name="T72" fmla="*/ 1 w 2"/>
                  <a:gd name="T73" fmla="*/ 3 h 5"/>
                  <a:gd name="T74" fmla="*/ 1 w 2"/>
                  <a:gd name="T75" fmla="*/ 3 h 5"/>
                  <a:gd name="T76" fmla="*/ 1 w 2"/>
                  <a:gd name="T77" fmla="*/ 3 h 5"/>
                  <a:gd name="T78" fmla="*/ 1 w 2"/>
                  <a:gd name="T79" fmla="*/ 2 h 5"/>
                  <a:gd name="T80" fmla="*/ 1 w 2"/>
                  <a:gd name="T81" fmla="*/ 3 h 5"/>
                  <a:gd name="T82" fmla="*/ 1 w 2"/>
                  <a:gd name="T83" fmla="*/ 2 h 5"/>
                  <a:gd name="T84" fmla="*/ 1 w 2"/>
                  <a:gd name="T85" fmla="*/ 2 h 5"/>
                  <a:gd name="T86" fmla="*/ 1 w 2"/>
                  <a:gd name="T87" fmla="*/ 2 h 5"/>
                  <a:gd name="T88" fmla="*/ 1 w 2"/>
                  <a:gd name="T89" fmla="*/ 2 h 5"/>
                  <a:gd name="T90" fmla="*/ 2 w 2"/>
                  <a:gd name="T91" fmla="*/ 2 h 5"/>
                  <a:gd name="T92" fmla="*/ 2 w 2"/>
                  <a:gd name="T93" fmla="*/ 2 h 5"/>
                  <a:gd name="T94" fmla="*/ 2 w 2"/>
                  <a:gd name="T95" fmla="*/ 2 h 5"/>
                  <a:gd name="T96" fmla="*/ 2 w 2"/>
                  <a:gd name="T97" fmla="*/ 1 h 5"/>
                  <a:gd name="T98" fmla="*/ 2 w 2"/>
                  <a:gd name="T99" fmla="*/ 1 h 5"/>
                  <a:gd name="T100" fmla="*/ 2 w 2"/>
                  <a:gd name="T101" fmla="*/ 1 h 5"/>
                  <a:gd name="T102" fmla="*/ 2 w 2"/>
                  <a:gd name="T103" fmla="*/ 1 h 5"/>
                  <a:gd name="T104" fmla="*/ 2 w 2"/>
                  <a:gd name="T105" fmla="*/ 1 h 5"/>
                  <a:gd name="T106" fmla="*/ 2 w 2"/>
                  <a:gd name="T107" fmla="*/ 1 h 5"/>
                  <a:gd name="T108" fmla="*/ 2 w 2"/>
                  <a:gd name="T109" fmla="*/ 0 h 5"/>
                  <a:gd name="T110" fmla="*/ 2 w 2"/>
                  <a:gd name="T111" fmla="*/ 1 h 5"/>
                  <a:gd name="T112" fmla="*/ 2 w 2"/>
                  <a:gd name="T113" fmla="*/ 0 h 5"/>
                  <a:gd name="T114" fmla="*/ 2 w 2"/>
                  <a:gd name="T1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1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4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moveTo>
                      <a:pt x="1" y="3"/>
                    </a:moveTo>
                    <a:cubicBezTo>
                      <a:pt x="1" y="3"/>
                      <a:pt x="1" y="4"/>
                      <a:pt x="1" y="4"/>
                    </a:cubicBezTo>
                    <a:cubicBezTo>
                      <a:pt x="1" y="4"/>
                      <a:pt x="1" y="3"/>
                      <a:pt x="1" y="3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2"/>
                      <a:pt x="1" y="2"/>
                    </a:cubicBezTo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moveTo>
                      <a:pt x="2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moveTo>
                      <a:pt x="2" y="0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9" name="Freeform 328">
                <a:extLst>
                  <a:ext uri="{FF2B5EF4-FFF2-40B4-BE49-F238E27FC236}">
                    <a16:creationId xmlns:a16="http://schemas.microsoft.com/office/drawing/2014/main" id="{FDE0045B-5F4A-41EC-8206-2957640CB2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2" y="2222"/>
                <a:ext cx="50" cy="14"/>
              </a:xfrm>
              <a:custGeom>
                <a:avLst/>
                <a:gdLst>
                  <a:gd name="T0" fmla="*/ 55 w 90"/>
                  <a:gd name="T1" fmla="*/ 21 h 25"/>
                  <a:gd name="T2" fmla="*/ 62 w 90"/>
                  <a:gd name="T3" fmla="*/ 14 h 25"/>
                  <a:gd name="T4" fmla="*/ 87 w 90"/>
                  <a:gd name="T5" fmla="*/ 13 h 25"/>
                  <a:gd name="T6" fmla="*/ 70 w 90"/>
                  <a:gd name="T7" fmla="*/ 16 h 25"/>
                  <a:gd name="T8" fmla="*/ 65 w 90"/>
                  <a:gd name="T9" fmla="*/ 24 h 25"/>
                  <a:gd name="T10" fmla="*/ 73 w 90"/>
                  <a:gd name="T11" fmla="*/ 25 h 25"/>
                  <a:gd name="T12" fmla="*/ 88 w 90"/>
                  <a:gd name="T13" fmla="*/ 18 h 25"/>
                  <a:gd name="T14" fmla="*/ 88 w 90"/>
                  <a:gd name="T15" fmla="*/ 18 h 25"/>
                  <a:gd name="T16" fmla="*/ 88 w 90"/>
                  <a:gd name="T17" fmla="*/ 18 h 25"/>
                  <a:gd name="T18" fmla="*/ 88 w 90"/>
                  <a:gd name="T19" fmla="*/ 18 h 25"/>
                  <a:gd name="T20" fmla="*/ 89 w 90"/>
                  <a:gd name="T21" fmla="*/ 17 h 25"/>
                  <a:gd name="T22" fmla="*/ 89 w 90"/>
                  <a:gd name="T23" fmla="*/ 17 h 25"/>
                  <a:gd name="T24" fmla="*/ 89 w 90"/>
                  <a:gd name="T25" fmla="*/ 17 h 25"/>
                  <a:gd name="T26" fmla="*/ 89 w 90"/>
                  <a:gd name="T27" fmla="*/ 17 h 25"/>
                  <a:gd name="T28" fmla="*/ 89 w 90"/>
                  <a:gd name="T29" fmla="*/ 17 h 25"/>
                  <a:gd name="T30" fmla="*/ 89 w 90"/>
                  <a:gd name="T31" fmla="*/ 17 h 25"/>
                  <a:gd name="T32" fmla="*/ 89 w 90"/>
                  <a:gd name="T33" fmla="*/ 16 h 25"/>
                  <a:gd name="T34" fmla="*/ 89 w 90"/>
                  <a:gd name="T35" fmla="*/ 16 h 25"/>
                  <a:gd name="T36" fmla="*/ 89 w 90"/>
                  <a:gd name="T37" fmla="*/ 16 h 25"/>
                  <a:gd name="T38" fmla="*/ 89 w 90"/>
                  <a:gd name="T39" fmla="*/ 15 h 25"/>
                  <a:gd name="T40" fmla="*/ 89 w 90"/>
                  <a:gd name="T41" fmla="*/ 15 h 25"/>
                  <a:gd name="T42" fmla="*/ 90 w 90"/>
                  <a:gd name="T43" fmla="*/ 15 h 25"/>
                  <a:gd name="T44" fmla="*/ 90 w 90"/>
                  <a:gd name="T45" fmla="*/ 14 h 25"/>
                  <a:gd name="T46" fmla="*/ 90 w 90"/>
                  <a:gd name="T47" fmla="*/ 14 h 25"/>
                  <a:gd name="T48" fmla="*/ 90 w 90"/>
                  <a:gd name="T49" fmla="*/ 13 h 25"/>
                  <a:gd name="T50" fmla="*/ 46 w 90"/>
                  <a:gd name="T51" fmla="*/ 11 h 25"/>
                  <a:gd name="T52" fmla="*/ 49 w 90"/>
                  <a:gd name="T53" fmla="*/ 20 h 25"/>
                  <a:gd name="T54" fmla="*/ 46 w 90"/>
                  <a:gd name="T55" fmla="*/ 11 h 25"/>
                  <a:gd name="T56" fmla="*/ 34 w 90"/>
                  <a:gd name="T57" fmla="*/ 17 h 25"/>
                  <a:gd name="T58" fmla="*/ 39 w 90"/>
                  <a:gd name="T59" fmla="*/ 18 h 25"/>
                  <a:gd name="T60" fmla="*/ 36 w 90"/>
                  <a:gd name="T61" fmla="*/ 8 h 25"/>
                  <a:gd name="T62" fmla="*/ 24 w 90"/>
                  <a:gd name="T63" fmla="*/ 14 h 25"/>
                  <a:gd name="T64" fmla="*/ 31 w 90"/>
                  <a:gd name="T65" fmla="*/ 7 h 25"/>
                  <a:gd name="T66" fmla="*/ 15 w 90"/>
                  <a:gd name="T67" fmla="*/ 3 h 25"/>
                  <a:gd name="T68" fmla="*/ 18 w 90"/>
                  <a:gd name="T69" fmla="*/ 13 h 25"/>
                  <a:gd name="T70" fmla="*/ 15 w 90"/>
                  <a:gd name="T71" fmla="*/ 3 h 25"/>
                  <a:gd name="T72" fmla="*/ 0 w 90"/>
                  <a:gd name="T73" fmla="*/ 9 h 25"/>
                  <a:gd name="T74" fmla="*/ 8 w 90"/>
                  <a:gd name="T75" fmla="*/ 11 h 25"/>
                  <a:gd name="T76" fmla="*/ 2 w 90"/>
                  <a:gd name="T7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0" h="25">
                    <a:moveTo>
                      <a:pt x="57" y="13"/>
                    </a:moveTo>
                    <a:cubicBezTo>
                      <a:pt x="55" y="21"/>
                      <a:pt x="55" y="21"/>
                      <a:pt x="55" y="21"/>
                    </a:cubicBezTo>
                    <a:cubicBezTo>
                      <a:pt x="60" y="22"/>
                      <a:pt x="60" y="22"/>
                      <a:pt x="60" y="22"/>
                    </a:cubicBezTo>
                    <a:cubicBezTo>
                      <a:pt x="62" y="14"/>
                      <a:pt x="62" y="14"/>
                      <a:pt x="62" y="14"/>
                    </a:cubicBezTo>
                    <a:cubicBezTo>
                      <a:pt x="57" y="13"/>
                      <a:pt x="57" y="13"/>
                      <a:pt x="57" y="13"/>
                    </a:cubicBezTo>
                    <a:moveTo>
                      <a:pt x="87" y="13"/>
                    </a:moveTo>
                    <a:cubicBezTo>
                      <a:pt x="84" y="15"/>
                      <a:pt x="80" y="17"/>
                      <a:pt x="75" y="17"/>
                    </a:cubicBezTo>
                    <a:cubicBezTo>
                      <a:pt x="73" y="17"/>
                      <a:pt x="72" y="16"/>
                      <a:pt x="70" y="16"/>
                    </a:cubicBezTo>
                    <a:cubicBezTo>
                      <a:pt x="67" y="15"/>
                      <a:pt x="67" y="15"/>
                      <a:pt x="67" y="15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70" y="25"/>
                      <a:pt x="71" y="25"/>
                      <a:pt x="73" y="25"/>
                    </a:cubicBezTo>
                    <a:cubicBezTo>
                      <a:pt x="80" y="25"/>
                      <a:pt x="85" y="22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7"/>
                      <a:pt x="88" y="17"/>
                      <a:pt x="88" y="17"/>
                    </a:cubicBezTo>
                    <a:cubicBezTo>
                      <a:pt x="88" y="17"/>
                      <a:pt x="88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9" y="17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6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89" y="15"/>
                      <a:pt x="89" y="15"/>
                      <a:pt x="90" y="15"/>
                    </a:cubicBezTo>
                    <a:cubicBezTo>
                      <a:pt x="90" y="15"/>
                      <a:pt x="90" y="15"/>
                      <a:pt x="90" y="15"/>
                    </a:cubicBezTo>
                    <a:cubicBezTo>
                      <a:pt x="90" y="15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0" y="13"/>
                      <a:pt x="90" y="13"/>
                      <a:pt x="90" y="13"/>
                    </a:cubicBezTo>
                    <a:cubicBezTo>
                      <a:pt x="87" y="13"/>
                      <a:pt x="87" y="13"/>
                      <a:pt x="87" y="13"/>
                    </a:cubicBezTo>
                    <a:moveTo>
                      <a:pt x="46" y="11"/>
                    </a:moveTo>
                    <a:cubicBezTo>
                      <a:pt x="45" y="19"/>
                      <a:pt x="45" y="19"/>
                      <a:pt x="45" y="19"/>
                    </a:cubicBezTo>
                    <a:cubicBezTo>
                      <a:pt x="49" y="20"/>
                      <a:pt x="49" y="20"/>
                      <a:pt x="49" y="20"/>
                    </a:cubicBezTo>
                    <a:cubicBezTo>
                      <a:pt x="51" y="12"/>
                      <a:pt x="51" y="12"/>
                      <a:pt x="51" y="12"/>
                    </a:cubicBezTo>
                    <a:cubicBezTo>
                      <a:pt x="46" y="11"/>
                      <a:pt x="46" y="11"/>
                      <a:pt x="46" y="11"/>
                    </a:cubicBezTo>
                    <a:moveTo>
                      <a:pt x="36" y="8"/>
                    </a:moveTo>
                    <a:cubicBezTo>
                      <a:pt x="34" y="17"/>
                      <a:pt x="34" y="17"/>
                      <a:pt x="34" y="17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36" y="8"/>
                      <a:pt x="36" y="8"/>
                      <a:pt x="36" y="8"/>
                    </a:cubicBezTo>
                    <a:moveTo>
                      <a:pt x="26" y="6"/>
                    </a:moveTo>
                    <a:cubicBezTo>
                      <a:pt x="24" y="14"/>
                      <a:pt x="24" y="14"/>
                      <a:pt x="24" y="14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6" y="6"/>
                      <a:pt x="26" y="6"/>
                      <a:pt x="26" y="6"/>
                    </a:cubicBezTo>
                    <a:moveTo>
                      <a:pt x="15" y="3"/>
                    </a:moveTo>
                    <a:cubicBezTo>
                      <a:pt x="13" y="12"/>
                      <a:pt x="13" y="12"/>
                      <a:pt x="13" y="12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15" y="3"/>
                      <a:pt x="15" y="3"/>
                      <a:pt x="15" y="3"/>
                    </a:cubicBezTo>
                    <a:moveTo>
                      <a:pt x="2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0" name="Freeform 329">
                <a:extLst>
                  <a:ext uri="{FF2B5EF4-FFF2-40B4-BE49-F238E27FC236}">
                    <a16:creationId xmlns:a16="http://schemas.microsoft.com/office/drawing/2014/main" id="{21C40211-3DF2-4900-B294-5FC56038D0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230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3 w 4"/>
                  <a:gd name="T5" fmla="*/ 5 h 5"/>
                  <a:gd name="T6" fmla="*/ 4 w 4"/>
                  <a:gd name="T7" fmla="*/ 0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1" name="Freeform 330">
                <a:extLst>
                  <a:ext uri="{FF2B5EF4-FFF2-40B4-BE49-F238E27FC236}">
                    <a16:creationId xmlns:a16="http://schemas.microsoft.com/office/drawing/2014/main" id="{84EF45CB-FA20-423D-90C9-6D206FB469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5" y="2230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3 w 4"/>
                  <a:gd name="T5" fmla="*/ 5 h 5"/>
                  <a:gd name="T6" fmla="*/ 4 w 4"/>
                  <a:gd name="T7" fmla="*/ 0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2" name="Freeform 331">
                <a:extLst>
                  <a:ext uri="{FF2B5EF4-FFF2-40B4-BE49-F238E27FC236}">
                    <a16:creationId xmlns:a16="http://schemas.microsoft.com/office/drawing/2014/main" id="{03FC9952-746E-49A8-B733-CF602BB6E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229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3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3" name="Freeform 332">
                <a:extLst>
                  <a:ext uri="{FF2B5EF4-FFF2-40B4-BE49-F238E27FC236}">
                    <a16:creationId xmlns:a16="http://schemas.microsoft.com/office/drawing/2014/main" id="{3D573F7C-4178-4BF1-8E36-14411A4291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" y="2229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3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5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4" name="Freeform 333">
                <a:extLst>
                  <a:ext uri="{FF2B5EF4-FFF2-40B4-BE49-F238E27FC236}">
                    <a16:creationId xmlns:a16="http://schemas.microsoft.com/office/drawing/2014/main" id="{F5765AE4-2359-4CFF-A084-003A85E242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227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5 h 5"/>
                  <a:gd name="T4" fmla="*/ 3 w 4"/>
                  <a:gd name="T5" fmla="*/ 5 h 5"/>
                  <a:gd name="T6" fmla="*/ 4 w 4"/>
                  <a:gd name="T7" fmla="*/ 1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5"/>
                    </a:lnTo>
                    <a:lnTo>
                      <a:pt x="3" y="5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5" name="Freeform 334">
                <a:extLst>
                  <a:ext uri="{FF2B5EF4-FFF2-40B4-BE49-F238E27FC236}">
                    <a16:creationId xmlns:a16="http://schemas.microsoft.com/office/drawing/2014/main" id="{99A1B14B-E957-4900-AA63-4B65096A4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227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5 h 5"/>
                  <a:gd name="T4" fmla="*/ 3 w 4"/>
                  <a:gd name="T5" fmla="*/ 5 h 5"/>
                  <a:gd name="T6" fmla="*/ 4 w 4"/>
                  <a:gd name="T7" fmla="*/ 1 h 5"/>
                  <a:gd name="T8" fmla="*/ 1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5"/>
                    </a:lnTo>
                    <a:lnTo>
                      <a:pt x="3" y="5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6" name="Freeform 335">
                <a:extLst>
                  <a:ext uri="{FF2B5EF4-FFF2-40B4-BE49-F238E27FC236}">
                    <a16:creationId xmlns:a16="http://schemas.microsoft.com/office/drawing/2014/main" id="{0FF797DB-6F86-476D-8B85-9EB86E6F0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226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1 w 4"/>
                  <a:gd name="T5" fmla="*/ 5 h 5"/>
                  <a:gd name="T6" fmla="*/ 3 w 4"/>
                  <a:gd name="T7" fmla="*/ 5 h 5"/>
                  <a:gd name="T8" fmla="*/ 4 w 4"/>
                  <a:gd name="T9" fmla="*/ 0 h 5"/>
                  <a:gd name="T10" fmla="*/ 1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7" name="Freeform 336">
                <a:extLst>
                  <a:ext uri="{FF2B5EF4-FFF2-40B4-BE49-F238E27FC236}">
                    <a16:creationId xmlns:a16="http://schemas.microsoft.com/office/drawing/2014/main" id="{26FB6D40-410D-4E60-AB29-3E9A9A367E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8" y="2226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4 h 5"/>
                  <a:gd name="T4" fmla="*/ 1 w 4"/>
                  <a:gd name="T5" fmla="*/ 5 h 5"/>
                  <a:gd name="T6" fmla="*/ 3 w 4"/>
                  <a:gd name="T7" fmla="*/ 5 h 5"/>
                  <a:gd name="T8" fmla="*/ 4 w 4"/>
                  <a:gd name="T9" fmla="*/ 0 h 5"/>
                  <a:gd name="T10" fmla="*/ 1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4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8" name="Freeform 337">
                <a:extLst>
                  <a:ext uri="{FF2B5EF4-FFF2-40B4-BE49-F238E27FC236}">
                    <a16:creationId xmlns:a16="http://schemas.microsoft.com/office/drawing/2014/main" id="{FACBE5FC-1D07-48C0-9EDC-2DBE50E98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225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4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4" y="5"/>
                    </a:lnTo>
                    <a:lnTo>
                      <a:pt x="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9" name="Freeform 338">
                <a:extLst>
                  <a:ext uri="{FF2B5EF4-FFF2-40B4-BE49-F238E27FC236}">
                    <a16:creationId xmlns:a16="http://schemas.microsoft.com/office/drawing/2014/main" id="{CF4A6D40-44DF-4F96-B013-6513621F0B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2" y="2225"/>
                <a:ext cx="5" cy="5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4 h 5"/>
                  <a:gd name="T4" fmla="*/ 4 w 5"/>
                  <a:gd name="T5" fmla="*/ 5 h 5"/>
                  <a:gd name="T6" fmla="*/ 5 w 5"/>
                  <a:gd name="T7" fmla="*/ 0 h 5"/>
                  <a:gd name="T8" fmla="*/ 1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4"/>
                    </a:lnTo>
                    <a:lnTo>
                      <a:pt x="4" y="5"/>
                    </a:lnTo>
                    <a:lnTo>
                      <a:pt x="5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0" name="Freeform 339">
                <a:extLst>
                  <a:ext uri="{FF2B5EF4-FFF2-40B4-BE49-F238E27FC236}">
                    <a16:creationId xmlns:a16="http://schemas.microsoft.com/office/drawing/2014/main" id="{757DF09E-3DD4-4BEF-813D-995F0C97DE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223"/>
                <a:ext cx="4" cy="6"/>
              </a:xfrm>
              <a:custGeom>
                <a:avLst/>
                <a:gdLst>
                  <a:gd name="T0" fmla="*/ 1 w 4"/>
                  <a:gd name="T1" fmla="*/ 0 h 6"/>
                  <a:gd name="T2" fmla="*/ 0 w 4"/>
                  <a:gd name="T3" fmla="*/ 5 h 6"/>
                  <a:gd name="T4" fmla="*/ 0 w 4"/>
                  <a:gd name="T5" fmla="*/ 5 h 6"/>
                  <a:gd name="T6" fmla="*/ 2 w 4"/>
                  <a:gd name="T7" fmla="*/ 6 h 6"/>
                  <a:gd name="T8" fmla="*/ 4 w 4"/>
                  <a:gd name="T9" fmla="*/ 1 h 6"/>
                  <a:gd name="T10" fmla="*/ 1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2" y="6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242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1" name="Freeform 340">
                <a:extLst>
                  <a:ext uri="{FF2B5EF4-FFF2-40B4-BE49-F238E27FC236}">
                    <a16:creationId xmlns:a16="http://schemas.microsoft.com/office/drawing/2014/main" id="{871A3B9E-3D28-4AEE-A16C-0B3B09715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7" y="2223"/>
                <a:ext cx="4" cy="6"/>
              </a:xfrm>
              <a:custGeom>
                <a:avLst/>
                <a:gdLst>
                  <a:gd name="T0" fmla="*/ 1 w 4"/>
                  <a:gd name="T1" fmla="*/ 0 h 6"/>
                  <a:gd name="T2" fmla="*/ 0 w 4"/>
                  <a:gd name="T3" fmla="*/ 5 h 6"/>
                  <a:gd name="T4" fmla="*/ 0 w 4"/>
                  <a:gd name="T5" fmla="*/ 5 h 6"/>
                  <a:gd name="T6" fmla="*/ 2 w 4"/>
                  <a:gd name="T7" fmla="*/ 6 h 6"/>
                  <a:gd name="T8" fmla="*/ 4 w 4"/>
                  <a:gd name="T9" fmla="*/ 1 h 6"/>
                  <a:gd name="T10" fmla="*/ 1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2" y="6"/>
                    </a:lnTo>
                    <a:lnTo>
                      <a:pt x="4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2" name="Rectangle 341">
                <a:extLst>
                  <a:ext uri="{FF2B5EF4-FFF2-40B4-BE49-F238E27FC236}">
                    <a16:creationId xmlns:a16="http://schemas.microsoft.com/office/drawing/2014/main" id="{60536545-BC3E-4D2A-9F3A-1BEEF422CF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solidFill>
                <a:srgbClr val="7862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3" name="Rectangle 342">
                <a:extLst>
                  <a:ext uri="{FF2B5EF4-FFF2-40B4-BE49-F238E27FC236}">
                    <a16:creationId xmlns:a16="http://schemas.microsoft.com/office/drawing/2014/main" id="{EB03FCEA-5C19-4BDE-B21B-1511E3A3E3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2" y="222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4" name="Freeform 343">
                <a:extLst>
                  <a:ext uri="{FF2B5EF4-FFF2-40B4-BE49-F238E27FC236}">
                    <a16:creationId xmlns:a16="http://schemas.microsoft.com/office/drawing/2014/main" id="{17ED124B-52DC-4AC7-8ECE-D64F1DA15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228"/>
                <a:ext cx="2" cy="1"/>
              </a:xfrm>
              <a:custGeom>
                <a:avLst/>
                <a:gdLst>
                  <a:gd name="T0" fmla="*/ 3 w 4"/>
                  <a:gd name="T1" fmla="*/ 0 h 3"/>
                  <a:gd name="T2" fmla="*/ 0 w 4"/>
                  <a:gd name="T3" fmla="*/ 3 h 3"/>
                  <a:gd name="T4" fmla="*/ 3 w 4"/>
                  <a:gd name="T5" fmla="*/ 3 h 3"/>
                  <a:gd name="T6" fmla="*/ 4 w 4"/>
                  <a:gd name="T7" fmla="*/ 0 h 3"/>
                  <a:gd name="T8" fmla="*/ 3 w 4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3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2826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5" name="Freeform 344">
                <a:extLst>
                  <a:ext uri="{FF2B5EF4-FFF2-40B4-BE49-F238E27FC236}">
                    <a16:creationId xmlns:a16="http://schemas.microsoft.com/office/drawing/2014/main" id="{1B1A09E1-7067-4370-9829-7EDFBAD324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" y="2225"/>
                <a:ext cx="1" cy="3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4 h 4"/>
                  <a:gd name="T4" fmla="*/ 1 w 2"/>
                  <a:gd name="T5" fmla="*/ 4 h 4"/>
                  <a:gd name="T6" fmla="*/ 1 w 2"/>
                  <a:gd name="T7" fmla="*/ 4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cubicBezTo>
                      <a:pt x="1" y="1"/>
                      <a:pt x="1" y="3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3230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6" name="Freeform 345">
                <a:extLst>
                  <a:ext uri="{FF2B5EF4-FFF2-40B4-BE49-F238E27FC236}">
                    <a16:creationId xmlns:a16="http://schemas.microsoft.com/office/drawing/2014/main" id="{05E34CA3-275D-4C3F-9CCA-E4345264F8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8" y="863"/>
                <a:ext cx="397" cy="316"/>
              </a:xfrm>
              <a:custGeom>
                <a:avLst/>
                <a:gdLst>
                  <a:gd name="T0" fmla="*/ 205 w 397"/>
                  <a:gd name="T1" fmla="*/ 285 h 316"/>
                  <a:gd name="T2" fmla="*/ 164 w 397"/>
                  <a:gd name="T3" fmla="*/ 285 h 316"/>
                  <a:gd name="T4" fmla="*/ 0 w 397"/>
                  <a:gd name="T5" fmla="*/ 310 h 316"/>
                  <a:gd name="T6" fmla="*/ 1 w 397"/>
                  <a:gd name="T7" fmla="*/ 316 h 316"/>
                  <a:gd name="T8" fmla="*/ 205 w 397"/>
                  <a:gd name="T9" fmla="*/ 285 h 316"/>
                  <a:gd name="T10" fmla="*/ 379 w 397"/>
                  <a:gd name="T11" fmla="*/ 142 h 316"/>
                  <a:gd name="T12" fmla="*/ 379 w 397"/>
                  <a:gd name="T13" fmla="*/ 181 h 316"/>
                  <a:gd name="T14" fmla="*/ 390 w 397"/>
                  <a:gd name="T15" fmla="*/ 251 h 316"/>
                  <a:gd name="T16" fmla="*/ 379 w 397"/>
                  <a:gd name="T17" fmla="*/ 253 h 316"/>
                  <a:gd name="T18" fmla="*/ 379 w 397"/>
                  <a:gd name="T19" fmla="*/ 259 h 316"/>
                  <a:gd name="T20" fmla="*/ 397 w 397"/>
                  <a:gd name="T21" fmla="*/ 256 h 316"/>
                  <a:gd name="T22" fmla="*/ 379 w 397"/>
                  <a:gd name="T23" fmla="*/ 142 h 316"/>
                  <a:gd name="T24" fmla="*/ 358 w 397"/>
                  <a:gd name="T25" fmla="*/ 0 h 316"/>
                  <a:gd name="T26" fmla="*/ 352 w 397"/>
                  <a:gd name="T27" fmla="*/ 0 h 316"/>
                  <a:gd name="T28" fmla="*/ 356 w 397"/>
                  <a:gd name="T29" fmla="*/ 25 h 316"/>
                  <a:gd name="T30" fmla="*/ 362 w 397"/>
                  <a:gd name="T31" fmla="*/ 25 h 316"/>
                  <a:gd name="T32" fmla="*/ 358 w 397"/>
                  <a:gd name="T33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7" h="316">
                    <a:moveTo>
                      <a:pt x="205" y="285"/>
                    </a:moveTo>
                    <a:lnTo>
                      <a:pt x="164" y="285"/>
                    </a:lnTo>
                    <a:lnTo>
                      <a:pt x="0" y="310"/>
                    </a:lnTo>
                    <a:lnTo>
                      <a:pt x="1" y="316"/>
                    </a:lnTo>
                    <a:lnTo>
                      <a:pt x="205" y="285"/>
                    </a:lnTo>
                    <a:close/>
                    <a:moveTo>
                      <a:pt x="379" y="142"/>
                    </a:moveTo>
                    <a:lnTo>
                      <a:pt x="379" y="181"/>
                    </a:lnTo>
                    <a:lnTo>
                      <a:pt x="390" y="251"/>
                    </a:lnTo>
                    <a:lnTo>
                      <a:pt x="379" y="253"/>
                    </a:lnTo>
                    <a:lnTo>
                      <a:pt x="379" y="259"/>
                    </a:lnTo>
                    <a:lnTo>
                      <a:pt x="397" y="256"/>
                    </a:lnTo>
                    <a:lnTo>
                      <a:pt x="379" y="142"/>
                    </a:lnTo>
                    <a:close/>
                    <a:moveTo>
                      <a:pt x="358" y="0"/>
                    </a:moveTo>
                    <a:lnTo>
                      <a:pt x="352" y="0"/>
                    </a:lnTo>
                    <a:lnTo>
                      <a:pt x="356" y="25"/>
                    </a:lnTo>
                    <a:lnTo>
                      <a:pt x="362" y="25"/>
                    </a:lnTo>
                    <a:lnTo>
                      <a:pt x="358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7" name="Freeform 346">
                <a:extLst>
                  <a:ext uri="{FF2B5EF4-FFF2-40B4-BE49-F238E27FC236}">
                    <a16:creationId xmlns:a16="http://schemas.microsoft.com/office/drawing/2014/main" id="{211DC401-82E8-464C-8C3E-10BD8D2690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8" y="863"/>
                <a:ext cx="397" cy="316"/>
              </a:xfrm>
              <a:custGeom>
                <a:avLst/>
                <a:gdLst>
                  <a:gd name="T0" fmla="*/ 205 w 397"/>
                  <a:gd name="T1" fmla="*/ 285 h 316"/>
                  <a:gd name="T2" fmla="*/ 164 w 397"/>
                  <a:gd name="T3" fmla="*/ 285 h 316"/>
                  <a:gd name="T4" fmla="*/ 0 w 397"/>
                  <a:gd name="T5" fmla="*/ 310 h 316"/>
                  <a:gd name="T6" fmla="*/ 1 w 397"/>
                  <a:gd name="T7" fmla="*/ 316 h 316"/>
                  <a:gd name="T8" fmla="*/ 205 w 397"/>
                  <a:gd name="T9" fmla="*/ 285 h 316"/>
                  <a:gd name="T10" fmla="*/ 379 w 397"/>
                  <a:gd name="T11" fmla="*/ 142 h 316"/>
                  <a:gd name="T12" fmla="*/ 379 w 397"/>
                  <a:gd name="T13" fmla="*/ 181 h 316"/>
                  <a:gd name="T14" fmla="*/ 390 w 397"/>
                  <a:gd name="T15" fmla="*/ 251 h 316"/>
                  <a:gd name="T16" fmla="*/ 379 w 397"/>
                  <a:gd name="T17" fmla="*/ 253 h 316"/>
                  <a:gd name="T18" fmla="*/ 379 w 397"/>
                  <a:gd name="T19" fmla="*/ 259 h 316"/>
                  <a:gd name="T20" fmla="*/ 397 w 397"/>
                  <a:gd name="T21" fmla="*/ 256 h 316"/>
                  <a:gd name="T22" fmla="*/ 379 w 397"/>
                  <a:gd name="T23" fmla="*/ 142 h 316"/>
                  <a:gd name="T24" fmla="*/ 358 w 397"/>
                  <a:gd name="T25" fmla="*/ 0 h 316"/>
                  <a:gd name="T26" fmla="*/ 352 w 397"/>
                  <a:gd name="T27" fmla="*/ 0 h 316"/>
                  <a:gd name="T28" fmla="*/ 356 w 397"/>
                  <a:gd name="T29" fmla="*/ 25 h 316"/>
                  <a:gd name="T30" fmla="*/ 362 w 397"/>
                  <a:gd name="T31" fmla="*/ 25 h 316"/>
                  <a:gd name="T32" fmla="*/ 358 w 397"/>
                  <a:gd name="T33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7" h="316">
                    <a:moveTo>
                      <a:pt x="205" y="285"/>
                    </a:moveTo>
                    <a:lnTo>
                      <a:pt x="164" y="285"/>
                    </a:lnTo>
                    <a:lnTo>
                      <a:pt x="0" y="310"/>
                    </a:lnTo>
                    <a:lnTo>
                      <a:pt x="1" y="316"/>
                    </a:lnTo>
                    <a:lnTo>
                      <a:pt x="205" y="285"/>
                    </a:lnTo>
                    <a:moveTo>
                      <a:pt x="379" y="142"/>
                    </a:moveTo>
                    <a:lnTo>
                      <a:pt x="379" y="181"/>
                    </a:lnTo>
                    <a:lnTo>
                      <a:pt x="390" y="251"/>
                    </a:lnTo>
                    <a:lnTo>
                      <a:pt x="379" y="253"/>
                    </a:lnTo>
                    <a:lnTo>
                      <a:pt x="379" y="259"/>
                    </a:lnTo>
                    <a:lnTo>
                      <a:pt x="397" y="256"/>
                    </a:lnTo>
                    <a:lnTo>
                      <a:pt x="379" y="142"/>
                    </a:lnTo>
                    <a:moveTo>
                      <a:pt x="358" y="0"/>
                    </a:moveTo>
                    <a:lnTo>
                      <a:pt x="352" y="0"/>
                    </a:lnTo>
                    <a:lnTo>
                      <a:pt x="356" y="25"/>
                    </a:lnTo>
                    <a:lnTo>
                      <a:pt x="362" y="25"/>
                    </a:lnTo>
                    <a:lnTo>
                      <a:pt x="3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8" name="Freeform 347">
                <a:extLst>
                  <a:ext uri="{FF2B5EF4-FFF2-40B4-BE49-F238E27FC236}">
                    <a16:creationId xmlns:a16="http://schemas.microsoft.com/office/drawing/2014/main" id="{B43D8D5F-F283-4466-90DA-E186C0D946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3" y="857"/>
                <a:ext cx="435" cy="317"/>
              </a:xfrm>
              <a:custGeom>
                <a:avLst/>
                <a:gdLst>
                  <a:gd name="T0" fmla="*/ 435 w 435"/>
                  <a:gd name="T1" fmla="*/ 257 h 317"/>
                  <a:gd name="T2" fmla="*/ 39 w 435"/>
                  <a:gd name="T3" fmla="*/ 317 h 317"/>
                  <a:gd name="T4" fmla="*/ 0 w 435"/>
                  <a:gd name="T5" fmla="*/ 60 h 317"/>
                  <a:gd name="T6" fmla="*/ 396 w 435"/>
                  <a:gd name="T7" fmla="*/ 0 h 317"/>
                  <a:gd name="T8" fmla="*/ 435 w 435"/>
                  <a:gd name="T9" fmla="*/ 25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5" h="317">
                    <a:moveTo>
                      <a:pt x="435" y="257"/>
                    </a:moveTo>
                    <a:lnTo>
                      <a:pt x="39" y="317"/>
                    </a:lnTo>
                    <a:lnTo>
                      <a:pt x="0" y="60"/>
                    </a:lnTo>
                    <a:lnTo>
                      <a:pt x="396" y="0"/>
                    </a:lnTo>
                    <a:lnTo>
                      <a:pt x="435" y="257"/>
                    </a:lnTo>
                    <a:close/>
                  </a:path>
                </a:pathLst>
              </a:custGeom>
              <a:solidFill>
                <a:srgbClr val="E2DD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9" name="Freeform 348">
                <a:extLst>
                  <a:ext uri="{FF2B5EF4-FFF2-40B4-BE49-F238E27FC236}">
                    <a16:creationId xmlns:a16="http://schemas.microsoft.com/office/drawing/2014/main" id="{ADE9F6AA-1DF4-4685-9D61-5DA0738AB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3" y="857"/>
                <a:ext cx="435" cy="317"/>
              </a:xfrm>
              <a:custGeom>
                <a:avLst/>
                <a:gdLst>
                  <a:gd name="T0" fmla="*/ 435 w 435"/>
                  <a:gd name="T1" fmla="*/ 257 h 317"/>
                  <a:gd name="T2" fmla="*/ 39 w 435"/>
                  <a:gd name="T3" fmla="*/ 317 h 317"/>
                  <a:gd name="T4" fmla="*/ 0 w 435"/>
                  <a:gd name="T5" fmla="*/ 60 h 317"/>
                  <a:gd name="T6" fmla="*/ 396 w 435"/>
                  <a:gd name="T7" fmla="*/ 0 h 317"/>
                  <a:gd name="T8" fmla="*/ 435 w 435"/>
                  <a:gd name="T9" fmla="*/ 25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5" h="317">
                    <a:moveTo>
                      <a:pt x="435" y="257"/>
                    </a:moveTo>
                    <a:lnTo>
                      <a:pt x="39" y="317"/>
                    </a:lnTo>
                    <a:lnTo>
                      <a:pt x="0" y="60"/>
                    </a:lnTo>
                    <a:lnTo>
                      <a:pt x="396" y="0"/>
                    </a:lnTo>
                    <a:lnTo>
                      <a:pt x="435" y="25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0" name="Freeform 349">
                <a:extLst>
                  <a:ext uri="{FF2B5EF4-FFF2-40B4-BE49-F238E27FC236}">
                    <a16:creationId xmlns:a16="http://schemas.microsoft.com/office/drawing/2014/main" id="{EEDA03AD-1B6C-450A-82F1-3E3B1857AE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400 w 400"/>
                  <a:gd name="T1" fmla="*/ 234 h 260"/>
                  <a:gd name="T2" fmla="*/ 226 w 400"/>
                  <a:gd name="T3" fmla="*/ 260 h 260"/>
                  <a:gd name="T4" fmla="*/ 400 w 400"/>
                  <a:gd name="T5" fmla="*/ 260 h 260"/>
                  <a:gd name="T6" fmla="*/ 400 w 400"/>
                  <a:gd name="T7" fmla="*/ 234 h 260"/>
                  <a:gd name="T8" fmla="*/ 0 w 400"/>
                  <a:gd name="T9" fmla="*/ 186 h 260"/>
                  <a:gd name="T10" fmla="*/ 0 w 400"/>
                  <a:gd name="T11" fmla="*/ 260 h 260"/>
                  <a:gd name="T12" fmla="*/ 12 w 400"/>
                  <a:gd name="T13" fmla="*/ 260 h 260"/>
                  <a:gd name="T14" fmla="*/ 0 w 400"/>
                  <a:gd name="T15" fmla="*/ 186 h 260"/>
                  <a:gd name="T16" fmla="*/ 165 w 400"/>
                  <a:gd name="T17" fmla="*/ 0 h 260"/>
                  <a:gd name="T18" fmla="*/ 0 w 400"/>
                  <a:gd name="T19" fmla="*/ 0 h 260"/>
                  <a:gd name="T20" fmla="*/ 0 w 400"/>
                  <a:gd name="T21" fmla="*/ 25 h 260"/>
                  <a:gd name="T22" fmla="*/ 165 w 400"/>
                  <a:gd name="T23" fmla="*/ 0 h 260"/>
                  <a:gd name="T24" fmla="*/ 400 w 400"/>
                  <a:gd name="T25" fmla="*/ 0 h 260"/>
                  <a:gd name="T26" fmla="*/ 383 w 400"/>
                  <a:gd name="T27" fmla="*/ 0 h 260"/>
                  <a:gd name="T28" fmla="*/ 400 w 400"/>
                  <a:gd name="T29" fmla="*/ 117 h 260"/>
                  <a:gd name="T30" fmla="*/ 400 w 400"/>
                  <a:gd name="T3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0" h="260">
                    <a:moveTo>
                      <a:pt x="400" y="234"/>
                    </a:moveTo>
                    <a:lnTo>
                      <a:pt x="226" y="260"/>
                    </a:lnTo>
                    <a:lnTo>
                      <a:pt x="400" y="260"/>
                    </a:lnTo>
                    <a:lnTo>
                      <a:pt x="400" y="234"/>
                    </a:lnTo>
                    <a:close/>
                    <a:moveTo>
                      <a:pt x="0" y="186"/>
                    </a:moveTo>
                    <a:lnTo>
                      <a:pt x="0" y="260"/>
                    </a:lnTo>
                    <a:lnTo>
                      <a:pt x="12" y="260"/>
                    </a:lnTo>
                    <a:lnTo>
                      <a:pt x="0" y="186"/>
                    </a:lnTo>
                    <a:close/>
                    <a:moveTo>
                      <a:pt x="165" y="0"/>
                    </a:moveTo>
                    <a:lnTo>
                      <a:pt x="0" y="0"/>
                    </a:lnTo>
                    <a:lnTo>
                      <a:pt x="0" y="25"/>
                    </a:lnTo>
                    <a:lnTo>
                      <a:pt x="165" y="0"/>
                    </a:lnTo>
                    <a:close/>
                    <a:moveTo>
                      <a:pt x="400" y="0"/>
                    </a:moveTo>
                    <a:lnTo>
                      <a:pt x="383" y="0"/>
                    </a:lnTo>
                    <a:lnTo>
                      <a:pt x="400" y="117"/>
                    </a:lnTo>
                    <a:lnTo>
                      <a:pt x="400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1" name="Freeform 350">
                <a:extLst>
                  <a:ext uri="{FF2B5EF4-FFF2-40B4-BE49-F238E27FC236}">
                    <a16:creationId xmlns:a16="http://schemas.microsoft.com/office/drawing/2014/main" id="{94EA1242-9382-4D61-B59C-E324C0CEF9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400 w 400"/>
                  <a:gd name="T1" fmla="*/ 234 h 260"/>
                  <a:gd name="T2" fmla="*/ 226 w 400"/>
                  <a:gd name="T3" fmla="*/ 260 h 260"/>
                  <a:gd name="T4" fmla="*/ 400 w 400"/>
                  <a:gd name="T5" fmla="*/ 260 h 260"/>
                  <a:gd name="T6" fmla="*/ 400 w 400"/>
                  <a:gd name="T7" fmla="*/ 234 h 260"/>
                  <a:gd name="T8" fmla="*/ 0 w 400"/>
                  <a:gd name="T9" fmla="*/ 186 h 260"/>
                  <a:gd name="T10" fmla="*/ 0 w 400"/>
                  <a:gd name="T11" fmla="*/ 260 h 260"/>
                  <a:gd name="T12" fmla="*/ 12 w 400"/>
                  <a:gd name="T13" fmla="*/ 260 h 260"/>
                  <a:gd name="T14" fmla="*/ 0 w 400"/>
                  <a:gd name="T15" fmla="*/ 186 h 260"/>
                  <a:gd name="T16" fmla="*/ 165 w 400"/>
                  <a:gd name="T17" fmla="*/ 0 h 260"/>
                  <a:gd name="T18" fmla="*/ 0 w 400"/>
                  <a:gd name="T19" fmla="*/ 0 h 260"/>
                  <a:gd name="T20" fmla="*/ 0 w 400"/>
                  <a:gd name="T21" fmla="*/ 25 h 260"/>
                  <a:gd name="T22" fmla="*/ 165 w 400"/>
                  <a:gd name="T23" fmla="*/ 0 h 260"/>
                  <a:gd name="T24" fmla="*/ 400 w 400"/>
                  <a:gd name="T25" fmla="*/ 0 h 260"/>
                  <a:gd name="T26" fmla="*/ 383 w 400"/>
                  <a:gd name="T27" fmla="*/ 0 h 260"/>
                  <a:gd name="T28" fmla="*/ 400 w 400"/>
                  <a:gd name="T29" fmla="*/ 117 h 260"/>
                  <a:gd name="T30" fmla="*/ 400 w 400"/>
                  <a:gd name="T31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0" h="260">
                    <a:moveTo>
                      <a:pt x="400" y="234"/>
                    </a:moveTo>
                    <a:lnTo>
                      <a:pt x="226" y="260"/>
                    </a:lnTo>
                    <a:lnTo>
                      <a:pt x="400" y="260"/>
                    </a:lnTo>
                    <a:lnTo>
                      <a:pt x="400" y="234"/>
                    </a:lnTo>
                    <a:moveTo>
                      <a:pt x="0" y="186"/>
                    </a:moveTo>
                    <a:lnTo>
                      <a:pt x="0" y="260"/>
                    </a:lnTo>
                    <a:lnTo>
                      <a:pt x="12" y="260"/>
                    </a:lnTo>
                    <a:lnTo>
                      <a:pt x="0" y="186"/>
                    </a:lnTo>
                    <a:moveTo>
                      <a:pt x="165" y="0"/>
                    </a:moveTo>
                    <a:lnTo>
                      <a:pt x="0" y="0"/>
                    </a:lnTo>
                    <a:lnTo>
                      <a:pt x="0" y="25"/>
                    </a:lnTo>
                    <a:lnTo>
                      <a:pt x="165" y="0"/>
                    </a:lnTo>
                    <a:moveTo>
                      <a:pt x="400" y="0"/>
                    </a:moveTo>
                    <a:lnTo>
                      <a:pt x="383" y="0"/>
                    </a:lnTo>
                    <a:lnTo>
                      <a:pt x="400" y="117"/>
                    </a:lnTo>
                    <a:lnTo>
                      <a:pt x="40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2" name="Freeform 351">
                <a:extLst>
                  <a:ext uri="{FF2B5EF4-FFF2-40B4-BE49-F238E27FC236}">
                    <a16:creationId xmlns:a16="http://schemas.microsoft.com/office/drawing/2014/main" id="{50A2B9DA-02EA-4494-ADD1-5E28ED918D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62" y="888"/>
                <a:ext cx="215" cy="260"/>
              </a:xfrm>
              <a:custGeom>
                <a:avLst/>
                <a:gdLst>
                  <a:gd name="T0" fmla="*/ 215 w 215"/>
                  <a:gd name="T1" fmla="*/ 228 h 260"/>
                  <a:gd name="T2" fmla="*/ 0 w 215"/>
                  <a:gd name="T3" fmla="*/ 260 h 260"/>
                  <a:gd name="T4" fmla="*/ 41 w 215"/>
                  <a:gd name="T5" fmla="*/ 260 h 260"/>
                  <a:gd name="T6" fmla="*/ 215 w 215"/>
                  <a:gd name="T7" fmla="*/ 234 h 260"/>
                  <a:gd name="T8" fmla="*/ 215 w 215"/>
                  <a:gd name="T9" fmla="*/ 228 h 260"/>
                  <a:gd name="T10" fmla="*/ 198 w 215"/>
                  <a:gd name="T11" fmla="*/ 0 h 260"/>
                  <a:gd name="T12" fmla="*/ 192 w 215"/>
                  <a:gd name="T13" fmla="*/ 0 h 260"/>
                  <a:gd name="T14" fmla="*/ 215 w 215"/>
                  <a:gd name="T15" fmla="*/ 156 h 260"/>
                  <a:gd name="T16" fmla="*/ 215 w 215"/>
                  <a:gd name="T17" fmla="*/ 117 h 260"/>
                  <a:gd name="T18" fmla="*/ 198 w 215"/>
                  <a:gd name="T1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5" h="260">
                    <a:moveTo>
                      <a:pt x="215" y="228"/>
                    </a:moveTo>
                    <a:lnTo>
                      <a:pt x="0" y="260"/>
                    </a:lnTo>
                    <a:lnTo>
                      <a:pt x="41" y="260"/>
                    </a:lnTo>
                    <a:lnTo>
                      <a:pt x="215" y="234"/>
                    </a:lnTo>
                    <a:lnTo>
                      <a:pt x="215" y="228"/>
                    </a:lnTo>
                    <a:close/>
                    <a:moveTo>
                      <a:pt x="198" y="0"/>
                    </a:moveTo>
                    <a:lnTo>
                      <a:pt x="192" y="0"/>
                    </a:lnTo>
                    <a:lnTo>
                      <a:pt x="215" y="156"/>
                    </a:lnTo>
                    <a:lnTo>
                      <a:pt x="215" y="117"/>
                    </a:lnTo>
                    <a:lnTo>
                      <a:pt x="198" y="0"/>
                    </a:lnTo>
                    <a:close/>
                  </a:path>
                </a:pathLst>
              </a:custGeom>
              <a:solidFill>
                <a:srgbClr val="7862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3" name="Freeform 352">
                <a:extLst>
                  <a:ext uri="{FF2B5EF4-FFF2-40B4-BE49-F238E27FC236}">
                    <a16:creationId xmlns:a16="http://schemas.microsoft.com/office/drawing/2014/main" id="{FE8C425A-8CEB-4F94-988E-EC904B03D0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62" y="888"/>
                <a:ext cx="215" cy="260"/>
              </a:xfrm>
              <a:custGeom>
                <a:avLst/>
                <a:gdLst>
                  <a:gd name="T0" fmla="*/ 215 w 215"/>
                  <a:gd name="T1" fmla="*/ 228 h 260"/>
                  <a:gd name="T2" fmla="*/ 0 w 215"/>
                  <a:gd name="T3" fmla="*/ 260 h 260"/>
                  <a:gd name="T4" fmla="*/ 41 w 215"/>
                  <a:gd name="T5" fmla="*/ 260 h 260"/>
                  <a:gd name="T6" fmla="*/ 215 w 215"/>
                  <a:gd name="T7" fmla="*/ 234 h 260"/>
                  <a:gd name="T8" fmla="*/ 215 w 215"/>
                  <a:gd name="T9" fmla="*/ 228 h 260"/>
                  <a:gd name="T10" fmla="*/ 198 w 215"/>
                  <a:gd name="T11" fmla="*/ 0 h 260"/>
                  <a:gd name="T12" fmla="*/ 192 w 215"/>
                  <a:gd name="T13" fmla="*/ 0 h 260"/>
                  <a:gd name="T14" fmla="*/ 215 w 215"/>
                  <a:gd name="T15" fmla="*/ 156 h 260"/>
                  <a:gd name="T16" fmla="*/ 215 w 215"/>
                  <a:gd name="T17" fmla="*/ 117 h 260"/>
                  <a:gd name="T18" fmla="*/ 198 w 215"/>
                  <a:gd name="T1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5" h="260">
                    <a:moveTo>
                      <a:pt x="215" y="228"/>
                    </a:moveTo>
                    <a:lnTo>
                      <a:pt x="0" y="260"/>
                    </a:lnTo>
                    <a:lnTo>
                      <a:pt x="41" y="260"/>
                    </a:lnTo>
                    <a:lnTo>
                      <a:pt x="215" y="234"/>
                    </a:lnTo>
                    <a:lnTo>
                      <a:pt x="215" y="228"/>
                    </a:lnTo>
                    <a:moveTo>
                      <a:pt x="198" y="0"/>
                    </a:moveTo>
                    <a:lnTo>
                      <a:pt x="192" y="0"/>
                    </a:lnTo>
                    <a:lnTo>
                      <a:pt x="215" y="156"/>
                    </a:lnTo>
                    <a:lnTo>
                      <a:pt x="215" y="117"/>
                    </a:lnTo>
                    <a:lnTo>
                      <a:pt x="19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4" name="Freeform 353">
                <a:extLst>
                  <a:ext uri="{FF2B5EF4-FFF2-40B4-BE49-F238E27FC236}">
                    <a16:creationId xmlns:a16="http://schemas.microsoft.com/office/drawing/2014/main" id="{CE36DA48-5493-42CA-A086-D0F41E39A2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377 w 400"/>
                  <a:gd name="T1" fmla="*/ 0 h 260"/>
                  <a:gd name="T2" fmla="*/ 165 w 400"/>
                  <a:gd name="T3" fmla="*/ 0 h 260"/>
                  <a:gd name="T4" fmla="*/ 0 w 400"/>
                  <a:gd name="T5" fmla="*/ 25 h 260"/>
                  <a:gd name="T6" fmla="*/ 0 w 400"/>
                  <a:gd name="T7" fmla="*/ 186 h 260"/>
                  <a:gd name="T8" fmla="*/ 12 w 400"/>
                  <a:gd name="T9" fmla="*/ 260 h 260"/>
                  <a:gd name="T10" fmla="*/ 185 w 400"/>
                  <a:gd name="T11" fmla="*/ 260 h 260"/>
                  <a:gd name="T12" fmla="*/ 400 w 400"/>
                  <a:gd name="T13" fmla="*/ 228 h 260"/>
                  <a:gd name="T14" fmla="*/ 400 w 400"/>
                  <a:gd name="T15" fmla="*/ 156 h 260"/>
                  <a:gd name="T16" fmla="*/ 377 w 400"/>
                  <a:gd name="T17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0" h="260">
                    <a:moveTo>
                      <a:pt x="377" y="0"/>
                    </a:moveTo>
                    <a:lnTo>
                      <a:pt x="165" y="0"/>
                    </a:lnTo>
                    <a:lnTo>
                      <a:pt x="0" y="25"/>
                    </a:lnTo>
                    <a:lnTo>
                      <a:pt x="0" y="186"/>
                    </a:lnTo>
                    <a:lnTo>
                      <a:pt x="12" y="260"/>
                    </a:lnTo>
                    <a:lnTo>
                      <a:pt x="185" y="260"/>
                    </a:lnTo>
                    <a:lnTo>
                      <a:pt x="400" y="228"/>
                    </a:lnTo>
                    <a:lnTo>
                      <a:pt x="400" y="156"/>
                    </a:lnTo>
                    <a:lnTo>
                      <a:pt x="377" y="0"/>
                    </a:lnTo>
                    <a:close/>
                  </a:path>
                </a:pathLst>
              </a:custGeom>
              <a:solidFill>
                <a:srgbClr val="B3AF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5" name="Freeform 354">
                <a:extLst>
                  <a:ext uri="{FF2B5EF4-FFF2-40B4-BE49-F238E27FC236}">
                    <a16:creationId xmlns:a16="http://schemas.microsoft.com/office/drawing/2014/main" id="{65256C17-12CD-499C-9879-5224FE64A9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7" y="888"/>
                <a:ext cx="400" cy="260"/>
              </a:xfrm>
              <a:custGeom>
                <a:avLst/>
                <a:gdLst>
                  <a:gd name="T0" fmla="*/ 377 w 400"/>
                  <a:gd name="T1" fmla="*/ 0 h 260"/>
                  <a:gd name="T2" fmla="*/ 165 w 400"/>
                  <a:gd name="T3" fmla="*/ 0 h 260"/>
                  <a:gd name="T4" fmla="*/ 0 w 400"/>
                  <a:gd name="T5" fmla="*/ 25 h 260"/>
                  <a:gd name="T6" fmla="*/ 0 w 400"/>
                  <a:gd name="T7" fmla="*/ 186 h 260"/>
                  <a:gd name="T8" fmla="*/ 12 w 400"/>
                  <a:gd name="T9" fmla="*/ 260 h 260"/>
                  <a:gd name="T10" fmla="*/ 185 w 400"/>
                  <a:gd name="T11" fmla="*/ 260 h 260"/>
                  <a:gd name="T12" fmla="*/ 400 w 400"/>
                  <a:gd name="T13" fmla="*/ 228 h 260"/>
                  <a:gd name="T14" fmla="*/ 400 w 400"/>
                  <a:gd name="T15" fmla="*/ 156 h 260"/>
                  <a:gd name="T16" fmla="*/ 377 w 400"/>
                  <a:gd name="T17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0" h="260">
                    <a:moveTo>
                      <a:pt x="377" y="0"/>
                    </a:moveTo>
                    <a:lnTo>
                      <a:pt x="165" y="0"/>
                    </a:lnTo>
                    <a:lnTo>
                      <a:pt x="0" y="25"/>
                    </a:lnTo>
                    <a:lnTo>
                      <a:pt x="0" y="186"/>
                    </a:lnTo>
                    <a:lnTo>
                      <a:pt x="12" y="260"/>
                    </a:lnTo>
                    <a:lnTo>
                      <a:pt x="185" y="260"/>
                    </a:lnTo>
                    <a:lnTo>
                      <a:pt x="400" y="228"/>
                    </a:lnTo>
                    <a:lnTo>
                      <a:pt x="400" y="156"/>
                    </a:lnTo>
                    <a:lnTo>
                      <a:pt x="37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6" name="Rectangle 355">
                <a:extLst>
                  <a:ext uri="{FF2B5EF4-FFF2-40B4-BE49-F238E27FC236}">
                    <a16:creationId xmlns:a16="http://schemas.microsoft.com/office/drawing/2014/main" id="{5D9088E9-EE67-4A3E-BF04-C976C2EF6B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2" y="882"/>
                <a:ext cx="400" cy="26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7" name="Freeform 356">
                <a:extLst>
                  <a:ext uri="{FF2B5EF4-FFF2-40B4-BE49-F238E27FC236}">
                    <a16:creationId xmlns:a16="http://schemas.microsoft.com/office/drawing/2014/main" id="{00D702F8-A621-4BA8-BEC2-7F5C99C23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4" y="1270"/>
                <a:ext cx="166" cy="100"/>
              </a:xfrm>
              <a:custGeom>
                <a:avLst/>
                <a:gdLst>
                  <a:gd name="T0" fmla="*/ 304 w 304"/>
                  <a:gd name="T1" fmla="*/ 172 h 183"/>
                  <a:gd name="T2" fmla="*/ 98 w 304"/>
                  <a:gd name="T3" fmla="*/ 4 h 183"/>
                  <a:gd name="T4" fmla="*/ 8 w 304"/>
                  <a:gd name="T5" fmla="*/ 0 h 183"/>
                  <a:gd name="T6" fmla="*/ 0 w 304"/>
                  <a:gd name="T7" fmla="*/ 7 h 183"/>
                  <a:gd name="T8" fmla="*/ 0 w 304"/>
                  <a:gd name="T9" fmla="*/ 9 h 183"/>
                  <a:gd name="T10" fmla="*/ 44 w 304"/>
                  <a:gd name="T11" fmla="*/ 17 h 183"/>
                  <a:gd name="T12" fmla="*/ 95 w 304"/>
                  <a:gd name="T13" fmla="*/ 14 h 183"/>
                  <a:gd name="T14" fmla="*/ 302 w 304"/>
                  <a:gd name="T15" fmla="*/ 183 h 183"/>
                  <a:gd name="T16" fmla="*/ 304 w 304"/>
                  <a:gd name="T17" fmla="*/ 172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4" h="183">
                    <a:moveTo>
                      <a:pt x="304" y="172"/>
                    </a:moveTo>
                    <a:cubicBezTo>
                      <a:pt x="304" y="172"/>
                      <a:pt x="123" y="13"/>
                      <a:pt x="98" y="4"/>
                    </a:cubicBezTo>
                    <a:cubicBezTo>
                      <a:pt x="76" y="2"/>
                      <a:pt x="25" y="0"/>
                      <a:pt x="8" y="0"/>
                    </a:cubicBezTo>
                    <a:cubicBezTo>
                      <a:pt x="4" y="0"/>
                      <a:pt x="0" y="3"/>
                      <a:pt x="0" y="7"/>
                    </a:cubicBezTo>
                    <a:cubicBezTo>
                      <a:pt x="0" y="8"/>
                      <a:pt x="0" y="8"/>
                      <a:pt x="0" y="9"/>
                    </a:cubicBezTo>
                    <a:cubicBezTo>
                      <a:pt x="6" y="18"/>
                      <a:pt x="33" y="17"/>
                      <a:pt x="44" y="17"/>
                    </a:cubicBezTo>
                    <a:cubicBezTo>
                      <a:pt x="56" y="16"/>
                      <a:pt x="83" y="11"/>
                      <a:pt x="95" y="14"/>
                    </a:cubicBezTo>
                    <a:cubicBezTo>
                      <a:pt x="147" y="43"/>
                      <a:pt x="302" y="183"/>
                      <a:pt x="302" y="183"/>
                    </a:cubicBezTo>
                    <a:cubicBezTo>
                      <a:pt x="304" y="172"/>
                      <a:pt x="304" y="172"/>
                      <a:pt x="304" y="172"/>
                    </a:cubicBezTo>
                  </a:path>
                </a:pathLst>
              </a:custGeom>
              <a:solidFill>
                <a:srgbClr val="19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8" name="Freeform 357">
                <a:extLst>
                  <a:ext uri="{FF2B5EF4-FFF2-40B4-BE49-F238E27FC236}">
                    <a16:creationId xmlns:a16="http://schemas.microsoft.com/office/drawing/2014/main" id="{3F852924-712C-458F-8648-8A2C247DBA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4" y="1234"/>
                <a:ext cx="101" cy="166"/>
              </a:xfrm>
              <a:custGeom>
                <a:avLst/>
                <a:gdLst>
                  <a:gd name="T0" fmla="*/ 11 w 184"/>
                  <a:gd name="T1" fmla="*/ 0 h 304"/>
                  <a:gd name="T2" fmla="*/ 179 w 184"/>
                  <a:gd name="T3" fmla="*/ 205 h 304"/>
                  <a:gd name="T4" fmla="*/ 184 w 184"/>
                  <a:gd name="T5" fmla="*/ 295 h 304"/>
                  <a:gd name="T6" fmla="*/ 176 w 184"/>
                  <a:gd name="T7" fmla="*/ 304 h 304"/>
                  <a:gd name="T8" fmla="*/ 175 w 184"/>
                  <a:gd name="T9" fmla="*/ 304 h 304"/>
                  <a:gd name="T10" fmla="*/ 167 w 184"/>
                  <a:gd name="T11" fmla="*/ 259 h 304"/>
                  <a:gd name="T12" fmla="*/ 169 w 184"/>
                  <a:gd name="T13" fmla="*/ 209 h 304"/>
                  <a:gd name="T14" fmla="*/ 0 w 184"/>
                  <a:gd name="T15" fmla="*/ 2 h 304"/>
                  <a:gd name="T16" fmla="*/ 11 w 184"/>
                  <a:gd name="T17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4" h="304">
                    <a:moveTo>
                      <a:pt x="11" y="0"/>
                    </a:moveTo>
                    <a:cubicBezTo>
                      <a:pt x="11" y="0"/>
                      <a:pt x="170" y="180"/>
                      <a:pt x="179" y="205"/>
                    </a:cubicBezTo>
                    <a:cubicBezTo>
                      <a:pt x="181" y="228"/>
                      <a:pt x="183" y="278"/>
                      <a:pt x="184" y="295"/>
                    </a:cubicBezTo>
                    <a:cubicBezTo>
                      <a:pt x="184" y="300"/>
                      <a:pt x="181" y="304"/>
                      <a:pt x="176" y="304"/>
                    </a:cubicBezTo>
                    <a:cubicBezTo>
                      <a:pt x="176" y="304"/>
                      <a:pt x="175" y="304"/>
                      <a:pt x="175" y="304"/>
                    </a:cubicBezTo>
                    <a:cubicBezTo>
                      <a:pt x="165" y="298"/>
                      <a:pt x="166" y="271"/>
                      <a:pt x="167" y="259"/>
                    </a:cubicBezTo>
                    <a:cubicBezTo>
                      <a:pt x="168" y="247"/>
                      <a:pt x="172" y="220"/>
                      <a:pt x="169" y="209"/>
                    </a:cubicBezTo>
                    <a:cubicBezTo>
                      <a:pt x="140" y="156"/>
                      <a:pt x="0" y="2"/>
                      <a:pt x="0" y="2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19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9" name="Freeform 358">
                <a:extLst>
                  <a:ext uri="{FF2B5EF4-FFF2-40B4-BE49-F238E27FC236}">
                    <a16:creationId xmlns:a16="http://schemas.microsoft.com/office/drawing/2014/main" id="{5E5CC89C-BE8D-4F18-9042-5B9C3B1F75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0" y="1305"/>
                <a:ext cx="86" cy="91"/>
              </a:xfrm>
              <a:custGeom>
                <a:avLst/>
                <a:gdLst>
                  <a:gd name="T0" fmla="*/ 148 w 156"/>
                  <a:gd name="T1" fmla="*/ 104 h 167"/>
                  <a:gd name="T2" fmla="*/ 48 w 156"/>
                  <a:gd name="T3" fmla="*/ 3 h 167"/>
                  <a:gd name="T4" fmla="*/ 36 w 156"/>
                  <a:gd name="T5" fmla="*/ 3 h 167"/>
                  <a:gd name="T6" fmla="*/ 30 w 156"/>
                  <a:gd name="T7" fmla="*/ 10 h 167"/>
                  <a:gd name="T8" fmla="*/ 0 w 156"/>
                  <a:gd name="T9" fmla="*/ 76 h 167"/>
                  <a:gd name="T10" fmla="*/ 16 w 156"/>
                  <a:gd name="T11" fmla="*/ 121 h 167"/>
                  <a:gd name="T12" fmla="*/ 53 w 156"/>
                  <a:gd name="T13" fmla="*/ 154 h 167"/>
                  <a:gd name="T14" fmla="*/ 129 w 156"/>
                  <a:gd name="T15" fmla="*/ 138 h 167"/>
                  <a:gd name="T16" fmla="*/ 148 w 156"/>
                  <a:gd name="T17" fmla="*/ 104 h 167"/>
                  <a:gd name="T18" fmla="*/ 124 w 156"/>
                  <a:gd name="T19" fmla="*/ 130 h 167"/>
                  <a:gd name="T20" fmla="*/ 57 w 156"/>
                  <a:gd name="T21" fmla="*/ 146 h 167"/>
                  <a:gd name="T22" fmla="*/ 34 w 156"/>
                  <a:gd name="T23" fmla="*/ 129 h 167"/>
                  <a:gd name="T24" fmla="*/ 23 w 156"/>
                  <a:gd name="T25" fmla="*/ 116 h 167"/>
                  <a:gd name="T26" fmla="*/ 8 w 156"/>
                  <a:gd name="T27" fmla="*/ 76 h 167"/>
                  <a:gd name="T28" fmla="*/ 36 w 156"/>
                  <a:gd name="T29" fmla="*/ 16 h 167"/>
                  <a:gd name="T30" fmla="*/ 41 w 156"/>
                  <a:gd name="T31" fmla="*/ 10 h 167"/>
                  <a:gd name="T32" fmla="*/ 43 w 156"/>
                  <a:gd name="T33" fmla="*/ 11 h 167"/>
                  <a:gd name="T34" fmla="*/ 94 w 156"/>
                  <a:gd name="T35" fmla="*/ 53 h 167"/>
                  <a:gd name="T36" fmla="*/ 141 w 156"/>
                  <a:gd name="T37" fmla="*/ 108 h 167"/>
                  <a:gd name="T38" fmla="*/ 124 w 156"/>
                  <a:gd name="T39" fmla="*/ 13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6" h="167">
                    <a:moveTo>
                      <a:pt x="148" y="104"/>
                    </a:moveTo>
                    <a:cubicBezTo>
                      <a:pt x="129" y="74"/>
                      <a:pt x="78" y="22"/>
                      <a:pt x="48" y="3"/>
                    </a:cubicBezTo>
                    <a:cubicBezTo>
                      <a:pt x="45" y="2"/>
                      <a:pt x="39" y="0"/>
                      <a:pt x="36" y="3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12" y="27"/>
                      <a:pt x="0" y="51"/>
                      <a:pt x="0" y="76"/>
                    </a:cubicBezTo>
                    <a:cubicBezTo>
                      <a:pt x="0" y="91"/>
                      <a:pt x="6" y="107"/>
                      <a:pt x="16" y="121"/>
                    </a:cubicBezTo>
                    <a:cubicBezTo>
                      <a:pt x="26" y="135"/>
                      <a:pt x="39" y="147"/>
                      <a:pt x="53" y="154"/>
                    </a:cubicBezTo>
                    <a:cubicBezTo>
                      <a:pt x="79" y="167"/>
                      <a:pt x="113" y="149"/>
                      <a:pt x="129" y="138"/>
                    </a:cubicBezTo>
                    <a:cubicBezTo>
                      <a:pt x="136" y="132"/>
                      <a:pt x="156" y="115"/>
                      <a:pt x="148" y="104"/>
                    </a:cubicBezTo>
                    <a:moveTo>
                      <a:pt x="124" y="130"/>
                    </a:moveTo>
                    <a:cubicBezTo>
                      <a:pt x="112" y="139"/>
                      <a:pt x="80" y="158"/>
                      <a:pt x="57" y="146"/>
                    </a:cubicBezTo>
                    <a:cubicBezTo>
                      <a:pt x="49" y="142"/>
                      <a:pt x="41" y="136"/>
                      <a:pt x="34" y="129"/>
                    </a:cubicBezTo>
                    <a:cubicBezTo>
                      <a:pt x="30" y="125"/>
                      <a:pt x="26" y="120"/>
                      <a:pt x="23" y="116"/>
                    </a:cubicBezTo>
                    <a:cubicBezTo>
                      <a:pt x="13" y="102"/>
                      <a:pt x="8" y="88"/>
                      <a:pt x="8" y="76"/>
                    </a:cubicBezTo>
                    <a:cubicBezTo>
                      <a:pt x="8" y="55"/>
                      <a:pt x="18" y="33"/>
                      <a:pt x="36" y="16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2" y="10"/>
                      <a:pt x="43" y="11"/>
                      <a:pt x="43" y="11"/>
                    </a:cubicBezTo>
                    <a:cubicBezTo>
                      <a:pt x="56" y="19"/>
                      <a:pt x="75" y="34"/>
                      <a:pt x="94" y="53"/>
                    </a:cubicBezTo>
                    <a:cubicBezTo>
                      <a:pt x="113" y="73"/>
                      <a:pt x="131" y="94"/>
                      <a:pt x="141" y="108"/>
                    </a:cubicBezTo>
                    <a:cubicBezTo>
                      <a:pt x="143" y="112"/>
                      <a:pt x="133" y="124"/>
                      <a:pt x="124" y="13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0" name="Freeform 359">
                <a:extLst>
                  <a:ext uri="{FF2B5EF4-FFF2-40B4-BE49-F238E27FC236}">
                    <a16:creationId xmlns:a16="http://schemas.microsoft.com/office/drawing/2014/main" id="{62940D13-D518-489A-B1ED-431F94A1F9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0" y="1310"/>
                <a:ext cx="56" cy="76"/>
              </a:xfrm>
              <a:custGeom>
                <a:avLst/>
                <a:gdLst>
                  <a:gd name="T0" fmla="*/ 10 w 102"/>
                  <a:gd name="T1" fmla="*/ 24 h 139"/>
                  <a:gd name="T2" fmla="*/ 39 w 102"/>
                  <a:gd name="T3" fmla="*/ 66 h 139"/>
                  <a:gd name="T4" fmla="*/ 43 w 102"/>
                  <a:gd name="T5" fmla="*/ 139 h 139"/>
                  <a:gd name="T6" fmla="*/ 86 w 102"/>
                  <a:gd name="T7" fmla="*/ 121 h 139"/>
                  <a:gd name="T8" fmla="*/ 86 w 102"/>
                  <a:gd name="T9" fmla="*/ 121 h 139"/>
                  <a:gd name="T10" fmla="*/ 87 w 102"/>
                  <a:gd name="T11" fmla="*/ 121 h 139"/>
                  <a:gd name="T12" fmla="*/ 87 w 102"/>
                  <a:gd name="T13" fmla="*/ 121 h 139"/>
                  <a:gd name="T14" fmla="*/ 87 w 102"/>
                  <a:gd name="T15" fmla="*/ 120 h 139"/>
                  <a:gd name="T16" fmla="*/ 87 w 102"/>
                  <a:gd name="T17" fmla="*/ 120 h 139"/>
                  <a:gd name="T18" fmla="*/ 102 w 102"/>
                  <a:gd name="T19" fmla="*/ 105 h 139"/>
                  <a:gd name="T20" fmla="*/ 10 w 102"/>
                  <a:gd name="T21" fmla="*/ 24 h 139"/>
                  <a:gd name="T22" fmla="*/ 4 w 102"/>
                  <a:gd name="T23" fmla="*/ 0 h 139"/>
                  <a:gd name="T24" fmla="*/ 0 w 102"/>
                  <a:gd name="T25" fmla="*/ 5 h 139"/>
                  <a:gd name="T26" fmla="*/ 95 w 102"/>
                  <a:gd name="T27" fmla="*/ 86 h 139"/>
                  <a:gd name="T28" fmla="*/ 57 w 102"/>
                  <a:gd name="T29" fmla="*/ 43 h 139"/>
                  <a:gd name="T30" fmla="*/ 6 w 102"/>
                  <a:gd name="T31" fmla="*/ 1 h 139"/>
                  <a:gd name="T32" fmla="*/ 4 w 102"/>
                  <a:gd name="T33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2" h="139">
                    <a:moveTo>
                      <a:pt x="10" y="24"/>
                    </a:moveTo>
                    <a:cubicBezTo>
                      <a:pt x="26" y="44"/>
                      <a:pt x="37" y="60"/>
                      <a:pt x="39" y="66"/>
                    </a:cubicBezTo>
                    <a:cubicBezTo>
                      <a:pt x="41" y="83"/>
                      <a:pt x="42" y="117"/>
                      <a:pt x="43" y="139"/>
                    </a:cubicBezTo>
                    <a:cubicBezTo>
                      <a:pt x="60" y="137"/>
                      <a:pt x="77" y="127"/>
                      <a:pt x="86" y="121"/>
                    </a:cubicBezTo>
                    <a:cubicBezTo>
                      <a:pt x="86" y="121"/>
                      <a:pt x="86" y="121"/>
                      <a:pt x="86" y="121"/>
                    </a:cubicBezTo>
                    <a:cubicBezTo>
                      <a:pt x="86" y="121"/>
                      <a:pt x="86" y="121"/>
                      <a:pt x="87" y="121"/>
                    </a:cubicBezTo>
                    <a:cubicBezTo>
                      <a:pt x="87" y="121"/>
                      <a:pt x="87" y="121"/>
                      <a:pt x="87" y="121"/>
                    </a:cubicBezTo>
                    <a:cubicBezTo>
                      <a:pt x="87" y="121"/>
                      <a:pt x="87" y="120"/>
                      <a:pt x="87" y="120"/>
                    </a:cubicBezTo>
                    <a:cubicBezTo>
                      <a:pt x="87" y="120"/>
                      <a:pt x="87" y="120"/>
                      <a:pt x="87" y="120"/>
                    </a:cubicBezTo>
                    <a:cubicBezTo>
                      <a:pt x="93" y="116"/>
                      <a:pt x="99" y="110"/>
                      <a:pt x="102" y="105"/>
                    </a:cubicBezTo>
                    <a:cubicBezTo>
                      <a:pt x="89" y="93"/>
                      <a:pt x="51" y="59"/>
                      <a:pt x="10" y="24"/>
                    </a:cubicBezTo>
                    <a:moveTo>
                      <a:pt x="4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37" y="36"/>
                      <a:pt x="75" y="69"/>
                      <a:pt x="95" y="86"/>
                    </a:cubicBezTo>
                    <a:cubicBezTo>
                      <a:pt x="85" y="73"/>
                      <a:pt x="71" y="58"/>
                      <a:pt x="57" y="43"/>
                    </a:cubicBezTo>
                    <a:cubicBezTo>
                      <a:pt x="38" y="24"/>
                      <a:pt x="19" y="9"/>
                      <a:pt x="6" y="1"/>
                    </a:cubicBezTo>
                    <a:cubicBezTo>
                      <a:pt x="6" y="1"/>
                      <a:pt x="5" y="0"/>
                      <a:pt x="4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1" name="Freeform 360">
                <a:extLst>
                  <a:ext uri="{FF2B5EF4-FFF2-40B4-BE49-F238E27FC236}">
                    <a16:creationId xmlns:a16="http://schemas.microsoft.com/office/drawing/2014/main" id="{B5214982-566F-44C0-88CA-121AF66844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9" y="1313"/>
                <a:ext cx="58" cy="55"/>
              </a:xfrm>
              <a:custGeom>
                <a:avLst/>
                <a:gdLst>
                  <a:gd name="T0" fmla="*/ 3 w 107"/>
                  <a:gd name="T1" fmla="*/ 0 h 100"/>
                  <a:gd name="T2" fmla="*/ 2 w 107"/>
                  <a:gd name="T3" fmla="*/ 1 h 100"/>
                  <a:gd name="T4" fmla="*/ 0 w 107"/>
                  <a:gd name="T5" fmla="*/ 3 h 100"/>
                  <a:gd name="T6" fmla="*/ 13 w 107"/>
                  <a:gd name="T7" fmla="*/ 19 h 100"/>
                  <a:gd name="T8" fmla="*/ 105 w 107"/>
                  <a:gd name="T9" fmla="*/ 100 h 100"/>
                  <a:gd name="T10" fmla="*/ 107 w 107"/>
                  <a:gd name="T11" fmla="*/ 95 h 100"/>
                  <a:gd name="T12" fmla="*/ 107 w 107"/>
                  <a:gd name="T13" fmla="*/ 93 h 100"/>
                  <a:gd name="T14" fmla="*/ 98 w 107"/>
                  <a:gd name="T15" fmla="*/ 81 h 100"/>
                  <a:gd name="T16" fmla="*/ 3 w 107"/>
                  <a:gd name="T17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7" h="100">
                    <a:moveTo>
                      <a:pt x="3" y="0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1" y="2"/>
                      <a:pt x="0" y="2"/>
                      <a:pt x="0" y="3"/>
                    </a:cubicBezTo>
                    <a:cubicBezTo>
                      <a:pt x="4" y="9"/>
                      <a:pt x="9" y="14"/>
                      <a:pt x="13" y="19"/>
                    </a:cubicBezTo>
                    <a:cubicBezTo>
                      <a:pt x="54" y="54"/>
                      <a:pt x="92" y="88"/>
                      <a:pt x="105" y="100"/>
                    </a:cubicBezTo>
                    <a:cubicBezTo>
                      <a:pt x="106" y="98"/>
                      <a:pt x="107" y="96"/>
                      <a:pt x="107" y="95"/>
                    </a:cubicBezTo>
                    <a:cubicBezTo>
                      <a:pt x="107" y="94"/>
                      <a:pt x="107" y="94"/>
                      <a:pt x="107" y="93"/>
                    </a:cubicBezTo>
                    <a:cubicBezTo>
                      <a:pt x="104" y="90"/>
                      <a:pt x="101" y="86"/>
                      <a:pt x="98" y="81"/>
                    </a:cubicBezTo>
                    <a:cubicBezTo>
                      <a:pt x="78" y="64"/>
                      <a:pt x="40" y="31"/>
                      <a:pt x="3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2" name="Freeform 361">
                <a:extLst>
                  <a:ext uri="{FF2B5EF4-FFF2-40B4-BE49-F238E27FC236}">
                    <a16:creationId xmlns:a16="http://schemas.microsoft.com/office/drawing/2014/main" id="{55FDCFF2-EA98-4569-8E96-FBEA99DE9F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" y="1318"/>
                <a:ext cx="33" cy="68"/>
              </a:xfrm>
              <a:custGeom>
                <a:avLst/>
                <a:gdLst>
                  <a:gd name="T0" fmla="*/ 20 w 61"/>
                  <a:gd name="T1" fmla="*/ 0 h 123"/>
                  <a:gd name="T2" fmla="*/ 0 w 61"/>
                  <a:gd name="T3" fmla="*/ 51 h 123"/>
                  <a:gd name="T4" fmla="*/ 0 w 61"/>
                  <a:gd name="T5" fmla="*/ 51 h 123"/>
                  <a:gd name="T6" fmla="*/ 15 w 61"/>
                  <a:gd name="T7" fmla="*/ 91 h 123"/>
                  <a:gd name="T8" fmla="*/ 26 w 61"/>
                  <a:gd name="T9" fmla="*/ 104 h 123"/>
                  <a:gd name="T10" fmla="*/ 49 w 61"/>
                  <a:gd name="T11" fmla="*/ 121 h 123"/>
                  <a:gd name="T12" fmla="*/ 56 w 61"/>
                  <a:gd name="T13" fmla="*/ 123 h 123"/>
                  <a:gd name="T14" fmla="*/ 56 w 61"/>
                  <a:gd name="T15" fmla="*/ 105 h 123"/>
                  <a:gd name="T16" fmla="*/ 58 w 61"/>
                  <a:gd name="T17" fmla="*/ 55 h 123"/>
                  <a:gd name="T18" fmla="*/ 20 w 61"/>
                  <a:gd name="T19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123">
                    <a:moveTo>
                      <a:pt x="20" y="0"/>
                    </a:moveTo>
                    <a:cubicBezTo>
                      <a:pt x="7" y="16"/>
                      <a:pt x="0" y="34"/>
                      <a:pt x="0" y="51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63"/>
                      <a:pt x="5" y="78"/>
                      <a:pt x="15" y="91"/>
                    </a:cubicBezTo>
                    <a:cubicBezTo>
                      <a:pt x="18" y="95"/>
                      <a:pt x="22" y="100"/>
                      <a:pt x="26" y="104"/>
                    </a:cubicBezTo>
                    <a:cubicBezTo>
                      <a:pt x="33" y="111"/>
                      <a:pt x="41" y="117"/>
                      <a:pt x="49" y="121"/>
                    </a:cubicBezTo>
                    <a:cubicBezTo>
                      <a:pt x="51" y="122"/>
                      <a:pt x="53" y="123"/>
                      <a:pt x="56" y="123"/>
                    </a:cubicBezTo>
                    <a:cubicBezTo>
                      <a:pt x="55" y="117"/>
                      <a:pt x="56" y="110"/>
                      <a:pt x="56" y="105"/>
                    </a:cubicBezTo>
                    <a:cubicBezTo>
                      <a:pt x="57" y="93"/>
                      <a:pt x="61" y="66"/>
                      <a:pt x="58" y="55"/>
                    </a:cubicBezTo>
                    <a:cubicBezTo>
                      <a:pt x="51" y="42"/>
                      <a:pt x="37" y="22"/>
                      <a:pt x="20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3" name="Freeform 362">
                <a:extLst>
                  <a:ext uri="{FF2B5EF4-FFF2-40B4-BE49-F238E27FC236}">
                    <a16:creationId xmlns:a16="http://schemas.microsoft.com/office/drawing/2014/main" id="{51BBE0B3-C676-4902-BAD3-0FB9B903F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" y="1315"/>
                <a:ext cx="28" cy="72"/>
              </a:xfrm>
              <a:custGeom>
                <a:avLst/>
                <a:gdLst>
                  <a:gd name="T0" fmla="*/ 6 w 52"/>
                  <a:gd name="T1" fmla="*/ 0 h 132"/>
                  <a:gd name="T2" fmla="*/ 0 w 52"/>
                  <a:gd name="T3" fmla="*/ 7 h 132"/>
                  <a:gd name="T4" fmla="*/ 38 w 52"/>
                  <a:gd name="T5" fmla="*/ 62 h 132"/>
                  <a:gd name="T6" fmla="*/ 36 w 52"/>
                  <a:gd name="T7" fmla="*/ 112 h 132"/>
                  <a:gd name="T8" fmla="*/ 36 w 52"/>
                  <a:gd name="T9" fmla="*/ 130 h 132"/>
                  <a:gd name="T10" fmla="*/ 46 w 52"/>
                  <a:gd name="T11" fmla="*/ 132 h 132"/>
                  <a:gd name="T12" fmla="*/ 46 w 52"/>
                  <a:gd name="T13" fmla="*/ 132 h 132"/>
                  <a:gd name="T14" fmla="*/ 46 w 52"/>
                  <a:gd name="T15" fmla="*/ 132 h 132"/>
                  <a:gd name="T16" fmla="*/ 52 w 52"/>
                  <a:gd name="T17" fmla="*/ 131 h 132"/>
                  <a:gd name="T18" fmla="*/ 48 w 52"/>
                  <a:gd name="T19" fmla="*/ 58 h 132"/>
                  <a:gd name="T20" fmla="*/ 19 w 52"/>
                  <a:gd name="T21" fmla="*/ 16 h 132"/>
                  <a:gd name="T22" fmla="*/ 6 w 52"/>
                  <a:gd name="T23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2" h="132">
                    <a:moveTo>
                      <a:pt x="6" y="0"/>
                    </a:moveTo>
                    <a:cubicBezTo>
                      <a:pt x="4" y="2"/>
                      <a:pt x="2" y="5"/>
                      <a:pt x="0" y="7"/>
                    </a:cubicBezTo>
                    <a:cubicBezTo>
                      <a:pt x="17" y="29"/>
                      <a:pt x="31" y="49"/>
                      <a:pt x="38" y="62"/>
                    </a:cubicBezTo>
                    <a:cubicBezTo>
                      <a:pt x="41" y="73"/>
                      <a:pt x="37" y="100"/>
                      <a:pt x="36" y="112"/>
                    </a:cubicBezTo>
                    <a:cubicBezTo>
                      <a:pt x="36" y="117"/>
                      <a:pt x="35" y="124"/>
                      <a:pt x="36" y="130"/>
                    </a:cubicBezTo>
                    <a:cubicBezTo>
                      <a:pt x="39" y="131"/>
                      <a:pt x="42" y="132"/>
                      <a:pt x="46" y="132"/>
                    </a:cubicBezTo>
                    <a:cubicBezTo>
                      <a:pt x="46" y="132"/>
                      <a:pt x="46" y="132"/>
                      <a:pt x="46" y="132"/>
                    </a:cubicBezTo>
                    <a:cubicBezTo>
                      <a:pt x="46" y="132"/>
                      <a:pt x="46" y="132"/>
                      <a:pt x="46" y="132"/>
                    </a:cubicBezTo>
                    <a:cubicBezTo>
                      <a:pt x="48" y="132"/>
                      <a:pt x="50" y="132"/>
                      <a:pt x="52" y="131"/>
                    </a:cubicBezTo>
                    <a:cubicBezTo>
                      <a:pt x="51" y="109"/>
                      <a:pt x="50" y="75"/>
                      <a:pt x="48" y="58"/>
                    </a:cubicBezTo>
                    <a:cubicBezTo>
                      <a:pt x="46" y="52"/>
                      <a:pt x="35" y="36"/>
                      <a:pt x="19" y="16"/>
                    </a:cubicBezTo>
                    <a:cubicBezTo>
                      <a:pt x="15" y="11"/>
                      <a:pt x="10" y="6"/>
                      <a:pt x="6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4" name="Freeform 363">
                <a:extLst>
                  <a:ext uri="{FF2B5EF4-FFF2-40B4-BE49-F238E27FC236}">
                    <a16:creationId xmlns:a16="http://schemas.microsoft.com/office/drawing/2014/main" id="{0438741C-B16F-46F4-8F6C-3CE534E309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5" y="1310"/>
                <a:ext cx="72" cy="77"/>
              </a:xfrm>
              <a:custGeom>
                <a:avLst/>
                <a:gdLst>
                  <a:gd name="T0" fmla="*/ 66 w 133"/>
                  <a:gd name="T1" fmla="*/ 140 h 140"/>
                  <a:gd name="T2" fmla="*/ 66 w 133"/>
                  <a:gd name="T3" fmla="*/ 140 h 140"/>
                  <a:gd name="T4" fmla="*/ 66 w 133"/>
                  <a:gd name="T5" fmla="*/ 140 h 140"/>
                  <a:gd name="T6" fmla="*/ 66 w 133"/>
                  <a:gd name="T7" fmla="*/ 140 h 140"/>
                  <a:gd name="T8" fmla="*/ 115 w 133"/>
                  <a:gd name="T9" fmla="*/ 121 h 140"/>
                  <a:gd name="T10" fmla="*/ 72 w 133"/>
                  <a:gd name="T11" fmla="*/ 139 h 140"/>
                  <a:gd name="T12" fmla="*/ 66 w 133"/>
                  <a:gd name="T13" fmla="*/ 140 h 140"/>
                  <a:gd name="T14" fmla="*/ 115 w 133"/>
                  <a:gd name="T15" fmla="*/ 121 h 140"/>
                  <a:gd name="T16" fmla="*/ 116 w 133"/>
                  <a:gd name="T17" fmla="*/ 121 h 140"/>
                  <a:gd name="T18" fmla="*/ 115 w 133"/>
                  <a:gd name="T19" fmla="*/ 121 h 140"/>
                  <a:gd name="T20" fmla="*/ 116 w 133"/>
                  <a:gd name="T21" fmla="*/ 121 h 140"/>
                  <a:gd name="T22" fmla="*/ 116 w 133"/>
                  <a:gd name="T23" fmla="*/ 120 h 140"/>
                  <a:gd name="T24" fmla="*/ 116 w 133"/>
                  <a:gd name="T25" fmla="*/ 121 h 140"/>
                  <a:gd name="T26" fmla="*/ 116 w 133"/>
                  <a:gd name="T27" fmla="*/ 120 h 140"/>
                  <a:gd name="T28" fmla="*/ 33 w 133"/>
                  <a:gd name="T29" fmla="*/ 0 h 140"/>
                  <a:gd name="T30" fmla="*/ 28 w 133"/>
                  <a:gd name="T31" fmla="*/ 6 h 140"/>
                  <a:gd name="T32" fmla="*/ 0 w 133"/>
                  <a:gd name="T33" fmla="*/ 66 h 140"/>
                  <a:gd name="T34" fmla="*/ 0 w 133"/>
                  <a:gd name="T35" fmla="*/ 66 h 140"/>
                  <a:gd name="T36" fmla="*/ 0 w 133"/>
                  <a:gd name="T37" fmla="*/ 66 h 140"/>
                  <a:gd name="T38" fmla="*/ 20 w 133"/>
                  <a:gd name="T39" fmla="*/ 15 h 140"/>
                  <a:gd name="T40" fmla="*/ 26 w 133"/>
                  <a:gd name="T41" fmla="*/ 8 h 140"/>
                  <a:gd name="T42" fmla="*/ 28 w 133"/>
                  <a:gd name="T43" fmla="*/ 6 h 140"/>
                  <a:gd name="T44" fmla="*/ 29 w 133"/>
                  <a:gd name="T45" fmla="*/ 5 h 140"/>
                  <a:gd name="T46" fmla="*/ 33 w 133"/>
                  <a:gd name="T47" fmla="*/ 0 h 140"/>
                  <a:gd name="T48" fmla="*/ 35 w 133"/>
                  <a:gd name="T49" fmla="*/ 1 h 140"/>
                  <a:gd name="T50" fmla="*/ 86 w 133"/>
                  <a:gd name="T51" fmla="*/ 43 h 140"/>
                  <a:gd name="T52" fmla="*/ 124 w 133"/>
                  <a:gd name="T53" fmla="*/ 86 h 140"/>
                  <a:gd name="T54" fmla="*/ 133 w 133"/>
                  <a:gd name="T55" fmla="*/ 98 h 140"/>
                  <a:gd name="T56" fmla="*/ 133 w 133"/>
                  <a:gd name="T57" fmla="*/ 100 h 140"/>
                  <a:gd name="T58" fmla="*/ 133 w 133"/>
                  <a:gd name="T59" fmla="*/ 98 h 140"/>
                  <a:gd name="T60" fmla="*/ 86 w 133"/>
                  <a:gd name="T61" fmla="*/ 43 h 140"/>
                  <a:gd name="T62" fmla="*/ 35 w 133"/>
                  <a:gd name="T63" fmla="*/ 1 h 140"/>
                  <a:gd name="T64" fmla="*/ 33 w 133"/>
                  <a:gd name="T65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3" h="140">
                    <a:moveTo>
                      <a:pt x="66" y="140"/>
                    </a:moveTo>
                    <a:cubicBezTo>
                      <a:pt x="66" y="140"/>
                      <a:pt x="66" y="140"/>
                      <a:pt x="66" y="140"/>
                    </a:cubicBezTo>
                    <a:cubicBezTo>
                      <a:pt x="66" y="140"/>
                      <a:pt x="66" y="140"/>
                      <a:pt x="66" y="140"/>
                    </a:cubicBezTo>
                    <a:cubicBezTo>
                      <a:pt x="66" y="140"/>
                      <a:pt x="66" y="140"/>
                      <a:pt x="66" y="140"/>
                    </a:cubicBezTo>
                    <a:moveTo>
                      <a:pt x="115" y="121"/>
                    </a:moveTo>
                    <a:cubicBezTo>
                      <a:pt x="106" y="127"/>
                      <a:pt x="89" y="137"/>
                      <a:pt x="72" y="139"/>
                    </a:cubicBezTo>
                    <a:cubicBezTo>
                      <a:pt x="70" y="140"/>
                      <a:pt x="68" y="140"/>
                      <a:pt x="66" y="140"/>
                    </a:cubicBezTo>
                    <a:cubicBezTo>
                      <a:pt x="85" y="140"/>
                      <a:pt x="105" y="128"/>
                      <a:pt x="115" y="121"/>
                    </a:cubicBezTo>
                    <a:moveTo>
                      <a:pt x="116" y="121"/>
                    </a:moveTo>
                    <a:cubicBezTo>
                      <a:pt x="115" y="121"/>
                      <a:pt x="115" y="121"/>
                      <a:pt x="115" y="121"/>
                    </a:cubicBezTo>
                    <a:cubicBezTo>
                      <a:pt x="115" y="121"/>
                      <a:pt x="115" y="121"/>
                      <a:pt x="116" y="121"/>
                    </a:cubicBezTo>
                    <a:moveTo>
                      <a:pt x="116" y="120"/>
                    </a:moveTo>
                    <a:cubicBezTo>
                      <a:pt x="116" y="120"/>
                      <a:pt x="116" y="121"/>
                      <a:pt x="116" y="121"/>
                    </a:cubicBezTo>
                    <a:cubicBezTo>
                      <a:pt x="116" y="121"/>
                      <a:pt x="116" y="120"/>
                      <a:pt x="116" y="120"/>
                    </a:cubicBezTo>
                    <a:moveTo>
                      <a:pt x="33" y="0"/>
                    </a:moveTo>
                    <a:cubicBezTo>
                      <a:pt x="28" y="6"/>
                      <a:pt x="28" y="6"/>
                      <a:pt x="28" y="6"/>
                    </a:cubicBezTo>
                    <a:cubicBezTo>
                      <a:pt x="10" y="23"/>
                      <a:pt x="0" y="45"/>
                      <a:pt x="0" y="66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49"/>
                      <a:pt x="7" y="31"/>
                      <a:pt x="20" y="15"/>
                    </a:cubicBezTo>
                    <a:cubicBezTo>
                      <a:pt x="22" y="13"/>
                      <a:pt x="24" y="10"/>
                      <a:pt x="26" y="8"/>
                    </a:cubicBezTo>
                    <a:cubicBezTo>
                      <a:pt x="26" y="7"/>
                      <a:pt x="27" y="7"/>
                      <a:pt x="28" y="6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4" y="0"/>
                      <a:pt x="35" y="1"/>
                      <a:pt x="35" y="1"/>
                    </a:cubicBezTo>
                    <a:cubicBezTo>
                      <a:pt x="48" y="9"/>
                      <a:pt x="67" y="24"/>
                      <a:pt x="86" y="43"/>
                    </a:cubicBezTo>
                    <a:cubicBezTo>
                      <a:pt x="100" y="58"/>
                      <a:pt x="114" y="73"/>
                      <a:pt x="124" y="86"/>
                    </a:cubicBezTo>
                    <a:cubicBezTo>
                      <a:pt x="127" y="91"/>
                      <a:pt x="130" y="95"/>
                      <a:pt x="133" y="98"/>
                    </a:cubicBezTo>
                    <a:cubicBezTo>
                      <a:pt x="133" y="99"/>
                      <a:pt x="133" y="99"/>
                      <a:pt x="133" y="100"/>
                    </a:cubicBezTo>
                    <a:cubicBezTo>
                      <a:pt x="133" y="99"/>
                      <a:pt x="133" y="99"/>
                      <a:pt x="133" y="98"/>
                    </a:cubicBezTo>
                    <a:cubicBezTo>
                      <a:pt x="123" y="84"/>
                      <a:pt x="105" y="63"/>
                      <a:pt x="86" y="43"/>
                    </a:cubicBezTo>
                    <a:cubicBezTo>
                      <a:pt x="67" y="24"/>
                      <a:pt x="48" y="9"/>
                      <a:pt x="35" y="1"/>
                    </a:cubicBezTo>
                    <a:cubicBezTo>
                      <a:pt x="35" y="1"/>
                      <a:pt x="34" y="0"/>
                      <a:pt x="33" y="0"/>
                    </a:cubicBezTo>
                  </a:path>
                </a:pathLst>
              </a:custGeom>
              <a:solidFill>
                <a:srgbClr val="48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5" name="Freeform 364">
                <a:extLst>
                  <a:ext uri="{FF2B5EF4-FFF2-40B4-BE49-F238E27FC236}">
                    <a16:creationId xmlns:a16="http://schemas.microsoft.com/office/drawing/2014/main" id="{495BA7B8-2B4A-4EB9-AF60-41D9BAC3B2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8" y="1229"/>
                <a:ext cx="91" cy="85"/>
              </a:xfrm>
              <a:custGeom>
                <a:avLst/>
                <a:gdLst>
                  <a:gd name="T0" fmla="*/ 163 w 167"/>
                  <a:gd name="T1" fmla="*/ 108 h 156"/>
                  <a:gd name="T2" fmla="*/ 63 w 167"/>
                  <a:gd name="T3" fmla="*/ 8 h 156"/>
                  <a:gd name="T4" fmla="*/ 29 w 167"/>
                  <a:gd name="T5" fmla="*/ 27 h 156"/>
                  <a:gd name="T6" fmla="*/ 13 w 167"/>
                  <a:gd name="T7" fmla="*/ 103 h 156"/>
                  <a:gd name="T8" fmla="*/ 46 w 167"/>
                  <a:gd name="T9" fmla="*/ 140 h 156"/>
                  <a:gd name="T10" fmla="*/ 91 w 167"/>
                  <a:gd name="T11" fmla="*/ 156 h 156"/>
                  <a:gd name="T12" fmla="*/ 157 w 167"/>
                  <a:gd name="T13" fmla="*/ 126 h 156"/>
                  <a:gd name="T14" fmla="*/ 163 w 167"/>
                  <a:gd name="T15" fmla="*/ 120 h 156"/>
                  <a:gd name="T16" fmla="*/ 163 w 167"/>
                  <a:gd name="T17" fmla="*/ 108 h 156"/>
                  <a:gd name="T18" fmla="*/ 151 w 167"/>
                  <a:gd name="T19" fmla="*/ 120 h 156"/>
                  <a:gd name="T20" fmla="*/ 91 w 167"/>
                  <a:gd name="T21" fmla="*/ 147 h 156"/>
                  <a:gd name="T22" fmla="*/ 51 w 167"/>
                  <a:gd name="T23" fmla="*/ 133 h 156"/>
                  <a:gd name="T24" fmla="*/ 38 w 167"/>
                  <a:gd name="T25" fmla="*/ 122 h 156"/>
                  <a:gd name="T26" fmla="*/ 21 w 167"/>
                  <a:gd name="T27" fmla="*/ 99 h 156"/>
                  <a:gd name="T28" fmla="*/ 36 w 167"/>
                  <a:gd name="T29" fmla="*/ 32 h 156"/>
                  <a:gd name="T30" fmla="*/ 58 w 167"/>
                  <a:gd name="T31" fmla="*/ 15 h 156"/>
                  <a:gd name="T32" fmla="*/ 114 w 167"/>
                  <a:gd name="T33" fmla="*/ 62 h 156"/>
                  <a:gd name="T34" fmla="*/ 156 w 167"/>
                  <a:gd name="T35" fmla="*/ 113 h 156"/>
                  <a:gd name="T36" fmla="*/ 157 w 167"/>
                  <a:gd name="T37" fmla="*/ 114 h 156"/>
                  <a:gd name="T38" fmla="*/ 151 w 167"/>
                  <a:gd name="T39" fmla="*/ 12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7" h="156">
                    <a:moveTo>
                      <a:pt x="163" y="108"/>
                    </a:moveTo>
                    <a:cubicBezTo>
                      <a:pt x="145" y="78"/>
                      <a:pt x="93" y="27"/>
                      <a:pt x="63" y="8"/>
                    </a:cubicBezTo>
                    <a:cubicBezTo>
                      <a:pt x="51" y="0"/>
                      <a:pt x="34" y="19"/>
                      <a:pt x="29" y="27"/>
                    </a:cubicBezTo>
                    <a:cubicBezTo>
                      <a:pt x="18" y="43"/>
                      <a:pt x="0" y="76"/>
                      <a:pt x="13" y="103"/>
                    </a:cubicBezTo>
                    <a:cubicBezTo>
                      <a:pt x="20" y="117"/>
                      <a:pt x="32" y="130"/>
                      <a:pt x="46" y="140"/>
                    </a:cubicBezTo>
                    <a:cubicBezTo>
                      <a:pt x="60" y="150"/>
                      <a:pt x="76" y="156"/>
                      <a:pt x="91" y="156"/>
                    </a:cubicBezTo>
                    <a:cubicBezTo>
                      <a:pt x="116" y="156"/>
                      <a:pt x="139" y="144"/>
                      <a:pt x="157" y="126"/>
                    </a:cubicBezTo>
                    <a:cubicBezTo>
                      <a:pt x="163" y="120"/>
                      <a:pt x="163" y="120"/>
                      <a:pt x="163" y="120"/>
                    </a:cubicBezTo>
                    <a:cubicBezTo>
                      <a:pt x="167" y="117"/>
                      <a:pt x="165" y="111"/>
                      <a:pt x="163" y="108"/>
                    </a:cubicBezTo>
                    <a:moveTo>
                      <a:pt x="151" y="120"/>
                    </a:moveTo>
                    <a:cubicBezTo>
                      <a:pt x="133" y="137"/>
                      <a:pt x="112" y="147"/>
                      <a:pt x="91" y="147"/>
                    </a:cubicBezTo>
                    <a:cubicBezTo>
                      <a:pt x="79" y="148"/>
                      <a:pt x="64" y="142"/>
                      <a:pt x="51" y="133"/>
                    </a:cubicBezTo>
                    <a:cubicBezTo>
                      <a:pt x="46" y="130"/>
                      <a:pt x="42" y="126"/>
                      <a:pt x="38" y="122"/>
                    </a:cubicBezTo>
                    <a:cubicBezTo>
                      <a:pt x="31" y="115"/>
                      <a:pt x="25" y="107"/>
                      <a:pt x="21" y="99"/>
                    </a:cubicBezTo>
                    <a:cubicBezTo>
                      <a:pt x="9" y="76"/>
                      <a:pt x="28" y="44"/>
                      <a:pt x="36" y="32"/>
                    </a:cubicBezTo>
                    <a:cubicBezTo>
                      <a:pt x="43" y="22"/>
                      <a:pt x="55" y="13"/>
                      <a:pt x="58" y="15"/>
                    </a:cubicBezTo>
                    <a:cubicBezTo>
                      <a:pt x="73" y="24"/>
                      <a:pt x="94" y="42"/>
                      <a:pt x="114" y="62"/>
                    </a:cubicBezTo>
                    <a:cubicBezTo>
                      <a:pt x="133" y="81"/>
                      <a:pt x="148" y="100"/>
                      <a:pt x="156" y="113"/>
                    </a:cubicBezTo>
                    <a:cubicBezTo>
                      <a:pt x="156" y="113"/>
                      <a:pt x="156" y="114"/>
                      <a:pt x="157" y="114"/>
                    </a:cubicBezTo>
                    <a:cubicBezTo>
                      <a:pt x="151" y="120"/>
                      <a:pt x="151" y="120"/>
                      <a:pt x="151" y="12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6" name="Freeform 365">
                <a:extLst>
                  <a:ext uri="{FF2B5EF4-FFF2-40B4-BE49-F238E27FC236}">
                    <a16:creationId xmlns:a16="http://schemas.microsoft.com/office/drawing/2014/main" id="{CACDA52B-611F-4AF0-99C4-8B0470C53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9" y="1294"/>
                <a:ext cx="21" cy="21"/>
              </a:xfrm>
              <a:custGeom>
                <a:avLst/>
                <a:gdLst>
                  <a:gd name="T0" fmla="*/ 39 w 39"/>
                  <a:gd name="T1" fmla="*/ 29 h 38"/>
                  <a:gd name="T2" fmla="*/ 8 w 39"/>
                  <a:gd name="T3" fmla="*/ 0 h 38"/>
                  <a:gd name="T4" fmla="*/ 0 w 39"/>
                  <a:gd name="T5" fmla="*/ 9 h 38"/>
                  <a:gd name="T6" fmla="*/ 31 w 39"/>
                  <a:gd name="T7" fmla="*/ 38 h 38"/>
                  <a:gd name="T8" fmla="*/ 39 w 39"/>
                  <a:gd name="T9" fmla="*/ 2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8">
                    <a:moveTo>
                      <a:pt x="39" y="29"/>
                    </a:moveTo>
                    <a:cubicBezTo>
                      <a:pt x="31" y="17"/>
                      <a:pt x="21" y="7"/>
                      <a:pt x="8" y="0"/>
                    </a:cubicBezTo>
                    <a:cubicBezTo>
                      <a:pt x="6" y="3"/>
                      <a:pt x="3" y="6"/>
                      <a:pt x="0" y="9"/>
                    </a:cubicBezTo>
                    <a:cubicBezTo>
                      <a:pt x="12" y="16"/>
                      <a:pt x="23" y="26"/>
                      <a:pt x="31" y="38"/>
                    </a:cubicBezTo>
                    <a:cubicBezTo>
                      <a:pt x="33" y="35"/>
                      <a:pt x="36" y="32"/>
                      <a:pt x="39" y="29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7" name="Freeform 366">
                <a:extLst>
                  <a:ext uri="{FF2B5EF4-FFF2-40B4-BE49-F238E27FC236}">
                    <a16:creationId xmlns:a16="http://schemas.microsoft.com/office/drawing/2014/main" id="{BD44EC43-DBC3-48DB-8578-B56C5C6CC9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18" y="1238"/>
                <a:ext cx="68" cy="71"/>
              </a:xfrm>
              <a:custGeom>
                <a:avLst/>
                <a:gdLst>
                  <a:gd name="T0" fmla="*/ 58 w 124"/>
                  <a:gd name="T1" fmla="*/ 71 h 130"/>
                  <a:gd name="T2" fmla="*/ 18 w 124"/>
                  <a:gd name="T3" fmla="*/ 75 h 130"/>
                  <a:gd name="T4" fmla="*/ 5 w 124"/>
                  <a:gd name="T5" fmla="*/ 75 h 130"/>
                  <a:gd name="T6" fmla="*/ 0 w 124"/>
                  <a:gd name="T7" fmla="*/ 75 h 130"/>
                  <a:gd name="T8" fmla="*/ 3 w 124"/>
                  <a:gd name="T9" fmla="*/ 82 h 130"/>
                  <a:gd name="T10" fmla="*/ 20 w 124"/>
                  <a:gd name="T11" fmla="*/ 105 h 130"/>
                  <a:gd name="T12" fmla="*/ 33 w 124"/>
                  <a:gd name="T13" fmla="*/ 116 h 130"/>
                  <a:gd name="T14" fmla="*/ 73 w 124"/>
                  <a:gd name="T15" fmla="*/ 130 h 130"/>
                  <a:gd name="T16" fmla="*/ 73 w 124"/>
                  <a:gd name="T17" fmla="*/ 130 h 130"/>
                  <a:gd name="T18" fmla="*/ 124 w 124"/>
                  <a:gd name="T19" fmla="*/ 111 h 130"/>
                  <a:gd name="T20" fmla="*/ 69 w 124"/>
                  <a:gd name="T21" fmla="*/ 72 h 130"/>
                  <a:gd name="T22" fmla="*/ 58 w 124"/>
                  <a:gd name="T23" fmla="*/ 71 h 130"/>
                  <a:gd name="T24" fmla="*/ 34 w 124"/>
                  <a:gd name="T25" fmla="*/ 0 h 130"/>
                  <a:gd name="T26" fmla="*/ 18 w 124"/>
                  <a:gd name="T27" fmla="*/ 15 h 130"/>
                  <a:gd name="T28" fmla="*/ 0 w 124"/>
                  <a:gd name="T29" fmla="*/ 58 h 130"/>
                  <a:gd name="T30" fmla="*/ 72 w 124"/>
                  <a:gd name="T31" fmla="*/ 62 h 130"/>
                  <a:gd name="T32" fmla="*/ 114 w 124"/>
                  <a:gd name="T33" fmla="*/ 92 h 130"/>
                  <a:gd name="T34" fmla="*/ 34 w 124"/>
                  <a:gd name="T35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4" h="130">
                    <a:moveTo>
                      <a:pt x="58" y="71"/>
                    </a:moveTo>
                    <a:cubicBezTo>
                      <a:pt x="45" y="71"/>
                      <a:pt x="27" y="74"/>
                      <a:pt x="18" y="75"/>
                    </a:cubicBezTo>
                    <a:cubicBezTo>
                      <a:pt x="15" y="75"/>
                      <a:pt x="10" y="75"/>
                      <a:pt x="5" y="75"/>
                    </a:cubicBezTo>
                    <a:cubicBezTo>
                      <a:pt x="4" y="75"/>
                      <a:pt x="2" y="75"/>
                      <a:pt x="0" y="75"/>
                    </a:cubicBezTo>
                    <a:cubicBezTo>
                      <a:pt x="1" y="77"/>
                      <a:pt x="2" y="80"/>
                      <a:pt x="3" y="82"/>
                    </a:cubicBezTo>
                    <a:cubicBezTo>
                      <a:pt x="7" y="90"/>
                      <a:pt x="13" y="98"/>
                      <a:pt x="20" y="105"/>
                    </a:cubicBezTo>
                    <a:cubicBezTo>
                      <a:pt x="24" y="109"/>
                      <a:pt x="28" y="113"/>
                      <a:pt x="33" y="116"/>
                    </a:cubicBezTo>
                    <a:cubicBezTo>
                      <a:pt x="46" y="125"/>
                      <a:pt x="60" y="130"/>
                      <a:pt x="73" y="130"/>
                    </a:cubicBezTo>
                    <a:cubicBezTo>
                      <a:pt x="73" y="130"/>
                      <a:pt x="73" y="130"/>
                      <a:pt x="73" y="130"/>
                    </a:cubicBezTo>
                    <a:cubicBezTo>
                      <a:pt x="90" y="130"/>
                      <a:pt x="108" y="124"/>
                      <a:pt x="124" y="111"/>
                    </a:cubicBezTo>
                    <a:cubicBezTo>
                      <a:pt x="102" y="94"/>
                      <a:pt x="82" y="79"/>
                      <a:pt x="69" y="72"/>
                    </a:cubicBezTo>
                    <a:cubicBezTo>
                      <a:pt x="66" y="72"/>
                      <a:pt x="62" y="71"/>
                      <a:pt x="58" y="71"/>
                    </a:cubicBezTo>
                    <a:moveTo>
                      <a:pt x="34" y="0"/>
                    </a:moveTo>
                    <a:cubicBezTo>
                      <a:pt x="29" y="3"/>
                      <a:pt x="23" y="9"/>
                      <a:pt x="18" y="15"/>
                    </a:cubicBezTo>
                    <a:cubicBezTo>
                      <a:pt x="13" y="23"/>
                      <a:pt x="2" y="41"/>
                      <a:pt x="0" y="58"/>
                    </a:cubicBezTo>
                    <a:cubicBezTo>
                      <a:pt x="22" y="59"/>
                      <a:pt x="55" y="61"/>
                      <a:pt x="72" y="62"/>
                    </a:cubicBezTo>
                    <a:cubicBezTo>
                      <a:pt x="79" y="64"/>
                      <a:pt x="94" y="76"/>
                      <a:pt x="114" y="92"/>
                    </a:cubicBezTo>
                    <a:cubicBezTo>
                      <a:pt x="80" y="51"/>
                      <a:pt x="46" y="13"/>
                      <a:pt x="34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8" name="Freeform 367">
                <a:extLst>
                  <a:ext uri="{FF2B5EF4-FFF2-40B4-BE49-F238E27FC236}">
                    <a16:creationId xmlns:a16="http://schemas.microsoft.com/office/drawing/2014/main" id="{620DCD07-A940-42F3-BCA2-B54A631486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270"/>
                <a:ext cx="71" cy="29"/>
              </a:xfrm>
              <a:custGeom>
                <a:avLst/>
                <a:gdLst>
                  <a:gd name="T0" fmla="*/ 1 w 129"/>
                  <a:gd name="T1" fmla="*/ 0 h 53"/>
                  <a:gd name="T2" fmla="*/ 0 w 129"/>
                  <a:gd name="T3" fmla="*/ 7 h 53"/>
                  <a:gd name="T4" fmla="*/ 1 w 129"/>
                  <a:gd name="T5" fmla="*/ 17 h 53"/>
                  <a:gd name="T6" fmla="*/ 6 w 129"/>
                  <a:gd name="T7" fmla="*/ 17 h 53"/>
                  <a:gd name="T8" fmla="*/ 19 w 129"/>
                  <a:gd name="T9" fmla="*/ 17 h 53"/>
                  <a:gd name="T10" fmla="*/ 59 w 129"/>
                  <a:gd name="T11" fmla="*/ 13 h 53"/>
                  <a:gd name="T12" fmla="*/ 70 w 129"/>
                  <a:gd name="T13" fmla="*/ 14 h 53"/>
                  <a:gd name="T14" fmla="*/ 125 w 129"/>
                  <a:gd name="T15" fmla="*/ 53 h 53"/>
                  <a:gd name="T16" fmla="*/ 129 w 129"/>
                  <a:gd name="T17" fmla="*/ 50 h 53"/>
                  <a:gd name="T18" fmla="*/ 115 w 129"/>
                  <a:gd name="T19" fmla="*/ 34 h 53"/>
                  <a:gd name="T20" fmla="*/ 73 w 129"/>
                  <a:gd name="T21" fmla="*/ 4 h 53"/>
                  <a:gd name="T22" fmla="*/ 1 w 129"/>
                  <a:gd name="T23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9" h="53">
                    <a:moveTo>
                      <a:pt x="1" y="0"/>
                    </a:moveTo>
                    <a:cubicBezTo>
                      <a:pt x="0" y="3"/>
                      <a:pt x="0" y="5"/>
                      <a:pt x="0" y="7"/>
                    </a:cubicBezTo>
                    <a:cubicBezTo>
                      <a:pt x="0" y="11"/>
                      <a:pt x="1" y="14"/>
                      <a:pt x="1" y="17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11" y="17"/>
                      <a:pt x="16" y="17"/>
                      <a:pt x="19" y="17"/>
                    </a:cubicBezTo>
                    <a:cubicBezTo>
                      <a:pt x="28" y="16"/>
                      <a:pt x="46" y="13"/>
                      <a:pt x="59" y="13"/>
                    </a:cubicBezTo>
                    <a:cubicBezTo>
                      <a:pt x="63" y="13"/>
                      <a:pt x="67" y="14"/>
                      <a:pt x="70" y="14"/>
                    </a:cubicBezTo>
                    <a:cubicBezTo>
                      <a:pt x="83" y="21"/>
                      <a:pt x="103" y="36"/>
                      <a:pt x="125" y="53"/>
                    </a:cubicBezTo>
                    <a:cubicBezTo>
                      <a:pt x="126" y="52"/>
                      <a:pt x="127" y="51"/>
                      <a:pt x="129" y="50"/>
                    </a:cubicBezTo>
                    <a:cubicBezTo>
                      <a:pt x="124" y="44"/>
                      <a:pt x="120" y="39"/>
                      <a:pt x="115" y="34"/>
                    </a:cubicBezTo>
                    <a:cubicBezTo>
                      <a:pt x="95" y="18"/>
                      <a:pt x="80" y="6"/>
                      <a:pt x="73" y="4"/>
                    </a:cubicBezTo>
                    <a:cubicBezTo>
                      <a:pt x="56" y="3"/>
                      <a:pt x="23" y="1"/>
                      <a:pt x="1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9" name="Freeform 368">
                <a:extLst>
                  <a:ext uri="{FF2B5EF4-FFF2-40B4-BE49-F238E27FC236}">
                    <a16:creationId xmlns:a16="http://schemas.microsoft.com/office/drawing/2014/main" id="{7BE2DF5E-8710-4894-8955-1D8FCC9B1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7" y="1242"/>
                <a:ext cx="47" cy="52"/>
              </a:xfrm>
              <a:custGeom>
                <a:avLst/>
                <a:gdLst>
                  <a:gd name="T0" fmla="*/ 0 w 86"/>
                  <a:gd name="T1" fmla="*/ 0 h 95"/>
                  <a:gd name="T2" fmla="*/ 81 w 86"/>
                  <a:gd name="T3" fmla="*/ 95 h 95"/>
                  <a:gd name="T4" fmla="*/ 86 w 86"/>
                  <a:gd name="T5" fmla="*/ 90 h 95"/>
                  <a:gd name="T6" fmla="*/ 85 w 86"/>
                  <a:gd name="T7" fmla="*/ 89 h 95"/>
                  <a:gd name="T8" fmla="*/ 43 w 86"/>
                  <a:gd name="T9" fmla="*/ 38 h 95"/>
                  <a:gd name="T10" fmla="*/ 0 w 86"/>
                  <a:gd name="T11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6" h="95">
                    <a:moveTo>
                      <a:pt x="0" y="0"/>
                    </a:moveTo>
                    <a:cubicBezTo>
                      <a:pt x="17" y="20"/>
                      <a:pt x="50" y="58"/>
                      <a:pt x="81" y="95"/>
                    </a:cubicBezTo>
                    <a:cubicBezTo>
                      <a:pt x="86" y="90"/>
                      <a:pt x="86" y="90"/>
                      <a:pt x="86" y="90"/>
                    </a:cubicBezTo>
                    <a:cubicBezTo>
                      <a:pt x="85" y="90"/>
                      <a:pt x="85" y="89"/>
                      <a:pt x="85" y="89"/>
                    </a:cubicBezTo>
                    <a:cubicBezTo>
                      <a:pt x="77" y="76"/>
                      <a:pt x="62" y="57"/>
                      <a:pt x="43" y="38"/>
                    </a:cubicBezTo>
                    <a:cubicBezTo>
                      <a:pt x="28" y="23"/>
                      <a:pt x="12" y="10"/>
                      <a:pt x="0" y="0"/>
                    </a:cubicBezTo>
                  </a:path>
                </a:pathLst>
              </a:custGeom>
              <a:solidFill>
                <a:srgbClr val="ADB5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0" name="Freeform 369">
                <a:extLst>
                  <a:ext uri="{FF2B5EF4-FFF2-40B4-BE49-F238E27FC236}">
                    <a16:creationId xmlns:a16="http://schemas.microsoft.com/office/drawing/2014/main" id="{37102B75-C423-4133-9187-B00C03598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7" y="1237"/>
                <a:ext cx="54" cy="60"/>
              </a:xfrm>
              <a:custGeom>
                <a:avLst/>
                <a:gdLst>
                  <a:gd name="T0" fmla="*/ 5 w 100"/>
                  <a:gd name="T1" fmla="*/ 0 h 110"/>
                  <a:gd name="T2" fmla="*/ 0 w 100"/>
                  <a:gd name="T3" fmla="*/ 2 h 110"/>
                  <a:gd name="T4" fmla="*/ 80 w 100"/>
                  <a:gd name="T5" fmla="*/ 94 h 110"/>
                  <a:gd name="T6" fmla="*/ 94 w 100"/>
                  <a:gd name="T7" fmla="*/ 110 h 110"/>
                  <a:gd name="T8" fmla="*/ 99 w 100"/>
                  <a:gd name="T9" fmla="*/ 105 h 110"/>
                  <a:gd name="T10" fmla="*/ 100 w 100"/>
                  <a:gd name="T11" fmla="*/ 104 h 110"/>
                  <a:gd name="T12" fmla="*/ 19 w 100"/>
                  <a:gd name="T13" fmla="*/ 9 h 110"/>
                  <a:gd name="T14" fmla="*/ 6 w 100"/>
                  <a:gd name="T15" fmla="*/ 0 h 110"/>
                  <a:gd name="T16" fmla="*/ 5 w 100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110">
                    <a:moveTo>
                      <a:pt x="5" y="0"/>
                    </a:moveTo>
                    <a:cubicBezTo>
                      <a:pt x="4" y="0"/>
                      <a:pt x="2" y="0"/>
                      <a:pt x="0" y="2"/>
                    </a:cubicBezTo>
                    <a:cubicBezTo>
                      <a:pt x="12" y="15"/>
                      <a:pt x="46" y="53"/>
                      <a:pt x="80" y="94"/>
                    </a:cubicBezTo>
                    <a:cubicBezTo>
                      <a:pt x="85" y="99"/>
                      <a:pt x="89" y="104"/>
                      <a:pt x="94" y="110"/>
                    </a:cubicBezTo>
                    <a:cubicBezTo>
                      <a:pt x="95" y="108"/>
                      <a:pt x="97" y="107"/>
                      <a:pt x="99" y="105"/>
                    </a:cubicBezTo>
                    <a:cubicBezTo>
                      <a:pt x="100" y="104"/>
                      <a:pt x="100" y="104"/>
                      <a:pt x="100" y="104"/>
                    </a:cubicBezTo>
                    <a:cubicBezTo>
                      <a:pt x="69" y="67"/>
                      <a:pt x="36" y="29"/>
                      <a:pt x="19" y="9"/>
                    </a:cubicBezTo>
                    <a:cubicBezTo>
                      <a:pt x="14" y="5"/>
                      <a:pt x="10" y="3"/>
                      <a:pt x="6" y="0"/>
                    </a:cubicBezTo>
                    <a:cubicBezTo>
                      <a:pt x="6" y="0"/>
                      <a:pt x="6" y="0"/>
                      <a:pt x="5" y="0"/>
                    </a:cubicBezTo>
                  </a:path>
                </a:pathLst>
              </a:custGeom>
              <a:solidFill>
                <a:srgbClr val="405E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1" name="Freeform 370">
                <a:extLst>
                  <a:ext uri="{FF2B5EF4-FFF2-40B4-BE49-F238E27FC236}">
                    <a16:creationId xmlns:a16="http://schemas.microsoft.com/office/drawing/2014/main" id="{82ADC757-9319-48E7-8A35-BC7A3D1D1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7" y="1237"/>
                <a:ext cx="77" cy="54"/>
              </a:xfrm>
              <a:custGeom>
                <a:avLst/>
                <a:gdLst>
                  <a:gd name="T0" fmla="*/ 40 w 140"/>
                  <a:gd name="T1" fmla="*/ 0 h 99"/>
                  <a:gd name="T2" fmla="*/ 19 w 140"/>
                  <a:gd name="T3" fmla="*/ 17 h 99"/>
                  <a:gd name="T4" fmla="*/ 0 w 140"/>
                  <a:gd name="T5" fmla="*/ 67 h 99"/>
                  <a:gd name="T6" fmla="*/ 1 w 140"/>
                  <a:gd name="T7" fmla="*/ 60 h 99"/>
                  <a:gd name="T8" fmla="*/ 19 w 140"/>
                  <a:gd name="T9" fmla="*/ 17 h 99"/>
                  <a:gd name="T10" fmla="*/ 35 w 140"/>
                  <a:gd name="T11" fmla="*/ 2 h 99"/>
                  <a:gd name="T12" fmla="*/ 40 w 140"/>
                  <a:gd name="T13" fmla="*/ 0 h 99"/>
                  <a:gd name="T14" fmla="*/ 41 w 140"/>
                  <a:gd name="T15" fmla="*/ 0 h 99"/>
                  <a:gd name="T16" fmla="*/ 54 w 140"/>
                  <a:gd name="T17" fmla="*/ 9 h 99"/>
                  <a:gd name="T18" fmla="*/ 97 w 140"/>
                  <a:gd name="T19" fmla="*/ 47 h 99"/>
                  <a:gd name="T20" fmla="*/ 139 w 140"/>
                  <a:gd name="T21" fmla="*/ 98 h 99"/>
                  <a:gd name="T22" fmla="*/ 140 w 140"/>
                  <a:gd name="T23" fmla="*/ 99 h 99"/>
                  <a:gd name="T24" fmla="*/ 140 w 140"/>
                  <a:gd name="T25" fmla="*/ 99 h 99"/>
                  <a:gd name="T26" fmla="*/ 139 w 140"/>
                  <a:gd name="T27" fmla="*/ 98 h 99"/>
                  <a:gd name="T28" fmla="*/ 97 w 140"/>
                  <a:gd name="T29" fmla="*/ 47 h 99"/>
                  <a:gd name="T30" fmla="*/ 41 w 140"/>
                  <a:gd name="T31" fmla="*/ 0 h 99"/>
                  <a:gd name="T32" fmla="*/ 40 w 140"/>
                  <a:gd name="T3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0" h="99">
                    <a:moveTo>
                      <a:pt x="40" y="0"/>
                    </a:moveTo>
                    <a:cubicBezTo>
                      <a:pt x="35" y="0"/>
                      <a:pt x="25" y="8"/>
                      <a:pt x="19" y="17"/>
                    </a:cubicBezTo>
                    <a:cubicBezTo>
                      <a:pt x="13" y="26"/>
                      <a:pt x="0" y="48"/>
                      <a:pt x="0" y="67"/>
                    </a:cubicBezTo>
                    <a:cubicBezTo>
                      <a:pt x="0" y="65"/>
                      <a:pt x="0" y="63"/>
                      <a:pt x="1" y="60"/>
                    </a:cubicBezTo>
                    <a:cubicBezTo>
                      <a:pt x="3" y="43"/>
                      <a:pt x="14" y="25"/>
                      <a:pt x="19" y="17"/>
                    </a:cubicBezTo>
                    <a:cubicBezTo>
                      <a:pt x="24" y="11"/>
                      <a:pt x="30" y="5"/>
                      <a:pt x="35" y="2"/>
                    </a:cubicBezTo>
                    <a:cubicBezTo>
                      <a:pt x="37" y="0"/>
                      <a:pt x="39" y="0"/>
                      <a:pt x="40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5" y="3"/>
                      <a:pt x="49" y="5"/>
                      <a:pt x="54" y="9"/>
                    </a:cubicBezTo>
                    <a:cubicBezTo>
                      <a:pt x="66" y="19"/>
                      <a:pt x="82" y="32"/>
                      <a:pt x="97" y="47"/>
                    </a:cubicBezTo>
                    <a:cubicBezTo>
                      <a:pt x="116" y="66"/>
                      <a:pt x="131" y="85"/>
                      <a:pt x="139" y="98"/>
                    </a:cubicBezTo>
                    <a:cubicBezTo>
                      <a:pt x="139" y="98"/>
                      <a:pt x="139" y="99"/>
                      <a:pt x="140" y="99"/>
                    </a:cubicBezTo>
                    <a:cubicBezTo>
                      <a:pt x="140" y="99"/>
                      <a:pt x="140" y="99"/>
                      <a:pt x="140" y="99"/>
                    </a:cubicBezTo>
                    <a:cubicBezTo>
                      <a:pt x="139" y="99"/>
                      <a:pt x="139" y="98"/>
                      <a:pt x="139" y="98"/>
                    </a:cubicBezTo>
                    <a:cubicBezTo>
                      <a:pt x="131" y="85"/>
                      <a:pt x="116" y="66"/>
                      <a:pt x="97" y="47"/>
                    </a:cubicBezTo>
                    <a:cubicBezTo>
                      <a:pt x="77" y="27"/>
                      <a:pt x="56" y="9"/>
                      <a:pt x="41" y="0"/>
                    </a:cubicBezTo>
                    <a:cubicBezTo>
                      <a:pt x="41" y="0"/>
                      <a:pt x="41" y="0"/>
                      <a:pt x="40" y="0"/>
                    </a:cubicBezTo>
                  </a:path>
                </a:pathLst>
              </a:custGeom>
              <a:solidFill>
                <a:srgbClr val="48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2" name="Freeform 371">
                <a:extLst>
                  <a:ext uri="{FF2B5EF4-FFF2-40B4-BE49-F238E27FC236}">
                    <a16:creationId xmlns:a16="http://schemas.microsoft.com/office/drawing/2014/main" id="{B7909B09-4D75-4109-8EBE-ED2424720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0" y="1904"/>
                <a:ext cx="125" cy="31"/>
              </a:xfrm>
              <a:custGeom>
                <a:avLst/>
                <a:gdLst>
                  <a:gd name="T0" fmla="*/ 2 w 125"/>
                  <a:gd name="T1" fmla="*/ 0 h 31"/>
                  <a:gd name="T2" fmla="*/ 0 w 125"/>
                  <a:gd name="T3" fmla="*/ 10 h 31"/>
                  <a:gd name="T4" fmla="*/ 124 w 125"/>
                  <a:gd name="T5" fmla="*/ 31 h 31"/>
                  <a:gd name="T6" fmla="*/ 125 w 125"/>
                  <a:gd name="T7" fmla="*/ 22 h 31"/>
                  <a:gd name="T8" fmla="*/ 2 w 125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31">
                    <a:moveTo>
                      <a:pt x="2" y="0"/>
                    </a:moveTo>
                    <a:lnTo>
                      <a:pt x="0" y="10"/>
                    </a:lnTo>
                    <a:lnTo>
                      <a:pt x="124" y="31"/>
                    </a:lnTo>
                    <a:lnTo>
                      <a:pt x="125" y="2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3" name="Freeform 372">
                <a:extLst>
                  <a:ext uri="{FF2B5EF4-FFF2-40B4-BE49-F238E27FC236}">
                    <a16:creationId xmlns:a16="http://schemas.microsoft.com/office/drawing/2014/main" id="{D3AB4F54-6CC0-4126-829F-75E5416E5C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0" y="1904"/>
                <a:ext cx="125" cy="31"/>
              </a:xfrm>
              <a:custGeom>
                <a:avLst/>
                <a:gdLst>
                  <a:gd name="T0" fmla="*/ 2 w 125"/>
                  <a:gd name="T1" fmla="*/ 0 h 31"/>
                  <a:gd name="T2" fmla="*/ 0 w 125"/>
                  <a:gd name="T3" fmla="*/ 10 h 31"/>
                  <a:gd name="T4" fmla="*/ 124 w 125"/>
                  <a:gd name="T5" fmla="*/ 31 h 31"/>
                  <a:gd name="T6" fmla="*/ 125 w 125"/>
                  <a:gd name="T7" fmla="*/ 22 h 31"/>
                  <a:gd name="T8" fmla="*/ 2 w 125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31">
                    <a:moveTo>
                      <a:pt x="2" y="0"/>
                    </a:moveTo>
                    <a:lnTo>
                      <a:pt x="0" y="10"/>
                    </a:lnTo>
                    <a:lnTo>
                      <a:pt x="124" y="31"/>
                    </a:lnTo>
                    <a:lnTo>
                      <a:pt x="125" y="2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4" name="Freeform 373">
                <a:extLst>
                  <a:ext uri="{FF2B5EF4-FFF2-40B4-BE49-F238E27FC236}">
                    <a16:creationId xmlns:a16="http://schemas.microsoft.com/office/drawing/2014/main" id="{206A8866-9713-40EC-9FF2-84F59C938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8"/>
                <a:ext cx="124" cy="24"/>
              </a:xfrm>
              <a:custGeom>
                <a:avLst/>
                <a:gdLst>
                  <a:gd name="T0" fmla="*/ 0 w 124"/>
                  <a:gd name="T1" fmla="*/ 0 h 24"/>
                  <a:gd name="T2" fmla="*/ 0 w 124"/>
                  <a:gd name="T3" fmla="*/ 3 h 24"/>
                  <a:gd name="T4" fmla="*/ 123 w 124"/>
                  <a:gd name="T5" fmla="*/ 24 h 24"/>
                  <a:gd name="T6" fmla="*/ 124 w 124"/>
                  <a:gd name="T7" fmla="*/ 21 h 24"/>
                  <a:gd name="T8" fmla="*/ 0 w 1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4">
                    <a:moveTo>
                      <a:pt x="0" y="0"/>
                    </a:moveTo>
                    <a:lnTo>
                      <a:pt x="0" y="3"/>
                    </a:lnTo>
                    <a:lnTo>
                      <a:pt x="123" y="24"/>
                    </a:lnTo>
                    <a:lnTo>
                      <a:pt x="124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FD9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5" name="Freeform 374">
                <a:extLst>
                  <a:ext uri="{FF2B5EF4-FFF2-40B4-BE49-F238E27FC236}">
                    <a16:creationId xmlns:a16="http://schemas.microsoft.com/office/drawing/2014/main" id="{50F5B320-CEAB-4C99-AA4E-AA132BF9C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8"/>
                <a:ext cx="124" cy="24"/>
              </a:xfrm>
              <a:custGeom>
                <a:avLst/>
                <a:gdLst>
                  <a:gd name="T0" fmla="*/ 0 w 124"/>
                  <a:gd name="T1" fmla="*/ 0 h 24"/>
                  <a:gd name="T2" fmla="*/ 0 w 124"/>
                  <a:gd name="T3" fmla="*/ 3 h 24"/>
                  <a:gd name="T4" fmla="*/ 123 w 124"/>
                  <a:gd name="T5" fmla="*/ 24 h 24"/>
                  <a:gd name="T6" fmla="*/ 124 w 124"/>
                  <a:gd name="T7" fmla="*/ 21 h 24"/>
                  <a:gd name="T8" fmla="*/ 0 w 1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4">
                    <a:moveTo>
                      <a:pt x="0" y="0"/>
                    </a:moveTo>
                    <a:lnTo>
                      <a:pt x="0" y="3"/>
                    </a:lnTo>
                    <a:lnTo>
                      <a:pt x="123" y="24"/>
                    </a:lnTo>
                    <a:lnTo>
                      <a:pt x="124" y="21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6" name="Freeform 375">
                <a:extLst>
                  <a:ext uri="{FF2B5EF4-FFF2-40B4-BE49-F238E27FC236}">
                    <a16:creationId xmlns:a16="http://schemas.microsoft.com/office/drawing/2014/main" id="{0AFC7B68-01EE-4557-9C7D-F23C34DE6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4"/>
                <a:ext cx="124" cy="25"/>
              </a:xfrm>
              <a:custGeom>
                <a:avLst/>
                <a:gdLst>
                  <a:gd name="T0" fmla="*/ 1 w 124"/>
                  <a:gd name="T1" fmla="*/ 0 h 25"/>
                  <a:gd name="T2" fmla="*/ 0 w 124"/>
                  <a:gd name="T3" fmla="*/ 4 h 25"/>
                  <a:gd name="T4" fmla="*/ 124 w 124"/>
                  <a:gd name="T5" fmla="*/ 25 h 25"/>
                  <a:gd name="T6" fmla="*/ 124 w 124"/>
                  <a:gd name="T7" fmla="*/ 22 h 25"/>
                  <a:gd name="T8" fmla="*/ 1 w 12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5">
                    <a:moveTo>
                      <a:pt x="1" y="0"/>
                    </a:moveTo>
                    <a:lnTo>
                      <a:pt x="0" y="4"/>
                    </a:lnTo>
                    <a:lnTo>
                      <a:pt x="124" y="25"/>
                    </a:lnTo>
                    <a:lnTo>
                      <a:pt x="124" y="2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7" name="Freeform 376">
                <a:extLst>
                  <a:ext uri="{FF2B5EF4-FFF2-40B4-BE49-F238E27FC236}">
                    <a16:creationId xmlns:a16="http://schemas.microsoft.com/office/drawing/2014/main" id="{1299662E-305A-40E1-B984-1F2D961F72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1" y="1904"/>
                <a:ext cx="124" cy="25"/>
              </a:xfrm>
              <a:custGeom>
                <a:avLst/>
                <a:gdLst>
                  <a:gd name="T0" fmla="*/ 1 w 124"/>
                  <a:gd name="T1" fmla="*/ 0 h 25"/>
                  <a:gd name="T2" fmla="*/ 0 w 124"/>
                  <a:gd name="T3" fmla="*/ 4 h 25"/>
                  <a:gd name="T4" fmla="*/ 124 w 124"/>
                  <a:gd name="T5" fmla="*/ 25 h 25"/>
                  <a:gd name="T6" fmla="*/ 124 w 124"/>
                  <a:gd name="T7" fmla="*/ 22 h 25"/>
                  <a:gd name="T8" fmla="*/ 1 w 12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5">
                    <a:moveTo>
                      <a:pt x="1" y="0"/>
                    </a:moveTo>
                    <a:lnTo>
                      <a:pt x="0" y="4"/>
                    </a:lnTo>
                    <a:lnTo>
                      <a:pt x="124" y="25"/>
                    </a:lnTo>
                    <a:lnTo>
                      <a:pt x="124" y="22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8" name="Freeform 377">
                <a:extLst>
                  <a:ext uri="{FF2B5EF4-FFF2-40B4-BE49-F238E27FC236}">
                    <a16:creationId xmlns:a16="http://schemas.microsoft.com/office/drawing/2014/main" id="{7C639E82-6AE7-440B-8C37-EA257EA9EE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3" y="1926"/>
                <a:ext cx="17" cy="9"/>
              </a:xfrm>
              <a:custGeom>
                <a:avLst/>
                <a:gdLst>
                  <a:gd name="T0" fmla="*/ 4 w 30"/>
                  <a:gd name="T1" fmla="*/ 0 h 18"/>
                  <a:gd name="T2" fmla="*/ 1 w 30"/>
                  <a:gd name="T3" fmla="*/ 9 h 18"/>
                  <a:gd name="T4" fmla="*/ 1 w 30"/>
                  <a:gd name="T5" fmla="*/ 18 h 18"/>
                  <a:gd name="T6" fmla="*/ 29 w 30"/>
                  <a:gd name="T7" fmla="*/ 14 h 18"/>
                  <a:gd name="T8" fmla="*/ 30 w 30"/>
                  <a:gd name="T9" fmla="*/ 14 h 18"/>
                  <a:gd name="T10" fmla="*/ 30 w 30"/>
                  <a:gd name="T11" fmla="*/ 13 h 18"/>
                  <a:gd name="T12" fmla="*/ 4 w 30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8">
                    <a:moveTo>
                      <a:pt x="4" y="0"/>
                    </a:moveTo>
                    <a:cubicBezTo>
                      <a:pt x="4" y="0"/>
                      <a:pt x="2" y="4"/>
                      <a:pt x="1" y="9"/>
                    </a:cubicBezTo>
                    <a:cubicBezTo>
                      <a:pt x="0" y="13"/>
                      <a:pt x="1" y="18"/>
                      <a:pt x="1" y="18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9" name="Freeform 378">
                <a:extLst>
                  <a:ext uri="{FF2B5EF4-FFF2-40B4-BE49-F238E27FC236}">
                    <a16:creationId xmlns:a16="http://schemas.microsoft.com/office/drawing/2014/main" id="{807C67F4-8BC0-44E5-956F-2CBD6556A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1902"/>
                <a:ext cx="17" cy="12"/>
              </a:xfrm>
              <a:custGeom>
                <a:avLst/>
                <a:gdLst>
                  <a:gd name="T0" fmla="*/ 31 w 31"/>
                  <a:gd name="T1" fmla="*/ 4 h 22"/>
                  <a:gd name="T2" fmla="*/ 8 w 31"/>
                  <a:gd name="T3" fmla="*/ 0 h 22"/>
                  <a:gd name="T4" fmla="*/ 2 w 31"/>
                  <a:gd name="T5" fmla="*/ 5 h 22"/>
                  <a:gd name="T6" fmla="*/ 0 w 31"/>
                  <a:gd name="T7" fmla="*/ 12 h 22"/>
                  <a:gd name="T8" fmla="*/ 5 w 31"/>
                  <a:gd name="T9" fmla="*/ 18 h 22"/>
                  <a:gd name="T10" fmla="*/ 28 w 31"/>
                  <a:gd name="T11" fmla="*/ 22 h 22"/>
                  <a:gd name="T12" fmla="*/ 31 w 31"/>
                  <a:gd name="T13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22">
                    <a:moveTo>
                      <a:pt x="31" y="4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5" y="0"/>
                      <a:pt x="2" y="2"/>
                      <a:pt x="2" y="5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5"/>
                      <a:pt x="2" y="18"/>
                      <a:pt x="5" y="18"/>
                    </a:cubicBezTo>
                    <a:cubicBezTo>
                      <a:pt x="28" y="22"/>
                      <a:pt x="28" y="22"/>
                      <a:pt x="28" y="22"/>
                    </a:cubicBezTo>
                    <a:cubicBezTo>
                      <a:pt x="31" y="4"/>
                      <a:pt x="31" y="4"/>
                      <a:pt x="31" y="4"/>
                    </a:cubicBezTo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0" name="Freeform 379">
                <a:extLst>
                  <a:ext uri="{FF2B5EF4-FFF2-40B4-BE49-F238E27FC236}">
                    <a16:creationId xmlns:a16="http://schemas.microsoft.com/office/drawing/2014/main" id="{B2516412-1948-4C95-A96F-92CFAEFCC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1903"/>
                <a:ext cx="9" cy="12"/>
              </a:xfrm>
              <a:custGeom>
                <a:avLst/>
                <a:gdLst>
                  <a:gd name="T0" fmla="*/ 9 w 9"/>
                  <a:gd name="T1" fmla="*/ 1 h 12"/>
                  <a:gd name="T2" fmla="*/ 2 w 9"/>
                  <a:gd name="T3" fmla="*/ 0 h 12"/>
                  <a:gd name="T4" fmla="*/ 0 w 9"/>
                  <a:gd name="T5" fmla="*/ 11 h 12"/>
                  <a:gd name="T6" fmla="*/ 7 w 9"/>
                  <a:gd name="T7" fmla="*/ 12 h 12"/>
                  <a:gd name="T8" fmla="*/ 9 w 9"/>
                  <a:gd name="T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2">
                    <a:moveTo>
                      <a:pt x="9" y="1"/>
                    </a:moveTo>
                    <a:lnTo>
                      <a:pt x="2" y="0"/>
                    </a:lnTo>
                    <a:lnTo>
                      <a:pt x="0" y="11"/>
                    </a:lnTo>
                    <a:lnTo>
                      <a:pt x="7" y="12"/>
                    </a:lnTo>
                    <a:lnTo>
                      <a:pt x="9" y="1"/>
                    </a:lnTo>
                    <a:close/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1" name="Freeform 380">
                <a:extLst>
                  <a:ext uri="{FF2B5EF4-FFF2-40B4-BE49-F238E27FC236}">
                    <a16:creationId xmlns:a16="http://schemas.microsoft.com/office/drawing/2014/main" id="{0105CCF7-99D8-4057-9645-B2FF25547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1903"/>
                <a:ext cx="9" cy="12"/>
              </a:xfrm>
              <a:custGeom>
                <a:avLst/>
                <a:gdLst>
                  <a:gd name="T0" fmla="*/ 9 w 9"/>
                  <a:gd name="T1" fmla="*/ 1 h 12"/>
                  <a:gd name="T2" fmla="*/ 2 w 9"/>
                  <a:gd name="T3" fmla="*/ 0 h 12"/>
                  <a:gd name="T4" fmla="*/ 0 w 9"/>
                  <a:gd name="T5" fmla="*/ 11 h 12"/>
                  <a:gd name="T6" fmla="*/ 7 w 9"/>
                  <a:gd name="T7" fmla="*/ 12 h 12"/>
                  <a:gd name="T8" fmla="*/ 9 w 9"/>
                  <a:gd name="T9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2">
                    <a:moveTo>
                      <a:pt x="9" y="1"/>
                    </a:moveTo>
                    <a:lnTo>
                      <a:pt x="2" y="0"/>
                    </a:lnTo>
                    <a:lnTo>
                      <a:pt x="0" y="11"/>
                    </a:lnTo>
                    <a:lnTo>
                      <a:pt x="7" y="12"/>
                    </a:lnTo>
                    <a:lnTo>
                      <a:pt x="9" y="1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2" name="Freeform 381">
                <a:extLst>
                  <a:ext uri="{FF2B5EF4-FFF2-40B4-BE49-F238E27FC236}">
                    <a16:creationId xmlns:a16="http://schemas.microsoft.com/office/drawing/2014/main" id="{1E54C398-CFA7-465C-9B64-86DBB11A31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1930"/>
                <a:ext cx="7" cy="4"/>
              </a:xfrm>
              <a:custGeom>
                <a:avLst/>
                <a:gdLst>
                  <a:gd name="T0" fmla="*/ 2 w 12"/>
                  <a:gd name="T1" fmla="*/ 0 h 7"/>
                  <a:gd name="T2" fmla="*/ 12 w 12"/>
                  <a:gd name="T3" fmla="*/ 4 h 7"/>
                  <a:gd name="T4" fmla="*/ 11 w 12"/>
                  <a:gd name="T5" fmla="*/ 5 h 7"/>
                  <a:gd name="T6" fmla="*/ 1 w 12"/>
                  <a:gd name="T7" fmla="*/ 7 h 7"/>
                  <a:gd name="T8" fmla="*/ 0 w 12"/>
                  <a:gd name="T9" fmla="*/ 3 h 7"/>
                  <a:gd name="T10" fmla="*/ 2 w 12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7">
                    <a:moveTo>
                      <a:pt x="2" y="0"/>
                    </a:moveTo>
                    <a:cubicBezTo>
                      <a:pt x="12" y="4"/>
                      <a:pt x="12" y="4"/>
                      <a:pt x="12" y="4"/>
                    </a:cubicBezTo>
                    <a:cubicBezTo>
                      <a:pt x="12" y="5"/>
                      <a:pt x="12" y="5"/>
                      <a:pt x="11" y="5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2" y="0"/>
                      <a:pt x="2" y="0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3" name="Freeform 382">
                <a:extLst>
                  <a:ext uri="{FF2B5EF4-FFF2-40B4-BE49-F238E27FC236}">
                    <a16:creationId xmlns:a16="http://schemas.microsoft.com/office/drawing/2014/main" id="{896FB7CE-3B6B-42C6-9F7A-4563CB072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4" y="1926"/>
                <a:ext cx="10" cy="6"/>
              </a:xfrm>
              <a:custGeom>
                <a:avLst/>
                <a:gdLst>
                  <a:gd name="T0" fmla="*/ 3 w 19"/>
                  <a:gd name="T1" fmla="*/ 0 h 12"/>
                  <a:gd name="T2" fmla="*/ 3 w 19"/>
                  <a:gd name="T3" fmla="*/ 0 h 12"/>
                  <a:gd name="T4" fmla="*/ 0 w 19"/>
                  <a:gd name="T5" fmla="*/ 6 h 12"/>
                  <a:gd name="T6" fmla="*/ 0 w 19"/>
                  <a:gd name="T7" fmla="*/ 6 h 12"/>
                  <a:gd name="T8" fmla="*/ 0 w 19"/>
                  <a:gd name="T9" fmla="*/ 9 h 12"/>
                  <a:gd name="T10" fmla="*/ 17 w 19"/>
                  <a:gd name="T11" fmla="*/ 12 h 12"/>
                  <a:gd name="T12" fmla="*/ 17 w 19"/>
                  <a:gd name="T13" fmla="*/ 12 h 12"/>
                  <a:gd name="T14" fmla="*/ 19 w 19"/>
                  <a:gd name="T15" fmla="*/ 9 h 12"/>
                  <a:gd name="T16" fmla="*/ 3 w 19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2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1" y="3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8" y="10"/>
                      <a:pt x="19" y="9"/>
                      <a:pt x="19" y="9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4" name="Freeform 383">
                <a:extLst>
                  <a:ext uri="{FF2B5EF4-FFF2-40B4-BE49-F238E27FC236}">
                    <a16:creationId xmlns:a16="http://schemas.microsoft.com/office/drawing/2014/main" id="{05AC44AD-B32D-455B-A728-BC1AFAEC1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1930"/>
                <a:ext cx="7" cy="3"/>
              </a:xfrm>
              <a:custGeom>
                <a:avLst/>
                <a:gdLst>
                  <a:gd name="T0" fmla="*/ 2 w 12"/>
                  <a:gd name="T1" fmla="*/ 0 h 5"/>
                  <a:gd name="T2" fmla="*/ 2 w 12"/>
                  <a:gd name="T3" fmla="*/ 0 h 5"/>
                  <a:gd name="T4" fmla="*/ 0 w 12"/>
                  <a:gd name="T5" fmla="*/ 3 h 5"/>
                  <a:gd name="T6" fmla="*/ 0 w 12"/>
                  <a:gd name="T7" fmla="*/ 3 h 5"/>
                  <a:gd name="T8" fmla="*/ 12 w 12"/>
                  <a:gd name="T9" fmla="*/ 5 h 5"/>
                  <a:gd name="T10" fmla="*/ 12 w 12"/>
                  <a:gd name="T11" fmla="*/ 4 h 5"/>
                  <a:gd name="T12" fmla="*/ 12 w 12"/>
                  <a:gd name="T13" fmla="*/ 4 h 5"/>
                  <a:gd name="T14" fmla="*/ 2 w 12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5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1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5" name="Freeform 384">
                <a:extLst>
                  <a:ext uri="{FF2B5EF4-FFF2-40B4-BE49-F238E27FC236}">
                    <a16:creationId xmlns:a16="http://schemas.microsoft.com/office/drawing/2014/main" id="{6A4423B9-8FAC-403A-A409-FA8EDC1328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6" y="1902"/>
                <a:ext cx="16" cy="3"/>
              </a:xfrm>
              <a:custGeom>
                <a:avLst/>
                <a:gdLst>
                  <a:gd name="T0" fmla="*/ 30 w 30"/>
                  <a:gd name="T1" fmla="*/ 4 h 5"/>
                  <a:gd name="T2" fmla="*/ 29 w 30"/>
                  <a:gd name="T3" fmla="*/ 4 h 5"/>
                  <a:gd name="T4" fmla="*/ 29 w 30"/>
                  <a:gd name="T5" fmla="*/ 4 h 5"/>
                  <a:gd name="T6" fmla="*/ 30 w 30"/>
                  <a:gd name="T7" fmla="*/ 4 h 5"/>
                  <a:gd name="T8" fmla="*/ 5 w 30"/>
                  <a:gd name="T9" fmla="*/ 0 h 5"/>
                  <a:gd name="T10" fmla="*/ 0 w 30"/>
                  <a:gd name="T11" fmla="*/ 5 h 5"/>
                  <a:gd name="T12" fmla="*/ 0 w 30"/>
                  <a:gd name="T13" fmla="*/ 5 h 5"/>
                  <a:gd name="T14" fmla="*/ 5 w 30"/>
                  <a:gd name="T15" fmla="*/ 0 h 5"/>
                  <a:gd name="T16" fmla="*/ 6 w 30"/>
                  <a:gd name="T17" fmla="*/ 0 h 5"/>
                  <a:gd name="T18" fmla="*/ 17 w 30"/>
                  <a:gd name="T19" fmla="*/ 2 h 5"/>
                  <a:gd name="T20" fmla="*/ 17 w 30"/>
                  <a:gd name="T21" fmla="*/ 2 h 5"/>
                  <a:gd name="T22" fmla="*/ 6 w 30"/>
                  <a:gd name="T23" fmla="*/ 0 h 5"/>
                  <a:gd name="T24" fmla="*/ 5 w 30"/>
                  <a:gd name="T2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5">
                    <a:moveTo>
                      <a:pt x="30" y="4"/>
                    </a:moveTo>
                    <a:cubicBezTo>
                      <a:pt x="29" y="4"/>
                      <a:pt x="29" y="4"/>
                      <a:pt x="29" y="4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30" y="4"/>
                      <a:pt x="30" y="4"/>
                      <a:pt x="30" y="4"/>
                    </a:cubicBezTo>
                    <a:moveTo>
                      <a:pt x="5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6" y="0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6" name="Rectangle 385">
                <a:extLst>
                  <a:ext uri="{FF2B5EF4-FFF2-40B4-BE49-F238E27FC236}">
                    <a16:creationId xmlns:a16="http://schemas.microsoft.com/office/drawing/2014/main" id="{68D40DAB-CDA5-423B-96C9-AF66D0C451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1" y="1908"/>
                <a:ext cx="1" cy="1"/>
              </a:xfrm>
              <a:prstGeom prst="rect">
                <a:avLst/>
              </a:prstGeom>
              <a:solidFill>
                <a:srgbClr val="BDAC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7" name="Rectangle 386">
                <a:extLst>
                  <a:ext uri="{FF2B5EF4-FFF2-40B4-BE49-F238E27FC236}">
                    <a16:creationId xmlns:a16="http://schemas.microsoft.com/office/drawing/2014/main" id="{B459FC52-0A21-4E08-A17C-FA6A7353CA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1" y="1908"/>
                <a:ext cx="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8" name="Freeform 387">
                <a:extLst>
                  <a:ext uri="{FF2B5EF4-FFF2-40B4-BE49-F238E27FC236}">
                    <a16:creationId xmlns:a16="http://schemas.microsoft.com/office/drawing/2014/main" id="{10CE0AD1-52AE-4A55-9742-9BEBF5101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1" y="1904"/>
                <a:ext cx="1" cy="4"/>
              </a:xfrm>
              <a:custGeom>
                <a:avLst/>
                <a:gdLst>
                  <a:gd name="T0" fmla="*/ 1 w 1"/>
                  <a:gd name="T1" fmla="*/ 2 h 4"/>
                  <a:gd name="T2" fmla="*/ 0 w 1"/>
                  <a:gd name="T3" fmla="*/ 4 h 4"/>
                  <a:gd name="T4" fmla="*/ 0 w 1"/>
                  <a:gd name="T5" fmla="*/ 4 h 4"/>
                  <a:gd name="T6" fmla="*/ 1 w 1"/>
                  <a:gd name="T7" fmla="*/ 2 h 4"/>
                  <a:gd name="T8" fmla="*/ 1 w 1"/>
                  <a:gd name="T9" fmla="*/ 0 h 4"/>
                  <a:gd name="T10" fmla="*/ 1 w 1"/>
                  <a:gd name="T11" fmla="*/ 0 h 4"/>
                  <a:gd name="T12" fmla="*/ 1 w 1"/>
                  <a:gd name="T13" fmla="*/ 0 h 4"/>
                  <a:gd name="T14" fmla="*/ 1 w 1"/>
                  <a:gd name="T15" fmla="*/ 0 h 4"/>
                  <a:gd name="T16" fmla="*/ 1 w 1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4">
                    <a:moveTo>
                      <a:pt x="1" y="2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2"/>
                    </a:lnTo>
                    <a:close/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9" name="Freeform 388">
                <a:extLst>
                  <a:ext uri="{FF2B5EF4-FFF2-40B4-BE49-F238E27FC236}">
                    <a16:creationId xmlns:a16="http://schemas.microsoft.com/office/drawing/2014/main" id="{30BA4BB7-0EB6-4BE2-BBC8-7826FE917C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1" y="1904"/>
                <a:ext cx="1" cy="4"/>
              </a:xfrm>
              <a:custGeom>
                <a:avLst/>
                <a:gdLst>
                  <a:gd name="T0" fmla="*/ 1 w 1"/>
                  <a:gd name="T1" fmla="*/ 2 h 4"/>
                  <a:gd name="T2" fmla="*/ 0 w 1"/>
                  <a:gd name="T3" fmla="*/ 4 h 4"/>
                  <a:gd name="T4" fmla="*/ 0 w 1"/>
                  <a:gd name="T5" fmla="*/ 4 h 4"/>
                  <a:gd name="T6" fmla="*/ 1 w 1"/>
                  <a:gd name="T7" fmla="*/ 2 h 4"/>
                  <a:gd name="T8" fmla="*/ 1 w 1"/>
                  <a:gd name="T9" fmla="*/ 0 h 4"/>
                  <a:gd name="T10" fmla="*/ 1 w 1"/>
                  <a:gd name="T11" fmla="*/ 0 h 4"/>
                  <a:gd name="T12" fmla="*/ 1 w 1"/>
                  <a:gd name="T13" fmla="*/ 0 h 4"/>
                  <a:gd name="T14" fmla="*/ 1 w 1"/>
                  <a:gd name="T15" fmla="*/ 0 h 4"/>
                  <a:gd name="T16" fmla="*/ 1 w 1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4">
                    <a:moveTo>
                      <a:pt x="1" y="2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2"/>
                    </a:lnTo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0" name="Freeform 389">
                <a:extLst>
                  <a:ext uri="{FF2B5EF4-FFF2-40B4-BE49-F238E27FC236}">
                    <a16:creationId xmlns:a16="http://schemas.microsoft.com/office/drawing/2014/main" id="{B47C0A6A-2F2B-4F94-9AC2-25F8CBEA58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5" y="1902"/>
                <a:ext cx="17" cy="7"/>
              </a:xfrm>
              <a:custGeom>
                <a:avLst/>
                <a:gdLst>
                  <a:gd name="T0" fmla="*/ 30 w 30"/>
                  <a:gd name="T1" fmla="*/ 4 h 13"/>
                  <a:gd name="T2" fmla="*/ 29 w 30"/>
                  <a:gd name="T3" fmla="*/ 13 h 13"/>
                  <a:gd name="T4" fmla="*/ 29 w 30"/>
                  <a:gd name="T5" fmla="*/ 13 h 13"/>
                  <a:gd name="T6" fmla="*/ 29 w 30"/>
                  <a:gd name="T7" fmla="*/ 10 h 13"/>
                  <a:gd name="T8" fmla="*/ 30 w 30"/>
                  <a:gd name="T9" fmla="*/ 8 h 13"/>
                  <a:gd name="T10" fmla="*/ 30 w 30"/>
                  <a:gd name="T11" fmla="*/ 4 h 13"/>
                  <a:gd name="T12" fmla="*/ 30 w 30"/>
                  <a:gd name="T13" fmla="*/ 4 h 13"/>
                  <a:gd name="T14" fmla="*/ 6 w 30"/>
                  <a:gd name="T15" fmla="*/ 0 h 13"/>
                  <a:gd name="T16" fmla="*/ 1 w 30"/>
                  <a:gd name="T17" fmla="*/ 5 h 13"/>
                  <a:gd name="T18" fmla="*/ 1 w 30"/>
                  <a:gd name="T19" fmla="*/ 5 h 13"/>
                  <a:gd name="T20" fmla="*/ 0 w 30"/>
                  <a:gd name="T21" fmla="*/ 8 h 13"/>
                  <a:gd name="T22" fmla="*/ 16 w 30"/>
                  <a:gd name="T23" fmla="*/ 11 h 13"/>
                  <a:gd name="T24" fmla="*/ 18 w 30"/>
                  <a:gd name="T25" fmla="*/ 2 h 13"/>
                  <a:gd name="T26" fmla="*/ 7 w 30"/>
                  <a:gd name="T27" fmla="*/ 0 h 13"/>
                  <a:gd name="T28" fmla="*/ 6 w 30"/>
                  <a:gd name="T2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" h="13">
                    <a:moveTo>
                      <a:pt x="30" y="4"/>
                    </a:move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4"/>
                    </a:cubicBezTo>
                    <a:moveTo>
                      <a:pt x="6" y="0"/>
                    </a:moveTo>
                    <a:cubicBezTo>
                      <a:pt x="3" y="0"/>
                      <a:pt x="1" y="2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1" name="Freeform 390">
                <a:extLst>
                  <a:ext uri="{FF2B5EF4-FFF2-40B4-BE49-F238E27FC236}">
                    <a16:creationId xmlns:a16="http://schemas.microsoft.com/office/drawing/2014/main" id="{DE41B888-30F9-4A71-8504-76A54546F1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1903"/>
                <a:ext cx="8" cy="6"/>
              </a:xfrm>
              <a:custGeom>
                <a:avLst/>
                <a:gdLst>
                  <a:gd name="T0" fmla="*/ 1 w 8"/>
                  <a:gd name="T1" fmla="*/ 0 h 6"/>
                  <a:gd name="T2" fmla="*/ 1 w 8"/>
                  <a:gd name="T3" fmla="*/ 0 h 6"/>
                  <a:gd name="T4" fmla="*/ 1 w 8"/>
                  <a:gd name="T5" fmla="*/ 0 h 6"/>
                  <a:gd name="T6" fmla="*/ 1 w 8"/>
                  <a:gd name="T7" fmla="*/ 0 h 6"/>
                  <a:gd name="T8" fmla="*/ 1 w 8"/>
                  <a:gd name="T9" fmla="*/ 0 h 6"/>
                  <a:gd name="T10" fmla="*/ 0 w 8"/>
                  <a:gd name="T11" fmla="*/ 5 h 6"/>
                  <a:gd name="T12" fmla="*/ 7 w 8"/>
                  <a:gd name="T13" fmla="*/ 6 h 6"/>
                  <a:gd name="T14" fmla="*/ 8 w 8"/>
                  <a:gd name="T15" fmla="*/ 1 h 6"/>
                  <a:gd name="T16" fmla="*/ 8 w 8"/>
                  <a:gd name="T17" fmla="*/ 1 h 6"/>
                  <a:gd name="T18" fmla="*/ 8 w 8"/>
                  <a:gd name="T19" fmla="*/ 1 h 6"/>
                  <a:gd name="T20" fmla="*/ 1 w 8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6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5"/>
                    </a:lnTo>
                    <a:lnTo>
                      <a:pt x="7" y="6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2" name="Freeform 391">
                <a:extLst>
                  <a:ext uri="{FF2B5EF4-FFF2-40B4-BE49-F238E27FC236}">
                    <a16:creationId xmlns:a16="http://schemas.microsoft.com/office/drawing/2014/main" id="{EA39F0BE-D5E8-4D02-8D6F-78E82ECE61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1903"/>
                <a:ext cx="8" cy="6"/>
              </a:xfrm>
              <a:custGeom>
                <a:avLst/>
                <a:gdLst>
                  <a:gd name="T0" fmla="*/ 1 w 8"/>
                  <a:gd name="T1" fmla="*/ 0 h 6"/>
                  <a:gd name="T2" fmla="*/ 1 w 8"/>
                  <a:gd name="T3" fmla="*/ 0 h 6"/>
                  <a:gd name="T4" fmla="*/ 1 w 8"/>
                  <a:gd name="T5" fmla="*/ 0 h 6"/>
                  <a:gd name="T6" fmla="*/ 1 w 8"/>
                  <a:gd name="T7" fmla="*/ 0 h 6"/>
                  <a:gd name="T8" fmla="*/ 1 w 8"/>
                  <a:gd name="T9" fmla="*/ 0 h 6"/>
                  <a:gd name="T10" fmla="*/ 0 w 8"/>
                  <a:gd name="T11" fmla="*/ 5 h 6"/>
                  <a:gd name="T12" fmla="*/ 7 w 8"/>
                  <a:gd name="T13" fmla="*/ 6 h 6"/>
                  <a:gd name="T14" fmla="*/ 8 w 8"/>
                  <a:gd name="T15" fmla="*/ 1 h 6"/>
                  <a:gd name="T16" fmla="*/ 8 w 8"/>
                  <a:gd name="T17" fmla="*/ 1 h 6"/>
                  <a:gd name="T18" fmla="*/ 8 w 8"/>
                  <a:gd name="T19" fmla="*/ 1 h 6"/>
                  <a:gd name="T20" fmla="*/ 1 w 8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6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5"/>
                    </a:lnTo>
                    <a:lnTo>
                      <a:pt x="7" y="6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" name="Freeform 392">
                <a:extLst>
                  <a:ext uri="{FF2B5EF4-FFF2-40B4-BE49-F238E27FC236}">
                    <a16:creationId xmlns:a16="http://schemas.microsoft.com/office/drawing/2014/main" id="{052A66CC-FBEC-47B5-AFD2-79C6DCACFA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7" cy="17"/>
              </a:xfrm>
              <a:custGeom>
                <a:avLst/>
                <a:gdLst>
                  <a:gd name="T0" fmla="*/ 0 w 107"/>
                  <a:gd name="T1" fmla="*/ 6 h 17"/>
                  <a:gd name="T2" fmla="*/ 1 w 107"/>
                  <a:gd name="T3" fmla="*/ 17 h 17"/>
                  <a:gd name="T4" fmla="*/ 107 w 107"/>
                  <a:gd name="T5" fmla="*/ 10 h 17"/>
                  <a:gd name="T6" fmla="*/ 106 w 107"/>
                  <a:gd name="T7" fmla="*/ 0 h 17"/>
                  <a:gd name="T8" fmla="*/ 0 w 107"/>
                  <a:gd name="T9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7">
                    <a:moveTo>
                      <a:pt x="0" y="6"/>
                    </a:moveTo>
                    <a:lnTo>
                      <a:pt x="1" y="17"/>
                    </a:lnTo>
                    <a:lnTo>
                      <a:pt x="107" y="10"/>
                    </a:lnTo>
                    <a:lnTo>
                      <a:pt x="106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66BF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" name="Freeform 393">
                <a:extLst>
                  <a:ext uri="{FF2B5EF4-FFF2-40B4-BE49-F238E27FC236}">
                    <a16:creationId xmlns:a16="http://schemas.microsoft.com/office/drawing/2014/main" id="{C839BD60-5C9C-400B-9A3D-5D672383F4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7" cy="17"/>
              </a:xfrm>
              <a:custGeom>
                <a:avLst/>
                <a:gdLst>
                  <a:gd name="T0" fmla="*/ 0 w 107"/>
                  <a:gd name="T1" fmla="*/ 6 h 17"/>
                  <a:gd name="T2" fmla="*/ 1 w 107"/>
                  <a:gd name="T3" fmla="*/ 17 h 17"/>
                  <a:gd name="T4" fmla="*/ 107 w 107"/>
                  <a:gd name="T5" fmla="*/ 10 h 17"/>
                  <a:gd name="T6" fmla="*/ 106 w 107"/>
                  <a:gd name="T7" fmla="*/ 0 h 17"/>
                  <a:gd name="T8" fmla="*/ 0 w 107"/>
                  <a:gd name="T9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7">
                    <a:moveTo>
                      <a:pt x="0" y="6"/>
                    </a:moveTo>
                    <a:lnTo>
                      <a:pt x="1" y="17"/>
                    </a:lnTo>
                    <a:lnTo>
                      <a:pt x="107" y="10"/>
                    </a:lnTo>
                    <a:lnTo>
                      <a:pt x="106" y="0"/>
                    </a:lnTo>
                    <a:lnTo>
                      <a:pt x="0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" name="Freeform 394">
                <a:extLst>
                  <a:ext uri="{FF2B5EF4-FFF2-40B4-BE49-F238E27FC236}">
                    <a16:creationId xmlns:a16="http://schemas.microsoft.com/office/drawing/2014/main" id="{04B1AC27-BEA5-4D97-AAA2-9EE67C00E8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51"/>
                <a:ext cx="106" cy="10"/>
              </a:xfrm>
              <a:custGeom>
                <a:avLst/>
                <a:gdLst>
                  <a:gd name="T0" fmla="*/ 0 w 106"/>
                  <a:gd name="T1" fmla="*/ 7 h 10"/>
                  <a:gd name="T2" fmla="*/ 0 w 106"/>
                  <a:gd name="T3" fmla="*/ 10 h 10"/>
                  <a:gd name="T4" fmla="*/ 106 w 106"/>
                  <a:gd name="T5" fmla="*/ 4 h 10"/>
                  <a:gd name="T6" fmla="*/ 106 w 106"/>
                  <a:gd name="T7" fmla="*/ 0 h 10"/>
                  <a:gd name="T8" fmla="*/ 0 w 106"/>
                  <a:gd name="T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7"/>
                    </a:moveTo>
                    <a:lnTo>
                      <a:pt x="0" y="10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8FE5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6" name="Freeform 395">
                <a:extLst>
                  <a:ext uri="{FF2B5EF4-FFF2-40B4-BE49-F238E27FC236}">
                    <a16:creationId xmlns:a16="http://schemas.microsoft.com/office/drawing/2014/main" id="{F44D9D01-632E-46E1-9698-5783EB5B1A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51"/>
                <a:ext cx="106" cy="10"/>
              </a:xfrm>
              <a:custGeom>
                <a:avLst/>
                <a:gdLst>
                  <a:gd name="T0" fmla="*/ 0 w 106"/>
                  <a:gd name="T1" fmla="*/ 7 h 10"/>
                  <a:gd name="T2" fmla="*/ 0 w 106"/>
                  <a:gd name="T3" fmla="*/ 10 h 10"/>
                  <a:gd name="T4" fmla="*/ 106 w 106"/>
                  <a:gd name="T5" fmla="*/ 4 h 10"/>
                  <a:gd name="T6" fmla="*/ 106 w 106"/>
                  <a:gd name="T7" fmla="*/ 0 h 10"/>
                  <a:gd name="T8" fmla="*/ 0 w 106"/>
                  <a:gd name="T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7"/>
                    </a:moveTo>
                    <a:lnTo>
                      <a:pt x="0" y="10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0" y="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396">
                <a:extLst>
                  <a:ext uri="{FF2B5EF4-FFF2-40B4-BE49-F238E27FC236}">
                    <a16:creationId xmlns:a16="http://schemas.microsoft.com/office/drawing/2014/main" id="{5EB20974-249B-4424-BE1E-6892BB0EA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6" cy="10"/>
              </a:xfrm>
              <a:custGeom>
                <a:avLst/>
                <a:gdLst>
                  <a:gd name="T0" fmla="*/ 0 w 106"/>
                  <a:gd name="T1" fmla="*/ 6 h 10"/>
                  <a:gd name="T2" fmla="*/ 0 w 106"/>
                  <a:gd name="T3" fmla="*/ 10 h 10"/>
                  <a:gd name="T4" fmla="*/ 106 w 106"/>
                  <a:gd name="T5" fmla="*/ 3 h 10"/>
                  <a:gd name="T6" fmla="*/ 106 w 106"/>
                  <a:gd name="T7" fmla="*/ 0 h 10"/>
                  <a:gd name="T8" fmla="*/ 0 w 106"/>
                  <a:gd name="T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6"/>
                    </a:moveTo>
                    <a:lnTo>
                      <a:pt x="0" y="10"/>
                    </a:lnTo>
                    <a:lnTo>
                      <a:pt x="106" y="3"/>
                    </a:lnTo>
                    <a:lnTo>
                      <a:pt x="106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78C9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397">
                <a:extLst>
                  <a:ext uri="{FF2B5EF4-FFF2-40B4-BE49-F238E27FC236}">
                    <a16:creationId xmlns:a16="http://schemas.microsoft.com/office/drawing/2014/main" id="{5DDA87C2-7823-429E-BDF5-99D072D6F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1948"/>
                <a:ext cx="106" cy="10"/>
              </a:xfrm>
              <a:custGeom>
                <a:avLst/>
                <a:gdLst>
                  <a:gd name="T0" fmla="*/ 0 w 106"/>
                  <a:gd name="T1" fmla="*/ 6 h 10"/>
                  <a:gd name="T2" fmla="*/ 0 w 106"/>
                  <a:gd name="T3" fmla="*/ 10 h 10"/>
                  <a:gd name="T4" fmla="*/ 106 w 106"/>
                  <a:gd name="T5" fmla="*/ 3 h 10"/>
                  <a:gd name="T6" fmla="*/ 106 w 106"/>
                  <a:gd name="T7" fmla="*/ 0 h 10"/>
                  <a:gd name="T8" fmla="*/ 0 w 106"/>
                  <a:gd name="T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">
                    <a:moveTo>
                      <a:pt x="0" y="6"/>
                    </a:moveTo>
                    <a:lnTo>
                      <a:pt x="0" y="10"/>
                    </a:lnTo>
                    <a:lnTo>
                      <a:pt x="106" y="3"/>
                    </a:lnTo>
                    <a:lnTo>
                      <a:pt x="106" y="0"/>
                    </a:lnTo>
                    <a:lnTo>
                      <a:pt x="0" y="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398">
                <a:extLst>
                  <a:ext uri="{FF2B5EF4-FFF2-40B4-BE49-F238E27FC236}">
                    <a16:creationId xmlns:a16="http://schemas.microsoft.com/office/drawing/2014/main" id="{28BBA9A9-0A1E-4465-ACBB-3A76F0BBE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5" y="1948"/>
                <a:ext cx="18" cy="10"/>
              </a:xfrm>
              <a:custGeom>
                <a:avLst/>
                <a:gdLst>
                  <a:gd name="T0" fmla="*/ 1 w 33"/>
                  <a:gd name="T1" fmla="*/ 0 h 19"/>
                  <a:gd name="T2" fmla="*/ 0 w 33"/>
                  <a:gd name="T3" fmla="*/ 10 h 19"/>
                  <a:gd name="T4" fmla="*/ 3 w 33"/>
                  <a:gd name="T5" fmla="*/ 19 h 19"/>
                  <a:gd name="T6" fmla="*/ 32 w 33"/>
                  <a:gd name="T7" fmla="*/ 8 h 19"/>
                  <a:gd name="T8" fmla="*/ 33 w 33"/>
                  <a:gd name="T9" fmla="*/ 8 h 19"/>
                  <a:gd name="T10" fmla="*/ 32 w 33"/>
                  <a:gd name="T11" fmla="*/ 7 h 19"/>
                  <a:gd name="T12" fmla="*/ 1 w 33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19">
                    <a:moveTo>
                      <a:pt x="1" y="0"/>
                    </a:moveTo>
                    <a:cubicBezTo>
                      <a:pt x="1" y="0"/>
                      <a:pt x="0" y="4"/>
                      <a:pt x="0" y="10"/>
                    </a:cubicBezTo>
                    <a:cubicBezTo>
                      <a:pt x="1" y="15"/>
                      <a:pt x="3" y="19"/>
                      <a:pt x="3" y="19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0" name="Freeform 399">
                <a:extLst>
                  <a:ext uri="{FF2B5EF4-FFF2-40B4-BE49-F238E27FC236}">
                    <a16:creationId xmlns:a16="http://schemas.microsoft.com/office/drawing/2014/main" id="{1EE99242-5520-4CF5-BAE3-8664A2F4C9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4"/>
                <a:ext cx="18" cy="12"/>
              </a:xfrm>
              <a:custGeom>
                <a:avLst/>
                <a:gdLst>
                  <a:gd name="T0" fmla="*/ 31 w 33"/>
                  <a:gd name="T1" fmla="*/ 0 h 22"/>
                  <a:gd name="T2" fmla="*/ 5 w 33"/>
                  <a:gd name="T3" fmla="*/ 2 h 22"/>
                  <a:gd name="T4" fmla="*/ 0 w 33"/>
                  <a:gd name="T5" fmla="*/ 8 h 22"/>
                  <a:gd name="T6" fmla="*/ 0 w 33"/>
                  <a:gd name="T7" fmla="*/ 16 h 22"/>
                  <a:gd name="T8" fmla="*/ 6 w 33"/>
                  <a:gd name="T9" fmla="*/ 21 h 22"/>
                  <a:gd name="T10" fmla="*/ 33 w 33"/>
                  <a:gd name="T11" fmla="*/ 20 h 22"/>
                  <a:gd name="T12" fmla="*/ 31 w 33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22">
                    <a:moveTo>
                      <a:pt x="31" y="0"/>
                    </a:moveTo>
                    <a:cubicBezTo>
                      <a:pt x="5" y="2"/>
                      <a:pt x="5" y="2"/>
                      <a:pt x="5" y="2"/>
                    </a:cubicBezTo>
                    <a:cubicBezTo>
                      <a:pt x="2" y="2"/>
                      <a:pt x="0" y="5"/>
                      <a:pt x="0" y="8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9"/>
                      <a:pt x="3" y="22"/>
                      <a:pt x="6" y="21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solidFill>
                <a:srgbClr val="EDB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1" name="Freeform 400">
                <a:extLst>
                  <a:ext uri="{FF2B5EF4-FFF2-40B4-BE49-F238E27FC236}">
                    <a16:creationId xmlns:a16="http://schemas.microsoft.com/office/drawing/2014/main" id="{187C4E14-4B08-4E3F-B5BD-B26F5164DC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8" cy="12"/>
              </a:xfrm>
              <a:custGeom>
                <a:avLst/>
                <a:gdLst>
                  <a:gd name="T0" fmla="*/ 7 w 8"/>
                  <a:gd name="T1" fmla="*/ 0 h 12"/>
                  <a:gd name="T2" fmla="*/ 0 w 8"/>
                  <a:gd name="T3" fmla="*/ 1 h 12"/>
                  <a:gd name="T4" fmla="*/ 0 w 8"/>
                  <a:gd name="T5" fmla="*/ 12 h 12"/>
                  <a:gd name="T6" fmla="*/ 8 w 8"/>
                  <a:gd name="T7" fmla="*/ 12 h 12"/>
                  <a:gd name="T8" fmla="*/ 7 w 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7" y="0"/>
                    </a:moveTo>
                    <a:lnTo>
                      <a:pt x="0" y="1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2" name="Freeform 401">
                <a:extLst>
                  <a:ext uri="{FF2B5EF4-FFF2-40B4-BE49-F238E27FC236}">
                    <a16:creationId xmlns:a16="http://schemas.microsoft.com/office/drawing/2014/main" id="{CE005939-F5CB-48D9-BE55-FB84C10CA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8" cy="12"/>
              </a:xfrm>
              <a:custGeom>
                <a:avLst/>
                <a:gdLst>
                  <a:gd name="T0" fmla="*/ 7 w 8"/>
                  <a:gd name="T1" fmla="*/ 0 h 12"/>
                  <a:gd name="T2" fmla="*/ 0 w 8"/>
                  <a:gd name="T3" fmla="*/ 1 h 12"/>
                  <a:gd name="T4" fmla="*/ 0 w 8"/>
                  <a:gd name="T5" fmla="*/ 12 h 12"/>
                  <a:gd name="T6" fmla="*/ 8 w 8"/>
                  <a:gd name="T7" fmla="*/ 12 h 12"/>
                  <a:gd name="T8" fmla="*/ 7 w 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7" y="0"/>
                    </a:moveTo>
                    <a:lnTo>
                      <a:pt x="0" y="1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3" name="Freeform 402">
                <a:extLst>
                  <a:ext uri="{FF2B5EF4-FFF2-40B4-BE49-F238E27FC236}">
                    <a16:creationId xmlns:a16="http://schemas.microsoft.com/office/drawing/2014/main" id="{F20FE99A-1DAD-47C1-A931-3E0C34F63C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1950"/>
                <a:ext cx="7" cy="5"/>
              </a:xfrm>
              <a:custGeom>
                <a:avLst/>
                <a:gdLst>
                  <a:gd name="T0" fmla="*/ 1 w 13"/>
                  <a:gd name="T1" fmla="*/ 0 h 8"/>
                  <a:gd name="T2" fmla="*/ 12 w 13"/>
                  <a:gd name="T3" fmla="*/ 3 h 8"/>
                  <a:gd name="T4" fmla="*/ 12 w 13"/>
                  <a:gd name="T5" fmla="*/ 4 h 8"/>
                  <a:gd name="T6" fmla="*/ 1 w 13"/>
                  <a:gd name="T7" fmla="*/ 8 h 8"/>
                  <a:gd name="T8" fmla="*/ 0 w 13"/>
                  <a:gd name="T9" fmla="*/ 4 h 8"/>
                  <a:gd name="T10" fmla="*/ 1 w 13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8">
                    <a:moveTo>
                      <a:pt x="1" y="0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3" y="3"/>
                      <a:pt x="13" y="4"/>
                      <a:pt x="12" y="4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0" y="7"/>
                      <a:pt x="0" y="4"/>
                    </a:cubicBezTo>
                    <a:cubicBezTo>
                      <a:pt x="0" y="2"/>
                      <a:pt x="1" y="0"/>
                      <a:pt x="1" y="0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4" name="Freeform 403">
                <a:extLst>
                  <a:ext uri="{FF2B5EF4-FFF2-40B4-BE49-F238E27FC236}">
                    <a16:creationId xmlns:a16="http://schemas.microsoft.com/office/drawing/2014/main" id="{BBC9176D-253C-4D86-91D8-D737E2142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5" y="1948"/>
                <a:ext cx="12" cy="5"/>
              </a:xfrm>
              <a:custGeom>
                <a:avLst/>
                <a:gdLst>
                  <a:gd name="T0" fmla="*/ 1 w 21"/>
                  <a:gd name="T1" fmla="*/ 0 h 10"/>
                  <a:gd name="T2" fmla="*/ 1 w 21"/>
                  <a:gd name="T3" fmla="*/ 0 h 10"/>
                  <a:gd name="T4" fmla="*/ 0 w 21"/>
                  <a:gd name="T5" fmla="*/ 6 h 10"/>
                  <a:gd name="T6" fmla="*/ 0 w 21"/>
                  <a:gd name="T7" fmla="*/ 8 h 10"/>
                  <a:gd name="T8" fmla="*/ 0 w 21"/>
                  <a:gd name="T9" fmla="*/ 10 h 10"/>
                  <a:gd name="T10" fmla="*/ 20 w 21"/>
                  <a:gd name="T11" fmla="*/ 8 h 10"/>
                  <a:gd name="T12" fmla="*/ 20 w 21"/>
                  <a:gd name="T13" fmla="*/ 8 h 10"/>
                  <a:gd name="T14" fmla="*/ 21 w 21"/>
                  <a:gd name="T15" fmla="*/ 4 h 10"/>
                  <a:gd name="T16" fmla="*/ 1 w 21"/>
                  <a:gd name="T1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0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3"/>
                      <a:pt x="0" y="6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0" y="9"/>
                      <a:pt x="0" y="9"/>
                      <a:pt x="0" y="1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6"/>
                      <a:pt x="21" y="5"/>
                      <a:pt x="21" y="4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5" name="Freeform 404">
                <a:extLst>
                  <a:ext uri="{FF2B5EF4-FFF2-40B4-BE49-F238E27FC236}">
                    <a16:creationId xmlns:a16="http://schemas.microsoft.com/office/drawing/2014/main" id="{3DF9A79C-DC55-4DCC-BBE6-6FDBDFEB7F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1950"/>
                <a:ext cx="7" cy="2"/>
              </a:xfrm>
              <a:custGeom>
                <a:avLst/>
                <a:gdLst>
                  <a:gd name="T0" fmla="*/ 1 w 13"/>
                  <a:gd name="T1" fmla="*/ 0 h 4"/>
                  <a:gd name="T2" fmla="*/ 1 w 13"/>
                  <a:gd name="T3" fmla="*/ 0 h 4"/>
                  <a:gd name="T4" fmla="*/ 0 w 13"/>
                  <a:gd name="T5" fmla="*/ 4 h 4"/>
                  <a:gd name="T6" fmla="*/ 0 w 13"/>
                  <a:gd name="T7" fmla="*/ 4 h 4"/>
                  <a:gd name="T8" fmla="*/ 13 w 13"/>
                  <a:gd name="T9" fmla="*/ 4 h 4"/>
                  <a:gd name="T10" fmla="*/ 12 w 13"/>
                  <a:gd name="T11" fmla="*/ 3 h 4"/>
                  <a:gd name="T12" fmla="*/ 1 w 1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4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0" y="2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6" name="Rectangle 405">
                <a:extLst>
                  <a:ext uri="{FF2B5EF4-FFF2-40B4-BE49-F238E27FC236}">
                    <a16:creationId xmlns:a16="http://schemas.microsoft.com/office/drawing/2014/main" id="{6962ACA4-07CF-444F-956F-A4DAE82C3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03" y="1958"/>
                <a:ext cx="1" cy="3"/>
              </a:xfrm>
              <a:prstGeom prst="rect">
                <a:avLst/>
              </a:pr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" name="Group 607">
              <a:extLst>
                <a:ext uri="{FF2B5EF4-FFF2-40B4-BE49-F238E27FC236}">
                  <a16:creationId xmlns:a16="http://schemas.microsoft.com/office/drawing/2014/main" id="{764FAE67-B6EA-4418-A66F-411FBDDA76F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243888" y="3100388"/>
              <a:ext cx="2105025" cy="1087438"/>
              <a:chOff x="5193" y="1953"/>
              <a:chExt cx="1326" cy="685"/>
            </a:xfrm>
          </p:grpSpPr>
          <p:sp>
            <p:nvSpPr>
              <p:cNvPr id="167" name="Freeform 407">
                <a:extLst>
                  <a:ext uri="{FF2B5EF4-FFF2-40B4-BE49-F238E27FC236}">
                    <a16:creationId xmlns:a16="http://schemas.microsoft.com/office/drawing/2014/main" id="{2FB82784-21B0-41A2-98B7-841491C92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8"/>
                <a:ext cx="0" cy="3"/>
              </a:xfrm>
              <a:custGeom>
                <a:avLst/>
                <a:gdLst>
                  <a:gd name="T0" fmla="*/ 0 h 3"/>
                  <a:gd name="T1" fmla="*/ 3 h 3"/>
                  <a:gd name="T2" fmla="*/ 3 h 3"/>
                  <a:gd name="T3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408">
                <a:extLst>
                  <a:ext uri="{FF2B5EF4-FFF2-40B4-BE49-F238E27FC236}">
                    <a16:creationId xmlns:a16="http://schemas.microsoft.com/office/drawing/2014/main" id="{4F2C6425-3F72-4B3B-A922-09039E34A9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1955"/>
                <a:ext cx="10" cy="6"/>
              </a:xfrm>
              <a:custGeom>
                <a:avLst/>
                <a:gdLst>
                  <a:gd name="T0" fmla="*/ 18 w 18"/>
                  <a:gd name="T1" fmla="*/ 0 h 11"/>
                  <a:gd name="T2" fmla="*/ 5 w 18"/>
                  <a:gd name="T3" fmla="*/ 1 h 11"/>
                  <a:gd name="T4" fmla="*/ 0 w 18"/>
                  <a:gd name="T5" fmla="*/ 6 h 11"/>
                  <a:gd name="T6" fmla="*/ 0 w 18"/>
                  <a:gd name="T7" fmla="*/ 7 h 11"/>
                  <a:gd name="T8" fmla="*/ 0 w 18"/>
                  <a:gd name="T9" fmla="*/ 7 h 11"/>
                  <a:gd name="T10" fmla="*/ 0 w 18"/>
                  <a:gd name="T11" fmla="*/ 11 h 11"/>
                  <a:gd name="T12" fmla="*/ 18 w 18"/>
                  <a:gd name="T13" fmla="*/ 10 h 11"/>
                  <a:gd name="T14" fmla="*/ 18 w 18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1">
                    <a:moveTo>
                      <a:pt x="18" y="0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2" y="1"/>
                      <a:pt x="0" y="3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BC8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409">
                <a:extLst>
                  <a:ext uri="{FF2B5EF4-FFF2-40B4-BE49-F238E27FC236}">
                    <a16:creationId xmlns:a16="http://schemas.microsoft.com/office/drawing/2014/main" id="{06414C1D-CF89-49FA-A974-B063A4BD2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7" cy="7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1 h 7"/>
                  <a:gd name="T4" fmla="*/ 0 w 7"/>
                  <a:gd name="T5" fmla="*/ 2 h 7"/>
                  <a:gd name="T6" fmla="*/ 0 w 7"/>
                  <a:gd name="T7" fmla="*/ 7 h 7"/>
                  <a:gd name="T8" fmla="*/ 7 w 7"/>
                  <a:gd name="T9" fmla="*/ 6 h 7"/>
                  <a:gd name="T10" fmla="*/ 7 w 7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7" y="6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410">
                <a:extLst>
                  <a:ext uri="{FF2B5EF4-FFF2-40B4-BE49-F238E27FC236}">
                    <a16:creationId xmlns:a16="http://schemas.microsoft.com/office/drawing/2014/main" id="{87D8F1AD-1B9A-4D51-91FF-7DEC390AC3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1953"/>
                <a:ext cx="7" cy="7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1 h 7"/>
                  <a:gd name="T4" fmla="*/ 0 w 7"/>
                  <a:gd name="T5" fmla="*/ 2 h 7"/>
                  <a:gd name="T6" fmla="*/ 0 w 7"/>
                  <a:gd name="T7" fmla="*/ 7 h 7"/>
                  <a:gd name="T8" fmla="*/ 7 w 7"/>
                  <a:gd name="T9" fmla="*/ 6 h 7"/>
                  <a:gd name="T10" fmla="*/ 7 w 7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7" y="6"/>
                    </a:lnTo>
                    <a:lnTo>
                      <a:pt x="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Rectangle 411">
                <a:extLst>
                  <a:ext uri="{FF2B5EF4-FFF2-40B4-BE49-F238E27FC236}">
                    <a16:creationId xmlns:a16="http://schemas.microsoft.com/office/drawing/2014/main" id="{9F0AEB16-6BD2-492C-85F1-018DB75F40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1" y="2333"/>
                <a:ext cx="16" cy="160"/>
              </a:xfrm>
              <a:prstGeom prst="rect">
                <a:avLst/>
              </a:pr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Rectangle 412">
                <a:extLst>
                  <a:ext uri="{FF2B5EF4-FFF2-40B4-BE49-F238E27FC236}">
                    <a16:creationId xmlns:a16="http://schemas.microsoft.com/office/drawing/2014/main" id="{5D110498-6EEF-45C7-9826-A24360504D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1" y="2333"/>
                <a:ext cx="16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Rectangle 413">
                <a:extLst>
                  <a:ext uri="{FF2B5EF4-FFF2-40B4-BE49-F238E27FC236}">
                    <a16:creationId xmlns:a16="http://schemas.microsoft.com/office/drawing/2014/main" id="{8E2CBA07-3EF2-4BF4-8281-9BA3453C27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6" y="2333"/>
                <a:ext cx="6" cy="160"/>
              </a:xfrm>
              <a:prstGeom prst="rect">
                <a:avLst/>
              </a:prstGeom>
              <a:solidFill>
                <a:srgbClr val="CDDC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Rectangle 414">
                <a:extLst>
                  <a:ext uri="{FF2B5EF4-FFF2-40B4-BE49-F238E27FC236}">
                    <a16:creationId xmlns:a16="http://schemas.microsoft.com/office/drawing/2014/main" id="{80231E61-88F3-4C63-BF4C-EE9AEF9033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6" y="2333"/>
                <a:ext cx="6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Rectangle 415">
                <a:extLst>
                  <a:ext uri="{FF2B5EF4-FFF2-40B4-BE49-F238E27FC236}">
                    <a16:creationId xmlns:a16="http://schemas.microsoft.com/office/drawing/2014/main" id="{0C79B413-7483-48F8-9F17-43F3BE39B8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333"/>
                <a:ext cx="5" cy="160"/>
              </a:xfrm>
              <a:prstGeom prst="rect">
                <a:avLst/>
              </a:prstGeom>
              <a:solidFill>
                <a:srgbClr val="C0CA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Rectangle 416">
                <a:extLst>
                  <a:ext uri="{FF2B5EF4-FFF2-40B4-BE49-F238E27FC236}">
                    <a16:creationId xmlns:a16="http://schemas.microsoft.com/office/drawing/2014/main" id="{85B7D001-9571-4C1D-BBC1-C7B89A6BA6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333"/>
                <a:ext cx="5" cy="1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417">
                <a:extLst>
                  <a:ext uri="{FF2B5EF4-FFF2-40B4-BE49-F238E27FC236}">
                    <a16:creationId xmlns:a16="http://schemas.microsoft.com/office/drawing/2014/main" id="{EBF15E9C-A22B-4DF9-99B7-E8F2FF3BAA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1" y="2308"/>
                <a:ext cx="16" cy="27"/>
              </a:xfrm>
              <a:custGeom>
                <a:avLst/>
                <a:gdLst>
                  <a:gd name="T0" fmla="*/ 30 w 30"/>
                  <a:gd name="T1" fmla="*/ 47 h 49"/>
                  <a:gd name="T2" fmla="*/ 15 w 30"/>
                  <a:gd name="T3" fmla="*/ 49 h 49"/>
                  <a:gd name="T4" fmla="*/ 0 w 30"/>
                  <a:gd name="T5" fmla="*/ 47 h 49"/>
                  <a:gd name="T6" fmla="*/ 15 w 30"/>
                  <a:gd name="T7" fmla="*/ 1 h 49"/>
                  <a:gd name="T8" fmla="*/ 15 w 30"/>
                  <a:gd name="T9" fmla="*/ 0 h 49"/>
                  <a:gd name="T10" fmla="*/ 16 w 30"/>
                  <a:gd name="T11" fmla="*/ 1 h 49"/>
                  <a:gd name="T12" fmla="*/ 30 w 30"/>
                  <a:gd name="T13" fmla="*/ 4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49">
                    <a:moveTo>
                      <a:pt x="30" y="47"/>
                    </a:moveTo>
                    <a:cubicBezTo>
                      <a:pt x="30" y="47"/>
                      <a:pt x="23" y="49"/>
                      <a:pt x="15" y="49"/>
                    </a:cubicBezTo>
                    <a:cubicBezTo>
                      <a:pt x="8" y="49"/>
                      <a:pt x="0" y="47"/>
                      <a:pt x="0" y="47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30" y="47"/>
                      <a:pt x="30" y="47"/>
                      <a:pt x="30" y="47"/>
                    </a:cubicBezTo>
                  </a:path>
                </a:pathLst>
              </a:cu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418">
                <a:extLst>
                  <a:ext uri="{FF2B5EF4-FFF2-40B4-BE49-F238E27FC236}">
                    <a16:creationId xmlns:a16="http://schemas.microsoft.com/office/drawing/2014/main" id="{F99FDF2B-1704-4AB2-8713-E55DAB23F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1" y="2493"/>
                <a:ext cx="16" cy="27"/>
              </a:xfrm>
              <a:custGeom>
                <a:avLst/>
                <a:gdLst>
                  <a:gd name="T0" fmla="*/ 30 w 30"/>
                  <a:gd name="T1" fmla="*/ 0 h 48"/>
                  <a:gd name="T2" fmla="*/ 30 w 30"/>
                  <a:gd name="T3" fmla="*/ 40 h 48"/>
                  <a:gd name="T4" fmla="*/ 21 w 30"/>
                  <a:gd name="T5" fmla="*/ 48 h 48"/>
                  <a:gd name="T6" fmla="*/ 9 w 30"/>
                  <a:gd name="T7" fmla="*/ 48 h 48"/>
                  <a:gd name="T8" fmla="*/ 0 w 30"/>
                  <a:gd name="T9" fmla="*/ 40 h 48"/>
                  <a:gd name="T10" fmla="*/ 0 w 30"/>
                  <a:gd name="T11" fmla="*/ 0 h 48"/>
                  <a:gd name="T12" fmla="*/ 30 w 30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48">
                    <a:moveTo>
                      <a:pt x="30" y="0"/>
                    </a:moveTo>
                    <a:cubicBezTo>
                      <a:pt x="30" y="40"/>
                      <a:pt x="30" y="40"/>
                      <a:pt x="30" y="40"/>
                    </a:cubicBezTo>
                    <a:cubicBezTo>
                      <a:pt x="30" y="44"/>
                      <a:pt x="26" y="48"/>
                      <a:pt x="21" y="48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4" y="48"/>
                      <a:pt x="0" y="44"/>
                      <a:pt x="0" y="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solidFill>
                <a:srgbClr val="D4E1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Rectangle 419">
                <a:extLst>
                  <a:ext uri="{FF2B5EF4-FFF2-40B4-BE49-F238E27FC236}">
                    <a16:creationId xmlns:a16="http://schemas.microsoft.com/office/drawing/2014/main" id="{AB32D940-7AB9-4119-B7AD-CE1E7069C1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3"/>
                <a:ext cx="18" cy="12"/>
              </a:xfrm>
              <a:prstGeom prst="rect">
                <a:avLst/>
              </a:prstGeom>
              <a:solidFill>
                <a:srgbClr val="F2DC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Rectangle 420">
                <a:extLst>
                  <a:ext uri="{FF2B5EF4-FFF2-40B4-BE49-F238E27FC236}">
                    <a16:creationId xmlns:a16="http://schemas.microsoft.com/office/drawing/2014/main" id="{915FFAA4-4731-4460-8283-CA7F6FEED5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3"/>
                <a:ext cx="18" cy="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Rectangle 421">
                <a:extLst>
                  <a:ext uri="{FF2B5EF4-FFF2-40B4-BE49-F238E27FC236}">
                    <a16:creationId xmlns:a16="http://schemas.microsoft.com/office/drawing/2014/main" id="{3CC23432-2C65-4058-B01C-81E1F175C1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8"/>
                <a:ext cx="18" cy="2"/>
              </a:xfrm>
              <a:prstGeom prst="rect">
                <a:avLst/>
              </a:prstGeom>
              <a:solidFill>
                <a:srgbClr val="38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Rectangle 422">
                <a:extLst>
                  <a:ext uri="{FF2B5EF4-FFF2-40B4-BE49-F238E27FC236}">
                    <a16:creationId xmlns:a16="http://schemas.microsoft.com/office/drawing/2014/main" id="{B219592C-59E5-46AB-A2E0-C53E1559F4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" y="2498"/>
                <a:ext cx="18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423">
                <a:extLst>
                  <a:ext uri="{FF2B5EF4-FFF2-40B4-BE49-F238E27FC236}">
                    <a16:creationId xmlns:a16="http://schemas.microsoft.com/office/drawing/2014/main" id="{D456BDCA-CED2-47A7-B09F-DF0A9333F2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6" y="2308"/>
                <a:ext cx="6" cy="11"/>
              </a:xfrm>
              <a:custGeom>
                <a:avLst/>
                <a:gdLst>
                  <a:gd name="T0" fmla="*/ 12 w 12"/>
                  <a:gd name="T1" fmla="*/ 18 h 20"/>
                  <a:gd name="T2" fmla="*/ 7 w 12"/>
                  <a:gd name="T3" fmla="*/ 1 h 20"/>
                  <a:gd name="T4" fmla="*/ 6 w 12"/>
                  <a:gd name="T5" fmla="*/ 1 h 20"/>
                  <a:gd name="T6" fmla="*/ 0 w 12"/>
                  <a:gd name="T7" fmla="*/ 18 h 20"/>
                  <a:gd name="T8" fmla="*/ 6 w 12"/>
                  <a:gd name="T9" fmla="*/ 20 h 20"/>
                  <a:gd name="T10" fmla="*/ 12 w 12"/>
                  <a:gd name="T11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20">
                    <a:moveTo>
                      <a:pt x="12" y="18"/>
                    </a:moveTo>
                    <a:cubicBezTo>
                      <a:pt x="7" y="1"/>
                      <a:pt x="7" y="1"/>
                      <a:pt x="7" y="1"/>
                    </a:cubicBezTo>
                    <a:cubicBezTo>
                      <a:pt x="7" y="0"/>
                      <a:pt x="6" y="0"/>
                      <a:pt x="6" y="1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2" y="20"/>
                      <a:pt x="6" y="20"/>
                    </a:cubicBezTo>
                    <a:cubicBezTo>
                      <a:pt x="10" y="20"/>
                      <a:pt x="12" y="18"/>
                      <a:pt x="12" y="18"/>
                    </a:cubicBezTo>
                  </a:path>
                </a:pathLst>
              </a:custGeom>
              <a:solidFill>
                <a:srgbClr val="3330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424">
                <a:extLst>
                  <a:ext uri="{FF2B5EF4-FFF2-40B4-BE49-F238E27FC236}">
                    <a16:creationId xmlns:a16="http://schemas.microsoft.com/office/drawing/2014/main" id="{6B97EE5F-F13A-4ADC-9501-0DE1A1CB8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318"/>
                <a:ext cx="8" cy="17"/>
              </a:xfrm>
              <a:custGeom>
                <a:avLst/>
                <a:gdLst>
                  <a:gd name="T0" fmla="*/ 6 w 15"/>
                  <a:gd name="T1" fmla="*/ 0 h 31"/>
                  <a:gd name="T2" fmla="*/ 0 w 15"/>
                  <a:gd name="T3" fmla="*/ 2 h 31"/>
                  <a:gd name="T4" fmla="*/ 0 w 15"/>
                  <a:gd name="T5" fmla="*/ 2 h 31"/>
                  <a:gd name="T6" fmla="*/ 0 w 15"/>
                  <a:gd name="T7" fmla="*/ 31 h 31"/>
                  <a:gd name="T8" fmla="*/ 15 w 15"/>
                  <a:gd name="T9" fmla="*/ 29 h 31"/>
                  <a:gd name="T10" fmla="*/ 6 w 15"/>
                  <a:gd name="T1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1">
                    <a:moveTo>
                      <a:pt x="6" y="0"/>
                    </a:moveTo>
                    <a:cubicBezTo>
                      <a:pt x="6" y="0"/>
                      <a:pt x="4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8" y="31"/>
                      <a:pt x="15" y="29"/>
                      <a:pt x="15" y="29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425">
                <a:extLst>
                  <a:ext uri="{FF2B5EF4-FFF2-40B4-BE49-F238E27FC236}">
                    <a16:creationId xmlns:a16="http://schemas.microsoft.com/office/drawing/2014/main" id="{38DA11F0-0516-45BB-933F-FB12FCAFC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308"/>
                <a:ext cx="3" cy="11"/>
              </a:xfrm>
              <a:custGeom>
                <a:avLst/>
                <a:gdLst>
                  <a:gd name="T0" fmla="*/ 0 w 6"/>
                  <a:gd name="T1" fmla="*/ 0 h 20"/>
                  <a:gd name="T2" fmla="*/ 0 w 6"/>
                  <a:gd name="T3" fmla="*/ 20 h 20"/>
                  <a:gd name="T4" fmla="*/ 0 w 6"/>
                  <a:gd name="T5" fmla="*/ 20 h 20"/>
                  <a:gd name="T6" fmla="*/ 6 w 6"/>
                  <a:gd name="T7" fmla="*/ 18 h 20"/>
                  <a:gd name="T8" fmla="*/ 6 w 6"/>
                  <a:gd name="T9" fmla="*/ 18 h 20"/>
                  <a:gd name="T10" fmla="*/ 1 w 6"/>
                  <a:gd name="T11" fmla="*/ 1 h 20"/>
                  <a:gd name="T12" fmla="*/ 0 w 6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0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4" y="20"/>
                      <a:pt x="6" y="18"/>
                      <a:pt x="6" y="1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28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Rectangle 426">
                <a:extLst>
                  <a:ext uri="{FF2B5EF4-FFF2-40B4-BE49-F238E27FC236}">
                    <a16:creationId xmlns:a16="http://schemas.microsoft.com/office/drawing/2014/main" id="{1D2330FD-2ED4-42E1-8C03-B631E0A611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493"/>
                <a:ext cx="5" cy="1"/>
              </a:xfrm>
              <a:prstGeom prst="rect">
                <a:avLst/>
              </a:prstGeom>
              <a:solidFill>
                <a:srgbClr val="98A0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Rectangle 427">
                <a:extLst>
                  <a:ext uri="{FF2B5EF4-FFF2-40B4-BE49-F238E27FC236}">
                    <a16:creationId xmlns:a16="http://schemas.microsoft.com/office/drawing/2014/main" id="{5275919D-B33A-4F67-AC29-D8F3FB293C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2" y="2493"/>
                <a:ext cx="5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428">
                <a:extLst>
                  <a:ext uri="{FF2B5EF4-FFF2-40B4-BE49-F238E27FC236}">
                    <a16:creationId xmlns:a16="http://schemas.microsoft.com/office/drawing/2014/main" id="{2CC03B84-B821-4FC4-9137-60DD32E4F0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505"/>
                <a:ext cx="8" cy="15"/>
              </a:xfrm>
              <a:custGeom>
                <a:avLst/>
                <a:gdLst>
                  <a:gd name="T0" fmla="*/ 15 w 15"/>
                  <a:gd name="T1" fmla="*/ 0 h 27"/>
                  <a:gd name="T2" fmla="*/ 0 w 15"/>
                  <a:gd name="T3" fmla="*/ 0 h 27"/>
                  <a:gd name="T4" fmla="*/ 0 w 15"/>
                  <a:gd name="T5" fmla="*/ 27 h 27"/>
                  <a:gd name="T6" fmla="*/ 6 w 15"/>
                  <a:gd name="T7" fmla="*/ 27 h 27"/>
                  <a:gd name="T8" fmla="*/ 15 w 15"/>
                  <a:gd name="T9" fmla="*/ 19 h 27"/>
                  <a:gd name="T10" fmla="*/ 15 w 15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27">
                    <a:moveTo>
                      <a:pt x="1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11" y="27"/>
                      <a:pt x="15" y="23"/>
                      <a:pt x="15" y="19"/>
                    </a:cubicBezTo>
                    <a:cubicBezTo>
                      <a:pt x="15" y="0"/>
                      <a:pt x="15" y="0"/>
                      <a:pt x="15" y="0"/>
                    </a:cubicBezTo>
                  </a:path>
                </a:pathLst>
              </a:custGeom>
              <a:solidFill>
                <a:srgbClr val="A8B2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429">
                <a:extLst>
                  <a:ext uri="{FF2B5EF4-FFF2-40B4-BE49-F238E27FC236}">
                    <a16:creationId xmlns:a16="http://schemas.microsoft.com/office/drawing/2014/main" id="{CE769E4A-16E2-4514-A8C7-8CF2C73B66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493"/>
                <a:ext cx="9" cy="12"/>
              </a:xfrm>
              <a:custGeom>
                <a:avLst/>
                <a:gdLst>
                  <a:gd name="T0" fmla="*/ 9 w 9"/>
                  <a:gd name="T1" fmla="*/ 0 h 12"/>
                  <a:gd name="T2" fmla="*/ 8 w 9"/>
                  <a:gd name="T3" fmla="*/ 0 h 12"/>
                  <a:gd name="T4" fmla="*/ 3 w 9"/>
                  <a:gd name="T5" fmla="*/ 0 h 12"/>
                  <a:gd name="T6" fmla="*/ 0 w 9"/>
                  <a:gd name="T7" fmla="*/ 0 h 12"/>
                  <a:gd name="T8" fmla="*/ 0 w 9"/>
                  <a:gd name="T9" fmla="*/ 5 h 12"/>
                  <a:gd name="T10" fmla="*/ 9 w 9"/>
                  <a:gd name="T11" fmla="*/ 5 h 12"/>
                  <a:gd name="T12" fmla="*/ 9 w 9"/>
                  <a:gd name="T13" fmla="*/ 7 h 12"/>
                  <a:gd name="T14" fmla="*/ 0 w 9"/>
                  <a:gd name="T15" fmla="*/ 7 h 12"/>
                  <a:gd name="T16" fmla="*/ 0 w 9"/>
                  <a:gd name="T17" fmla="*/ 12 h 12"/>
                  <a:gd name="T18" fmla="*/ 8 w 9"/>
                  <a:gd name="T19" fmla="*/ 12 h 12"/>
                  <a:gd name="T20" fmla="*/ 9 w 9"/>
                  <a:gd name="T21" fmla="*/ 12 h 12"/>
                  <a:gd name="T22" fmla="*/ 9 w 9"/>
                  <a:gd name="T2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2">
                    <a:moveTo>
                      <a:pt x="9" y="0"/>
                    </a:moveTo>
                    <a:lnTo>
                      <a:pt x="8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9" y="12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C0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430">
                <a:extLst>
                  <a:ext uri="{FF2B5EF4-FFF2-40B4-BE49-F238E27FC236}">
                    <a16:creationId xmlns:a16="http://schemas.microsoft.com/office/drawing/2014/main" id="{776C5EAC-E3E3-42D5-A69A-F7F4CF1C8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9" y="2493"/>
                <a:ext cx="9" cy="12"/>
              </a:xfrm>
              <a:custGeom>
                <a:avLst/>
                <a:gdLst>
                  <a:gd name="T0" fmla="*/ 9 w 9"/>
                  <a:gd name="T1" fmla="*/ 0 h 12"/>
                  <a:gd name="T2" fmla="*/ 8 w 9"/>
                  <a:gd name="T3" fmla="*/ 0 h 12"/>
                  <a:gd name="T4" fmla="*/ 3 w 9"/>
                  <a:gd name="T5" fmla="*/ 0 h 12"/>
                  <a:gd name="T6" fmla="*/ 0 w 9"/>
                  <a:gd name="T7" fmla="*/ 0 h 12"/>
                  <a:gd name="T8" fmla="*/ 0 w 9"/>
                  <a:gd name="T9" fmla="*/ 5 h 12"/>
                  <a:gd name="T10" fmla="*/ 9 w 9"/>
                  <a:gd name="T11" fmla="*/ 5 h 12"/>
                  <a:gd name="T12" fmla="*/ 9 w 9"/>
                  <a:gd name="T13" fmla="*/ 7 h 12"/>
                  <a:gd name="T14" fmla="*/ 0 w 9"/>
                  <a:gd name="T15" fmla="*/ 7 h 12"/>
                  <a:gd name="T16" fmla="*/ 0 w 9"/>
                  <a:gd name="T17" fmla="*/ 12 h 12"/>
                  <a:gd name="T18" fmla="*/ 8 w 9"/>
                  <a:gd name="T19" fmla="*/ 12 h 12"/>
                  <a:gd name="T20" fmla="*/ 9 w 9"/>
                  <a:gd name="T21" fmla="*/ 12 h 12"/>
                  <a:gd name="T22" fmla="*/ 9 w 9"/>
                  <a:gd name="T2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2">
                    <a:moveTo>
                      <a:pt x="9" y="0"/>
                    </a:moveTo>
                    <a:lnTo>
                      <a:pt x="8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9" y="12"/>
                    </a:lnTo>
                    <a:lnTo>
                      <a:pt x="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Rectangle 431">
                <a:extLst>
                  <a:ext uri="{FF2B5EF4-FFF2-40B4-BE49-F238E27FC236}">
                    <a16:creationId xmlns:a16="http://schemas.microsoft.com/office/drawing/2014/main" id="{EC6916E4-F3F3-4BED-AF79-F8BE3DAE4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9" y="2498"/>
                <a:ext cx="9" cy="2"/>
              </a:xfrm>
              <a:prstGeom prst="rect">
                <a:avLst/>
              </a:prstGeom>
              <a:solidFill>
                <a:srgbClr val="2C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Rectangle 432">
                <a:extLst>
                  <a:ext uri="{FF2B5EF4-FFF2-40B4-BE49-F238E27FC236}">
                    <a16:creationId xmlns:a16="http://schemas.microsoft.com/office/drawing/2014/main" id="{650A1F53-6689-40CE-977F-61ED93A8FA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9" y="2498"/>
                <a:ext cx="9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433">
                <a:extLst>
                  <a:ext uri="{FF2B5EF4-FFF2-40B4-BE49-F238E27FC236}">
                    <a16:creationId xmlns:a16="http://schemas.microsoft.com/office/drawing/2014/main" id="{88D422E1-3C21-464B-A7F6-70D63A512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368"/>
                <a:ext cx="19" cy="165"/>
              </a:xfrm>
              <a:custGeom>
                <a:avLst/>
                <a:gdLst>
                  <a:gd name="T0" fmla="*/ 5 w 36"/>
                  <a:gd name="T1" fmla="*/ 0 h 302"/>
                  <a:gd name="T2" fmla="*/ 31 w 36"/>
                  <a:gd name="T3" fmla="*/ 0 h 302"/>
                  <a:gd name="T4" fmla="*/ 36 w 36"/>
                  <a:gd name="T5" fmla="*/ 138 h 302"/>
                  <a:gd name="T6" fmla="*/ 36 w 36"/>
                  <a:gd name="T7" fmla="*/ 187 h 302"/>
                  <a:gd name="T8" fmla="*/ 36 w 36"/>
                  <a:gd name="T9" fmla="*/ 192 h 302"/>
                  <a:gd name="T10" fmla="*/ 36 w 36"/>
                  <a:gd name="T11" fmla="*/ 195 h 302"/>
                  <a:gd name="T12" fmla="*/ 31 w 36"/>
                  <a:gd name="T13" fmla="*/ 302 h 302"/>
                  <a:gd name="T14" fmla="*/ 31 w 36"/>
                  <a:gd name="T15" fmla="*/ 302 h 302"/>
                  <a:gd name="T16" fmla="*/ 6 w 36"/>
                  <a:gd name="T17" fmla="*/ 302 h 302"/>
                  <a:gd name="T18" fmla="*/ 1 w 36"/>
                  <a:gd name="T19" fmla="*/ 195 h 302"/>
                  <a:gd name="T20" fmla="*/ 1 w 36"/>
                  <a:gd name="T21" fmla="*/ 192 h 302"/>
                  <a:gd name="T22" fmla="*/ 0 w 36"/>
                  <a:gd name="T23" fmla="*/ 187 h 302"/>
                  <a:gd name="T24" fmla="*/ 0 w 36"/>
                  <a:gd name="T25" fmla="*/ 138 h 302"/>
                  <a:gd name="T26" fmla="*/ 5 w 36"/>
                  <a:gd name="T27" fmla="*/ 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302">
                    <a:moveTo>
                      <a:pt x="5" y="0"/>
                    </a:moveTo>
                    <a:cubicBezTo>
                      <a:pt x="31" y="0"/>
                      <a:pt x="31" y="0"/>
                      <a:pt x="31" y="0"/>
                    </a:cubicBezTo>
                    <a:cubicBezTo>
                      <a:pt x="33" y="50"/>
                      <a:pt x="36" y="88"/>
                      <a:pt x="36" y="138"/>
                    </a:cubicBezTo>
                    <a:cubicBezTo>
                      <a:pt x="36" y="149"/>
                      <a:pt x="36" y="174"/>
                      <a:pt x="36" y="187"/>
                    </a:cubicBezTo>
                    <a:cubicBezTo>
                      <a:pt x="36" y="188"/>
                      <a:pt x="36" y="190"/>
                      <a:pt x="36" y="192"/>
                    </a:cubicBezTo>
                    <a:cubicBezTo>
                      <a:pt x="36" y="193"/>
                      <a:pt x="36" y="194"/>
                      <a:pt x="36" y="195"/>
                    </a:cubicBezTo>
                    <a:cubicBezTo>
                      <a:pt x="34" y="239"/>
                      <a:pt x="32" y="265"/>
                      <a:pt x="31" y="302"/>
                    </a:cubicBezTo>
                    <a:cubicBezTo>
                      <a:pt x="31" y="302"/>
                      <a:pt x="31" y="302"/>
                      <a:pt x="31" y="302"/>
                    </a:cubicBezTo>
                    <a:cubicBezTo>
                      <a:pt x="6" y="302"/>
                      <a:pt x="6" y="302"/>
                      <a:pt x="6" y="302"/>
                    </a:cubicBezTo>
                    <a:cubicBezTo>
                      <a:pt x="4" y="265"/>
                      <a:pt x="2" y="239"/>
                      <a:pt x="1" y="195"/>
                    </a:cubicBezTo>
                    <a:cubicBezTo>
                      <a:pt x="1" y="194"/>
                      <a:pt x="1" y="193"/>
                      <a:pt x="1" y="192"/>
                    </a:cubicBezTo>
                    <a:cubicBezTo>
                      <a:pt x="0" y="190"/>
                      <a:pt x="0" y="188"/>
                      <a:pt x="0" y="187"/>
                    </a:cubicBezTo>
                    <a:cubicBezTo>
                      <a:pt x="0" y="174"/>
                      <a:pt x="0" y="149"/>
                      <a:pt x="0" y="138"/>
                    </a:cubicBezTo>
                    <a:cubicBezTo>
                      <a:pt x="0" y="88"/>
                      <a:pt x="3" y="50"/>
                      <a:pt x="5" y="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434">
                <a:extLst>
                  <a:ext uri="{FF2B5EF4-FFF2-40B4-BE49-F238E27FC236}">
                    <a16:creationId xmlns:a16="http://schemas.microsoft.com/office/drawing/2014/main" id="{E6F09E0B-81C2-44FC-8D67-2E5C7FB92E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5" y="2358"/>
                <a:ext cx="15" cy="10"/>
              </a:xfrm>
              <a:custGeom>
                <a:avLst/>
                <a:gdLst>
                  <a:gd name="T0" fmla="*/ 12 w 26"/>
                  <a:gd name="T1" fmla="*/ 0 h 19"/>
                  <a:gd name="T2" fmla="*/ 14 w 26"/>
                  <a:gd name="T3" fmla="*/ 0 h 19"/>
                  <a:gd name="T4" fmla="*/ 26 w 26"/>
                  <a:gd name="T5" fmla="*/ 13 h 19"/>
                  <a:gd name="T6" fmla="*/ 26 w 26"/>
                  <a:gd name="T7" fmla="*/ 19 h 19"/>
                  <a:gd name="T8" fmla="*/ 0 w 26"/>
                  <a:gd name="T9" fmla="*/ 19 h 19"/>
                  <a:gd name="T10" fmla="*/ 0 w 26"/>
                  <a:gd name="T11" fmla="*/ 13 h 19"/>
                  <a:gd name="T12" fmla="*/ 12 w 26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9">
                    <a:moveTo>
                      <a:pt x="12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21" y="0"/>
                      <a:pt x="26" y="6"/>
                      <a:pt x="26" y="13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5" y="0"/>
                      <a:pt x="12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Rectangle 435">
                <a:extLst>
                  <a:ext uri="{FF2B5EF4-FFF2-40B4-BE49-F238E27FC236}">
                    <a16:creationId xmlns:a16="http://schemas.microsoft.com/office/drawing/2014/main" id="{5E7221C1-7A6D-469B-9AC2-11A82827F4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9" y="2365"/>
                <a:ext cx="6" cy="2"/>
              </a:xfrm>
              <a:prstGeom prst="rect">
                <a:avLst/>
              </a:pr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Rectangle 436">
                <a:extLst>
                  <a:ext uri="{FF2B5EF4-FFF2-40B4-BE49-F238E27FC236}">
                    <a16:creationId xmlns:a16="http://schemas.microsoft.com/office/drawing/2014/main" id="{B0E087A0-E53B-4F17-86D1-EDEB80A62A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9" y="2365"/>
                <a:ext cx="6" cy="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437">
                <a:extLst>
                  <a:ext uri="{FF2B5EF4-FFF2-40B4-BE49-F238E27FC236}">
                    <a16:creationId xmlns:a16="http://schemas.microsoft.com/office/drawing/2014/main" id="{1828DB6B-1A57-49EC-BD7B-12E84713EB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4" y="2365"/>
                <a:ext cx="13" cy="65"/>
              </a:xfrm>
              <a:custGeom>
                <a:avLst/>
                <a:gdLst>
                  <a:gd name="T0" fmla="*/ 2 w 24"/>
                  <a:gd name="T1" fmla="*/ 0 h 118"/>
                  <a:gd name="T2" fmla="*/ 3 w 24"/>
                  <a:gd name="T3" fmla="*/ 0 h 118"/>
                  <a:gd name="T4" fmla="*/ 5 w 24"/>
                  <a:gd name="T5" fmla="*/ 1 h 118"/>
                  <a:gd name="T6" fmla="*/ 5 w 24"/>
                  <a:gd name="T7" fmla="*/ 112 h 118"/>
                  <a:gd name="T8" fmla="*/ 7 w 24"/>
                  <a:gd name="T9" fmla="*/ 113 h 118"/>
                  <a:gd name="T10" fmla="*/ 7 w 24"/>
                  <a:gd name="T11" fmla="*/ 117 h 118"/>
                  <a:gd name="T12" fmla="*/ 0 w 24"/>
                  <a:gd name="T13" fmla="*/ 117 h 118"/>
                  <a:gd name="T14" fmla="*/ 1 w 24"/>
                  <a:gd name="T15" fmla="*/ 3 h 118"/>
                  <a:gd name="T16" fmla="*/ 0 w 24"/>
                  <a:gd name="T17" fmla="*/ 1 h 118"/>
                  <a:gd name="T18" fmla="*/ 2 w 24"/>
                  <a:gd name="T19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118">
                    <a:moveTo>
                      <a:pt x="2" y="0"/>
                    </a:moveTo>
                    <a:cubicBezTo>
                      <a:pt x="2" y="0"/>
                      <a:pt x="3" y="0"/>
                      <a:pt x="3" y="0"/>
                    </a:cubicBezTo>
                    <a:cubicBezTo>
                      <a:pt x="4" y="1"/>
                      <a:pt x="5" y="1"/>
                      <a:pt x="5" y="1"/>
                    </a:cubicBezTo>
                    <a:cubicBezTo>
                      <a:pt x="24" y="20"/>
                      <a:pt x="8" y="101"/>
                      <a:pt x="5" y="112"/>
                    </a:cubicBezTo>
                    <a:cubicBezTo>
                      <a:pt x="6" y="112"/>
                      <a:pt x="7" y="112"/>
                      <a:pt x="7" y="113"/>
                    </a:cubicBezTo>
                    <a:cubicBezTo>
                      <a:pt x="8" y="113"/>
                      <a:pt x="8" y="116"/>
                      <a:pt x="7" y="117"/>
                    </a:cubicBezTo>
                    <a:cubicBezTo>
                      <a:pt x="6" y="118"/>
                      <a:pt x="0" y="117"/>
                      <a:pt x="0" y="117"/>
                    </a:cubicBezTo>
                    <a:cubicBezTo>
                      <a:pt x="0" y="117"/>
                      <a:pt x="9" y="27"/>
                      <a:pt x="1" y="3"/>
                    </a:cubicBezTo>
                    <a:cubicBezTo>
                      <a:pt x="1" y="3"/>
                      <a:pt x="1" y="2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438">
                <a:extLst>
                  <a:ext uri="{FF2B5EF4-FFF2-40B4-BE49-F238E27FC236}">
                    <a16:creationId xmlns:a16="http://schemas.microsoft.com/office/drawing/2014/main" id="{F890825E-E460-4351-B586-42A7BDEC9C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74"/>
                <a:ext cx="19" cy="59"/>
              </a:xfrm>
              <a:custGeom>
                <a:avLst/>
                <a:gdLst>
                  <a:gd name="T0" fmla="*/ 17 w 35"/>
                  <a:gd name="T1" fmla="*/ 0 h 109"/>
                  <a:gd name="T2" fmla="*/ 17 w 35"/>
                  <a:gd name="T3" fmla="*/ 0 h 109"/>
                  <a:gd name="T4" fmla="*/ 35 w 35"/>
                  <a:gd name="T5" fmla="*/ 2 h 109"/>
                  <a:gd name="T6" fmla="*/ 30 w 35"/>
                  <a:gd name="T7" fmla="*/ 109 h 109"/>
                  <a:gd name="T8" fmla="*/ 30 w 35"/>
                  <a:gd name="T9" fmla="*/ 109 h 109"/>
                  <a:gd name="T10" fmla="*/ 5 w 35"/>
                  <a:gd name="T11" fmla="*/ 109 h 109"/>
                  <a:gd name="T12" fmla="*/ 0 w 35"/>
                  <a:gd name="T13" fmla="*/ 2 h 109"/>
                  <a:gd name="T14" fmla="*/ 17 w 35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09">
                    <a:moveTo>
                      <a:pt x="1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26" y="0"/>
                      <a:pt x="35" y="2"/>
                      <a:pt x="35" y="2"/>
                    </a:cubicBezTo>
                    <a:cubicBezTo>
                      <a:pt x="33" y="46"/>
                      <a:pt x="31" y="72"/>
                      <a:pt x="30" y="109"/>
                    </a:cubicBezTo>
                    <a:cubicBezTo>
                      <a:pt x="30" y="109"/>
                      <a:pt x="30" y="109"/>
                      <a:pt x="30" y="109"/>
                    </a:cubicBezTo>
                    <a:cubicBezTo>
                      <a:pt x="5" y="109"/>
                      <a:pt x="5" y="109"/>
                      <a:pt x="5" y="109"/>
                    </a:cubicBezTo>
                    <a:cubicBezTo>
                      <a:pt x="3" y="72"/>
                      <a:pt x="1" y="46"/>
                      <a:pt x="0" y="2"/>
                    </a:cubicBezTo>
                    <a:cubicBezTo>
                      <a:pt x="0" y="2"/>
                      <a:pt x="10" y="0"/>
                      <a:pt x="17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439">
                <a:extLst>
                  <a:ext uri="{FF2B5EF4-FFF2-40B4-BE49-F238E27FC236}">
                    <a16:creationId xmlns:a16="http://schemas.microsoft.com/office/drawing/2014/main" id="{613367DD-F1E1-49C2-9C9E-E21C58B35D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74"/>
                <a:ext cx="19" cy="59"/>
              </a:xfrm>
              <a:custGeom>
                <a:avLst/>
                <a:gdLst>
                  <a:gd name="T0" fmla="*/ 17 w 35"/>
                  <a:gd name="T1" fmla="*/ 0 h 109"/>
                  <a:gd name="T2" fmla="*/ 17 w 35"/>
                  <a:gd name="T3" fmla="*/ 0 h 109"/>
                  <a:gd name="T4" fmla="*/ 35 w 35"/>
                  <a:gd name="T5" fmla="*/ 2 h 109"/>
                  <a:gd name="T6" fmla="*/ 30 w 35"/>
                  <a:gd name="T7" fmla="*/ 109 h 109"/>
                  <a:gd name="T8" fmla="*/ 30 w 35"/>
                  <a:gd name="T9" fmla="*/ 109 h 109"/>
                  <a:gd name="T10" fmla="*/ 5 w 35"/>
                  <a:gd name="T11" fmla="*/ 109 h 109"/>
                  <a:gd name="T12" fmla="*/ 0 w 35"/>
                  <a:gd name="T13" fmla="*/ 2 h 109"/>
                  <a:gd name="T14" fmla="*/ 17 w 35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09">
                    <a:moveTo>
                      <a:pt x="1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26" y="0"/>
                      <a:pt x="35" y="2"/>
                      <a:pt x="35" y="2"/>
                    </a:cubicBezTo>
                    <a:cubicBezTo>
                      <a:pt x="33" y="46"/>
                      <a:pt x="31" y="72"/>
                      <a:pt x="30" y="109"/>
                    </a:cubicBezTo>
                    <a:cubicBezTo>
                      <a:pt x="30" y="109"/>
                      <a:pt x="30" y="109"/>
                      <a:pt x="30" y="109"/>
                    </a:cubicBezTo>
                    <a:cubicBezTo>
                      <a:pt x="5" y="109"/>
                      <a:pt x="5" y="109"/>
                      <a:pt x="5" y="109"/>
                    </a:cubicBezTo>
                    <a:cubicBezTo>
                      <a:pt x="3" y="72"/>
                      <a:pt x="1" y="46"/>
                      <a:pt x="0" y="2"/>
                    </a:cubicBezTo>
                    <a:cubicBezTo>
                      <a:pt x="0" y="2"/>
                      <a:pt x="10" y="0"/>
                      <a:pt x="17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440">
                <a:extLst>
                  <a:ext uri="{FF2B5EF4-FFF2-40B4-BE49-F238E27FC236}">
                    <a16:creationId xmlns:a16="http://schemas.microsoft.com/office/drawing/2014/main" id="{DAE9DB01-7BDE-4644-9CE1-DA53CC765C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3" y="2469"/>
                <a:ext cx="19" cy="4"/>
              </a:xfrm>
              <a:custGeom>
                <a:avLst/>
                <a:gdLst>
                  <a:gd name="T0" fmla="*/ 18 w 36"/>
                  <a:gd name="T1" fmla="*/ 0 h 7"/>
                  <a:gd name="T2" fmla="*/ 18 w 36"/>
                  <a:gd name="T3" fmla="*/ 0 h 7"/>
                  <a:gd name="T4" fmla="*/ 36 w 36"/>
                  <a:gd name="T5" fmla="*/ 2 h 7"/>
                  <a:gd name="T6" fmla="*/ 36 w 36"/>
                  <a:gd name="T7" fmla="*/ 7 h 7"/>
                  <a:gd name="T8" fmla="*/ 18 w 36"/>
                  <a:gd name="T9" fmla="*/ 5 h 7"/>
                  <a:gd name="T10" fmla="*/ 18 w 36"/>
                  <a:gd name="T11" fmla="*/ 5 h 7"/>
                  <a:gd name="T12" fmla="*/ 1 w 36"/>
                  <a:gd name="T13" fmla="*/ 7 h 7"/>
                  <a:gd name="T14" fmla="*/ 0 w 36"/>
                  <a:gd name="T15" fmla="*/ 2 h 7"/>
                  <a:gd name="T16" fmla="*/ 18 w 36"/>
                  <a:gd name="T1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" h="7">
                    <a:moveTo>
                      <a:pt x="18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26" y="0"/>
                      <a:pt x="34" y="1"/>
                      <a:pt x="36" y="2"/>
                    </a:cubicBezTo>
                    <a:cubicBezTo>
                      <a:pt x="36" y="3"/>
                      <a:pt x="36" y="5"/>
                      <a:pt x="36" y="7"/>
                    </a:cubicBezTo>
                    <a:cubicBezTo>
                      <a:pt x="34" y="6"/>
                      <a:pt x="26" y="5"/>
                      <a:pt x="18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2" y="5"/>
                      <a:pt x="2" y="6"/>
                      <a:pt x="1" y="7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2" y="1"/>
                      <a:pt x="11" y="0"/>
                      <a:pt x="18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441">
                <a:extLst>
                  <a:ext uri="{FF2B5EF4-FFF2-40B4-BE49-F238E27FC236}">
                    <a16:creationId xmlns:a16="http://schemas.microsoft.com/office/drawing/2014/main" id="{B7F23BCD-7291-42A1-A21F-BCA9489D4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2" y="2545"/>
                <a:ext cx="2" cy="6"/>
              </a:xfrm>
              <a:custGeom>
                <a:avLst/>
                <a:gdLst>
                  <a:gd name="T0" fmla="*/ 0 w 3"/>
                  <a:gd name="T1" fmla="*/ 0 h 11"/>
                  <a:gd name="T2" fmla="*/ 3 w 3"/>
                  <a:gd name="T3" fmla="*/ 0 h 11"/>
                  <a:gd name="T4" fmla="*/ 3 w 3"/>
                  <a:gd name="T5" fmla="*/ 9 h 11"/>
                  <a:gd name="T6" fmla="*/ 1 w 3"/>
                  <a:gd name="T7" fmla="*/ 11 h 11"/>
                  <a:gd name="T8" fmla="*/ 1 w 3"/>
                  <a:gd name="T9" fmla="*/ 11 h 11"/>
                  <a:gd name="T10" fmla="*/ 0 w 3"/>
                  <a:gd name="T11" fmla="*/ 11 h 11"/>
                  <a:gd name="T12" fmla="*/ 0 w 3"/>
                  <a:gd name="T13" fmla="*/ 9 h 11"/>
                  <a:gd name="T14" fmla="*/ 0 w 3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11">
                    <a:moveTo>
                      <a:pt x="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1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0" y="11"/>
                      <a:pt x="0" y="11"/>
                    </a:cubicBezTo>
                    <a:cubicBezTo>
                      <a:pt x="0" y="10"/>
                      <a:pt x="0" y="10"/>
                      <a:pt x="0" y="9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0321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442">
                <a:extLst>
                  <a:ext uri="{FF2B5EF4-FFF2-40B4-BE49-F238E27FC236}">
                    <a16:creationId xmlns:a16="http://schemas.microsoft.com/office/drawing/2014/main" id="{9215A3D7-4A65-411A-8417-E89E3EB198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6" y="2532"/>
                <a:ext cx="14" cy="14"/>
              </a:xfrm>
              <a:custGeom>
                <a:avLst/>
                <a:gdLst>
                  <a:gd name="T0" fmla="*/ 12 w 25"/>
                  <a:gd name="T1" fmla="*/ 0 h 27"/>
                  <a:gd name="T2" fmla="*/ 25 w 25"/>
                  <a:gd name="T3" fmla="*/ 3 h 27"/>
                  <a:gd name="T4" fmla="*/ 25 w 25"/>
                  <a:gd name="T5" fmla="*/ 3 h 27"/>
                  <a:gd name="T6" fmla="*/ 15 w 25"/>
                  <a:gd name="T7" fmla="*/ 27 h 27"/>
                  <a:gd name="T8" fmla="*/ 14 w 25"/>
                  <a:gd name="T9" fmla="*/ 27 h 27"/>
                  <a:gd name="T10" fmla="*/ 12 w 25"/>
                  <a:gd name="T11" fmla="*/ 27 h 27"/>
                  <a:gd name="T12" fmla="*/ 12 w 25"/>
                  <a:gd name="T13" fmla="*/ 27 h 27"/>
                  <a:gd name="T14" fmla="*/ 11 w 25"/>
                  <a:gd name="T15" fmla="*/ 27 h 27"/>
                  <a:gd name="T16" fmla="*/ 10 w 25"/>
                  <a:gd name="T17" fmla="*/ 27 h 27"/>
                  <a:gd name="T18" fmla="*/ 0 w 25"/>
                  <a:gd name="T19" fmla="*/ 3 h 27"/>
                  <a:gd name="T20" fmla="*/ 12 w 25"/>
                  <a:gd name="T2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27">
                    <a:moveTo>
                      <a:pt x="12" y="0"/>
                    </a:moveTo>
                    <a:cubicBezTo>
                      <a:pt x="18" y="0"/>
                      <a:pt x="24" y="1"/>
                      <a:pt x="25" y="3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4" y="10"/>
                      <a:pt x="18" y="21"/>
                      <a:pt x="15" y="27"/>
                    </a:cubicBezTo>
                    <a:cubicBezTo>
                      <a:pt x="15" y="27"/>
                      <a:pt x="14" y="27"/>
                      <a:pt x="14" y="27"/>
                    </a:cubicBezTo>
                    <a:cubicBezTo>
                      <a:pt x="13" y="27"/>
                      <a:pt x="13" y="27"/>
                      <a:pt x="12" y="27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2" y="27"/>
                      <a:pt x="11" y="27"/>
                      <a:pt x="11" y="27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6" y="21"/>
                      <a:pt x="0" y="9"/>
                      <a:pt x="0" y="3"/>
                    </a:cubicBezTo>
                    <a:cubicBezTo>
                      <a:pt x="0" y="1"/>
                      <a:pt x="6" y="0"/>
                      <a:pt x="12" y="0"/>
                    </a:cubicBezTo>
                  </a:path>
                </a:pathLst>
              </a:custGeom>
              <a:solidFill>
                <a:srgbClr val="FFEB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443">
                <a:extLst>
                  <a:ext uri="{FF2B5EF4-FFF2-40B4-BE49-F238E27FC236}">
                    <a16:creationId xmlns:a16="http://schemas.microsoft.com/office/drawing/2014/main" id="{478B5557-FFF7-49A5-A64C-C85625664E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3" y="2368"/>
                <a:ext cx="9" cy="107"/>
              </a:xfrm>
              <a:custGeom>
                <a:avLst/>
                <a:gdLst>
                  <a:gd name="T0" fmla="*/ 0 w 18"/>
                  <a:gd name="T1" fmla="*/ 190 h 195"/>
                  <a:gd name="T2" fmla="*/ 0 w 18"/>
                  <a:gd name="T3" fmla="*/ 190 h 195"/>
                  <a:gd name="T4" fmla="*/ 0 w 18"/>
                  <a:gd name="T5" fmla="*/ 193 h 195"/>
                  <a:gd name="T6" fmla="*/ 0 w 18"/>
                  <a:gd name="T7" fmla="*/ 193 h 195"/>
                  <a:gd name="T8" fmla="*/ 18 w 18"/>
                  <a:gd name="T9" fmla="*/ 195 h 195"/>
                  <a:gd name="T10" fmla="*/ 18 w 18"/>
                  <a:gd name="T11" fmla="*/ 195 h 195"/>
                  <a:gd name="T12" fmla="*/ 18 w 18"/>
                  <a:gd name="T13" fmla="*/ 192 h 195"/>
                  <a:gd name="T14" fmla="*/ 0 w 18"/>
                  <a:gd name="T15" fmla="*/ 190 h 195"/>
                  <a:gd name="T16" fmla="*/ 13 w 18"/>
                  <a:gd name="T17" fmla="*/ 0 h 195"/>
                  <a:gd name="T18" fmla="*/ 0 w 18"/>
                  <a:gd name="T19" fmla="*/ 0 h 195"/>
                  <a:gd name="T20" fmla="*/ 0 w 18"/>
                  <a:gd name="T21" fmla="*/ 185 h 195"/>
                  <a:gd name="T22" fmla="*/ 0 w 18"/>
                  <a:gd name="T23" fmla="*/ 185 h 195"/>
                  <a:gd name="T24" fmla="*/ 18 w 18"/>
                  <a:gd name="T25" fmla="*/ 187 h 195"/>
                  <a:gd name="T26" fmla="*/ 18 w 18"/>
                  <a:gd name="T27" fmla="*/ 187 h 195"/>
                  <a:gd name="T28" fmla="*/ 18 w 18"/>
                  <a:gd name="T29" fmla="*/ 138 h 195"/>
                  <a:gd name="T30" fmla="*/ 13 w 18"/>
                  <a:gd name="T31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195">
                    <a:moveTo>
                      <a:pt x="0" y="190"/>
                    </a:move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9" y="193"/>
                      <a:pt x="18" y="195"/>
                      <a:pt x="18" y="195"/>
                    </a:cubicBezTo>
                    <a:cubicBezTo>
                      <a:pt x="18" y="195"/>
                      <a:pt x="18" y="195"/>
                      <a:pt x="18" y="195"/>
                    </a:cubicBezTo>
                    <a:cubicBezTo>
                      <a:pt x="18" y="194"/>
                      <a:pt x="18" y="193"/>
                      <a:pt x="18" y="192"/>
                    </a:cubicBezTo>
                    <a:cubicBezTo>
                      <a:pt x="16" y="191"/>
                      <a:pt x="8" y="190"/>
                      <a:pt x="0" y="190"/>
                    </a:cubicBezTo>
                    <a:moveTo>
                      <a:pt x="1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85"/>
                      <a:pt x="0" y="185"/>
                      <a:pt x="0" y="185"/>
                    </a:cubicBezTo>
                    <a:cubicBezTo>
                      <a:pt x="0" y="185"/>
                      <a:pt x="0" y="185"/>
                      <a:pt x="0" y="185"/>
                    </a:cubicBezTo>
                    <a:cubicBezTo>
                      <a:pt x="8" y="185"/>
                      <a:pt x="16" y="186"/>
                      <a:pt x="18" y="187"/>
                    </a:cubicBezTo>
                    <a:cubicBezTo>
                      <a:pt x="18" y="187"/>
                      <a:pt x="18" y="187"/>
                      <a:pt x="18" y="187"/>
                    </a:cubicBezTo>
                    <a:cubicBezTo>
                      <a:pt x="18" y="174"/>
                      <a:pt x="18" y="149"/>
                      <a:pt x="18" y="138"/>
                    </a:cubicBezTo>
                    <a:cubicBezTo>
                      <a:pt x="18" y="88"/>
                      <a:pt x="15" y="50"/>
                      <a:pt x="13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444">
                <a:extLst>
                  <a:ext uri="{FF2B5EF4-FFF2-40B4-BE49-F238E27FC236}">
                    <a16:creationId xmlns:a16="http://schemas.microsoft.com/office/drawing/2014/main" id="{17498DD3-4E74-4D0E-98A9-8B51249788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358"/>
                <a:ext cx="7" cy="10"/>
              </a:xfrm>
              <a:custGeom>
                <a:avLst/>
                <a:gdLst>
                  <a:gd name="T0" fmla="*/ 1 w 13"/>
                  <a:gd name="T1" fmla="*/ 0 h 19"/>
                  <a:gd name="T2" fmla="*/ 0 w 13"/>
                  <a:gd name="T3" fmla="*/ 0 h 19"/>
                  <a:gd name="T4" fmla="*/ 0 w 13"/>
                  <a:gd name="T5" fmla="*/ 19 h 19"/>
                  <a:gd name="T6" fmla="*/ 13 w 13"/>
                  <a:gd name="T7" fmla="*/ 19 h 19"/>
                  <a:gd name="T8" fmla="*/ 13 w 13"/>
                  <a:gd name="T9" fmla="*/ 16 h 19"/>
                  <a:gd name="T10" fmla="*/ 12 w 13"/>
                  <a:gd name="T11" fmla="*/ 16 h 19"/>
                  <a:gd name="T12" fmla="*/ 12 w 13"/>
                  <a:gd name="T13" fmla="*/ 13 h 19"/>
                  <a:gd name="T14" fmla="*/ 13 w 13"/>
                  <a:gd name="T15" fmla="*/ 13 h 19"/>
                  <a:gd name="T16" fmla="*/ 13 w 13"/>
                  <a:gd name="T17" fmla="*/ 13 h 19"/>
                  <a:gd name="T18" fmla="*/ 1 w 13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9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6"/>
                      <a:pt x="8" y="0"/>
                      <a:pt x="1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445">
                <a:extLst>
                  <a:ext uri="{FF2B5EF4-FFF2-40B4-BE49-F238E27FC236}">
                    <a16:creationId xmlns:a16="http://schemas.microsoft.com/office/drawing/2014/main" id="{64E4E2F8-6597-4EF0-BD7D-108BA247C7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9" y="2365"/>
                <a:ext cx="6" cy="2"/>
              </a:xfrm>
              <a:custGeom>
                <a:avLst/>
                <a:gdLst>
                  <a:gd name="T0" fmla="*/ 10 w 11"/>
                  <a:gd name="T1" fmla="*/ 0 h 3"/>
                  <a:gd name="T2" fmla="*/ 1 w 11"/>
                  <a:gd name="T3" fmla="*/ 0 h 3"/>
                  <a:gd name="T4" fmla="*/ 0 w 11"/>
                  <a:gd name="T5" fmla="*/ 0 h 3"/>
                  <a:gd name="T6" fmla="*/ 0 w 11"/>
                  <a:gd name="T7" fmla="*/ 3 h 3"/>
                  <a:gd name="T8" fmla="*/ 1 w 11"/>
                  <a:gd name="T9" fmla="*/ 3 h 3"/>
                  <a:gd name="T10" fmla="*/ 9 w 11"/>
                  <a:gd name="T11" fmla="*/ 3 h 3"/>
                  <a:gd name="T12" fmla="*/ 8 w 11"/>
                  <a:gd name="T13" fmla="*/ 1 h 3"/>
                  <a:gd name="T14" fmla="*/ 10 w 11"/>
                  <a:gd name="T15" fmla="*/ 0 h 3"/>
                  <a:gd name="T16" fmla="*/ 11 w 11"/>
                  <a:gd name="T17" fmla="*/ 0 h 3"/>
                  <a:gd name="T18" fmla="*/ 10 w 11"/>
                  <a:gd name="T19" fmla="*/ 0 h 3"/>
                  <a:gd name="T20" fmla="*/ 11 w 11"/>
                  <a:gd name="T21" fmla="*/ 0 h 3"/>
                  <a:gd name="T22" fmla="*/ 11 w 11"/>
                  <a:gd name="T2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3">
                    <a:moveTo>
                      <a:pt x="1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2"/>
                      <a:pt x="8" y="1"/>
                    </a:cubicBezTo>
                    <a:cubicBezTo>
                      <a:pt x="8" y="1"/>
                      <a:pt x="9" y="0"/>
                      <a:pt x="10" y="0"/>
                    </a:cubicBezTo>
                    <a:moveTo>
                      <a:pt x="1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446">
                <a:extLst>
                  <a:ext uri="{FF2B5EF4-FFF2-40B4-BE49-F238E27FC236}">
                    <a16:creationId xmlns:a16="http://schemas.microsoft.com/office/drawing/2014/main" id="{178BFD43-1F73-4C78-8572-DFDCE910C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4" y="2365"/>
                <a:ext cx="7" cy="64"/>
              </a:xfrm>
              <a:custGeom>
                <a:avLst/>
                <a:gdLst>
                  <a:gd name="T0" fmla="*/ 2 w 14"/>
                  <a:gd name="T1" fmla="*/ 0 h 117"/>
                  <a:gd name="T2" fmla="*/ 2 w 14"/>
                  <a:gd name="T3" fmla="*/ 0 h 117"/>
                  <a:gd name="T4" fmla="*/ 0 w 14"/>
                  <a:gd name="T5" fmla="*/ 1 h 117"/>
                  <a:gd name="T6" fmla="*/ 1 w 14"/>
                  <a:gd name="T7" fmla="*/ 3 h 117"/>
                  <a:gd name="T8" fmla="*/ 1 w 14"/>
                  <a:gd name="T9" fmla="*/ 3 h 117"/>
                  <a:gd name="T10" fmla="*/ 4 w 14"/>
                  <a:gd name="T11" fmla="*/ 40 h 117"/>
                  <a:gd name="T12" fmla="*/ 4 w 14"/>
                  <a:gd name="T13" fmla="*/ 61 h 117"/>
                  <a:gd name="T14" fmla="*/ 4 w 14"/>
                  <a:gd name="T15" fmla="*/ 63 h 117"/>
                  <a:gd name="T16" fmla="*/ 3 w 14"/>
                  <a:gd name="T17" fmla="*/ 86 h 117"/>
                  <a:gd name="T18" fmla="*/ 3 w 14"/>
                  <a:gd name="T19" fmla="*/ 87 h 117"/>
                  <a:gd name="T20" fmla="*/ 1 w 14"/>
                  <a:gd name="T21" fmla="*/ 110 h 117"/>
                  <a:gd name="T22" fmla="*/ 1 w 14"/>
                  <a:gd name="T23" fmla="*/ 112 h 117"/>
                  <a:gd name="T24" fmla="*/ 0 w 14"/>
                  <a:gd name="T25" fmla="*/ 117 h 117"/>
                  <a:gd name="T26" fmla="*/ 5 w 14"/>
                  <a:gd name="T27" fmla="*/ 117 h 117"/>
                  <a:gd name="T28" fmla="*/ 7 w 14"/>
                  <a:gd name="T29" fmla="*/ 117 h 117"/>
                  <a:gd name="T30" fmla="*/ 8 w 14"/>
                  <a:gd name="T31" fmla="*/ 115 h 117"/>
                  <a:gd name="T32" fmla="*/ 7 w 14"/>
                  <a:gd name="T33" fmla="*/ 113 h 117"/>
                  <a:gd name="T34" fmla="*/ 5 w 14"/>
                  <a:gd name="T35" fmla="*/ 112 h 117"/>
                  <a:gd name="T36" fmla="*/ 5 w 14"/>
                  <a:gd name="T37" fmla="*/ 112 h 117"/>
                  <a:gd name="T38" fmla="*/ 5 w 14"/>
                  <a:gd name="T39" fmla="*/ 112 h 117"/>
                  <a:gd name="T40" fmla="*/ 14 w 14"/>
                  <a:gd name="T41" fmla="*/ 39 h 117"/>
                  <a:gd name="T42" fmla="*/ 5 w 14"/>
                  <a:gd name="T43" fmla="*/ 1 h 117"/>
                  <a:gd name="T44" fmla="*/ 3 w 14"/>
                  <a:gd name="T45" fmla="*/ 0 h 117"/>
                  <a:gd name="T46" fmla="*/ 3 w 14"/>
                  <a:gd name="T47" fmla="*/ 0 h 117"/>
                  <a:gd name="T48" fmla="*/ 2 w 14"/>
                  <a:gd name="T49" fmla="*/ 0 h 117"/>
                  <a:gd name="T50" fmla="*/ 2 w 14"/>
                  <a:gd name="T51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" h="117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11"/>
                      <a:pt x="4" y="24"/>
                      <a:pt x="4" y="40"/>
                    </a:cubicBezTo>
                    <a:cubicBezTo>
                      <a:pt x="4" y="47"/>
                      <a:pt x="4" y="54"/>
                      <a:pt x="4" y="61"/>
                    </a:cubicBezTo>
                    <a:cubicBezTo>
                      <a:pt x="4" y="62"/>
                      <a:pt x="4" y="63"/>
                      <a:pt x="4" y="63"/>
                    </a:cubicBezTo>
                    <a:cubicBezTo>
                      <a:pt x="4" y="71"/>
                      <a:pt x="3" y="79"/>
                      <a:pt x="3" y="86"/>
                    </a:cubicBezTo>
                    <a:cubicBezTo>
                      <a:pt x="3" y="86"/>
                      <a:pt x="3" y="87"/>
                      <a:pt x="3" y="87"/>
                    </a:cubicBezTo>
                    <a:cubicBezTo>
                      <a:pt x="2" y="97"/>
                      <a:pt x="1" y="105"/>
                      <a:pt x="1" y="110"/>
                    </a:cubicBezTo>
                    <a:cubicBezTo>
                      <a:pt x="1" y="111"/>
                      <a:pt x="1" y="111"/>
                      <a:pt x="1" y="112"/>
                    </a:cubicBezTo>
                    <a:cubicBezTo>
                      <a:pt x="0" y="115"/>
                      <a:pt x="0" y="117"/>
                      <a:pt x="0" y="117"/>
                    </a:cubicBezTo>
                    <a:cubicBezTo>
                      <a:pt x="0" y="117"/>
                      <a:pt x="3" y="117"/>
                      <a:pt x="5" y="117"/>
                    </a:cubicBezTo>
                    <a:cubicBezTo>
                      <a:pt x="6" y="117"/>
                      <a:pt x="7" y="117"/>
                      <a:pt x="7" y="117"/>
                    </a:cubicBezTo>
                    <a:cubicBezTo>
                      <a:pt x="8" y="116"/>
                      <a:pt x="8" y="116"/>
                      <a:pt x="8" y="115"/>
                    </a:cubicBezTo>
                    <a:cubicBezTo>
                      <a:pt x="8" y="114"/>
                      <a:pt x="8" y="113"/>
                      <a:pt x="7" y="113"/>
                    </a:cubicBezTo>
                    <a:cubicBezTo>
                      <a:pt x="7" y="112"/>
                      <a:pt x="6" y="112"/>
                      <a:pt x="5" y="112"/>
                    </a:cubicBezTo>
                    <a:cubicBezTo>
                      <a:pt x="5" y="112"/>
                      <a:pt x="5" y="112"/>
                      <a:pt x="5" y="112"/>
                    </a:cubicBezTo>
                    <a:cubicBezTo>
                      <a:pt x="5" y="112"/>
                      <a:pt x="5" y="112"/>
                      <a:pt x="5" y="112"/>
                    </a:cubicBezTo>
                    <a:cubicBezTo>
                      <a:pt x="7" y="105"/>
                      <a:pt x="14" y="69"/>
                      <a:pt x="14" y="39"/>
                    </a:cubicBezTo>
                    <a:cubicBezTo>
                      <a:pt x="14" y="22"/>
                      <a:pt x="12" y="8"/>
                      <a:pt x="5" y="1"/>
                    </a:cubicBezTo>
                    <a:cubicBezTo>
                      <a:pt x="5" y="1"/>
                      <a:pt x="4" y="1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447">
                <a:extLst>
                  <a:ext uri="{FF2B5EF4-FFF2-40B4-BE49-F238E27FC236}">
                    <a16:creationId xmlns:a16="http://schemas.microsoft.com/office/drawing/2014/main" id="{DB9D77ED-B32C-4C0D-A146-982D2163D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474"/>
                <a:ext cx="9" cy="59"/>
              </a:xfrm>
              <a:custGeom>
                <a:avLst/>
                <a:gdLst>
                  <a:gd name="T0" fmla="*/ 0 w 18"/>
                  <a:gd name="T1" fmla="*/ 0 h 109"/>
                  <a:gd name="T2" fmla="*/ 0 w 18"/>
                  <a:gd name="T3" fmla="*/ 0 h 109"/>
                  <a:gd name="T4" fmla="*/ 0 w 18"/>
                  <a:gd name="T5" fmla="*/ 106 h 109"/>
                  <a:gd name="T6" fmla="*/ 13 w 18"/>
                  <a:gd name="T7" fmla="*/ 109 h 109"/>
                  <a:gd name="T8" fmla="*/ 13 w 18"/>
                  <a:gd name="T9" fmla="*/ 109 h 109"/>
                  <a:gd name="T10" fmla="*/ 13 w 18"/>
                  <a:gd name="T11" fmla="*/ 109 h 109"/>
                  <a:gd name="T12" fmla="*/ 18 w 18"/>
                  <a:gd name="T13" fmla="*/ 2 h 109"/>
                  <a:gd name="T14" fmla="*/ 0 w 18"/>
                  <a:gd name="T15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09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6" y="106"/>
                      <a:pt x="12" y="107"/>
                      <a:pt x="13" y="109"/>
                    </a:cubicBezTo>
                    <a:cubicBezTo>
                      <a:pt x="13" y="109"/>
                      <a:pt x="13" y="109"/>
                      <a:pt x="13" y="109"/>
                    </a:cubicBezTo>
                    <a:cubicBezTo>
                      <a:pt x="13" y="109"/>
                      <a:pt x="13" y="109"/>
                      <a:pt x="13" y="109"/>
                    </a:cubicBezTo>
                    <a:cubicBezTo>
                      <a:pt x="14" y="72"/>
                      <a:pt x="16" y="46"/>
                      <a:pt x="18" y="2"/>
                    </a:cubicBezTo>
                    <a:cubicBezTo>
                      <a:pt x="18" y="2"/>
                      <a:pt x="9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448">
                <a:extLst>
                  <a:ext uri="{FF2B5EF4-FFF2-40B4-BE49-F238E27FC236}">
                    <a16:creationId xmlns:a16="http://schemas.microsoft.com/office/drawing/2014/main" id="{DFB48736-B053-4E47-8E66-2B69573E2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469"/>
                <a:ext cx="9" cy="4"/>
              </a:xfrm>
              <a:custGeom>
                <a:avLst/>
                <a:gdLst>
                  <a:gd name="T0" fmla="*/ 0 w 18"/>
                  <a:gd name="T1" fmla="*/ 0 h 7"/>
                  <a:gd name="T2" fmla="*/ 0 w 18"/>
                  <a:gd name="T3" fmla="*/ 0 h 7"/>
                  <a:gd name="T4" fmla="*/ 0 w 18"/>
                  <a:gd name="T5" fmla="*/ 5 h 7"/>
                  <a:gd name="T6" fmla="*/ 0 w 18"/>
                  <a:gd name="T7" fmla="*/ 5 h 7"/>
                  <a:gd name="T8" fmla="*/ 18 w 18"/>
                  <a:gd name="T9" fmla="*/ 7 h 7"/>
                  <a:gd name="T10" fmla="*/ 18 w 18"/>
                  <a:gd name="T11" fmla="*/ 7 h 7"/>
                  <a:gd name="T12" fmla="*/ 18 w 18"/>
                  <a:gd name="T13" fmla="*/ 2 h 7"/>
                  <a:gd name="T14" fmla="*/ 0 w 18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7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8" y="5"/>
                      <a:pt x="16" y="6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5"/>
                      <a:pt x="18" y="3"/>
                      <a:pt x="18" y="2"/>
                    </a:cubicBezTo>
                    <a:cubicBezTo>
                      <a:pt x="16" y="1"/>
                      <a:pt x="8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449">
                <a:extLst>
                  <a:ext uri="{FF2B5EF4-FFF2-40B4-BE49-F238E27FC236}">
                    <a16:creationId xmlns:a16="http://schemas.microsoft.com/office/drawing/2014/main" id="{EE67C20A-7262-451F-A13A-4FFB9B317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546"/>
                <a:ext cx="1" cy="5"/>
              </a:xfrm>
              <a:custGeom>
                <a:avLst/>
                <a:gdLst>
                  <a:gd name="T0" fmla="*/ 0 w 2"/>
                  <a:gd name="T1" fmla="*/ 0 h 8"/>
                  <a:gd name="T2" fmla="*/ 0 w 2"/>
                  <a:gd name="T3" fmla="*/ 0 h 8"/>
                  <a:gd name="T4" fmla="*/ 0 w 2"/>
                  <a:gd name="T5" fmla="*/ 8 h 8"/>
                  <a:gd name="T6" fmla="*/ 0 w 2"/>
                  <a:gd name="T7" fmla="*/ 8 h 8"/>
                  <a:gd name="T8" fmla="*/ 2 w 2"/>
                  <a:gd name="T9" fmla="*/ 6 h 8"/>
                  <a:gd name="T10" fmla="*/ 2 w 2"/>
                  <a:gd name="T11" fmla="*/ 0 h 8"/>
                  <a:gd name="T12" fmla="*/ 0 w 2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8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8"/>
                      <a:pt x="2" y="7"/>
                      <a:pt x="2" y="6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</a:path>
                </a:pathLst>
              </a:custGeom>
              <a:solidFill>
                <a:srgbClr val="021A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450">
                <a:extLst>
                  <a:ext uri="{FF2B5EF4-FFF2-40B4-BE49-F238E27FC236}">
                    <a16:creationId xmlns:a16="http://schemas.microsoft.com/office/drawing/2014/main" id="{19AA9A6F-C13A-4874-B973-48D06D31DD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2532"/>
                <a:ext cx="7" cy="14"/>
              </a:xfrm>
              <a:custGeom>
                <a:avLst/>
                <a:gdLst>
                  <a:gd name="T0" fmla="*/ 0 w 13"/>
                  <a:gd name="T1" fmla="*/ 0 h 27"/>
                  <a:gd name="T2" fmla="*/ 0 w 13"/>
                  <a:gd name="T3" fmla="*/ 27 h 27"/>
                  <a:gd name="T4" fmla="*/ 0 w 13"/>
                  <a:gd name="T5" fmla="*/ 27 h 27"/>
                  <a:gd name="T6" fmla="*/ 2 w 13"/>
                  <a:gd name="T7" fmla="*/ 27 h 27"/>
                  <a:gd name="T8" fmla="*/ 2 w 13"/>
                  <a:gd name="T9" fmla="*/ 27 h 27"/>
                  <a:gd name="T10" fmla="*/ 2 w 13"/>
                  <a:gd name="T11" fmla="*/ 27 h 27"/>
                  <a:gd name="T12" fmla="*/ 3 w 13"/>
                  <a:gd name="T13" fmla="*/ 27 h 27"/>
                  <a:gd name="T14" fmla="*/ 13 w 13"/>
                  <a:gd name="T15" fmla="*/ 3 h 27"/>
                  <a:gd name="T16" fmla="*/ 13 w 13"/>
                  <a:gd name="T17" fmla="*/ 3 h 27"/>
                  <a:gd name="T18" fmla="*/ 0 w 13"/>
                  <a:gd name="T1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27">
                    <a:moveTo>
                      <a:pt x="0" y="0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27"/>
                      <a:pt x="1" y="27"/>
                      <a:pt x="2" y="2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7"/>
                      <a:pt x="3" y="27"/>
                      <a:pt x="3" y="27"/>
                    </a:cubicBezTo>
                    <a:cubicBezTo>
                      <a:pt x="6" y="21"/>
                      <a:pt x="12" y="10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2" y="1"/>
                      <a:pt x="6" y="0"/>
                      <a:pt x="0" y="0"/>
                    </a:cubicBezTo>
                  </a:path>
                </a:pathLst>
              </a:custGeom>
              <a:solidFill>
                <a:srgbClr val="CAB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451">
                <a:extLst>
                  <a:ext uri="{FF2B5EF4-FFF2-40B4-BE49-F238E27FC236}">
                    <a16:creationId xmlns:a16="http://schemas.microsoft.com/office/drawing/2014/main" id="{9E3CC415-918E-4FBB-8B4C-83A60F454C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4" y="2208"/>
                <a:ext cx="385" cy="430"/>
              </a:xfrm>
              <a:custGeom>
                <a:avLst/>
                <a:gdLst>
                  <a:gd name="T0" fmla="*/ 217 w 385"/>
                  <a:gd name="T1" fmla="*/ 0 h 430"/>
                  <a:gd name="T2" fmla="*/ 385 w 385"/>
                  <a:gd name="T3" fmla="*/ 33 h 430"/>
                  <a:gd name="T4" fmla="*/ 364 w 385"/>
                  <a:gd name="T5" fmla="*/ 172 h 430"/>
                  <a:gd name="T6" fmla="*/ 22 w 385"/>
                  <a:gd name="T7" fmla="*/ 430 h 430"/>
                  <a:gd name="T8" fmla="*/ 0 w 385"/>
                  <a:gd name="T9" fmla="*/ 387 h 430"/>
                  <a:gd name="T10" fmla="*/ 217 w 385"/>
                  <a:gd name="T11" fmla="*/ 0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5" h="430">
                    <a:moveTo>
                      <a:pt x="217" y="0"/>
                    </a:moveTo>
                    <a:lnTo>
                      <a:pt x="385" y="33"/>
                    </a:lnTo>
                    <a:lnTo>
                      <a:pt x="364" y="172"/>
                    </a:lnTo>
                    <a:lnTo>
                      <a:pt x="22" y="430"/>
                    </a:lnTo>
                    <a:lnTo>
                      <a:pt x="0" y="387"/>
                    </a:lnTo>
                    <a:lnTo>
                      <a:pt x="217" y="0"/>
                    </a:lnTo>
                    <a:close/>
                  </a:path>
                </a:pathLst>
              </a:custGeom>
              <a:solidFill>
                <a:srgbClr val="AF8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452">
                <a:extLst>
                  <a:ext uri="{FF2B5EF4-FFF2-40B4-BE49-F238E27FC236}">
                    <a16:creationId xmlns:a16="http://schemas.microsoft.com/office/drawing/2014/main" id="{F0613E80-FB5E-4D05-A633-8025570994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8" y="2110"/>
                <a:ext cx="28" cy="27"/>
              </a:xfrm>
              <a:custGeom>
                <a:avLst/>
                <a:gdLst>
                  <a:gd name="T0" fmla="*/ 14 w 28"/>
                  <a:gd name="T1" fmla="*/ 0 h 27"/>
                  <a:gd name="T2" fmla="*/ 28 w 28"/>
                  <a:gd name="T3" fmla="*/ 13 h 27"/>
                  <a:gd name="T4" fmla="*/ 14 w 28"/>
                  <a:gd name="T5" fmla="*/ 27 h 27"/>
                  <a:gd name="T6" fmla="*/ 0 w 28"/>
                  <a:gd name="T7" fmla="*/ 14 h 27"/>
                  <a:gd name="T8" fmla="*/ 14 w 28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7">
                    <a:moveTo>
                      <a:pt x="14" y="0"/>
                    </a:moveTo>
                    <a:lnTo>
                      <a:pt x="28" y="13"/>
                    </a:lnTo>
                    <a:lnTo>
                      <a:pt x="14" y="27"/>
                    </a:lnTo>
                    <a:lnTo>
                      <a:pt x="0" y="14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6868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453">
                <a:extLst>
                  <a:ext uri="{FF2B5EF4-FFF2-40B4-BE49-F238E27FC236}">
                    <a16:creationId xmlns:a16="http://schemas.microsoft.com/office/drawing/2014/main" id="{8B4F3E16-AFD0-4119-90C0-591B01E65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8" y="2110"/>
                <a:ext cx="28" cy="27"/>
              </a:xfrm>
              <a:custGeom>
                <a:avLst/>
                <a:gdLst>
                  <a:gd name="T0" fmla="*/ 14 w 28"/>
                  <a:gd name="T1" fmla="*/ 0 h 27"/>
                  <a:gd name="T2" fmla="*/ 28 w 28"/>
                  <a:gd name="T3" fmla="*/ 13 h 27"/>
                  <a:gd name="T4" fmla="*/ 14 w 28"/>
                  <a:gd name="T5" fmla="*/ 27 h 27"/>
                  <a:gd name="T6" fmla="*/ 0 w 28"/>
                  <a:gd name="T7" fmla="*/ 14 h 27"/>
                  <a:gd name="T8" fmla="*/ 14 w 28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7">
                    <a:moveTo>
                      <a:pt x="14" y="0"/>
                    </a:moveTo>
                    <a:lnTo>
                      <a:pt x="28" y="13"/>
                    </a:lnTo>
                    <a:lnTo>
                      <a:pt x="14" y="27"/>
                    </a:lnTo>
                    <a:lnTo>
                      <a:pt x="0" y="14"/>
                    </a:lnTo>
                    <a:lnTo>
                      <a:pt x="1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454">
                <a:extLst>
                  <a:ext uri="{FF2B5EF4-FFF2-40B4-BE49-F238E27FC236}">
                    <a16:creationId xmlns:a16="http://schemas.microsoft.com/office/drawing/2014/main" id="{D3E7D7A5-8042-401A-BD13-13236A1BBB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04"/>
                <a:ext cx="24" cy="24"/>
              </a:xfrm>
              <a:custGeom>
                <a:avLst/>
                <a:gdLst>
                  <a:gd name="T0" fmla="*/ 6 w 24"/>
                  <a:gd name="T1" fmla="*/ 0 h 24"/>
                  <a:gd name="T2" fmla="*/ 24 w 24"/>
                  <a:gd name="T3" fmla="*/ 18 h 24"/>
                  <a:gd name="T4" fmla="*/ 18 w 24"/>
                  <a:gd name="T5" fmla="*/ 24 h 24"/>
                  <a:gd name="T6" fmla="*/ 0 w 24"/>
                  <a:gd name="T7" fmla="*/ 5 h 24"/>
                  <a:gd name="T8" fmla="*/ 6 w 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4">
                    <a:moveTo>
                      <a:pt x="6" y="0"/>
                    </a:moveTo>
                    <a:lnTo>
                      <a:pt x="24" y="18"/>
                    </a:lnTo>
                    <a:lnTo>
                      <a:pt x="18" y="24"/>
                    </a:lnTo>
                    <a:lnTo>
                      <a:pt x="0" y="5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455">
                <a:extLst>
                  <a:ext uri="{FF2B5EF4-FFF2-40B4-BE49-F238E27FC236}">
                    <a16:creationId xmlns:a16="http://schemas.microsoft.com/office/drawing/2014/main" id="{9C0C497F-D75E-4359-98A4-465AEE7A6B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04"/>
                <a:ext cx="24" cy="24"/>
              </a:xfrm>
              <a:custGeom>
                <a:avLst/>
                <a:gdLst>
                  <a:gd name="T0" fmla="*/ 6 w 24"/>
                  <a:gd name="T1" fmla="*/ 0 h 24"/>
                  <a:gd name="T2" fmla="*/ 24 w 24"/>
                  <a:gd name="T3" fmla="*/ 18 h 24"/>
                  <a:gd name="T4" fmla="*/ 18 w 24"/>
                  <a:gd name="T5" fmla="*/ 24 h 24"/>
                  <a:gd name="T6" fmla="*/ 0 w 24"/>
                  <a:gd name="T7" fmla="*/ 5 h 24"/>
                  <a:gd name="T8" fmla="*/ 6 w 2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4">
                    <a:moveTo>
                      <a:pt x="6" y="0"/>
                    </a:moveTo>
                    <a:lnTo>
                      <a:pt x="24" y="18"/>
                    </a:lnTo>
                    <a:lnTo>
                      <a:pt x="18" y="24"/>
                    </a:lnTo>
                    <a:lnTo>
                      <a:pt x="0" y="5"/>
                    </a:lnTo>
                    <a:lnTo>
                      <a:pt x="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456">
                <a:extLst>
                  <a:ext uri="{FF2B5EF4-FFF2-40B4-BE49-F238E27FC236}">
                    <a16:creationId xmlns:a16="http://schemas.microsoft.com/office/drawing/2014/main" id="{FFA8D5FD-07C3-466A-97FA-4DE89C9BA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0" y="2052"/>
                <a:ext cx="74" cy="73"/>
              </a:xfrm>
              <a:custGeom>
                <a:avLst/>
                <a:gdLst>
                  <a:gd name="T0" fmla="*/ 96 w 135"/>
                  <a:gd name="T1" fmla="*/ 0 h 134"/>
                  <a:gd name="T2" fmla="*/ 135 w 135"/>
                  <a:gd name="T3" fmla="*/ 38 h 134"/>
                  <a:gd name="T4" fmla="*/ 39 w 135"/>
                  <a:gd name="T5" fmla="*/ 134 h 134"/>
                  <a:gd name="T6" fmla="*/ 0 w 135"/>
                  <a:gd name="T7" fmla="*/ 96 h 134"/>
                  <a:gd name="T8" fmla="*/ 96 w 135"/>
                  <a:gd name="T9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5" h="134">
                    <a:moveTo>
                      <a:pt x="96" y="0"/>
                    </a:moveTo>
                    <a:cubicBezTo>
                      <a:pt x="135" y="38"/>
                      <a:pt x="135" y="38"/>
                      <a:pt x="135" y="38"/>
                    </a:cubicBezTo>
                    <a:cubicBezTo>
                      <a:pt x="106" y="79"/>
                      <a:pt x="80" y="106"/>
                      <a:pt x="39" y="134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29" y="55"/>
                      <a:pt x="55" y="28"/>
                      <a:pt x="96" y="0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457">
                <a:extLst>
                  <a:ext uri="{FF2B5EF4-FFF2-40B4-BE49-F238E27FC236}">
                    <a16:creationId xmlns:a16="http://schemas.microsoft.com/office/drawing/2014/main" id="{2DEDA6B9-13B8-4068-BB83-A64FD9172F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2067"/>
                <a:ext cx="44" cy="44"/>
              </a:xfrm>
              <a:custGeom>
                <a:avLst/>
                <a:gdLst>
                  <a:gd name="T0" fmla="*/ 78 w 81"/>
                  <a:gd name="T1" fmla="*/ 26 h 80"/>
                  <a:gd name="T2" fmla="*/ 27 w 81"/>
                  <a:gd name="T3" fmla="*/ 77 h 80"/>
                  <a:gd name="T4" fmla="*/ 16 w 81"/>
                  <a:gd name="T5" fmla="*/ 77 h 80"/>
                  <a:gd name="T6" fmla="*/ 3 w 81"/>
                  <a:gd name="T7" fmla="*/ 64 h 80"/>
                  <a:gd name="T8" fmla="*/ 3 w 81"/>
                  <a:gd name="T9" fmla="*/ 54 h 80"/>
                  <a:gd name="T10" fmla="*/ 54 w 81"/>
                  <a:gd name="T11" fmla="*/ 3 h 80"/>
                  <a:gd name="T12" fmla="*/ 65 w 81"/>
                  <a:gd name="T13" fmla="*/ 3 h 80"/>
                  <a:gd name="T14" fmla="*/ 78 w 81"/>
                  <a:gd name="T15" fmla="*/ 16 h 80"/>
                  <a:gd name="T16" fmla="*/ 78 w 81"/>
                  <a:gd name="T17" fmla="*/ 2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80">
                    <a:moveTo>
                      <a:pt x="78" y="26"/>
                    </a:moveTo>
                    <a:cubicBezTo>
                      <a:pt x="27" y="77"/>
                      <a:pt x="27" y="77"/>
                      <a:pt x="27" y="77"/>
                    </a:cubicBezTo>
                    <a:cubicBezTo>
                      <a:pt x="24" y="80"/>
                      <a:pt x="19" y="80"/>
                      <a:pt x="16" y="77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0" y="61"/>
                      <a:pt x="0" y="57"/>
                      <a:pt x="3" y="54"/>
                    </a:cubicBezTo>
                    <a:cubicBezTo>
                      <a:pt x="54" y="3"/>
                      <a:pt x="54" y="3"/>
                      <a:pt x="54" y="3"/>
                    </a:cubicBezTo>
                    <a:cubicBezTo>
                      <a:pt x="57" y="0"/>
                      <a:pt x="62" y="0"/>
                      <a:pt x="65" y="3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81" y="19"/>
                      <a:pt x="81" y="23"/>
                      <a:pt x="78" y="26"/>
                    </a:cubicBezTo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458">
                <a:extLst>
                  <a:ext uri="{FF2B5EF4-FFF2-40B4-BE49-F238E27FC236}">
                    <a16:creationId xmlns:a16="http://schemas.microsoft.com/office/drawing/2014/main" id="{975B9AE6-B436-4511-8B46-0245280CA9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" y="2117"/>
                <a:ext cx="5" cy="4"/>
              </a:xfrm>
              <a:custGeom>
                <a:avLst/>
                <a:gdLst>
                  <a:gd name="T0" fmla="*/ 5 w 5"/>
                  <a:gd name="T1" fmla="*/ 2 h 4"/>
                  <a:gd name="T2" fmla="*/ 2 w 5"/>
                  <a:gd name="T3" fmla="*/ 4 h 4"/>
                  <a:gd name="T4" fmla="*/ 0 w 5"/>
                  <a:gd name="T5" fmla="*/ 2 h 4"/>
                  <a:gd name="T6" fmla="*/ 2 w 5"/>
                  <a:gd name="T7" fmla="*/ 0 h 4"/>
                  <a:gd name="T8" fmla="*/ 5 w 5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4">
                    <a:moveTo>
                      <a:pt x="5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2A2A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459">
                <a:extLst>
                  <a:ext uri="{FF2B5EF4-FFF2-40B4-BE49-F238E27FC236}">
                    <a16:creationId xmlns:a16="http://schemas.microsoft.com/office/drawing/2014/main" id="{D2F387AD-0957-4D3C-8725-0DB78847E6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4 w 4"/>
                  <a:gd name="T1" fmla="*/ 2 h 4"/>
                  <a:gd name="T2" fmla="*/ 2 w 4"/>
                  <a:gd name="T3" fmla="*/ 4 h 4"/>
                  <a:gd name="T4" fmla="*/ 0 w 4"/>
                  <a:gd name="T5" fmla="*/ 2 h 4"/>
                  <a:gd name="T6" fmla="*/ 2 w 4"/>
                  <a:gd name="T7" fmla="*/ 0 h 4"/>
                  <a:gd name="T8" fmla="*/ 4 w 4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2A2A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460">
                <a:extLst>
                  <a:ext uri="{FF2B5EF4-FFF2-40B4-BE49-F238E27FC236}">
                    <a16:creationId xmlns:a16="http://schemas.microsoft.com/office/drawing/2014/main" id="{B6FD6709-28AB-4555-A625-0B49E6FF86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4 w 4"/>
                  <a:gd name="T1" fmla="*/ 2 h 4"/>
                  <a:gd name="T2" fmla="*/ 2 w 4"/>
                  <a:gd name="T3" fmla="*/ 4 h 4"/>
                  <a:gd name="T4" fmla="*/ 0 w 4"/>
                  <a:gd name="T5" fmla="*/ 2 h 4"/>
                  <a:gd name="T6" fmla="*/ 2 w 4"/>
                  <a:gd name="T7" fmla="*/ 0 h 4"/>
                  <a:gd name="T8" fmla="*/ 4 w 4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461">
                <a:extLst>
                  <a:ext uri="{FF2B5EF4-FFF2-40B4-BE49-F238E27FC236}">
                    <a16:creationId xmlns:a16="http://schemas.microsoft.com/office/drawing/2014/main" id="{D1BC37D3-EA04-4F1B-9613-BE00CAF458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2" y="2048"/>
                <a:ext cx="26" cy="25"/>
              </a:xfrm>
              <a:custGeom>
                <a:avLst/>
                <a:gdLst>
                  <a:gd name="T0" fmla="*/ 33 w 46"/>
                  <a:gd name="T1" fmla="*/ 13 h 46"/>
                  <a:gd name="T2" fmla="*/ 45 w 46"/>
                  <a:gd name="T3" fmla="*/ 32 h 46"/>
                  <a:gd name="T4" fmla="*/ 39 w 46"/>
                  <a:gd name="T5" fmla="*/ 46 h 46"/>
                  <a:gd name="T6" fmla="*/ 0 w 46"/>
                  <a:gd name="T7" fmla="*/ 8 h 46"/>
                  <a:gd name="T8" fmla="*/ 14 w 46"/>
                  <a:gd name="T9" fmla="*/ 1 h 46"/>
                  <a:gd name="T10" fmla="*/ 33 w 46"/>
                  <a:gd name="T11" fmla="*/ 1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46">
                    <a:moveTo>
                      <a:pt x="33" y="13"/>
                    </a:moveTo>
                    <a:cubicBezTo>
                      <a:pt x="39" y="20"/>
                      <a:pt x="44" y="27"/>
                      <a:pt x="45" y="32"/>
                    </a:cubicBezTo>
                    <a:cubicBezTo>
                      <a:pt x="46" y="36"/>
                      <a:pt x="39" y="46"/>
                      <a:pt x="39" y="46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10" y="0"/>
                      <a:pt x="14" y="1"/>
                    </a:cubicBezTo>
                    <a:cubicBezTo>
                      <a:pt x="19" y="2"/>
                      <a:pt x="27" y="7"/>
                      <a:pt x="33" y="13"/>
                    </a:cubicBezTo>
                  </a:path>
                </a:pathLst>
              </a:custGeom>
              <a:solidFill>
                <a:srgbClr val="E9E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462">
                <a:extLst>
                  <a:ext uri="{FF2B5EF4-FFF2-40B4-BE49-F238E27FC236}">
                    <a16:creationId xmlns:a16="http://schemas.microsoft.com/office/drawing/2014/main" id="{BCDDFEAA-A612-4F86-950C-01F1921BA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6" y="2087"/>
                <a:ext cx="7" cy="6"/>
              </a:xfrm>
              <a:custGeom>
                <a:avLst/>
                <a:gdLst>
                  <a:gd name="T0" fmla="*/ 5 w 7"/>
                  <a:gd name="T1" fmla="*/ 3 h 6"/>
                  <a:gd name="T2" fmla="*/ 2 w 7"/>
                  <a:gd name="T3" fmla="*/ 0 h 6"/>
                  <a:gd name="T4" fmla="*/ 0 w 7"/>
                  <a:gd name="T5" fmla="*/ 1 h 6"/>
                  <a:gd name="T6" fmla="*/ 1 w 7"/>
                  <a:gd name="T7" fmla="*/ 2 h 6"/>
                  <a:gd name="T8" fmla="*/ 2 w 7"/>
                  <a:gd name="T9" fmla="*/ 1 h 6"/>
                  <a:gd name="T10" fmla="*/ 4 w 7"/>
                  <a:gd name="T11" fmla="*/ 5 h 6"/>
                  <a:gd name="T12" fmla="*/ 4 w 7"/>
                  <a:gd name="T13" fmla="*/ 5 h 6"/>
                  <a:gd name="T14" fmla="*/ 4 w 7"/>
                  <a:gd name="T15" fmla="*/ 6 h 6"/>
                  <a:gd name="T16" fmla="*/ 7 w 7"/>
                  <a:gd name="T17" fmla="*/ 3 h 6"/>
                  <a:gd name="T18" fmla="*/ 6 w 7"/>
                  <a:gd name="T19" fmla="*/ 3 h 6"/>
                  <a:gd name="T20" fmla="*/ 5 w 7"/>
                  <a:gd name="T21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6">
                    <a:moveTo>
                      <a:pt x="5" y="3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5" y="3"/>
                    </a:lnTo>
                    <a:close/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463">
                <a:extLst>
                  <a:ext uri="{FF2B5EF4-FFF2-40B4-BE49-F238E27FC236}">
                    <a16:creationId xmlns:a16="http://schemas.microsoft.com/office/drawing/2014/main" id="{94D09D39-114B-4175-B2C8-D49670E6E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6" y="2087"/>
                <a:ext cx="7" cy="6"/>
              </a:xfrm>
              <a:custGeom>
                <a:avLst/>
                <a:gdLst>
                  <a:gd name="T0" fmla="*/ 5 w 7"/>
                  <a:gd name="T1" fmla="*/ 3 h 6"/>
                  <a:gd name="T2" fmla="*/ 2 w 7"/>
                  <a:gd name="T3" fmla="*/ 0 h 6"/>
                  <a:gd name="T4" fmla="*/ 0 w 7"/>
                  <a:gd name="T5" fmla="*/ 1 h 6"/>
                  <a:gd name="T6" fmla="*/ 1 w 7"/>
                  <a:gd name="T7" fmla="*/ 2 h 6"/>
                  <a:gd name="T8" fmla="*/ 2 w 7"/>
                  <a:gd name="T9" fmla="*/ 1 h 6"/>
                  <a:gd name="T10" fmla="*/ 4 w 7"/>
                  <a:gd name="T11" fmla="*/ 5 h 6"/>
                  <a:gd name="T12" fmla="*/ 4 w 7"/>
                  <a:gd name="T13" fmla="*/ 5 h 6"/>
                  <a:gd name="T14" fmla="*/ 4 w 7"/>
                  <a:gd name="T15" fmla="*/ 6 h 6"/>
                  <a:gd name="T16" fmla="*/ 7 w 7"/>
                  <a:gd name="T17" fmla="*/ 3 h 6"/>
                  <a:gd name="T18" fmla="*/ 6 w 7"/>
                  <a:gd name="T19" fmla="*/ 3 h 6"/>
                  <a:gd name="T20" fmla="*/ 5 w 7"/>
                  <a:gd name="T21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6">
                    <a:moveTo>
                      <a:pt x="5" y="3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5" y="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464">
                <a:extLst>
                  <a:ext uri="{FF2B5EF4-FFF2-40B4-BE49-F238E27FC236}">
                    <a16:creationId xmlns:a16="http://schemas.microsoft.com/office/drawing/2014/main" id="{E2250410-A058-4ACF-BA9F-0AB0093835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0" y="2083"/>
                <a:ext cx="6" cy="7"/>
              </a:xfrm>
              <a:custGeom>
                <a:avLst/>
                <a:gdLst>
                  <a:gd name="T0" fmla="*/ 4 w 11"/>
                  <a:gd name="T1" fmla="*/ 5 h 13"/>
                  <a:gd name="T2" fmla="*/ 3 w 11"/>
                  <a:gd name="T3" fmla="*/ 2 h 13"/>
                  <a:gd name="T4" fmla="*/ 3 w 11"/>
                  <a:gd name="T5" fmla="*/ 0 h 13"/>
                  <a:gd name="T6" fmla="*/ 0 w 11"/>
                  <a:gd name="T7" fmla="*/ 2 h 13"/>
                  <a:gd name="T8" fmla="*/ 1 w 11"/>
                  <a:gd name="T9" fmla="*/ 4 h 13"/>
                  <a:gd name="T10" fmla="*/ 2 w 11"/>
                  <a:gd name="T11" fmla="*/ 8 h 13"/>
                  <a:gd name="T12" fmla="*/ 4 w 11"/>
                  <a:gd name="T13" fmla="*/ 11 h 13"/>
                  <a:gd name="T14" fmla="*/ 9 w 11"/>
                  <a:gd name="T15" fmla="*/ 11 h 13"/>
                  <a:gd name="T16" fmla="*/ 9 w 11"/>
                  <a:gd name="T17" fmla="*/ 5 h 13"/>
                  <a:gd name="T18" fmla="*/ 4 w 11"/>
                  <a:gd name="T19" fmla="*/ 5 h 13"/>
                  <a:gd name="T20" fmla="*/ 8 w 11"/>
                  <a:gd name="T21" fmla="*/ 9 h 13"/>
                  <a:gd name="T22" fmla="*/ 6 w 11"/>
                  <a:gd name="T23" fmla="*/ 9 h 13"/>
                  <a:gd name="T24" fmla="*/ 5 w 11"/>
                  <a:gd name="T25" fmla="*/ 7 h 13"/>
                  <a:gd name="T26" fmla="*/ 7 w 11"/>
                  <a:gd name="T27" fmla="*/ 7 h 13"/>
                  <a:gd name="T28" fmla="*/ 8 w 11"/>
                  <a:gd name="T29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3">
                    <a:moveTo>
                      <a:pt x="4" y="5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3" y="9"/>
                      <a:pt x="3" y="10"/>
                      <a:pt x="4" y="11"/>
                    </a:cubicBezTo>
                    <a:cubicBezTo>
                      <a:pt x="5" y="13"/>
                      <a:pt x="8" y="13"/>
                      <a:pt x="9" y="11"/>
                    </a:cubicBezTo>
                    <a:cubicBezTo>
                      <a:pt x="11" y="9"/>
                      <a:pt x="11" y="7"/>
                      <a:pt x="9" y="5"/>
                    </a:cubicBezTo>
                    <a:cubicBezTo>
                      <a:pt x="8" y="3"/>
                      <a:pt x="6" y="3"/>
                      <a:pt x="4" y="5"/>
                    </a:cubicBezTo>
                    <a:moveTo>
                      <a:pt x="8" y="9"/>
                    </a:moveTo>
                    <a:cubicBezTo>
                      <a:pt x="7" y="9"/>
                      <a:pt x="6" y="9"/>
                      <a:pt x="6" y="9"/>
                    </a:cubicBezTo>
                    <a:cubicBezTo>
                      <a:pt x="5" y="8"/>
                      <a:pt x="5" y="7"/>
                      <a:pt x="5" y="7"/>
                    </a:cubicBezTo>
                    <a:cubicBezTo>
                      <a:pt x="6" y="6"/>
                      <a:pt x="7" y="6"/>
                      <a:pt x="7" y="7"/>
                    </a:cubicBezTo>
                    <a:cubicBezTo>
                      <a:pt x="8" y="8"/>
                      <a:pt x="8" y="8"/>
                      <a:pt x="8" y="9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465">
                <a:extLst>
                  <a:ext uri="{FF2B5EF4-FFF2-40B4-BE49-F238E27FC236}">
                    <a16:creationId xmlns:a16="http://schemas.microsoft.com/office/drawing/2014/main" id="{2071BBA6-C37F-4673-B4D4-E3F4B06EA9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3" y="2079"/>
                <a:ext cx="8" cy="7"/>
              </a:xfrm>
              <a:custGeom>
                <a:avLst/>
                <a:gdLst>
                  <a:gd name="T0" fmla="*/ 9 w 14"/>
                  <a:gd name="T1" fmla="*/ 2 h 13"/>
                  <a:gd name="T2" fmla="*/ 6 w 14"/>
                  <a:gd name="T3" fmla="*/ 5 h 13"/>
                  <a:gd name="T4" fmla="*/ 8 w 14"/>
                  <a:gd name="T5" fmla="*/ 7 h 13"/>
                  <a:gd name="T6" fmla="*/ 9 w 14"/>
                  <a:gd name="T7" fmla="*/ 6 h 13"/>
                  <a:gd name="T8" fmla="*/ 9 w 14"/>
                  <a:gd name="T9" fmla="*/ 8 h 13"/>
                  <a:gd name="T10" fmla="*/ 5 w 14"/>
                  <a:gd name="T11" fmla="*/ 7 h 13"/>
                  <a:gd name="T12" fmla="*/ 4 w 14"/>
                  <a:gd name="T13" fmla="*/ 3 h 13"/>
                  <a:gd name="T14" fmla="*/ 6 w 14"/>
                  <a:gd name="T15" fmla="*/ 3 h 13"/>
                  <a:gd name="T16" fmla="*/ 8 w 14"/>
                  <a:gd name="T17" fmla="*/ 1 h 13"/>
                  <a:gd name="T18" fmla="*/ 6 w 14"/>
                  <a:gd name="T19" fmla="*/ 0 h 13"/>
                  <a:gd name="T20" fmla="*/ 2 w 14"/>
                  <a:gd name="T21" fmla="*/ 1 h 13"/>
                  <a:gd name="T22" fmla="*/ 1 w 14"/>
                  <a:gd name="T23" fmla="*/ 6 h 13"/>
                  <a:gd name="T24" fmla="*/ 3 w 14"/>
                  <a:gd name="T25" fmla="*/ 10 h 13"/>
                  <a:gd name="T26" fmla="*/ 11 w 14"/>
                  <a:gd name="T27" fmla="*/ 10 h 13"/>
                  <a:gd name="T28" fmla="*/ 9 w 14"/>
                  <a:gd name="T29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3">
                    <a:moveTo>
                      <a:pt x="9" y="2"/>
                    </a:moveTo>
                    <a:cubicBezTo>
                      <a:pt x="6" y="5"/>
                      <a:pt x="6" y="5"/>
                      <a:pt x="6" y="5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10" y="7"/>
                      <a:pt x="10" y="8"/>
                      <a:pt x="9" y="8"/>
                    </a:cubicBezTo>
                    <a:cubicBezTo>
                      <a:pt x="8" y="9"/>
                      <a:pt x="6" y="9"/>
                      <a:pt x="5" y="7"/>
                    </a:cubicBezTo>
                    <a:cubicBezTo>
                      <a:pt x="3" y="6"/>
                      <a:pt x="3" y="4"/>
                      <a:pt x="4" y="3"/>
                    </a:cubicBezTo>
                    <a:cubicBezTo>
                      <a:pt x="5" y="3"/>
                      <a:pt x="5" y="3"/>
                      <a:pt x="6" y="3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1" y="6"/>
                    </a:cubicBezTo>
                    <a:cubicBezTo>
                      <a:pt x="1" y="7"/>
                      <a:pt x="1" y="8"/>
                      <a:pt x="3" y="10"/>
                    </a:cubicBezTo>
                    <a:cubicBezTo>
                      <a:pt x="5" y="12"/>
                      <a:pt x="9" y="13"/>
                      <a:pt x="11" y="10"/>
                    </a:cubicBezTo>
                    <a:cubicBezTo>
                      <a:pt x="14" y="8"/>
                      <a:pt x="12" y="4"/>
                      <a:pt x="9" y="2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466">
                <a:extLst>
                  <a:ext uri="{FF2B5EF4-FFF2-40B4-BE49-F238E27FC236}">
                    <a16:creationId xmlns:a16="http://schemas.microsoft.com/office/drawing/2014/main" id="{F12699FD-486B-457A-9A26-5FC12EBE18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7" y="2075"/>
                <a:ext cx="8" cy="7"/>
              </a:xfrm>
              <a:custGeom>
                <a:avLst/>
                <a:gdLst>
                  <a:gd name="T0" fmla="*/ 9 w 14"/>
                  <a:gd name="T1" fmla="*/ 4 h 14"/>
                  <a:gd name="T2" fmla="*/ 8 w 14"/>
                  <a:gd name="T3" fmla="*/ 2 h 14"/>
                  <a:gd name="T4" fmla="*/ 7 w 14"/>
                  <a:gd name="T5" fmla="*/ 1 h 14"/>
                  <a:gd name="T6" fmla="*/ 3 w 14"/>
                  <a:gd name="T7" fmla="*/ 2 h 14"/>
                  <a:gd name="T8" fmla="*/ 0 w 14"/>
                  <a:gd name="T9" fmla="*/ 5 h 14"/>
                  <a:gd name="T10" fmla="*/ 8 w 14"/>
                  <a:gd name="T11" fmla="*/ 14 h 14"/>
                  <a:gd name="T12" fmla="*/ 12 w 14"/>
                  <a:gd name="T13" fmla="*/ 10 h 14"/>
                  <a:gd name="T14" fmla="*/ 12 w 14"/>
                  <a:gd name="T15" fmla="*/ 5 h 14"/>
                  <a:gd name="T16" fmla="*/ 9 w 14"/>
                  <a:gd name="T17" fmla="*/ 4 h 14"/>
                  <a:gd name="T18" fmla="*/ 6 w 14"/>
                  <a:gd name="T19" fmla="*/ 4 h 14"/>
                  <a:gd name="T20" fmla="*/ 6 w 14"/>
                  <a:gd name="T21" fmla="*/ 5 h 14"/>
                  <a:gd name="T22" fmla="*/ 5 w 14"/>
                  <a:gd name="T23" fmla="*/ 6 h 14"/>
                  <a:gd name="T24" fmla="*/ 4 w 14"/>
                  <a:gd name="T25" fmla="*/ 5 h 14"/>
                  <a:gd name="T26" fmla="*/ 5 w 14"/>
                  <a:gd name="T27" fmla="*/ 4 h 14"/>
                  <a:gd name="T28" fmla="*/ 6 w 14"/>
                  <a:gd name="T29" fmla="*/ 4 h 14"/>
                  <a:gd name="T30" fmla="*/ 10 w 14"/>
                  <a:gd name="T31" fmla="*/ 8 h 14"/>
                  <a:gd name="T32" fmla="*/ 9 w 14"/>
                  <a:gd name="T33" fmla="*/ 9 h 14"/>
                  <a:gd name="T34" fmla="*/ 7 w 14"/>
                  <a:gd name="T35" fmla="*/ 8 h 14"/>
                  <a:gd name="T36" fmla="*/ 8 w 14"/>
                  <a:gd name="T37" fmla="*/ 7 h 14"/>
                  <a:gd name="T38" fmla="*/ 10 w 14"/>
                  <a:gd name="T39" fmla="*/ 7 h 14"/>
                  <a:gd name="T40" fmla="*/ 10 w 14"/>
                  <a:gd name="T41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" h="14">
                    <a:moveTo>
                      <a:pt x="9" y="4"/>
                    </a:moveTo>
                    <a:cubicBezTo>
                      <a:pt x="9" y="3"/>
                      <a:pt x="9" y="2"/>
                      <a:pt x="8" y="2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5" y="0"/>
                      <a:pt x="4" y="1"/>
                      <a:pt x="3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4" y="9"/>
                      <a:pt x="14" y="6"/>
                      <a:pt x="12" y="5"/>
                    </a:cubicBezTo>
                    <a:cubicBezTo>
                      <a:pt x="11" y="4"/>
                      <a:pt x="10" y="4"/>
                      <a:pt x="9" y="4"/>
                    </a:cubicBezTo>
                    <a:moveTo>
                      <a:pt x="6" y="4"/>
                    </a:moveTo>
                    <a:cubicBezTo>
                      <a:pt x="7" y="4"/>
                      <a:pt x="7" y="5"/>
                      <a:pt x="6" y="5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6" y="3"/>
                      <a:pt x="6" y="4"/>
                    </a:cubicBezTo>
                    <a:moveTo>
                      <a:pt x="10" y="8"/>
                    </a:moveTo>
                    <a:cubicBezTo>
                      <a:pt x="9" y="9"/>
                      <a:pt x="9" y="9"/>
                      <a:pt x="9" y="9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9" y="6"/>
                      <a:pt x="9" y="6"/>
                      <a:pt x="10" y="7"/>
                    </a:cubicBezTo>
                    <a:cubicBezTo>
                      <a:pt x="10" y="7"/>
                      <a:pt x="10" y="8"/>
                      <a:pt x="10" y="8"/>
                    </a:cubicBezTo>
                  </a:path>
                </a:pathLst>
              </a:custGeom>
              <a:solidFill>
                <a:srgbClr val="2523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467">
                <a:extLst>
                  <a:ext uri="{FF2B5EF4-FFF2-40B4-BE49-F238E27FC236}">
                    <a16:creationId xmlns:a16="http://schemas.microsoft.com/office/drawing/2014/main" id="{F2614764-1365-4F27-AEF1-CE127655A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12" y="2124"/>
                <a:ext cx="18" cy="13"/>
              </a:xfrm>
              <a:custGeom>
                <a:avLst/>
                <a:gdLst>
                  <a:gd name="T0" fmla="*/ 12 w 18"/>
                  <a:gd name="T1" fmla="*/ 1 h 13"/>
                  <a:gd name="T2" fmla="*/ 0 w 18"/>
                  <a:gd name="T3" fmla="*/ 13 h 13"/>
                  <a:gd name="T4" fmla="*/ 12 w 18"/>
                  <a:gd name="T5" fmla="*/ 1 h 13"/>
                  <a:gd name="T6" fmla="*/ 14 w 18"/>
                  <a:gd name="T7" fmla="*/ 4 h 13"/>
                  <a:gd name="T8" fmla="*/ 12 w 18"/>
                  <a:gd name="T9" fmla="*/ 1 h 13"/>
                  <a:gd name="T10" fmla="*/ 18 w 18"/>
                  <a:gd name="T11" fmla="*/ 0 h 13"/>
                  <a:gd name="T12" fmla="*/ 14 w 18"/>
                  <a:gd name="T13" fmla="*/ 4 h 13"/>
                  <a:gd name="T14" fmla="*/ 18 w 18"/>
                  <a:gd name="T15" fmla="*/ 0 h 13"/>
                  <a:gd name="T16" fmla="*/ 18 w 1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3">
                    <a:moveTo>
                      <a:pt x="12" y="1"/>
                    </a:moveTo>
                    <a:lnTo>
                      <a:pt x="0" y="13"/>
                    </a:lnTo>
                    <a:lnTo>
                      <a:pt x="12" y="1"/>
                    </a:lnTo>
                    <a:lnTo>
                      <a:pt x="14" y="4"/>
                    </a:lnTo>
                    <a:lnTo>
                      <a:pt x="12" y="1"/>
                    </a:lnTo>
                    <a:close/>
                    <a:moveTo>
                      <a:pt x="18" y="0"/>
                    </a:move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977C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468">
                <a:extLst>
                  <a:ext uri="{FF2B5EF4-FFF2-40B4-BE49-F238E27FC236}">
                    <a16:creationId xmlns:a16="http://schemas.microsoft.com/office/drawing/2014/main" id="{CABADD48-CF9D-4961-8A29-1CD5870E9C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12" y="2124"/>
                <a:ext cx="18" cy="13"/>
              </a:xfrm>
              <a:custGeom>
                <a:avLst/>
                <a:gdLst>
                  <a:gd name="T0" fmla="*/ 12 w 18"/>
                  <a:gd name="T1" fmla="*/ 1 h 13"/>
                  <a:gd name="T2" fmla="*/ 0 w 18"/>
                  <a:gd name="T3" fmla="*/ 13 h 13"/>
                  <a:gd name="T4" fmla="*/ 12 w 18"/>
                  <a:gd name="T5" fmla="*/ 1 h 13"/>
                  <a:gd name="T6" fmla="*/ 14 w 18"/>
                  <a:gd name="T7" fmla="*/ 4 h 13"/>
                  <a:gd name="T8" fmla="*/ 12 w 18"/>
                  <a:gd name="T9" fmla="*/ 1 h 13"/>
                  <a:gd name="T10" fmla="*/ 18 w 18"/>
                  <a:gd name="T11" fmla="*/ 0 h 13"/>
                  <a:gd name="T12" fmla="*/ 14 w 18"/>
                  <a:gd name="T13" fmla="*/ 4 h 13"/>
                  <a:gd name="T14" fmla="*/ 18 w 18"/>
                  <a:gd name="T15" fmla="*/ 0 h 13"/>
                  <a:gd name="T16" fmla="*/ 18 w 1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3">
                    <a:moveTo>
                      <a:pt x="12" y="1"/>
                    </a:moveTo>
                    <a:lnTo>
                      <a:pt x="0" y="13"/>
                    </a:lnTo>
                    <a:lnTo>
                      <a:pt x="12" y="1"/>
                    </a:lnTo>
                    <a:lnTo>
                      <a:pt x="14" y="4"/>
                    </a:lnTo>
                    <a:lnTo>
                      <a:pt x="12" y="1"/>
                    </a:lnTo>
                    <a:moveTo>
                      <a:pt x="18" y="0"/>
                    </a:move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469">
                <a:extLst>
                  <a:ext uri="{FF2B5EF4-FFF2-40B4-BE49-F238E27FC236}">
                    <a16:creationId xmlns:a16="http://schemas.microsoft.com/office/drawing/2014/main" id="{2066793D-4130-455F-9BD9-FD983A6D39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5" y="2118"/>
                <a:ext cx="19" cy="19"/>
              </a:xfrm>
              <a:custGeom>
                <a:avLst/>
                <a:gdLst>
                  <a:gd name="T0" fmla="*/ 12 w 19"/>
                  <a:gd name="T1" fmla="*/ 9 h 19"/>
                  <a:gd name="T2" fmla="*/ 10 w 19"/>
                  <a:gd name="T3" fmla="*/ 7 h 19"/>
                  <a:gd name="T4" fmla="*/ 12 w 19"/>
                  <a:gd name="T5" fmla="*/ 5 h 19"/>
                  <a:gd name="T6" fmla="*/ 14 w 19"/>
                  <a:gd name="T7" fmla="*/ 7 h 19"/>
                  <a:gd name="T8" fmla="*/ 12 w 19"/>
                  <a:gd name="T9" fmla="*/ 9 h 19"/>
                  <a:gd name="T10" fmla="*/ 12 w 19"/>
                  <a:gd name="T11" fmla="*/ 0 h 19"/>
                  <a:gd name="T12" fmla="*/ 0 w 19"/>
                  <a:gd name="T13" fmla="*/ 12 h 19"/>
                  <a:gd name="T14" fmla="*/ 7 w 19"/>
                  <a:gd name="T15" fmla="*/ 19 h 19"/>
                  <a:gd name="T16" fmla="*/ 19 w 19"/>
                  <a:gd name="T17" fmla="*/ 7 h 19"/>
                  <a:gd name="T18" fmla="*/ 12 w 19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9">
                    <a:moveTo>
                      <a:pt x="12" y="9"/>
                    </a:moveTo>
                    <a:lnTo>
                      <a:pt x="10" y="7"/>
                    </a:lnTo>
                    <a:lnTo>
                      <a:pt x="12" y="5"/>
                    </a:lnTo>
                    <a:lnTo>
                      <a:pt x="14" y="7"/>
                    </a:lnTo>
                    <a:lnTo>
                      <a:pt x="12" y="9"/>
                    </a:lnTo>
                    <a:close/>
                    <a:moveTo>
                      <a:pt x="12" y="0"/>
                    </a:moveTo>
                    <a:lnTo>
                      <a:pt x="0" y="12"/>
                    </a:lnTo>
                    <a:lnTo>
                      <a:pt x="7" y="19"/>
                    </a:lnTo>
                    <a:lnTo>
                      <a:pt x="19" y="7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5252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470">
                <a:extLst>
                  <a:ext uri="{FF2B5EF4-FFF2-40B4-BE49-F238E27FC236}">
                    <a16:creationId xmlns:a16="http://schemas.microsoft.com/office/drawing/2014/main" id="{665F8116-5153-46D7-A4A4-BA2725640A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5" y="2118"/>
                <a:ext cx="19" cy="19"/>
              </a:xfrm>
              <a:custGeom>
                <a:avLst/>
                <a:gdLst>
                  <a:gd name="T0" fmla="*/ 12 w 19"/>
                  <a:gd name="T1" fmla="*/ 9 h 19"/>
                  <a:gd name="T2" fmla="*/ 10 w 19"/>
                  <a:gd name="T3" fmla="*/ 7 h 19"/>
                  <a:gd name="T4" fmla="*/ 12 w 19"/>
                  <a:gd name="T5" fmla="*/ 5 h 19"/>
                  <a:gd name="T6" fmla="*/ 14 w 19"/>
                  <a:gd name="T7" fmla="*/ 7 h 19"/>
                  <a:gd name="T8" fmla="*/ 12 w 19"/>
                  <a:gd name="T9" fmla="*/ 9 h 19"/>
                  <a:gd name="T10" fmla="*/ 12 w 19"/>
                  <a:gd name="T11" fmla="*/ 0 h 19"/>
                  <a:gd name="T12" fmla="*/ 0 w 19"/>
                  <a:gd name="T13" fmla="*/ 12 h 19"/>
                  <a:gd name="T14" fmla="*/ 7 w 19"/>
                  <a:gd name="T15" fmla="*/ 19 h 19"/>
                  <a:gd name="T16" fmla="*/ 19 w 19"/>
                  <a:gd name="T17" fmla="*/ 7 h 19"/>
                  <a:gd name="T18" fmla="*/ 12 w 19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9">
                    <a:moveTo>
                      <a:pt x="12" y="9"/>
                    </a:moveTo>
                    <a:lnTo>
                      <a:pt x="10" y="7"/>
                    </a:lnTo>
                    <a:lnTo>
                      <a:pt x="12" y="5"/>
                    </a:lnTo>
                    <a:lnTo>
                      <a:pt x="14" y="7"/>
                    </a:lnTo>
                    <a:lnTo>
                      <a:pt x="12" y="9"/>
                    </a:lnTo>
                    <a:moveTo>
                      <a:pt x="12" y="0"/>
                    </a:moveTo>
                    <a:lnTo>
                      <a:pt x="0" y="12"/>
                    </a:lnTo>
                    <a:lnTo>
                      <a:pt x="7" y="19"/>
                    </a:lnTo>
                    <a:lnTo>
                      <a:pt x="19" y="7"/>
                    </a:lnTo>
                    <a:lnTo>
                      <a:pt x="1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471">
                <a:extLst>
                  <a:ext uri="{FF2B5EF4-FFF2-40B4-BE49-F238E27FC236}">
                    <a16:creationId xmlns:a16="http://schemas.microsoft.com/office/drawing/2014/main" id="{AA418549-5FAE-4EEA-AFCE-A6DF0F898E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7" y="2115"/>
                <a:ext cx="13" cy="13"/>
              </a:xfrm>
              <a:custGeom>
                <a:avLst/>
                <a:gdLst>
                  <a:gd name="T0" fmla="*/ 3 w 13"/>
                  <a:gd name="T1" fmla="*/ 0 h 13"/>
                  <a:gd name="T2" fmla="*/ 0 w 13"/>
                  <a:gd name="T3" fmla="*/ 3 h 13"/>
                  <a:gd name="T4" fmla="*/ 7 w 13"/>
                  <a:gd name="T5" fmla="*/ 10 h 13"/>
                  <a:gd name="T6" fmla="*/ 9 w 13"/>
                  <a:gd name="T7" fmla="*/ 13 h 13"/>
                  <a:gd name="T8" fmla="*/ 13 w 13"/>
                  <a:gd name="T9" fmla="*/ 9 h 13"/>
                  <a:gd name="T10" fmla="*/ 3 w 13"/>
                  <a:gd name="T1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3">
                    <a:moveTo>
                      <a:pt x="3" y="0"/>
                    </a:moveTo>
                    <a:lnTo>
                      <a:pt x="0" y="3"/>
                    </a:lnTo>
                    <a:lnTo>
                      <a:pt x="7" y="10"/>
                    </a:lnTo>
                    <a:lnTo>
                      <a:pt x="9" y="13"/>
                    </a:lnTo>
                    <a:lnTo>
                      <a:pt x="13" y="9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472">
                <a:extLst>
                  <a:ext uri="{FF2B5EF4-FFF2-40B4-BE49-F238E27FC236}">
                    <a16:creationId xmlns:a16="http://schemas.microsoft.com/office/drawing/2014/main" id="{1ED8E840-1F31-4A81-9F17-032BE78894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7" y="2115"/>
                <a:ext cx="13" cy="13"/>
              </a:xfrm>
              <a:custGeom>
                <a:avLst/>
                <a:gdLst>
                  <a:gd name="T0" fmla="*/ 3 w 13"/>
                  <a:gd name="T1" fmla="*/ 0 h 13"/>
                  <a:gd name="T2" fmla="*/ 0 w 13"/>
                  <a:gd name="T3" fmla="*/ 3 h 13"/>
                  <a:gd name="T4" fmla="*/ 7 w 13"/>
                  <a:gd name="T5" fmla="*/ 10 h 13"/>
                  <a:gd name="T6" fmla="*/ 9 w 13"/>
                  <a:gd name="T7" fmla="*/ 13 h 13"/>
                  <a:gd name="T8" fmla="*/ 13 w 13"/>
                  <a:gd name="T9" fmla="*/ 9 h 13"/>
                  <a:gd name="T10" fmla="*/ 3 w 13"/>
                  <a:gd name="T1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3">
                    <a:moveTo>
                      <a:pt x="3" y="0"/>
                    </a:moveTo>
                    <a:lnTo>
                      <a:pt x="0" y="3"/>
                    </a:lnTo>
                    <a:lnTo>
                      <a:pt x="7" y="10"/>
                    </a:lnTo>
                    <a:lnTo>
                      <a:pt x="9" y="13"/>
                    </a:lnTo>
                    <a:lnTo>
                      <a:pt x="13" y="9"/>
                    </a:lnTo>
                    <a:lnTo>
                      <a:pt x="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473">
                <a:extLst>
                  <a:ext uri="{FF2B5EF4-FFF2-40B4-BE49-F238E27FC236}">
                    <a16:creationId xmlns:a16="http://schemas.microsoft.com/office/drawing/2014/main" id="{A2C3C835-DF53-4908-B2DF-AC76CC1CF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0" y="2063"/>
                <a:ext cx="64" cy="62"/>
              </a:xfrm>
              <a:custGeom>
                <a:avLst/>
                <a:gdLst>
                  <a:gd name="T0" fmla="*/ 96 w 116"/>
                  <a:gd name="T1" fmla="*/ 0 h 115"/>
                  <a:gd name="T2" fmla="*/ 79 w 116"/>
                  <a:gd name="T3" fmla="*/ 17 h 115"/>
                  <a:gd name="T4" fmla="*/ 86 w 116"/>
                  <a:gd name="T5" fmla="*/ 24 h 115"/>
                  <a:gd name="T6" fmla="*/ 86 w 116"/>
                  <a:gd name="T7" fmla="*/ 34 h 115"/>
                  <a:gd name="T8" fmla="*/ 35 w 116"/>
                  <a:gd name="T9" fmla="*/ 85 h 115"/>
                  <a:gd name="T10" fmla="*/ 29 w 116"/>
                  <a:gd name="T11" fmla="*/ 88 h 115"/>
                  <a:gd name="T12" fmla="*/ 24 w 116"/>
                  <a:gd name="T13" fmla="*/ 85 h 115"/>
                  <a:gd name="T14" fmla="*/ 17 w 116"/>
                  <a:gd name="T15" fmla="*/ 79 h 115"/>
                  <a:gd name="T16" fmla="*/ 0 w 116"/>
                  <a:gd name="T17" fmla="*/ 96 h 115"/>
                  <a:gd name="T18" fmla="*/ 17 w 116"/>
                  <a:gd name="T19" fmla="*/ 113 h 115"/>
                  <a:gd name="T20" fmla="*/ 17 w 116"/>
                  <a:gd name="T21" fmla="*/ 113 h 115"/>
                  <a:gd name="T22" fmla="*/ 20 w 116"/>
                  <a:gd name="T23" fmla="*/ 115 h 115"/>
                  <a:gd name="T24" fmla="*/ 116 w 116"/>
                  <a:gd name="T25" fmla="*/ 19 h 115"/>
                  <a:gd name="T26" fmla="*/ 96 w 116"/>
                  <a:gd name="T27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6" h="115">
                    <a:moveTo>
                      <a:pt x="96" y="0"/>
                    </a:moveTo>
                    <a:cubicBezTo>
                      <a:pt x="79" y="17"/>
                      <a:pt x="79" y="17"/>
                      <a:pt x="79" y="17"/>
                    </a:cubicBezTo>
                    <a:cubicBezTo>
                      <a:pt x="86" y="24"/>
                      <a:pt x="86" y="24"/>
                      <a:pt x="86" y="24"/>
                    </a:cubicBezTo>
                    <a:cubicBezTo>
                      <a:pt x="89" y="27"/>
                      <a:pt x="89" y="31"/>
                      <a:pt x="86" y="34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3" y="87"/>
                      <a:pt x="31" y="88"/>
                      <a:pt x="29" y="88"/>
                    </a:cubicBezTo>
                    <a:cubicBezTo>
                      <a:pt x="27" y="88"/>
                      <a:pt x="25" y="87"/>
                      <a:pt x="24" y="85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17" y="113"/>
                      <a:pt x="17" y="113"/>
                      <a:pt x="17" y="113"/>
                    </a:cubicBezTo>
                    <a:cubicBezTo>
                      <a:pt x="17" y="113"/>
                      <a:pt x="17" y="113"/>
                      <a:pt x="17" y="113"/>
                    </a:cubicBezTo>
                    <a:cubicBezTo>
                      <a:pt x="20" y="115"/>
                      <a:pt x="20" y="115"/>
                      <a:pt x="20" y="115"/>
                    </a:cubicBezTo>
                    <a:cubicBezTo>
                      <a:pt x="61" y="87"/>
                      <a:pt x="87" y="60"/>
                      <a:pt x="116" y="19"/>
                    </a:cubicBezTo>
                    <a:cubicBezTo>
                      <a:pt x="96" y="0"/>
                      <a:pt x="96" y="0"/>
                      <a:pt x="96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474">
                <a:extLst>
                  <a:ext uri="{FF2B5EF4-FFF2-40B4-BE49-F238E27FC236}">
                    <a16:creationId xmlns:a16="http://schemas.microsoft.com/office/drawing/2014/main" id="{D08D8E9F-25FC-4523-94E0-91A5FE877E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30" y="2072"/>
                <a:ext cx="39" cy="39"/>
              </a:xfrm>
              <a:custGeom>
                <a:avLst/>
                <a:gdLst>
                  <a:gd name="T0" fmla="*/ 43 w 72"/>
                  <a:gd name="T1" fmla="*/ 26 h 71"/>
                  <a:gd name="T2" fmla="*/ 42 w 72"/>
                  <a:gd name="T3" fmla="*/ 27 h 71"/>
                  <a:gd name="T4" fmla="*/ 43 w 72"/>
                  <a:gd name="T5" fmla="*/ 29 h 71"/>
                  <a:gd name="T6" fmla="*/ 44 w 72"/>
                  <a:gd name="T7" fmla="*/ 29 h 71"/>
                  <a:gd name="T8" fmla="*/ 45 w 72"/>
                  <a:gd name="T9" fmla="*/ 29 h 71"/>
                  <a:gd name="T10" fmla="*/ 44 w 72"/>
                  <a:gd name="T11" fmla="*/ 27 h 71"/>
                  <a:gd name="T12" fmla="*/ 43 w 72"/>
                  <a:gd name="T13" fmla="*/ 26 h 71"/>
                  <a:gd name="T14" fmla="*/ 62 w 72"/>
                  <a:gd name="T15" fmla="*/ 0 h 71"/>
                  <a:gd name="T16" fmla="*/ 57 w 72"/>
                  <a:gd name="T17" fmla="*/ 6 h 71"/>
                  <a:gd name="T18" fmla="*/ 57 w 72"/>
                  <a:gd name="T19" fmla="*/ 6 h 71"/>
                  <a:gd name="T20" fmla="*/ 58 w 72"/>
                  <a:gd name="T21" fmla="*/ 7 h 71"/>
                  <a:gd name="T22" fmla="*/ 59 w 72"/>
                  <a:gd name="T23" fmla="*/ 9 h 71"/>
                  <a:gd name="T24" fmla="*/ 60 w 72"/>
                  <a:gd name="T25" fmla="*/ 9 h 71"/>
                  <a:gd name="T26" fmla="*/ 62 w 72"/>
                  <a:gd name="T27" fmla="*/ 10 h 71"/>
                  <a:gd name="T28" fmla="*/ 62 w 72"/>
                  <a:gd name="T29" fmla="*/ 15 h 71"/>
                  <a:gd name="T30" fmla="*/ 58 w 72"/>
                  <a:gd name="T31" fmla="*/ 19 h 71"/>
                  <a:gd name="T32" fmla="*/ 51 w 72"/>
                  <a:gd name="T33" fmla="*/ 11 h 71"/>
                  <a:gd name="T34" fmla="*/ 49 w 72"/>
                  <a:gd name="T35" fmla="*/ 13 h 71"/>
                  <a:gd name="T36" fmla="*/ 49 w 72"/>
                  <a:gd name="T37" fmla="*/ 13 h 71"/>
                  <a:gd name="T38" fmla="*/ 51 w 72"/>
                  <a:gd name="T39" fmla="*/ 14 h 71"/>
                  <a:gd name="T40" fmla="*/ 49 w 72"/>
                  <a:gd name="T41" fmla="*/ 16 h 71"/>
                  <a:gd name="T42" fmla="*/ 48 w 72"/>
                  <a:gd name="T43" fmla="*/ 16 h 71"/>
                  <a:gd name="T44" fmla="*/ 47 w 72"/>
                  <a:gd name="T45" fmla="*/ 16 h 71"/>
                  <a:gd name="T46" fmla="*/ 48 w 72"/>
                  <a:gd name="T47" fmla="*/ 20 h 71"/>
                  <a:gd name="T48" fmla="*/ 50 w 72"/>
                  <a:gd name="T49" fmla="*/ 22 h 71"/>
                  <a:gd name="T50" fmla="*/ 52 w 72"/>
                  <a:gd name="T51" fmla="*/ 21 h 71"/>
                  <a:gd name="T52" fmla="*/ 52 w 72"/>
                  <a:gd name="T53" fmla="*/ 19 h 71"/>
                  <a:gd name="T54" fmla="*/ 51 w 72"/>
                  <a:gd name="T55" fmla="*/ 20 h 71"/>
                  <a:gd name="T56" fmla="*/ 49 w 72"/>
                  <a:gd name="T57" fmla="*/ 18 h 71"/>
                  <a:gd name="T58" fmla="*/ 52 w 72"/>
                  <a:gd name="T59" fmla="*/ 15 h 71"/>
                  <a:gd name="T60" fmla="*/ 54 w 72"/>
                  <a:gd name="T61" fmla="*/ 23 h 71"/>
                  <a:gd name="T62" fmla="*/ 50 w 72"/>
                  <a:gd name="T63" fmla="*/ 25 h 71"/>
                  <a:gd name="T64" fmla="*/ 46 w 72"/>
                  <a:gd name="T65" fmla="*/ 23 h 71"/>
                  <a:gd name="T66" fmla="*/ 44 w 72"/>
                  <a:gd name="T67" fmla="*/ 19 h 71"/>
                  <a:gd name="T68" fmla="*/ 44 w 72"/>
                  <a:gd name="T69" fmla="*/ 19 h 71"/>
                  <a:gd name="T70" fmla="*/ 40 w 72"/>
                  <a:gd name="T71" fmla="*/ 22 h 71"/>
                  <a:gd name="T72" fmla="*/ 40 w 72"/>
                  <a:gd name="T73" fmla="*/ 22 h 71"/>
                  <a:gd name="T74" fmla="*/ 41 w 72"/>
                  <a:gd name="T75" fmla="*/ 25 h 71"/>
                  <a:gd name="T76" fmla="*/ 43 w 72"/>
                  <a:gd name="T77" fmla="*/ 23 h 71"/>
                  <a:gd name="T78" fmla="*/ 46 w 72"/>
                  <a:gd name="T79" fmla="*/ 25 h 71"/>
                  <a:gd name="T80" fmla="*/ 46 w 72"/>
                  <a:gd name="T81" fmla="*/ 31 h 71"/>
                  <a:gd name="T82" fmla="*/ 44 w 72"/>
                  <a:gd name="T83" fmla="*/ 32 h 71"/>
                  <a:gd name="T84" fmla="*/ 41 w 72"/>
                  <a:gd name="T85" fmla="*/ 31 h 71"/>
                  <a:gd name="T86" fmla="*/ 39 w 72"/>
                  <a:gd name="T87" fmla="*/ 28 h 71"/>
                  <a:gd name="T88" fmla="*/ 38 w 72"/>
                  <a:gd name="T89" fmla="*/ 24 h 71"/>
                  <a:gd name="T90" fmla="*/ 38 w 72"/>
                  <a:gd name="T91" fmla="*/ 24 h 71"/>
                  <a:gd name="T92" fmla="*/ 34 w 72"/>
                  <a:gd name="T93" fmla="*/ 28 h 71"/>
                  <a:gd name="T94" fmla="*/ 40 w 72"/>
                  <a:gd name="T95" fmla="*/ 34 h 71"/>
                  <a:gd name="T96" fmla="*/ 41 w 72"/>
                  <a:gd name="T97" fmla="*/ 33 h 71"/>
                  <a:gd name="T98" fmla="*/ 43 w 72"/>
                  <a:gd name="T99" fmla="*/ 34 h 71"/>
                  <a:gd name="T100" fmla="*/ 38 w 72"/>
                  <a:gd name="T101" fmla="*/ 39 h 71"/>
                  <a:gd name="T102" fmla="*/ 37 w 72"/>
                  <a:gd name="T103" fmla="*/ 37 h 71"/>
                  <a:gd name="T104" fmla="*/ 38 w 72"/>
                  <a:gd name="T105" fmla="*/ 36 h 71"/>
                  <a:gd name="T106" fmla="*/ 33 w 72"/>
                  <a:gd name="T107" fmla="*/ 30 h 71"/>
                  <a:gd name="T108" fmla="*/ 32 w 72"/>
                  <a:gd name="T109" fmla="*/ 31 h 71"/>
                  <a:gd name="T110" fmla="*/ 31 w 72"/>
                  <a:gd name="T111" fmla="*/ 31 h 71"/>
                  <a:gd name="T112" fmla="*/ 0 w 72"/>
                  <a:gd name="T113" fmla="*/ 62 h 71"/>
                  <a:gd name="T114" fmla="*/ 7 w 72"/>
                  <a:gd name="T115" fmla="*/ 68 h 71"/>
                  <a:gd name="T116" fmla="*/ 12 w 72"/>
                  <a:gd name="T117" fmla="*/ 71 h 71"/>
                  <a:gd name="T118" fmla="*/ 18 w 72"/>
                  <a:gd name="T119" fmla="*/ 68 h 71"/>
                  <a:gd name="T120" fmla="*/ 69 w 72"/>
                  <a:gd name="T121" fmla="*/ 17 h 71"/>
                  <a:gd name="T122" fmla="*/ 69 w 72"/>
                  <a:gd name="T123" fmla="*/ 7 h 71"/>
                  <a:gd name="T124" fmla="*/ 62 w 72"/>
                  <a:gd name="T12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2" h="71">
                    <a:moveTo>
                      <a:pt x="43" y="26"/>
                    </a:moveTo>
                    <a:cubicBezTo>
                      <a:pt x="43" y="26"/>
                      <a:pt x="43" y="26"/>
                      <a:pt x="42" y="27"/>
                    </a:cubicBezTo>
                    <a:cubicBezTo>
                      <a:pt x="42" y="27"/>
                      <a:pt x="42" y="28"/>
                      <a:pt x="43" y="29"/>
                    </a:cubicBezTo>
                    <a:cubicBezTo>
                      <a:pt x="43" y="29"/>
                      <a:pt x="44" y="29"/>
                      <a:pt x="44" y="29"/>
                    </a:cubicBezTo>
                    <a:cubicBezTo>
                      <a:pt x="44" y="29"/>
                      <a:pt x="44" y="29"/>
                      <a:pt x="45" y="29"/>
                    </a:cubicBezTo>
                    <a:cubicBezTo>
                      <a:pt x="45" y="28"/>
                      <a:pt x="45" y="28"/>
                      <a:pt x="44" y="27"/>
                    </a:cubicBezTo>
                    <a:cubicBezTo>
                      <a:pt x="44" y="27"/>
                      <a:pt x="43" y="26"/>
                      <a:pt x="43" y="26"/>
                    </a:cubicBezTo>
                    <a:moveTo>
                      <a:pt x="62" y="0"/>
                    </a:move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58" y="6"/>
                      <a:pt x="58" y="7"/>
                    </a:cubicBezTo>
                    <a:cubicBezTo>
                      <a:pt x="59" y="7"/>
                      <a:pt x="59" y="8"/>
                      <a:pt x="59" y="9"/>
                    </a:cubicBezTo>
                    <a:cubicBezTo>
                      <a:pt x="59" y="9"/>
                      <a:pt x="59" y="9"/>
                      <a:pt x="60" y="9"/>
                    </a:cubicBezTo>
                    <a:cubicBezTo>
                      <a:pt x="60" y="9"/>
                      <a:pt x="61" y="9"/>
                      <a:pt x="62" y="10"/>
                    </a:cubicBezTo>
                    <a:cubicBezTo>
                      <a:pt x="64" y="11"/>
                      <a:pt x="64" y="14"/>
                      <a:pt x="62" y="15"/>
                    </a:cubicBezTo>
                    <a:cubicBezTo>
                      <a:pt x="58" y="19"/>
                      <a:pt x="58" y="19"/>
                      <a:pt x="58" y="19"/>
                    </a:cubicBezTo>
                    <a:cubicBezTo>
                      <a:pt x="51" y="11"/>
                      <a:pt x="51" y="11"/>
                      <a:pt x="51" y="11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50" y="13"/>
                      <a:pt x="51" y="13"/>
                      <a:pt x="51" y="14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9" y="16"/>
                      <a:pt x="49" y="16"/>
                      <a:pt x="48" y="16"/>
                    </a:cubicBezTo>
                    <a:cubicBezTo>
                      <a:pt x="48" y="16"/>
                      <a:pt x="47" y="16"/>
                      <a:pt x="47" y="16"/>
                    </a:cubicBezTo>
                    <a:cubicBezTo>
                      <a:pt x="46" y="17"/>
                      <a:pt x="46" y="19"/>
                      <a:pt x="48" y="20"/>
                    </a:cubicBezTo>
                    <a:cubicBezTo>
                      <a:pt x="49" y="21"/>
                      <a:pt x="50" y="22"/>
                      <a:pt x="50" y="22"/>
                    </a:cubicBezTo>
                    <a:cubicBezTo>
                      <a:pt x="51" y="22"/>
                      <a:pt x="52" y="22"/>
                      <a:pt x="52" y="21"/>
                    </a:cubicBezTo>
                    <a:cubicBezTo>
                      <a:pt x="53" y="21"/>
                      <a:pt x="53" y="20"/>
                      <a:pt x="52" y="19"/>
                    </a:cubicBezTo>
                    <a:cubicBezTo>
                      <a:pt x="51" y="20"/>
                      <a:pt x="51" y="20"/>
                      <a:pt x="51" y="20"/>
                    </a:cubicBezTo>
                    <a:cubicBezTo>
                      <a:pt x="49" y="18"/>
                      <a:pt x="49" y="18"/>
                      <a:pt x="49" y="18"/>
                    </a:cubicBezTo>
                    <a:cubicBezTo>
                      <a:pt x="52" y="15"/>
                      <a:pt x="52" y="15"/>
                      <a:pt x="52" y="15"/>
                    </a:cubicBezTo>
                    <a:cubicBezTo>
                      <a:pt x="55" y="17"/>
                      <a:pt x="57" y="21"/>
                      <a:pt x="54" y="23"/>
                    </a:cubicBezTo>
                    <a:cubicBezTo>
                      <a:pt x="53" y="24"/>
                      <a:pt x="52" y="25"/>
                      <a:pt x="50" y="25"/>
                    </a:cubicBezTo>
                    <a:cubicBezTo>
                      <a:pt x="49" y="25"/>
                      <a:pt x="47" y="24"/>
                      <a:pt x="46" y="23"/>
                    </a:cubicBezTo>
                    <a:cubicBezTo>
                      <a:pt x="44" y="21"/>
                      <a:pt x="44" y="20"/>
                      <a:pt x="44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2" y="24"/>
                      <a:pt x="43" y="23"/>
                      <a:pt x="43" y="23"/>
                    </a:cubicBezTo>
                    <a:cubicBezTo>
                      <a:pt x="44" y="23"/>
                      <a:pt x="45" y="24"/>
                      <a:pt x="46" y="25"/>
                    </a:cubicBezTo>
                    <a:cubicBezTo>
                      <a:pt x="48" y="27"/>
                      <a:pt x="48" y="29"/>
                      <a:pt x="46" y="31"/>
                    </a:cubicBezTo>
                    <a:cubicBezTo>
                      <a:pt x="46" y="32"/>
                      <a:pt x="45" y="32"/>
                      <a:pt x="44" y="32"/>
                    </a:cubicBezTo>
                    <a:cubicBezTo>
                      <a:pt x="43" y="32"/>
                      <a:pt x="42" y="32"/>
                      <a:pt x="41" y="31"/>
                    </a:cubicBezTo>
                    <a:cubicBezTo>
                      <a:pt x="40" y="30"/>
                      <a:pt x="40" y="29"/>
                      <a:pt x="39" y="28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4" y="28"/>
                      <a:pt x="34" y="28"/>
                      <a:pt x="34" y="28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43" y="34"/>
                      <a:pt x="43" y="34"/>
                      <a:pt x="43" y="34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7" y="37"/>
                      <a:pt x="37" y="37"/>
                      <a:pt x="37" y="37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1" y="31"/>
                      <a:pt x="31" y="31"/>
                      <a:pt x="31" y="31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7" y="68"/>
                      <a:pt x="7" y="68"/>
                      <a:pt x="7" y="68"/>
                    </a:cubicBezTo>
                    <a:cubicBezTo>
                      <a:pt x="8" y="70"/>
                      <a:pt x="10" y="71"/>
                      <a:pt x="12" y="71"/>
                    </a:cubicBezTo>
                    <a:cubicBezTo>
                      <a:pt x="14" y="71"/>
                      <a:pt x="16" y="70"/>
                      <a:pt x="18" y="68"/>
                    </a:cubicBezTo>
                    <a:cubicBezTo>
                      <a:pt x="69" y="17"/>
                      <a:pt x="69" y="17"/>
                      <a:pt x="69" y="17"/>
                    </a:cubicBezTo>
                    <a:cubicBezTo>
                      <a:pt x="72" y="14"/>
                      <a:pt x="72" y="10"/>
                      <a:pt x="69" y="7"/>
                    </a:cubicBezTo>
                    <a:cubicBezTo>
                      <a:pt x="62" y="0"/>
                      <a:pt x="62" y="0"/>
                      <a:pt x="62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475">
                <a:extLst>
                  <a:ext uri="{FF2B5EF4-FFF2-40B4-BE49-F238E27FC236}">
                    <a16:creationId xmlns:a16="http://schemas.microsoft.com/office/drawing/2014/main" id="{31173EE4-93C5-4D06-835D-24D95BAF6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2 h 4"/>
                  <a:gd name="T4" fmla="*/ 2 w 4"/>
                  <a:gd name="T5" fmla="*/ 4 h 4"/>
                  <a:gd name="T6" fmla="*/ 4 w 4"/>
                  <a:gd name="T7" fmla="*/ 2 h 4"/>
                  <a:gd name="T8" fmla="*/ 2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2121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Freeform 476">
                <a:extLst>
                  <a:ext uri="{FF2B5EF4-FFF2-40B4-BE49-F238E27FC236}">
                    <a16:creationId xmlns:a16="http://schemas.microsoft.com/office/drawing/2014/main" id="{47CB574F-8205-4692-8F4A-4816A3761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123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2 h 4"/>
                  <a:gd name="T4" fmla="*/ 2 w 4"/>
                  <a:gd name="T5" fmla="*/ 4 h 4"/>
                  <a:gd name="T6" fmla="*/ 4 w 4"/>
                  <a:gd name="T7" fmla="*/ 2 h 4"/>
                  <a:gd name="T8" fmla="*/ 2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477">
                <a:extLst>
                  <a:ext uri="{FF2B5EF4-FFF2-40B4-BE49-F238E27FC236}">
                    <a16:creationId xmlns:a16="http://schemas.microsoft.com/office/drawing/2014/main" id="{AB30515E-C711-4F72-9542-AB954CF37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3" y="2055"/>
                <a:ext cx="14" cy="18"/>
              </a:xfrm>
              <a:custGeom>
                <a:avLst/>
                <a:gdLst>
                  <a:gd name="T0" fmla="*/ 14 w 26"/>
                  <a:gd name="T1" fmla="*/ 0 h 33"/>
                  <a:gd name="T2" fmla="*/ 0 w 26"/>
                  <a:gd name="T3" fmla="*/ 14 h 33"/>
                  <a:gd name="T4" fmla="*/ 20 w 26"/>
                  <a:gd name="T5" fmla="*/ 33 h 33"/>
                  <a:gd name="T6" fmla="*/ 20 w 26"/>
                  <a:gd name="T7" fmla="*/ 33 h 33"/>
                  <a:gd name="T8" fmla="*/ 26 w 26"/>
                  <a:gd name="T9" fmla="*/ 20 h 33"/>
                  <a:gd name="T10" fmla="*/ 26 w 26"/>
                  <a:gd name="T11" fmla="*/ 19 h 33"/>
                  <a:gd name="T12" fmla="*/ 14 w 26"/>
                  <a:gd name="T13" fmla="*/ 0 h 33"/>
                  <a:gd name="T14" fmla="*/ 14 w 26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3">
                    <a:moveTo>
                      <a:pt x="14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20" y="33"/>
                      <a:pt x="26" y="24"/>
                      <a:pt x="26" y="20"/>
                    </a:cubicBezTo>
                    <a:cubicBezTo>
                      <a:pt x="26" y="20"/>
                      <a:pt x="26" y="20"/>
                      <a:pt x="26" y="19"/>
                    </a:cubicBezTo>
                    <a:cubicBezTo>
                      <a:pt x="25" y="14"/>
                      <a:pt x="20" y="7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478">
                <a:extLst>
                  <a:ext uri="{FF2B5EF4-FFF2-40B4-BE49-F238E27FC236}">
                    <a16:creationId xmlns:a16="http://schemas.microsoft.com/office/drawing/2014/main" id="{FF114925-86BC-48BE-89A6-A26EAC5E91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7" y="2087"/>
                <a:ext cx="6" cy="6"/>
              </a:xfrm>
              <a:custGeom>
                <a:avLst/>
                <a:gdLst>
                  <a:gd name="T0" fmla="*/ 1 w 6"/>
                  <a:gd name="T1" fmla="*/ 0 h 6"/>
                  <a:gd name="T2" fmla="*/ 0 w 6"/>
                  <a:gd name="T3" fmla="*/ 2 h 6"/>
                  <a:gd name="T4" fmla="*/ 0 w 6"/>
                  <a:gd name="T5" fmla="*/ 2 h 6"/>
                  <a:gd name="T6" fmla="*/ 1 w 6"/>
                  <a:gd name="T7" fmla="*/ 1 h 6"/>
                  <a:gd name="T8" fmla="*/ 3 w 6"/>
                  <a:gd name="T9" fmla="*/ 5 h 6"/>
                  <a:gd name="T10" fmla="*/ 3 w 6"/>
                  <a:gd name="T11" fmla="*/ 5 h 6"/>
                  <a:gd name="T12" fmla="*/ 3 w 6"/>
                  <a:gd name="T13" fmla="*/ 6 h 6"/>
                  <a:gd name="T14" fmla="*/ 6 w 6"/>
                  <a:gd name="T15" fmla="*/ 3 h 6"/>
                  <a:gd name="T16" fmla="*/ 5 w 6"/>
                  <a:gd name="T17" fmla="*/ 3 h 6"/>
                  <a:gd name="T18" fmla="*/ 4 w 6"/>
                  <a:gd name="T19" fmla="*/ 3 h 6"/>
                  <a:gd name="T20" fmla="*/ 1 w 6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479">
                <a:extLst>
                  <a:ext uri="{FF2B5EF4-FFF2-40B4-BE49-F238E27FC236}">
                    <a16:creationId xmlns:a16="http://schemas.microsoft.com/office/drawing/2014/main" id="{3EC4FAC2-A67E-4FE4-AAFF-47960A718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7" y="2087"/>
                <a:ext cx="6" cy="6"/>
              </a:xfrm>
              <a:custGeom>
                <a:avLst/>
                <a:gdLst>
                  <a:gd name="T0" fmla="*/ 1 w 6"/>
                  <a:gd name="T1" fmla="*/ 0 h 6"/>
                  <a:gd name="T2" fmla="*/ 0 w 6"/>
                  <a:gd name="T3" fmla="*/ 2 h 6"/>
                  <a:gd name="T4" fmla="*/ 0 w 6"/>
                  <a:gd name="T5" fmla="*/ 2 h 6"/>
                  <a:gd name="T6" fmla="*/ 1 w 6"/>
                  <a:gd name="T7" fmla="*/ 1 h 6"/>
                  <a:gd name="T8" fmla="*/ 3 w 6"/>
                  <a:gd name="T9" fmla="*/ 5 h 6"/>
                  <a:gd name="T10" fmla="*/ 3 w 6"/>
                  <a:gd name="T11" fmla="*/ 5 h 6"/>
                  <a:gd name="T12" fmla="*/ 3 w 6"/>
                  <a:gd name="T13" fmla="*/ 6 h 6"/>
                  <a:gd name="T14" fmla="*/ 6 w 6"/>
                  <a:gd name="T15" fmla="*/ 3 h 6"/>
                  <a:gd name="T16" fmla="*/ 5 w 6"/>
                  <a:gd name="T17" fmla="*/ 3 h 6"/>
                  <a:gd name="T18" fmla="*/ 4 w 6"/>
                  <a:gd name="T19" fmla="*/ 3 h 6"/>
                  <a:gd name="T20" fmla="*/ 1 w 6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480">
                <a:extLst>
                  <a:ext uri="{FF2B5EF4-FFF2-40B4-BE49-F238E27FC236}">
                    <a16:creationId xmlns:a16="http://schemas.microsoft.com/office/drawing/2014/main" id="{383433D8-8C96-4051-9300-1318DD64E6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0" y="2084"/>
                <a:ext cx="6" cy="5"/>
              </a:xfrm>
              <a:custGeom>
                <a:avLst/>
                <a:gdLst>
                  <a:gd name="T0" fmla="*/ 6 w 10"/>
                  <a:gd name="T1" fmla="*/ 7 h 10"/>
                  <a:gd name="T2" fmla="*/ 5 w 10"/>
                  <a:gd name="T3" fmla="*/ 7 h 10"/>
                  <a:gd name="T4" fmla="*/ 4 w 10"/>
                  <a:gd name="T5" fmla="*/ 5 h 10"/>
                  <a:gd name="T6" fmla="*/ 5 w 10"/>
                  <a:gd name="T7" fmla="*/ 4 h 10"/>
                  <a:gd name="T8" fmla="*/ 6 w 10"/>
                  <a:gd name="T9" fmla="*/ 5 h 10"/>
                  <a:gd name="T10" fmla="*/ 7 w 10"/>
                  <a:gd name="T11" fmla="*/ 7 h 10"/>
                  <a:gd name="T12" fmla="*/ 6 w 10"/>
                  <a:gd name="T13" fmla="*/ 7 h 10"/>
                  <a:gd name="T14" fmla="*/ 2 w 10"/>
                  <a:gd name="T15" fmla="*/ 0 h 10"/>
                  <a:gd name="T16" fmla="*/ 0 w 10"/>
                  <a:gd name="T17" fmla="*/ 2 h 10"/>
                  <a:gd name="T18" fmla="*/ 0 w 10"/>
                  <a:gd name="T19" fmla="*/ 2 h 10"/>
                  <a:gd name="T20" fmla="*/ 1 w 10"/>
                  <a:gd name="T21" fmla="*/ 6 h 10"/>
                  <a:gd name="T22" fmla="*/ 3 w 10"/>
                  <a:gd name="T23" fmla="*/ 9 h 10"/>
                  <a:gd name="T24" fmla="*/ 6 w 10"/>
                  <a:gd name="T25" fmla="*/ 10 h 10"/>
                  <a:gd name="T26" fmla="*/ 8 w 10"/>
                  <a:gd name="T27" fmla="*/ 9 h 10"/>
                  <a:gd name="T28" fmla="*/ 8 w 10"/>
                  <a:gd name="T29" fmla="*/ 3 h 10"/>
                  <a:gd name="T30" fmla="*/ 5 w 10"/>
                  <a:gd name="T31" fmla="*/ 1 h 10"/>
                  <a:gd name="T32" fmla="*/ 3 w 10"/>
                  <a:gd name="T33" fmla="*/ 3 h 10"/>
                  <a:gd name="T34" fmla="*/ 2 w 10"/>
                  <a:gd name="T35" fmla="*/ 0 h 10"/>
                  <a:gd name="T36" fmla="*/ 2 w 10"/>
                  <a:gd name="T3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" h="10">
                    <a:moveTo>
                      <a:pt x="6" y="7"/>
                    </a:moveTo>
                    <a:cubicBezTo>
                      <a:pt x="6" y="7"/>
                      <a:pt x="5" y="7"/>
                      <a:pt x="5" y="7"/>
                    </a:cubicBezTo>
                    <a:cubicBezTo>
                      <a:pt x="4" y="6"/>
                      <a:pt x="4" y="5"/>
                      <a:pt x="4" y="5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6" y="5"/>
                      <a:pt x="6" y="5"/>
                    </a:cubicBezTo>
                    <a:cubicBezTo>
                      <a:pt x="7" y="6"/>
                      <a:pt x="7" y="6"/>
                      <a:pt x="7" y="7"/>
                    </a:cubicBezTo>
                    <a:cubicBezTo>
                      <a:pt x="6" y="7"/>
                      <a:pt x="6" y="7"/>
                      <a:pt x="6" y="7"/>
                    </a:cubicBezTo>
                    <a:moveTo>
                      <a:pt x="2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2" y="7"/>
                      <a:pt x="2" y="8"/>
                      <a:pt x="3" y="9"/>
                    </a:cubicBezTo>
                    <a:cubicBezTo>
                      <a:pt x="4" y="10"/>
                      <a:pt x="5" y="10"/>
                      <a:pt x="6" y="10"/>
                    </a:cubicBezTo>
                    <a:cubicBezTo>
                      <a:pt x="7" y="10"/>
                      <a:pt x="8" y="10"/>
                      <a:pt x="8" y="9"/>
                    </a:cubicBezTo>
                    <a:cubicBezTo>
                      <a:pt x="10" y="7"/>
                      <a:pt x="10" y="5"/>
                      <a:pt x="8" y="3"/>
                    </a:cubicBezTo>
                    <a:cubicBezTo>
                      <a:pt x="7" y="2"/>
                      <a:pt x="6" y="1"/>
                      <a:pt x="5" y="1"/>
                    </a:cubicBezTo>
                    <a:cubicBezTo>
                      <a:pt x="5" y="1"/>
                      <a:pt x="4" y="2"/>
                      <a:pt x="3" y="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481">
                <a:extLst>
                  <a:ext uri="{FF2B5EF4-FFF2-40B4-BE49-F238E27FC236}">
                    <a16:creationId xmlns:a16="http://schemas.microsoft.com/office/drawing/2014/main" id="{8C2A99D8-D6A7-4F92-956C-6FA00F7A3F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" y="2079"/>
                <a:ext cx="7" cy="7"/>
              </a:xfrm>
              <a:custGeom>
                <a:avLst/>
                <a:gdLst>
                  <a:gd name="T0" fmla="*/ 5 w 13"/>
                  <a:gd name="T1" fmla="*/ 0 h 12"/>
                  <a:gd name="T2" fmla="*/ 0 w 13"/>
                  <a:gd name="T3" fmla="*/ 6 h 12"/>
                  <a:gd name="T4" fmla="*/ 0 w 13"/>
                  <a:gd name="T5" fmla="*/ 6 h 12"/>
                  <a:gd name="T6" fmla="*/ 2 w 13"/>
                  <a:gd name="T7" fmla="*/ 10 h 12"/>
                  <a:gd name="T8" fmla="*/ 6 w 13"/>
                  <a:gd name="T9" fmla="*/ 12 h 12"/>
                  <a:gd name="T10" fmla="*/ 10 w 13"/>
                  <a:gd name="T11" fmla="*/ 10 h 12"/>
                  <a:gd name="T12" fmla="*/ 8 w 13"/>
                  <a:gd name="T13" fmla="*/ 2 h 12"/>
                  <a:gd name="T14" fmla="*/ 5 w 13"/>
                  <a:gd name="T15" fmla="*/ 5 h 12"/>
                  <a:gd name="T16" fmla="*/ 7 w 13"/>
                  <a:gd name="T17" fmla="*/ 7 h 12"/>
                  <a:gd name="T18" fmla="*/ 8 w 13"/>
                  <a:gd name="T19" fmla="*/ 6 h 12"/>
                  <a:gd name="T20" fmla="*/ 8 w 13"/>
                  <a:gd name="T21" fmla="*/ 8 h 12"/>
                  <a:gd name="T22" fmla="*/ 6 w 13"/>
                  <a:gd name="T23" fmla="*/ 9 h 12"/>
                  <a:gd name="T24" fmla="*/ 4 w 13"/>
                  <a:gd name="T25" fmla="*/ 7 h 12"/>
                  <a:gd name="T26" fmla="*/ 3 w 13"/>
                  <a:gd name="T27" fmla="*/ 3 h 12"/>
                  <a:gd name="T28" fmla="*/ 4 w 13"/>
                  <a:gd name="T29" fmla="*/ 3 h 12"/>
                  <a:gd name="T30" fmla="*/ 5 w 13"/>
                  <a:gd name="T31" fmla="*/ 3 h 12"/>
                  <a:gd name="T32" fmla="*/ 7 w 13"/>
                  <a:gd name="T33" fmla="*/ 1 h 12"/>
                  <a:gd name="T34" fmla="*/ 5 w 13"/>
                  <a:gd name="T35" fmla="*/ 0 h 12"/>
                  <a:gd name="T36" fmla="*/ 5 w 13"/>
                  <a:gd name="T3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12">
                    <a:moveTo>
                      <a:pt x="5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8"/>
                      <a:pt x="2" y="10"/>
                    </a:cubicBezTo>
                    <a:cubicBezTo>
                      <a:pt x="3" y="11"/>
                      <a:pt x="5" y="12"/>
                      <a:pt x="6" y="12"/>
                    </a:cubicBezTo>
                    <a:cubicBezTo>
                      <a:pt x="8" y="12"/>
                      <a:pt x="9" y="11"/>
                      <a:pt x="10" y="10"/>
                    </a:cubicBezTo>
                    <a:cubicBezTo>
                      <a:pt x="13" y="8"/>
                      <a:pt x="11" y="4"/>
                      <a:pt x="8" y="2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7"/>
                      <a:pt x="9" y="8"/>
                      <a:pt x="8" y="8"/>
                    </a:cubicBezTo>
                    <a:cubicBezTo>
                      <a:pt x="8" y="9"/>
                      <a:pt x="7" y="9"/>
                      <a:pt x="6" y="9"/>
                    </a:cubicBezTo>
                    <a:cubicBezTo>
                      <a:pt x="6" y="9"/>
                      <a:pt x="5" y="8"/>
                      <a:pt x="4" y="7"/>
                    </a:cubicBezTo>
                    <a:cubicBezTo>
                      <a:pt x="2" y="6"/>
                      <a:pt x="2" y="4"/>
                      <a:pt x="3" y="3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0"/>
                      <a:pt x="6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482">
                <a:extLst>
                  <a:ext uri="{FF2B5EF4-FFF2-40B4-BE49-F238E27FC236}">
                    <a16:creationId xmlns:a16="http://schemas.microsoft.com/office/drawing/2014/main" id="{50342975-A6CF-48F1-961C-B73C9BF50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9" y="2076"/>
                <a:ext cx="3" cy="4"/>
              </a:xfrm>
              <a:custGeom>
                <a:avLst/>
                <a:gdLst>
                  <a:gd name="T0" fmla="*/ 5 w 6"/>
                  <a:gd name="T1" fmla="*/ 4 h 6"/>
                  <a:gd name="T2" fmla="*/ 4 w 6"/>
                  <a:gd name="T3" fmla="*/ 4 h 6"/>
                  <a:gd name="T4" fmla="*/ 3 w 6"/>
                  <a:gd name="T5" fmla="*/ 5 h 6"/>
                  <a:gd name="T6" fmla="*/ 5 w 6"/>
                  <a:gd name="T7" fmla="*/ 6 h 6"/>
                  <a:gd name="T8" fmla="*/ 6 w 6"/>
                  <a:gd name="T9" fmla="*/ 5 h 6"/>
                  <a:gd name="T10" fmla="*/ 6 w 6"/>
                  <a:gd name="T11" fmla="*/ 4 h 6"/>
                  <a:gd name="T12" fmla="*/ 5 w 6"/>
                  <a:gd name="T13" fmla="*/ 4 h 6"/>
                  <a:gd name="T14" fmla="*/ 1 w 6"/>
                  <a:gd name="T15" fmla="*/ 0 h 6"/>
                  <a:gd name="T16" fmla="*/ 1 w 6"/>
                  <a:gd name="T17" fmla="*/ 1 h 6"/>
                  <a:gd name="T18" fmla="*/ 0 w 6"/>
                  <a:gd name="T19" fmla="*/ 2 h 6"/>
                  <a:gd name="T20" fmla="*/ 1 w 6"/>
                  <a:gd name="T21" fmla="*/ 3 h 6"/>
                  <a:gd name="T22" fmla="*/ 2 w 6"/>
                  <a:gd name="T23" fmla="*/ 2 h 6"/>
                  <a:gd name="T24" fmla="*/ 2 w 6"/>
                  <a:gd name="T25" fmla="*/ 1 h 6"/>
                  <a:gd name="T26" fmla="*/ 1 w 6"/>
                  <a:gd name="T2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6">
                    <a:moveTo>
                      <a:pt x="5" y="4"/>
                    </a:moveTo>
                    <a:cubicBezTo>
                      <a:pt x="5" y="4"/>
                      <a:pt x="4" y="4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4"/>
                      <a:pt x="6" y="4"/>
                    </a:cubicBezTo>
                    <a:cubicBezTo>
                      <a:pt x="5" y="4"/>
                      <a:pt x="5" y="4"/>
                      <a:pt x="5" y="4"/>
                    </a:cubicBezTo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</a:path>
                </a:pathLst>
              </a:custGeom>
              <a:solidFill>
                <a:srgbClr val="B9BD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483">
                <a:extLst>
                  <a:ext uri="{FF2B5EF4-FFF2-40B4-BE49-F238E27FC236}">
                    <a16:creationId xmlns:a16="http://schemas.microsoft.com/office/drawing/2014/main" id="{0AD79C15-9410-49EA-A0B7-001956844B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7" y="2075"/>
                <a:ext cx="8" cy="7"/>
              </a:xfrm>
              <a:custGeom>
                <a:avLst/>
                <a:gdLst>
                  <a:gd name="T0" fmla="*/ 8 w 13"/>
                  <a:gd name="T1" fmla="*/ 8 h 13"/>
                  <a:gd name="T2" fmla="*/ 6 w 13"/>
                  <a:gd name="T3" fmla="*/ 7 h 13"/>
                  <a:gd name="T4" fmla="*/ 7 w 13"/>
                  <a:gd name="T5" fmla="*/ 6 h 13"/>
                  <a:gd name="T6" fmla="*/ 8 w 13"/>
                  <a:gd name="T7" fmla="*/ 6 h 13"/>
                  <a:gd name="T8" fmla="*/ 9 w 13"/>
                  <a:gd name="T9" fmla="*/ 6 h 13"/>
                  <a:gd name="T10" fmla="*/ 9 w 13"/>
                  <a:gd name="T11" fmla="*/ 7 h 13"/>
                  <a:gd name="T12" fmla="*/ 8 w 13"/>
                  <a:gd name="T13" fmla="*/ 8 h 13"/>
                  <a:gd name="T14" fmla="*/ 4 w 13"/>
                  <a:gd name="T15" fmla="*/ 5 h 13"/>
                  <a:gd name="T16" fmla="*/ 3 w 13"/>
                  <a:gd name="T17" fmla="*/ 4 h 13"/>
                  <a:gd name="T18" fmla="*/ 4 w 13"/>
                  <a:gd name="T19" fmla="*/ 3 h 13"/>
                  <a:gd name="T20" fmla="*/ 4 w 13"/>
                  <a:gd name="T21" fmla="*/ 2 h 13"/>
                  <a:gd name="T22" fmla="*/ 5 w 13"/>
                  <a:gd name="T23" fmla="*/ 3 h 13"/>
                  <a:gd name="T24" fmla="*/ 5 w 13"/>
                  <a:gd name="T25" fmla="*/ 4 h 13"/>
                  <a:gd name="T26" fmla="*/ 4 w 13"/>
                  <a:gd name="T27" fmla="*/ 5 h 13"/>
                  <a:gd name="T28" fmla="*/ 6 w 13"/>
                  <a:gd name="T29" fmla="*/ 0 h 13"/>
                  <a:gd name="T30" fmla="*/ 0 w 13"/>
                  <a:gd name="T31" fmla="*/ 5 h 13"/>
                  <a:gd name="T32" fmla="*/ 7 w 13"/>
                  <a:gd name="T33" fmla="*/ 13 h 13"/>
                  <a:gd name="T34" fmla="*/ 11 w 13"/>
                  <a:gd name="T35" fmla="*/ 9 h 13"/>
                  <a:gd name="T36" fmla="*/ 11 w 13"/>
                  <a:gd name="T37" fmla="*/ 4 h 13"/>
                  <a:gd name="T38" fmla="*/ 9 w 13"/>
                  <a:gd name="T39" fmla="*/ 3 h 13"/>
                  <a:gd name="T40" fmla="*/ 8 w 13"/>
                  <a:gd name="T41" fmla="*/ 3 h 13"/>
                  <a:gd name="T42" fmla="*/ 7 w 13"/>
                  <a:gd name="T43" fmla="*/ 1 h 13"/>
                  <a:gd name="T44" fmla="*/ 6 w 13"/>
                  <a:gd name="T45" fmla="*/ 0 h 13"/>
                  <a:gd name="T46" fmla="*/ 6 w 13"/>
                  <a:gd name="T4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" h="13">
                    <a:moveTo>
                      <a:pt x="8" y="8"/>
                    </a:moveTo>
                    <a:cubicBezTo>
                      <a:pt x="6" y="7"/>
                      <a:pt x="6" y="7"/>
                      <a:pt x="6" y="7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9" y="6"/>
                    </a:cubicBezTo>
                    <a:cubicBezTo>
                      <a:pt x="9" y="6"/>
                      <a:pt x="9" y="7"/>
                      <a:pt x="9" y="7"/>
                    </a:cubicBezTo>
                    <a:cubicBezTo>
                      <a:pt x="8" y="8"/>
                      <a:pt x="8" y="8"/>
                      <a:pt x="8" y="8"/>
                    </a:cubicBezTo>
                    <a:moveTo>
                      <a:pt x="4" y="5"/>
                    </a:moveTo>
                    <a:cubicBezTo>
                      <a:pt x="3" y="4"/>
                      <a:pt x="3" y="4"/>
                      <a:pt x="3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2"/>
                      <a:pt x="4" y="2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6" y="3"/>
                      <a:pt x="6" y="4"/>
                      <a:pt x="5" y="4"/>
                    </a:cubicBezTo>
                    <a:cubicBezTo>
                      <a:pt x="4" y="5"/>
                      <a:pt x="4" y="5"/>
                      <a:pt x="4" y="5"/>
                    </a:cubicBezTo>
                    <a:moveTo>
                      <a:pt x="6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3" y="8"/>
                      <a:pt x="13" y="5"/>
                      <a:pt x="11" y="4"/>
                    </a:cubicBezTo>
                    <a:cubicBezTo>
                      <a:pt x="10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1"/>
                      <a:pt x="7" y="1"/>
                    </a:cubicBezTo>
                    <a:cubicBezTo>
                      <a:pt x="7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1D1C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484">
                <a:extLst>
                  <a:ext uri="{FF2B5EF4-FFF2-40B4-BE49-F238E27FC236}">
                    <a16:creationId xmlns:a16="http://schemas.microsoft.com/office/drawing/2014/main" id="{436BE7DE-BF7D-482B-9611-959F43F05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4" y="2209"/>
                <a:ext cx="452" cy="412"/>
              </a:xfrm>
              <a:custGeom>
                <a:avLst/>
                <a:gdLst>
                  <a:gd name="T0" fmla="*/ 452 w 452"/>
                  <a:gd name="T1" fmla="*/ 159 h 412"/>
                  <a:gd name="T2" fmla="*/ 122 w 452"/>
                  <a:gd name="T3" fmla="*/ 412 h 412"/>
                  <a:gd name="T4" fmla="*/ 0 w 452"/>
                  <a:gd name="T5" fmla="*/ 253 h 412"/>
                  <a:gd name="T6" fmla="*/ 331 w 452"/>
                  <a:gd name="T7" fmla="*/ 0 h 412"/>
                  <a:gd name="T8" fmla="*/ 452 w 452"/>
                  <a:gd name="T9" fmla="*/ 159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2" h="412">
                    <a:moveTo>
                      <a:pt x="452" y="159"/>
                    </a:moveTo>
                    <a:lnTo>
                      <a:pt x="122" y="412"/>
                    </a:lnTo>
                    <a:lnTo>
                      <a:pt x="0" y="253"/>
                    </a:lnTo>
                    <a:lnTo>
                      <a:pt x="331" y="0"/>
                    </a:lnTo>
                    <a:lnTo>
                      <a:pt x="452" y="159"/>
                    </a:ln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485">
                <a:extLst>
                  <a:ext uri="{FF2B5EF4-FFF2-40B4-BE49-F238E27FC236}">
                    <a16:creationId xmlns:a16="http://schemas.microsoft.com/office/drawing/2014/main" id="{1EADEE1F-E248-4F77-8BBF-B1FD33108A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1" y="2216"/>
                <a:ext cx="401" cy="348"/>
              </a:xfrm>
              <a:custGeom>
                <a:avLst/>
                <a:gdLst>
                  <a:gd name="T0" fmla="*/ 401 w 401"/>
                  <a:gd name="T1" fmla="*/ 103 h 348"/>
                  <a:gd name="T2" fmla="*/ 79 w 401"/>
                  <a:gd name="T3" fmla="*/ 348 h 348"/>
                  <a:gd name="T4" fmla="*/ 0 w 401"/>
                  <a:gd name="T5" fmla="*/ 245 h 348"/>
                  <a:gd name="T6" fmla="*/ 322 w 401"/>
                  <a:gd name="T7" fmla="*/ 0 h 348"/>
                  <a:gd name="T8" fmla="*/ 401 w 401"/>
                  <a:gd name="T9" fmla="*/ 103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1" h="348">
                    <a:moveTo>
                      <a:pt x="401" y="103"/>
                    </a:moveTo>
                    <a:lnTo>
                      <a:pt x="79" y="348"/>
                    </a:lnTo>
                    <a:lnTo>
                      <a:pt x="0" y="245"/>
                    </a:lnTo>
                    <a:lnTo>
                      <a:pt x="322" y="0"/>
                    </a:lnTo>
                    <a:lnTo>
                      <a:pt x="401" y="103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486">
                <a:extLst>
                  <a:ext uri="{FF2B5EF4-FFF2-40B4-BE49-F238E27FC236}">
                    <a16:creationId xmlns:a16="http://schemas.microsoft.com/office/drawing/2014/main" id="{8FF5C2D7-99C0-4F20-B148-73A501517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7" y="2416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487">
                <a:extLst>
                  <a:ext uri="{FF2B5EF4-FFF2-40B4-BE49-F238E27FC236}">
                    <a16:creationId xmlns:a16="http://schemas.microsoft.com/office/drawing/2014/main" id="{2B0822BE-066C-4318-AE89-D9E7FB9BC6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6" y="2401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488">
                <a:extLst>
                  <a:ext uri="{FF2B5EF4-FFF2-40B4-BE49-F238E27FC236}">
                    <a16:creationId xmlns:a16="http://schemas.microsoft.com/office/drawing/2014/main" id="{EDE935F6-67DA-4E07-9DBF-3E9781969D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5" y="2386"/>
                <a:ext cx="20" cy="17"/>
              </a:xfrm>
              <a:custGeom>
                <a:avLst/>
                <a:gdLst>
                  <a:gd name="T0" fmla="*/ 33 w 35"/>
                  <a:gd name="T1" fmla="*/ 14 h 31"/>
                  <a:gd name="T2" fmla="*/ 12 w 35"/>
                  <a:gd name="T3" fmla="*/ 31 h 31"/>
                  <a:gd name="T4" fmla="*/ 9 w 35"/>
                  <a:gd name="T5" fmla="*/ 30 h 31"/>
                  <a:gd name="T6" fmla="*/ 1 w 35"/>
                  <a:gd name="T7" fmla="*/ 21 h 31"/>
                  <a:gd name="T8" fmla="*/ 2 w 35"/>
                  <a:gd name="T9" fmla="*/ 18 h 31"/>
                  <a:gd name="T10" fmla="*/ 24 w 35"/>
                  <a:gd name="T11" fmla="*/ 1 h 31"/>
                  <a:gd name="T12" fmla="*/ 27 w 35"/>
                  <a:gd name="T13" fmla="*/ 1 h 31"/>
                  <a:gd name="T14" fmla="*/ 34 w 35"/>
                  <a:gd name="T15" fmla="*/ 11 h 31"/>
                  <a:gd name="T16" fmla="*/ 33 w 35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1">
                    <a:moveTo>
                      <a:pt x="33" y="14"/>
                    </a:moveTo>
                    <a:cubicBezTo>
                      <a:pt x="12" y="31"/>
                      <a:pt x="12" y="31"/>
                      <a:pt x="12" y="31"/>
                    </a:cubicBezTo>
                    <a:cubicBezTo>
                      <a:pt x="11" y="31"/>
                      <a:pt x="9" y="31"/>
                      <a:pt x="9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0"/>
                      <a:pt x="27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489">
                <a:extLst>
                  <a:ext uri="{FF2B5EF4-FFF2-40B4-BE49-F238E27FC236}">
                    <a16:creationId xmlns:a16="http://schemas.microsoft.com/office/drawing/2014/main" id="{155EEAF4-F3B2-42D9-B9AA-4891C2A1A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5" y="2372"/>
                <a:ext cx="19" cy="17"/>
              </a:xfrm>
              <a:custGeom>
                <a:avLst/>
                <a:gdLst>
                  <a:gd name="T0" fmla="*/ 33 w 34"/>
                  <a:gd name="T1" fmla="*/ 14 h 32"/>
                  <a:gd name="T2" fmla="*/ 11 w 34"/>
                  <a:gd name="T3" fmla="*/ 31 h 32"/>
                  <a:gd name="T4" fmla="*/ 8 w 34"/>
                  <a:gd name="T5" fmla="*/ 30 h 32"/>
                  <a:gd name="T6" fmla="*/ 1 w 34"/>
                  <a:gd name="T7" fmla="*/ 21 h 32"/>
                  <a:gd name="T8" fmla="*/ 1 w 34"/>
                  <a:gd name="T9" fmla="*/ 18 h 32"/>
                  <a:gd name="T10" fmla="*/ 23 w 34"/>
                  <a:gd name="T11" fmla="*/ 1 h 32"/>
                  <a:gd name="T12" fmla="*/ 26 w 34"/>
                  <a:gd name="T13" fmla="*/ 2 h 32"/>
                  <a:gd name="T14" fmla="*/ 33 w 34"/>
                  <a:gd name="T15" fmla="*/ 11 h 32"/>
                  <a:gd name="T16" fmla="*/ 33 w 34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2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2"/>
                      <a:pt x="9" y="31"/>
                      <a:pt x="8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490">
                <a:extLst>
                  <a:ext uri="{FF2B5EF4-FFF2-40B4-BE49-F238E27FC236}">
                    <a16:creationId xmlns:a16="http://schemas.microsoft.com/office/drawing/2014/main" id="{0E5549F8-F970-4F47-AAF6-632987E02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4" y="2357"/>
                <a:ext cx="19" cy="17"/>
              </a:xfrm>
              <a:custGeom>
                <a:avLst/>
                <a:gdLst>
                  <a:gd name="T0" fmla="*/ 33 w 34"/>
                  <a:gd name="T1" fmla="*/ 13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4 w 34"/>
                  <a:gd name="T15" fmla="*/ 10 h 31"/>
                  <a:gd name="T16" fmla="*/ 33 w 34"/>
                  <a:gd name="T17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3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34" y="11"/>
                      <a:pt x="34" y="13"/>
                      <a:pt x="33" y="13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491">
                <a:extLst>
                  <a:ext uri="{FF2B5EF4-FFF2-40B4-BE49-F238E27FC236}">
                    <a16:creationId xmlns:a16="http://schemas.microsoft.com/office/drawing/2014/main" id="{0E1A9E02-6759-4F2D-A8D1-057EFE21D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4" y="2343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492">
                <a:extLst>
                  <a:ext uri="{FF2B5EF4-FFF2-40B4-BE49-F238E27FC236}">
                    <a16:creationId xmlns:a16="http://schemas.microsoft.com/office/drawing/2014/main" id="{BDA19D22-8617-4E29-89EC-0AC1F185FD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" y="232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4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493">
                <a:extLst>
                  <a:ext uri="{FF2B5EF4-FFF2-40B4-BE49-F238E27FC236}">
                    <a16:creationId xmlns:a16="http://schemas.microsoft.com/office/drawing/2014/main" id="{9BC25345-D233-4999-A289-D8C5D2C41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3" y="2313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494">
                <a:extLst>
                  <a:ext uri="{FF2B5EF4-FFF2-40B4-BE49-F238E27FC236}">
                    <a16:creationId xmlns:a16="http://schemas.microsoft.com/office/drawing/2014/main" id="{61175883-ECDA-48C9-B066-2C8AE3CCF2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2" y="229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1 h 31"/>
                  <a:gd name="T8" fmla="*/ 1 w 34"/>
                  <a:gd name="T9" fmla="*/ 18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495">
                <a:extLst>
                  <a:ext uri="{FF2B5EF4-FFF2-40B4-BE49-F238E27FC236}">
                    <a16:creationId xmlns:a16="http://schemas.microsoft.com/office/drawing/2014/main" id="{C6AB355F-B11F-4464-B555-B26BF17B61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1" y="2284"/>
                <a:ext cx="19" cy="17"/>
              </a:xfrm>
              <a:custGeom>
                <a:avLst/>
                <a:gdLst>
                  <a:gd name="T0" fmla="*/ 33 w 35"/>
                  <a:gd name="T1" fmla="*/ 14 h 32"/>
                  <a:gd name="T2" fmla="*/ 12 w 35"/>
                  <a:gd name="T3" fmla="*/ 31 h 32"/>
                  <a:gd name="T4" fmla="*/ 9 w 35"/>
                  <a:gd name="T5" fmla="*/ 31 h 32"/>
                  <a:gd name="T6" fmla="*/ 1 w 35"/>
                  <a:gd name="T7" fmla="*/ 21 h 32"/>
                  <a:gd name="T8" fmla="*/ 2 w 35"/>
                  <a:gd name="T9" fmla="*/ 18 h 32"/>
                  <a:gd name="T10" fmla="*/ 23 w 35"/>
                  <a:gd name="T11" fmla="*/ 1 h 32"/>
                  <a:gd name="T12" fmla="*/ 26 w 35"/>
                  <a:gd name="T13" fmla="*/ 2 h 32"/>
                  <a:gd name="T14" fmla="*/ 34 w 35"/>
                  <a:gd name="T15" fmla="*/ 11 h 32"/>
                  <a:gd name="T16" fmla="*/ 33 w 35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2">
                    <a:moveTo>
                      <a:pt x="33" y="14"/>
                    </a:moveTo>
                    <a:cubicBezTo>
                      <a:pt x="12" y="31"/>
                      <a:pt x="12" y="31"/>
                      <a:pt x="12" y="31"/>
                    </a:cubicBezTo>
                    <a:cubicBezTo>
                      <a:pt x="11" y="32"/>
                      <a:pt x="9" y="31"/>
                      <a:pt x="9" y="31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9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496">
                <a:extLst>
                  <a:ext uri="{FF2B5EF4-FFF2-40B4-BE49-F238E27FC236}">
                    <a16:creationId xmlns:a16="http://schemas.microsoft.com/office/drawing/2014/main" id="{9FD5B91F-8A30-4D75-BDCF-4DACA62B3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1" y="2270"/>
                <a:ext cx="18" cy="16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497">
                <a:extLst>
                  <a:ext uri="{FF2B5EF4-FFF2-40B4-BE49-F238E27FC236}">
                    <a16:creationId xmlns:a16="http://schemas.microsoft.com/office/drawing/2014/main" id="{5A292DBB-296B-4ECF-A134-A8E328B6B3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7" y="2407"/>
                <a:ext cx="130" cy="102"/>
              </a:xfrm>
              <a:custGeom>
                <a:avLst/>
                <a:gdLst>
                  <a:gd name="T0" fmla="*/ 237 w 239"/>
                  <a:gd name="T1" fmla="*/ 18 h 187"/>
                  <a:gd name="T2" fmla="*/ 14 w 239"/>
                  <a:gd name="T3" fmla="*/ 187 h 187"/>
                  <a:gd name="T4" fmla="*/ 11 w 239"/>
                  <a:gd name="T5" fmla="*/ 186 h 187"/>
                  <a:gd name="T6" fmla="*/ 1 w 239"/>
                  <a:gd name="T7" fmla="*/ 172 h 187"/>
                  <a:gd name="T8" fmla="*/ 1 w 239"/>
                  <a:gd name="T9" fmla="*/ 169 h 187"/>
                  <a:gd name="T10" fmla="*/ 224 w 239"/>
                  <a:gd name="T11" fmla="*/ 1 h 187"/>
                  <a:gd name="T12" fmla="*/ 227 w 239"/>
                  <a:gd name="T13" fmla="*/ 1 h 187"/>
                  <a:gd name="T14" fmla="*/ 238 w 239"/>
                  <a:gd name="T15" fmla="*/ 15 h 187"/>
                  <a:gd name="T16" fmla="*/ 237 w 239"/>
                  <a:gd name="T17" fmla="*/ 18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9" h="187">
                    <a:moveTo>
                      <a:pt x="237" y="18"/>
                    </a:moveTo>
                    <a:cubicBezTo>
                      <a:pt x="14" y="187"/>
                      <a:pt x="14" y="187"/>
                      <a:pt x="14" y="187"/>
                    </a:cubicBezTo>
                    <a:cubicBezTo>
                      <a:pt x="13" y="187"/>
                      <a:pt x="12" y="187"/>
                      <a:pt x="11" y="186"/>
                    </a:cubicBezTo>
                    <a:cubicBezTo>
                      <a:pt x="1" y="172"/>
                      <a:pt x="1" y="172"/>
                      <a:pt x="1" y="172"/>
                    </a:cubicBezTo>
                    <a:cubicBezTo>
                      <a:pt x="0" y="172"/>
                      <a:pt x="0" y="170"/>
                      <a:pt x="1" y="169"/>
                    </a:cubicBezTo>
                    <a:cubicBezTo>
                      <a:pt x="224" y="1"/>
                      <a:pt x="224" y="1"/>
                      <a:pt x="224" y="1"/>
                    </a:cubicBezTo>
                    <a:cubicBezTo>
                      <a:pt x="225" y="0"/>
                      <a:pt x="227" y="0"/>
                      <a:pt x="227" y="1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9" y="16"/>
                      <a:pt x="238" y="17"/>
                      <a:pt x="237" y="18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498">
                <a:extLst>
                  <a:ext uri="{FF2B5EF4-FFF2-40B4-BE49-F238E27FC236}">
                    <a16:creationId xmlns:a16="http://schemas.microsoft.com/office/drawing/2014/main" id="{1E3D1821-8A29-4535-BD29-514176A27E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9" y="245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499">
                <a:extLst>
                  <a:ext uri="{FF2B5EF4-FFF2-40B4-BE49-F238E27FC236}">
                    <a16:creationId xmlns:a16="http://schemas.microsoft.com/office/drawing/2014/main" id="{CB282EC0-17B8-470E-91A5-09209140FA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8" y="244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500">
                <a:extLst>
                  <a:ext uri="{FF2B5EF4-FFF2-40B4-BE49-F238E27FC236}">
                    <a16:creationId xmlns:a16="http://schemas.microsoft.com/office/drawing/2014/main" id="{5BB13A33-D987-4164-A63B-29BA31DE9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8" y="242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501">
                <a:extLst>
                  <a:ext uri="{FF2B5EF4-FFF2-40B4-BE49-F238E27FC236}">
                    <a16:creationId xmlns:a16="http://schemas.microsoft.com/office/drawing/2014/main" id="{981703FC-41DE-4399-BBCA-3670431F6F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7" y="241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502">
                <a:extLst>
                  <a:ext uri="{FF2B5EF4-FFF2-40B4-BE49-F238E27FC236}">
                    <a16:creationId xmlns:a16="http://schemas.microsoft.com/office/drawing/2014/main" id="{A2FF5D8C-B542-4609-9A7E-70728CC82D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7" y="2396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503">
                <a:extLst>
                  <a:ext uri="{FF2B5EF4-FFF2-40B4-BE49-F238E27FC236}">
                    <a16:creationId xmlns:a16="http://schemas.microsoft.com/office/drawing/2014/main" id="{58600792-0054-4E5C-A9A6-2722C224C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6" y="2381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504">
                <a:extLst>
                  <a:ext uri="{FF2B5EF4-FFF2-40B4-BE49-F238E27FC236}">
                    <a16:creationId xmlns:a16="http://schemas.microsoft.com/office/drawing/2014/main" id="{D30A34DC-1E2A-4AF8-91A4-4AFA246AD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5" y="2366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505">
                <a:extLst>
                  <a:ext uri="{FF2B5EF4-FFF2-40B4-BE49-F238E27FC236}">
                    <a16:creationId xmlns:a16="http://schemas.microsoft.com/office/drawing/2014/main" id="{B0CA9F79-537B-4ACB-A3DA-4D02B28C1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5" y="235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506">
                <a:extLst>
                  <a:ext uri="{FF2B5EF4-FFF2-40B4-BE49-F238E27FC236}">
                    <a16:creationId xmlns:a16="http://schemas.microsoft.com/office/drawing/2014/main" id="{63270E50-EC83-4105-9B6F-C16C66324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4" y="233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507">
                <a:extLst>
                  <a:ext uri="{FF2B5EF4-FFF2-40B4-BE49-F238E27FC236}">
                    <a16:creationId xmlns:a16="http://schemas.microsoft.com/office/drawing/2014/main" id="{F819293F-35DA-4F52-9C37-E83D03F6F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4" y="2323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508">
                <a:extLst>
                  <a:ext uri="{FF2B5EF4-FFF2-40B4-BE49-F238E27FC236}">
                    <a16:creationId xmlns:a16="http://schemas.microsoft.com/office/drawing/2014/main" id="{6C6267B3-D53A-4054-BBBE-C992E830E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0" y="2279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509">
                <a:extLst>
                  <a:ext uri="{FF2B5EF4-FFF2-40B4-BE49-F238E27FC236}">
                    <a16:creationId xmlns:a16="http://schemas.microsoft.com/office/drawing/2014/main" id="{B035BFA6-3278-40F6-A55C-3F51C147F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0" y="2265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510">
                <a:extLst>
                  <a:ext uri="{FF2B5EF4-FFF2-40B4-BE49-F238E27FC236}">
                    <a16:creationId xmlns:a16="http://schemas.microsoft.com/office/drawing/2014/main" id="{010D9C33-F8FF-4801-BAC9-9CF602BAC1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9" y="225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511">
                <a:extLst>
                  <a:ext uri="{FF2B5EF4-FFF2-40B4-BE49-F238E27FC236}">
                    <a16:creationId xmlns:a16="http://schemas.microsoft.com/office/drawing/2014/main" id="{59B7C4A9-D2A8-4EF6-ABB3-C622EF890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6" y="230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512">
                <a:extLst>
                  <a:ext uri="{FF2B5EF4-FFF2-40B4-BE49-F238E27FC236}">
                    <a16:creationId xmlns:a16="http://schemas.microsoft.com/office/drawing/2014/main" id="{75A5B207-F356-4E05-8955-D6977037DF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5" y="228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513">
                <a:extLst>
                  <a:ext uri="{FF2B5EF4-FFF2-40B4-BE49-F238E27FC236}">
                    <a16:creationId xmlns:a16="http://schemas.microsoft.com/office/drawing/2014/main" id="{74CD231D-CA52-415A-ADBA-C283072ED2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4" y="2270"/>
                <a:ext cx="25" cy="24"/>
              </a:xfrm>
              <a:custGeom>
                <a:avLst/>
                <a:gdLst>
                  <a:gd name="T0" fmla="*/ 43 w 45"/>
                  <a:gd name="T1" fmla="*/ 27 h 44"/>
                  <a:gd name="T2" fmla="*/ 22 w 45"/>
                  <a:gd name="T3" fmla="*/ 44 h 44"/>
                  <a:gd name="T4" fmla="*/ 19 w 45"/>
                  <a:gd name="T5" fmla="*/ 43 h 44"/>
                  <a:gd name="T6" fmla="*/ 1 w 45"/>
                  <a:gd name="T7" fmla="*/ 20 h 44"/>
                  <a:gd name="T8" fmla="*/ 2 w 45"/>
                  <a:gd name="T9" fmla="*/ 17 h 44"/>
                  <a:gd name="T10" fmla="*/ 24 w 45"/>
                  <a:gd name="T11" fmla="*/ 1 h 44"/>
                  <a:gd name="T12" fmla="*/ 27 w 45"/>
                  <a:gd name="T13" fmla="*/ 1 h 44"/>
                  <a:gd name="T14" fmla="*/ 44 w 45"/>
                  <a:gd name="T15" fmla="*/ 24 h 44"/>
                  <a:gd name="T16" fmla="*/ 43 w 45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4">
                    <a:moveTo>
                      <a:pt x="43" y="27"/>
                    </a:moveTo>
                    <a:cubicBezTo>
                      <a:pt x="22" y="44"/>
                      <a:pt x="22" y="44"/>
                      <a:pt x="22" y="44"/>
                    </a:cubicBezTo>
                    <a:cubicBezTo>
                      <a:pt x="21" y="44"/>
                      <a:pt x="19" y="44"/>
                      <a:pt x="19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1" y="18"/>
                      <a:pt x="2" y="17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514">
                <a:extLst>
                  <a:ext uri="{FF2B5EF4-FFF2-40B4-BE49-F238E27FC236}">
                    <a16:creationId xmlns:a16="http://schemas.microsoft.com/office/drawing/2014/main" id="{B4D0927E-FF76-4381-8F9A-36C8D34D8C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1" y="2320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515">
                <a:extLst>
                  <a:ext uri="{FF2B5EF4-FFF2-40B4-BE49-F238E27FC236}">
                    <a16:creationId xmlns:a16="http://schemas.microsoft.com/office/drawing/2014/main" id="{6307E5C2-3AFC-4492-95F8-0986C64DC9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0" y="230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516">
                <a:extLst>
                  <a:ext uri="{FF2B5EF4-FFF2-40B4-BE49-F238E27FC236}">
                    <a16:creationId xmlns:a16="http://schemas.microsoft.com/office/drawing/2014/main" id="{C781957B-4280-4F56-8AE2-1610F2F77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9" y="229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517">
                <a:extLst>
                  <a:ext uri="{FF2B5EF4-FFF2-40B4-BE49-F238E27FC236}">
                    <a16:creationId xmlns:a16="http://schemas.microsoft.com/office/drawing/2014/main" id="{2CDBB2D5-4952-426D-88C6-EA603E618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0" y="2494"/>
                <a:ext cx="24" cy="25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518">
                <a:extLst>
                  <a:ext uri="{FF2B5EF4-FFF2-40B4-BE49-F238E27FC236}">
                    <a16:creationId xmlns:a16="http://schemas.microsoft.com/office/drawing/2014/main" id="{7869C014-92FB-40C9-B701-B426E3E85E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9" y="248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519">
                <a:extLst>
                  <a:ext uri="{FF2B5EF4-FFF2-40B4-BE49-F238E27FC236}">
                    <a16:creationId xmlns:a16="http://schemas.microsoft.com/office/drawing/2014/main" id="{0953934B-FD9D-454F-A027-FF4C80338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8" y="2465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1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520">
                <a:extLst>
                  <a:ext uri="{FF2B5EF4-FFF2-40B4-BE49-F238E27FC236}">
                    <a16:creationId xmlns:a16="http://schemas.microsoft.com/office/drawing/2014/main" id="{11289C28-335F-4C3D-8467-CF68F0B433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8" y="2450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521">
                <a:extLst>
                  <a:ext uri="{FF2B5EF4-FFF2-40B4-BE49-F238E27FC236}">
                    <a16:creationId xmlns:a16="http://schemas.microsoft.com/office/drawing/2014/main" id="{591DB9BA-5B21-48BF-A319-CF24A2081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7" y="243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522">
                <a:extLst>
                  <a:ext uri="{FF2B5EF4-FFF2-40B4-BE49-F238E27FC236}">
                    <a16:creationId xmlns:a16="http://schemas.microsoft.com/office/drawing/2014/main" id="{01C91A6B-858F-43D6-8080-3FC0FEA4F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6" y="2421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523">
                <a:extLst>
                  <a:ext uri="{FF2B5EF4-FFF2-40B4-BE49-F238E27FC236}">
                    <a16:creationId xmlns:a16="http://schemas.microsoft.com/office/drawing/2014/main" id="{E90A2A1C-B981-4614-8CD2-DCF1803EAD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6" y="240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524">
                <a:extLst>
                  <a:ext uri="{FF2B5EF4-FFF2-40B4-BE49-F238E27FC236}">
                    <a16:creationId xmlns:a16="http://schemas.microsoft.com/office/drawing/2014/main" id="{47C80186-DFA5-458B-86D5-2C2D86AB2F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5" y="2392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525">
                <a:extLst>
                  <a:ext uri="{FF2B5EF4-FFF2-40B4-BE49-F238E27FC236}">
                    <a16:creationId xmlns:a16="http://schemas.microsoft.com/office/drawing/2014/main" id="{48D9EBA5-2329-4945-9540-E68A52CFCC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4" y="2377"/>
                <a:ext cx="25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526">
                <a:extLst>
                  <a:ext uri="{FF2B5EF4-FFF2-40B4-BE49-F238E27FC236}">
                    <a16:creationId xmlns:a16="http://schemas.microsoft.com/office/drawing/2014/main" id="{6D0CFF16-A71B-41BF-9B8B-55947D38A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" y="2362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527">
                <a:extLst>
                  <a:ext uri="{FF2B5EF4-FFF2-40B4-BE49-F238E27FC236}">
                    <a16:creationId xmlns:a16="http://schemas.microsoft.com/office/drawing/2014/main" id="{CC335629-A293-4B3D-A78C-87D54024C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4" y="248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528">
                <a:extLst>
                  <a:ext uri="{FF2B5EF4-FFF2-40B4-BE49-F238E27FC236}">
                    <a16:creationId xmlns:a16="http://schemas.microsoft.com/office/drawing/2014/main" id="{EC46FF70-8DB6-4F4A-A660-68F11B2EC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4" y="246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1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529">
                <a:extLst>
                  <a:ext uri="{FF2B5EF4-FFF2-40B4-BE49-F238E27FC236}">
                    <a16:creationId xmlns:a16="http://schemas.microsoft.com/office/drawing/2014/main" id="{9E8BF80A-0B56-436C-9337-18E1BEB383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3" y="245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530">
                <a:extLst>
                  <a:ext uri="{FF2B5EF4-FFF2-40B4-BE49-F238E27FC236}">
                    <a16:creationId xmlns:a16="http://schemas.microsoft.com/office/drawing/2014/main" id="{72F17F5B-7B3C-45B3-BDD2-0D1F337E4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2" y="243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531">
                <a:extLst>
                  <a:ext uri="{FF2B5EF4-FFF2-40B4-BE49-F238E27FC236}">
                    <a16:creationId xmlns:a16="http://schemas.microsoft.com/office/drawing/2014/main" id="{FBCAE7E7-4C34-4349-A244-C5D4FF730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2" y="2423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532">
                <a:extLst>
                  <a:ext uri="{FF2B5EF4-FFF2-40B4-BE49-F238E27FC236}">
                    <a16:creationId xmlns:a16="http://schemas.microsoft.com/office/drawing/2014/main" id="{2FB73896-2048-40F7-905B-FC9CF1117F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" y="2408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533">
                <a:extLst>
                  <a:ext uri="{FF2B5EF4-FFF2-40B4-BE49-F238E27FC236}">
                    <a16:creationId xmlns:a16="http://schemas.microsoft.com/office/drawing/2014/main" id="{5B6108C1-7C25-497D-9879-8FD11A232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1" y="2394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534">
                <a:extLst>
                  <a:ext uri="{FF2B5EF4-FFF2-40B4-BE49-F238E27FC236}">
                    <a16:creationId xmlns:a16="http://schemas.microsoft.com/office/drawing/2014/main" id="{AE3B850E-9E63-4287-AE9C-1756B5FA7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0" y="237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535">
                <a:extLst>
                  <a:ext uri="{FF2B5EF4-FFF2-40B4-BE49-F238E27FC236}">
                    <a16:creationId xmlns:a16="http://schemas.microsoft.com/office/drawing/2014/main" id="{459645BC-DA68-44F9-932F-4A9FDA15F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9" y="23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536">
                <a:extLst>
                  <a:ext uri="{FF2B5EF4-FFF2-40B4-BE49-F238E27FC236}">
                    <a16:creationId xmlns:a16="http://schemas.microsoft.com/office/drawing/2014/main" id="{B772567E-FBC8-420E-BAE1-8E6BE4D47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9" y="23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537">
                <a:extLst>
                  <a:ext uri="{FF2B5EF4-FFF2-40B4-BE49-F238E27FC236}">
                    <a16:creationId xmlns:a16="http://schemas.microsoft.com/office/drawing/2014/main" id="{64FF99C4-D0D1-4B7B-B2AC-026A45504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8" y="2335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538">
                <a:extLst>
                  <a:ext uri="{FF2B5EF4-FFF2-40B4-BE49-F238E27FC236}">
                    <a16:creationId xmlns:a16="http://schemas.microsoft.com/office/drawing/2014/main" id="{2BBEE087-504A-4EFE-B80D-9FCFDB9501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0" y="2468"/>
                <a:ext cx="34" cy="32"/>
              </a:xfrm>
              <a:custGeom>
                <a:avLst/>
                <a:gdLst>
                  <a:gd name="T0" fmla="*/ 61 w 63"/>
                  <a:gd name="T1" fmla="*/ 27 h 59"/>
                  <a:gd name="T2" fmla="*/ 21 w 63"/>
                  <a:gd name="T3" fmla="*/ 58 h 59"/>
                  <a:gd name="T4" fmla="*/ 18 w 63"/>
                  <a:gd name="T5" fmla="*/ 58 h 59"/>
                  <a:gd name="T6" fmla="*/ 1 w 63"/>
                  <a:gd name="T7" fmla="*/ 35 h 59"/>
                  <a:gd name="T8" fmla="*/ 1 w 63"/>
                  <a:gd name="T9" fmla="*/ 32 h 59"/>
                  <a:gd name="T10" fmla="*/ 42 w 63"/>
                  <a:gd name="T11" fmla="*/ 1 h 59"/>
                  <a:gd name="T12" fmla="*/ 45 w 63"/>
                  <a:gd name="T13" fmla="*/ 2 h 59"/>
                  <a:gd name="T14" fmla="*/ 62 w 63"/>
                  <a:gd name="T15" fmla="*/ 24 h 59"/>
                  <a:gd name="T16" fmla="*/ 61 w 63"/>
                  <a:gd name="T17" fmla="*/ 27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9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9"/>
                      <a:pt x="19" y="59"/>
                      <a:pt x="18" y="58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0" y="34"/>
                      <a:pt x="0" y="32"/>
                      <a:pt x="1" y="32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2" y="0"/>
                      <a:pt x="44" y="1"/>
                      <a:pt x="45" y="2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7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539">
                <a:extLst>
                  <a:ext uri="{FF2B5EF4-FFF2-40B4-BE49-F238E27FC236}">
                    <a16:creationId xmlns:a16="http://schemas.microsoft.com/office/drawing/2014/main" id="{18AF95A4-D1F9-46ED-A4D9-247F9DAE2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3" y="2300"/>
                <a:ext cx="34" cy="32"/>
              </a:xfrm>
              <a:custGeom>
                <a:avLst/>
                <a:gdLst>
                  <a:gd name="T0" fmla="*/ 62 w 63"/>
                  <a:gd name="T1" fmla="*/ 27 h 58"/>
                  <a:gd name="T2" fmla="*/ 21 w 63"/>
                  <a:gd name="T3" fmla="*/ 58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1 h 58"/>
                  <a:gd name="T12" fmla="*/ 45 w 63"/>
                  <a:gd name="T13" fmla="*/ 1 h 58"/>
                  <a:gd name="T14" fmla="*/ 62 w 63"/>
                  <a:gd name="T15" fmla="*/ 24 h 58"/>
                  <a:gd name="T16" fmla="*/ 62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2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3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2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540">
                <a:extLst>
                  <a:ext uri="{FF2B5EF4-FFF2-40B4-BE49-F238E27FC236}">
                    <a16:creationId xmlns:a16="http://schemas.microsoft.com/office/drawing/2014/main" id="{561CC3DF-7059-4DBB-ADFA-EE8F50B33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5" y="2496"/>
                <a:ext cx="25" cy="25"/>
              </a:xfrm>
              <a:custGeom>
                <a:avLst/>
                <a:gdLst>
                  <a:gd name="T0" fmla="*/ 44 w 45"/>
                  <a:gd name="T1" fmla="*/ 27 h 45"/>
                  <a:gd name="T2" fmla="*/ 21 w 45"/>
                  <a:gd name="T3" fmla="*/ 44 h 45"/>
                  <a:gd name="T4" fmla="*/ 18 w 45"/>
                  <a:gd name="T5" fmla="*/ 43 h 45"/>
                  <a:gd name="T6" fmla="*/ 1 w 45"/>
                  <a:gd name="T7" fmla="*/ 21 h 45"/>
                  <a:gd name="T8" fmla="*/ 1 w 45"/>
                  <a:gd name="T9" fmla="*/ 18 h 45"/>
                  <a:gd name="T10" fmla="*/ 24 w 45"/>
                  <a:gd name="T11" fmla="*/ 0 h 45"/>
                  <a:gd name="T12" fmla="*/ 27 w 45"/>
                  <a:gd name="T13" fmla="*/ 1 h 45"/>
                  <a:gd name="T14" fmla="*/ 44 w 45"/>
                  <a:gd name="T15" fmla="*/ 24 h 45"/>
                  <a:gd name="T16" fmla="*/ 44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4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5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5" y="26"/>
                      <a:pt x="44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541">
                <a:extLst>
                  <a:ext uri="{FF2B5EF4-FFF2-40B4-BE49-F238E27FC236}">
                    <a16:creationId xmlns:a16="http://schemas.microsoft.com/office/drawing/2014/main" id="{300CAD8E-3CA3-4973-B7E0-A49E421477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8" y="2320"/>
                <a:ext cx="24" cy="25"/>
              </a:xfrm>
              <a:custGeom>
                <a:avLst/>
                <a:gdLst>
                  <a:gd name="T0" fmla="*/ 43 w 45"/>
                  <a:gd name="T1" fmla="*/ 27 h 45"/>
                  <a:gd name="T2" fmla="*/ 21 w 45"/>
                  <a:gd name="T3" fmla="*/ 44 h 45"/>
                  <a:gd name="T4" fmla="*/ 18 w 45"/>
                  <a:gd name="T5" fmla="*/ 44 h 45"/>
                  <a:gd name="T6" fmla="*/ 0 w 45"/>
                  <a:gd name="T7" fmla="*/ 21 h 45"/>
                  <a:gd name="T8" fmla="*/ 1 w 45"/>
                  <a:gd name="T9" fmla="*/ 18 h 45"/>
                  <a:gd name="T10" fmla="*/ 23 w 45"/>
                  <a:gd name="T11" fmla="*/ 1 h 45"/>
                  <a:gd name="T12" fmla="*/ 26 w 45"/>
                  <a:gd name="T13" fmla="*/ 1 h 45"/>
                  <a:gd name="T14" fmla="*/ 44 w 45"/>
                  <a:gd name="T15" fmla="*/ 24 h 45"/>
                  <a:gd name="T16" fmla="*/ 43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542">
                <a:extLst>
                  <a:ext uri="{FF2B5EF4-FFF2-40B4-BE49-F238E27FC236}">
                    <a16:creationId xmlns:a16="http://schemas.microsoft.com/office/drawing/2014/main" id="{F7D20588-F415-41DF-904E-397147B324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" y="2509"/>
                <a:ext cx="33" cy="31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8 h 58"/>
                  <a:gd name="T4" fmla="*/ 18 w 62"/>
                  <a:gd name="T5" fmla="*/ 57 h 58"/>
                  <a:gd name="T6" fmla="*/ 0 w 62"/>
                  <a:gd name="T7" fmla="*/ 34 h 58"/>
                  <a:gd name="T8" fmla="*/ 1 w 62"/>
                  <a:gd name="T9" fmla="*/ 31 h 58"/>
                  <a:gd name="T10" fmla="*/ 41 w 62"/>
                  <a:gd name="T11" fmla="*/ 1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8" y="58"/>
                      <a:pt x="18" y="57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543">
                <a:extLst>
                  <a:ext uri="{FF2B5EF4-FFF2-40B4-BE49-F238E27FC236}">
                    <a16:creationId xmlns:a16="http://schemas.microsoft.com/office/drawing/2014/main" id="{2D73A50B-5CF6-4A79-AB8E-FE340E18A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3" y="2341"/>
                <a:ext cx="34" cy="31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7 h 58"/>
                  <a:gd name="T4" fmla="*/ 18 w 62"/>
                  <a:gd name="T5" fmla="*/ 57 h 58"/>
                  <a:gd name="T6" fmla="*/ 1 w 62"/>
                  <a:gd name="T7" fmla="*/ 34 h 58"/>
                  <a:gd name="T8" fmla="*/ 1 w 62"/>
                  <a:gd name="T9" fmla="*/ 31 h 58"/>
                  <a:gd name="T10" fmla="*/ 41 w 62"/>
                  <a:gd name="T11" fmla="*/ 0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544">
                <a:extLst>
                  <a:ext uri="{FF2B5EF4-FFF2-40B4-BE49-F238E27FC236}">
                    <a16:creationId xmlns:a16="http://schemas.microsoft.com/office/drawing/2014/main" id="{31749532-E181-4F8F-9BBC-905634E31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5" y="2415"/>
                <a:ext cx="19" cy="18"/>
              </a:xfrm>
              <a:custGeom>
                <a:avLst/>
                <a:gdLst>
                  <a:gd name="T0" fmla="*/ 33 w 34"/>
                  <a:gd name="T1" fmla="*/ 14 h 32"/>
                  <a:gd name="T2" fmla="*/ 11 w 34"/>
                  <a:gd name="T3" fmla="*/ 31 h 32"/>
                  <a:gd name="T4" fmla="*/ 8 w 34"/>
                  <a:gd name="T5" fmla="*/ 31 h 32"/>
                  <a:gd name="T6" fmla="*/ 0 w 34"/>
                  <a:gd name="T7" fmla="*/ 21 h 32"/>
                  <a:gd name="T8" fmla="*/ 1 w 34"/>
                  <a:gd name="T9" fmla="*/ 18 h 32"/>
                  <a:gd name="T10" fmla="*/ 23 w 34"/>
                  <a:gd name="T11" fmla="*/ 1 h 32"/>
                  <a:gd name="T12" fmla="*/ 26 w 34"/>
                  <a:gd name="T13" fmla="*/ 2 h 32"/>
                  <a:gd name="T14" fmla="*/ 33 w 34"/>
                  <a:gd name="T15" fmla="*/ 11 h 32"/>
                  <a:gd name="T16" fmla="*/ 33 w 34"/>
                  <a:gd name="T17" fmla="*/ 1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2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2"/>
                      <a:pt x="8" y="31"/>
                      <a:pt x="8" y="3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4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545">
                <a:extLst>
                  <a:ext uri="{FF2B5EF4-FFF2-40B4-BE49-F238E27FC236}">
                    <a16:creationId xmlns:a16="http://schemas.microsoft.com/office/drawing/2014/main" id="{D192B3A2-3BA2-4280-8C11-45485EDB6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" y="2401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546">
                <a:extLst>
                  <a:ext uri="{FF2B5EF4-FFF2-40B4-BE49-F238E27FC236}">
                    <a16:creationId xmlns:a16="http://schemas.microsoft.com/office/drawing/2014/main" id="{D1FE8AB4-3DEE-4950-BE7A-AD2CC12B09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4" y="2386"/>
                <a:ext cx="19" cy="17"/>
              </a:xfrm>
              <a:custGeom>
                <a:avLst/>
                <a:gdLst>
                  <a:gd name="T0" fmla="*/ 32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2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2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3" y="13"/>
                      <a:pt x="32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547">
                <a:extLst>
                  <a:ext uri="{FF2B5EF4-FFF2-40B4-BE49-F238E27FC236}">
                    <a16:creationId xmlns:a16="http://schemas.microsoft.com/office/drawing/2014/main" id="{FB47BC66-84DB-4A03-92DB-7A0851320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3" y="2372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548">
                <a:extLst>
                  <a:ext uri="{FF2B5EF4-FFF2-40B4-BE49-F238E27FC236}">
                    <a16:creationId xmlns:a16="http://schemas.microsoft.com/office/drawing/2014/main" id="{06878301-4F65-4E0F-ADD0-17B8D6C4B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3" y="2357"/>
                <a:ext cx="18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4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1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549">
                <a:extLst>
                  <a:ext uri="{FF2B5EF4-FFF2-40B4-BE49-F238E27FC236}">
                    <a16:creationId xmlns:a16="http://schemas.microsoft.com/office/drawing/2014/main" id="{CE0BCD4A-36B0-4954-926B-6B5CDA6CA2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" y="2342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0 w 34"/>
                  <a:gd name="T7" fmla="*/ 21 h 31"/>
                  <a:gd name="T8" fmla="*/ 1 w 34"/>
                  <a:gd name="T9" fmla="*/ 18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550">
                <a:extLst>
                  <a:ext uri="{FF2B5EF4-FFF2-40B4-BE49-F238E27FC236}">
                    <a16:creationId xmlns:a16="http://schemas.microsoft.com/office/drawing/2014/main" id="{7E2F856C-7573-42F0-AD91-55F4D3E2C1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1" y="2328"/>
                <a:ext cx="19" cy="17"/>
              </a:xfrm>
              <a:custGeom>
                <a:avLst/>
                <a:gdLst>
                  <a:gd name="T0" fmla="*/ 33 w 34"/>
                  <a:gd name="T1" fmla="*/ 13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4 w 34"/>
                  <a:gd name="T15" fmla="*/ 10 h 31"/>
                  <a:gd name="T16" fmla="*/ 33 w 34"/>
                  <a:gd name="T17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3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0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34" y="11"/>
                      <a:pt x="34" y="13"/>
                      <a:pt x="33" y="13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551">
                <a:extLst>
                  <a:ext uri="{FF2B5EF4-FFF2-40B4-BE49-F238E27FC236}">
                    <a16:creationId xmlns:a16="http://schemas.microsoft.com/office/drawing/2014/main" id="{BDEEF76D-6F0F-4D9E-BCD0-550C2C327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1" y="2313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0 w 34"/>
                  <a:gd name="T7" fmla="*/ 20 h 31"/>
                  <a:gd name="T8" fmla="*/ 1 w 34"/>
                  <a:gd name="T9" fmla="*/ 17 h 31"/>
                  <a:gd name="T10" fmla="*/ 23 w 34"/>
                  <a:gd name="T11" fmla="*/ 0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8" y="31"/>
                      <a:pt x="8" y="3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1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552">
                <a:extLst>
                  <a:ext uri="{FF2B5EF4-FFF2-40B4-BE49-F238E27FC236}">
                    <a16:creationId xmlns:a16="http://schemas.microsoft.com/office/drawing/2014/main" id="{C76D42C8-B9E7-4623-BB60-F99C670A2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0" y="2298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0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553">
                <a:extLst>
                  <a:ext uri="{FF2B5EF4-FFF2-40B4-BE49-F238E27FC236}">
                    <a16:creationId xmlns:a16="http://schemas.microsoft.com/office/drawing/2014/main" id="{57863703-4CCF-4B4F-9757-B79E44645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" y="2284"/>
                <a:ext cx="19" cy="17"/>
              </a:xfrm>
              <a:custGeom>
                <a:avLst/>
                <a:gdLst>
                  <a:gd name="T0" fmla="*/ 33 w 35"/>
                  <a:gd name="T1" fmla="*/ 14 h 31"/>
                  <a:gd name="T2" fmla="*/ 12 w 35"/>
                  <a:gd name="T3" fmla="*/ 30 h 31"/>
                  <a:gd name="T4" fmla="*/ 9 w 35"/>
                  <a:gd name="T5" fmla="*/ 30 h 31"/>
                  <a:gd name="T6" fmla="*/ 1 w 35"/>
                  <a:gd name="T7" fmla="*/ 20 h 31"/>
                  <a:gd name="T8" fmla="*/ 2 w 35"/>
                  <a:gd name="T9" fmla="*/ 17 h 31"/>
                  <a:gd name="T10" fmla="*/ 23 w 35"/>
                  <a:gd name="T11" fmla="*/ 1 h 31"/>
                  <a:gd name="T12" fmla="*/ 26 w 35"/>
                  <a:gd name="T13" fmla="*/ 1 h 31"/>
                  <a:gd name="T14" fmla="*/ 34 w 35"/>
                  <a:gd name="T15" fmla="*/ 11 h 31"/>
                  <a:gd name="T16" fmla="*/ 33 w 35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31">
                    <a:moveTo>
                      <a:pt x="33" y="14"/>
                    </a:moveTo>
                    <a:cubicBezTo>
                      <a:pt x="12" y="30"/>
                      <a:pt x="12" y="30"/>
                      <a:pt x="12" y="30"/>
                    </a:cubicBezTo>
                    <a:cubicBezTo>
                      <a:pt x="11" y="31"/>
                      <a:pt x="9" y="31"/>
                      <a:pt x="9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5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554">
                <a:extLst>
                  <a:ext uri="{FF2B5EF4-FFF2-40B4-BE49-F238E27FC236}">
                    <a16:creationId xmlns:a16="http://schemas.microsoft.com/office/drawing/2014/main" id="{1BAC271B-4331-4195-933B-0807D2A77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9" y="2269"/>
                <a:ext cx="19" cy="17"/>
              </a:xfrm>
              <a:custGeom>
                <a:avLst/>
                <a:gdLst>
                  <a:gd name="T0" fmla="*/ 33 w 34"/>
                  <a:gd name="T1" fmla="*/ 14 h 31"/>
                  <a:gd name="T2" fmla="*/ 11 w 34"/>
                  <a:gd name="T3" fmla="*/ 31 h 31"/>
                  <a:gd name="T4" fmla="*/ 8 w 34"/>
                  <a:gd name="T5" fmla="*/ 30 h 31"/>
                  <a:gd name="T6" fmla="*/ 1 w 34"/>
                  <a:gd name="T7" fmla="*/ 20 h 31"/>
                  <a:gd name="T8" fmla="*/ 1 w 34"/>
                  <a:gd name="T9" fmla="*/ 17 h 31"/>
                  <a:gd name="T10" fmla="*/ 23 w 34"/>
                  <a:gd name="T11" fmla="*/ 1 h 31"/>
                  <a:gd name="T12" fmla="*/ 26 w 34"/>
                  <a:gd name="T13" fmla="*/ 1 h 31"/>
                  <a:gd name="T14" fmla="*/ 33 w 34"/>
                  <a:gd name="T15" fmla="*/ 11 h 31"/>
                  <a:gd name="T16" fmla="*/ 33 w 34"/>
                  <a:gd name="T17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1">
                    <a:moveTo>
                      <a:pt x="33" y="14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1"/>
                      <a:pt x="9" y="31"/>
                      <a:pt x="8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4" y="12"/>
                      <a:pt x="34" y="13"/>
                      <a:pt x="33" y="14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555">
                <a:extLst>
                  <a:ext uri="{FF2B5EF4-FFF2-40B4-BE49-F238E27FC236}">
                    <a16:creationId xmlns:a16="http://schemas.microsoft.com/office/drawing/2014/main" id="{9E3BE345-E8A4-4DF4-83EF-29A57E2CB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" y="2407"/>
                <a:ext cx="131" cy="102"/>
              </a:xfrm>
              <a:custGeom>
                <a:avLst/>
                <a:gdLst>
                  <a:gd name="T0" fmla="*/ 237 w 239"/>
                  <a:gd name="T1" fmla="*/ 18 h 188"/>
                  <a:gd name="T2" fmla="*/ 14 w 239"/>
                  <a:gd name="T3" fmla="*/ 187 h 188"/>
                  <a:gd name="T4" fmla="*/ 11 w 239"/>
                  <a:gd name="T5" fmla="*/ 187 h 188"/>
                  <a:gd name="T6" fmla="*/ 1 w 239"/>
                  <a:gd name="T7" fmla="*/ 173 h 188"/>
                  <a:gd name="T8" fmla="*/ 1 w 239"/>
                  <a:gd name="T9" fmla="*/ 170 h 188"/>
                  <a:gd name="T10" fmla="*/ 224 w 239"/>
                  <a:gd name="T11" fmla="*/ 1 h 188"/>
                  <a:gd name="T12" fmla="*/ 227 w 239"/>
                  <a:gd name="T13" fmla="*/ 2 h 188"/>
                  <a:gd name="T14" fmla="*/ 238 w 239"/>
                  <a:gd name="T15" fmla="*/ 15 h 188"/>
                  <a:gd name="T16" fmla="*/ 237 w 239"/>
                  <a:gd name="T17" fmla="*/ 1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9" h="188">
                    <a:moveTo>
                      <a:pt x="237" y="18"/>
                    </a:moveTo>
                    <a:cubicBezTo>
                      <a:pt x="14" y="187"/>
                      <a:pt x="14" y="187"/>
                      <a:pt x="14" y="187"/>
                    </a:cubicBezTo>
                    <a:cubicBezTo>
                      <a:pt x="13" y="188"/>
                      <a:pt x="12" y="188"/>
                      <a:pt x="11" y="187"/>
                    </a:cubicBezTo>
                    <a:cubicBezTo>
                      <a:pt x="1" y="173"/>
                      <a:pt x="1" y="173"/>
                      <a:pt x="1" y="173"/>
                    </a:cubicBezTo>
                    <a:cubicBezTo>
                      <a:pt x="0" y="172"/>
                      <a:pt x="0" y="171"/>
                      <a:pt x="1" y="170"/>
                    </a:cubicBezTo>
                    <a:cubicBezTo>
                      <a:pt x="224" y="1"/>
                      <a:pt x="224" y="1"/>
                      <a:pt x="224" y="1"/>
                    </a:cubicBezTo>
                    <a:cubicBezTo>
                      <a:pt x="225" y="0"/>
                      <a:pt x="227" y="1"/>
                      <a:pt x="227" y="2"/>
                    </a:cubicBezTo>
                    <a:cubicBezTo>
                      <a:pt x="238" y="15"/>
                      <a:pt x="238" y="15"/>
                      <a:pt x="238" y="15"/>
                    </a:cubicBezTo>
                    <a:cubicBezTo>
                      <a:pt x="239" y="16"/>
                      <a:pt x="238" y="17"/>
                      <a:pt x="237" y="18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556">
                <a:extLst>
                  <a:ext uri="{FF2B5EF4-FFF2-40B4-BE49-F238E27FC236}">
                    <a16:creationId xmlns:a16="http://schemas.microsoft.com/office/drawing/2014/main" id="{316E814B-1C85-4AD3-B2D9-64350F6481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7" y="2454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557">
                <a:extLst>
                  <a:ext uri="{FF2B5EF4-FFF2-40B4-BE49-F238E27FC236}">
                    <a16:creationId xmlns:a16="http://schemas.microsoft.com/office/drawing/2014/main" id="{302CDC22-9F83-4578-BE8C-9F129BD40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43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558">
                <a:extLst>
                  <a:ext uri="{FF2B5EF4-FFF2-40B4-BE49-F238E27FC236}">
                    <a16:creationId xmlns:a16="http://schemas.microsoft.com/office/drawing/2014/main" id="{020789DA-9842-4918-BE57-E0C3B1FC6F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6" y="2425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Freeform 559">
                <a:extLst>
                  <a:ext uri="{FF2B5EF4-FFF2-40B4-BE49-F238E27FC236}">
                    <a16:creationId xmlns:a16="http://schemas.microsoft.com/office/drawing/2014/main" id="{5B081819-FA59-4AC6-9E40-A369E196D8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" y="241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Freeform 560">
                <a:extLst>
                  <a:ext uri="{FF2B5EF4-FFF2-40B4-BE49-F238E27FC236}">
                    <a16:creationId xmlns:a16="http://schemas.microsoft.com/office/drawing/2014/main" id="{433DBDB2-5094-417D-8E50-EE0C5D0BC0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" y="2396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561">
                <a:extLst>
                  <a:ext uri="{FF2B5EF4-FFF2-40B4-BE49-F238E27FC236}">
                    <a16:creationId xmlns:a16="http://schemas.microsoft.com/office/drawing/2014/main" id="{FAF954B3-FBB0-40FA-98BC-93320C228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4" y="238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562">
                <a:extLst>
                  <a:ext uri="{FF2B5EF4-FFF2-40B4-BE49-F238E27FC236}">
                    <a16:creationId xmlns:a16="http://schemas.microsoft.com/office/drawing/2014/main" id="{58C24E26-F294-49DF-B976-6A8EEFB49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" y="236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563">
                <a:extLst>
                  <a:ext uri="{FF2B5EF4-FFF2-40B4-BE49-F238E27FC236}">
                    <a16:creationId xmlns:a16="http://schemas.microsoft.com/office/drawing/2014/main" id="{61D88D73-D038-4214-B4E0-0DF8ADF635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" y="235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564">
                <a:extLst>
                  <a:ext uri="{FF2B5EF4-FFF2-40B4-BE49-F238E27FC236}">
                    <a16:creationId xmlns:a16="http://schemas.microsoft.com/office/drawing/2014/main" id="{89DF9584-EA07-4E49-B2A9-84E23DF22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2" y="2337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565">
                <a:extLst>
                  <a:ext uri="{FF2B5EF4-FFF2-40B4-BE49-F238E27FC236}">
                    <a16:creationId xmlns:a16="http://schemas.microsoft.com/office/drawing/2014/main" id="{BCDCACA9-5549-4BB1-A051-7274986A9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2" y="2322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566">
                <a:extLst>
                  <a:ext uri="{FF2B5EF4-FFF2-40B4-BE49-F238E27FC236}">
                    <a16:creationId xmlns:a16="http://schemas.microsoft.com/office/drawing/2014/main" id="{DBE333B4-A466-4C0E-924C-7B18823F6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9" y="2279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567">
                <a:extLst>
                  <a:ext uri="{FF2B5EF4-FFF2-40B4-BE49-F238E27FC236}">
                    <a16:creationId xmlns:a16="http://schemas.microsoft.com/office/drawing/2014/main" id="{A7D397F7-5467-4A7C-B10B-036B8F5848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8" y="22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568">
                <a:extLst>
                  <a:ext uri="{FF2B5EF4-FFF2-40B4-BE49-F238E27FC236}">
                    <a16:creationId xmlns:a16="http://schemas.microsoft.com/office/drawing/2014/main" id="{0C480BAD-71EC-41D8-9834-853D640544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8" y="22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569">
                <a:extLst>
                  <a:ext uri="{FF2B5EF4-FFF2-40B4-BE49-F238E27FC236}">
                    <a16:creationId xmlns:a16="http://schemas.microsoft.com/office/drawing/2014/main" id="{6706C141-F2AF-4C28-9B89-AE609FB7C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4" y="2299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570">
                <a:extLst>
                  <a:ext uri="{FF2B5EF4-FFF2-40B4-BE49-F238E27FC236}">
                    <a16:creationId xmlns:a16="http://schemas.microsoft.com/office/drawing/2014/main" id="{C37F81D3-D340-44E9-96E7-806463E8D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3" y="228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4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571">
                <a:extLst>
                  <a:ext uri="{FF2B5EF4-FFF2-40B4-BE49-F238E27FC236}">
                    <a16:creationId xmlns:a16="http://schemas.microsoft.com/office/drawing/2014/main" id="{3CCCA222-B227-432D-9D5C-19ADF7EF3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" y="2270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572">
                <a:extLst>
                  <a:ext uri="{FF2B5EF4-FFF2-40B4-BE49-F238E27FC236}">
                    <a16:creationId xmlns:a16="http://schemas.microsoft.com/office/drawing/2014/main" id="{BD77A952-0C1E-4C65-9251-0E026364D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9" y="2319"/>
                <a:ext cx="25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573">
                <a:extLst>
                  <a:ext uri="{FF2B5EF4-FFF2-40B4-BE49-F238E27FC236}">
                    <a16:creationId xmlns:a16="http://schemas.microsoft.com/office/drawing/2014/main" id="{41DA7B2B-C81A-4ACF-BD23-45C1012EE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9" y="230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574">
                <a:extLst>
                  <a:ext uri="{FF2B5EF4-FFF2-40B4-BE49-F238E27FC236}">
                    <a16:creationId xmlns:a16="http://schemas.microsoft.com/office/drawing/2014/main" id="{914993AE-F037-432F-B036-CD2831814F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" y="2290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575">
                <a:extLst>
                  <a:ext uri="{FF2B5EF4-FFF2-40B4-BE49-F238E27FC236}">
                    <a16:creationId xmlns:a16="http://schemas.microsoft.com/office/drawing/2014/main" id="{256C5CC4-3A51-45C9-BBAE-D457BEA09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8" y="2494"/>
                <a:ext cx="24" cy="25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576">
                <a:extLst>
                  <a:ext uri="{FF2B5EF4-FFF2-40B4-BE49-F238E27FC236}">
                    <a16:creationId xmlns:a16="http://schemas.microsoft.com/office/drawing/2014/main" id="{61A35434-F835-467D-B28F-08A928293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7" y="248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577">
                <a:extLst>
                  <a:ext uri="{FF2B5EF4-FFF2-40B4-BE49-F238E27FC236}">
                    <a16:creationId xmlns:a16="http://schemas.microsoft.com/office/drawing/2014/main" id="{1E4F6551-CDB6-471B-B32D-032D7F936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6" y="2465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1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578">
                <a:extLst>
                  <a:ext uri="{FF2B5EF4-FFF2-40B4-BE49-F238E27FC236}">
                    <a16:creationId xmlns:a16="http://schemas.microsoft.com/office/drawing/2014/main" id="{27BC30B5-9C98-497F-AC0A-B902E35A7C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6" y="24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579">
                <a:extLst>
                  <a:ext uri="{FF2B5EF4-FFF2-40B4-BE49-F238E27FC236}">
                    <a16:creationId xmlns:a16="http://schemas.microsoft.com/office/drawing/2014/main" id="{E1E7D166-3B6D-451B-BAB9-258710ADD0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5" y="2436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580">
                <a:extLst>
                  <a:ext uri="{FF2B5EF4-FFF2-40B4-BE49-F238E27FC236}">
                    <a16:creationId xmlns:a16="http://schemas.microsoft.com/office/drawing/2014/main" id="{9916FB65-B040-4773-B3C7-079B0426D2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5" y="2421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0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8" y="44"/>
                      <a:pt x="18" y="43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581">
                <a:extLst>
                  <a:ext uri="{FF2B5EF4-FFF2-40B4-BE49-F238E27FC236}">
                    <a16:creationId xmlns:a16="http://schemas.microsoft.com/office/drawing/2014/main" id="{BDCC5EE5-46FF-4906-8E69-BD7955F969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4" y="2407"/>
                <a:ext cx="24" cy="24"/>
              </a:xfrm>
              <a:custGeom>
                <a:avLst/>
                <a:gdLst>
                  <a:gd name="T0" fmla="*/ 43 w 44"/>
                  <a:gd name="T1" fmla="*/ 26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3 h 44"/>
                  <a:gd name="T16" fmla="*/ 43 w 44"/>
                  <a:gd name="T17" fmla="*/ 2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6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3"/>
                      <a:pt x="43" y="23"/>
                      <a:pt x="43" y="23"/>
                    </a:cubicBezTo>
                    <a:cubicBezTo>
                      <a:pt x="44" y="24"/>
                      <a:pt x="44" y="26"/>
                      <a:pt x="43" y="26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582">
                <a:extLst>
                  <a:ext uri="{FF2B5EF4-FFF2-40B4-BE49-F238E27FC236}">
                    <a16:creationId xmlns:a16="http://schemas.microsoft.com/office/drawing/2014/main" id="{C06D843A-1491-4BF6-84E4-4EE8CA846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" y="2392"/>
                <a:ext cx="24" cy="24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583">
                <a:extLst>
                  <a:ext uri="{FF2B5EF4-FFF2-40B4-BE49-F238E27FC236}">
                    <a16:creationId xmlns:a16="http://schemas.microsoft.com/office/drawing/2014/main" id="{8C16E6A0-1BA9-40F1-AB2E-019BBDD6A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3" y="2377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584">
                <a:extLst>
                  <a:ext uri="{FF2B5EF4-FFF2-40B4-BE49-F238E27FC236}">
                    <a16:creationId xmlns:a16="http://schemas.microsoft.com/office/drawing/2014/main" id="{B366D578-3570-4ACC-B9EF-0F9ED2D84D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2" y="2362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585">
                <a:extLst>
                  <a:ext uri="{FF2B5EF4-FFF2-40B4-BE49-F238E27FC236}">
                    <a16:creationId xmlns:a16="http://schemas.microsoft.com/office/drawing/2014/main" id="{9001624C-1FEE-4C90-8111-D18F5FA0A0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3" y="2481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586">
                <a:extLst>
                  <a:ext uri="{FF2B5EF4-FFF2-40B4-BE49-F238E27FC236}">
                    <a16:creationId xmlns:a16="http://schemas.microsoft.com/office/drawing/2014/main" id="{D05E39D6-35F8-4A70-80C2-88413387C4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2" y="2467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2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4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1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1" y="18"/>
                      <a:pt x="2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587">
                <a:extLst>
                  <a:ext uri="{FF2B5EF4-FFF2-40B4-BE49-F238E27FC236}">
                    <a16:creationId xmlns:a16="http://schemas.microsoft.com/office/drawing/2014/main" id="{91E2C48B-F149-4548-8CED-A7BB7B7CB2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2" y="2452"/>
                <a:ext cx="24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4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2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2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588">
                <a:extLst>
                  <a:ext uri="{FF2B5EF4-FFF2-40B4-BE49-F238E27FC236}">
                    <a16:creationId xmlns:a16="http://schemas.microsoft.com/office/drawing/2014/main" id="{E67CA0A7-E3C2-466D-AC43-B29B7050E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1" y="243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589">
                <a:extLst>
                  <a:ext uri="{FF2B5EF4-FFF2-40B4-BE49-F238E27FC236}">
                    <a16:creationId xmlns:a16="http://schemas.microsoft.com/office/drawing/2014/main" id="{F4F064AE-FCDF-4691-A1F0-37695AA132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0" y="2423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590">
                <a:extLst>
                  <a:ext uri="{FF2B5EF4-FFF2-40B4-BE49-F238E27FC236}">
                    <a16:creationId xmlns:a16="http://schemas.microsoft.com/office/drawing/2014/main" id="{2EF8E9D8-3F28-46FD-8517-0F8B086752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0" y="2408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591">
                <a:extLst>
                  <a:ext uri="{FF2B5EF4-FFF2-40B4-BE49-F238E27FC236}">
                    <a16:creationId xmlns:a16="http://schemas.microsoft.com/office/drawing/2014/main" id="{39070184-863B-46E8-8CCA-DDBC900E90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9" y="2393"/>
                <a:ext cx="24" cy="25"/>
              </a:xfrm>
              <a:custGeom>
                <a:avLst/>
                <a:gdLst>
                  <a:gd name="T0" fmla="*/ 42 w 44"/>
                  <a:gd name="T1" fmla="*/ 27 h 44"/>
                  <a:gd name="T2" fmla="*/ 21 w 44"/>
                  <a:gd name="T3" fmla="*/ 44 h 44"/>
                  <a:gd name="T4" fmla="*/ 18 w 44"/>
                  <a:gd name="T5" fmla="*/ 43 h 44"/>
                  <a:gd name="T6" fmla="*/ 0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3 w 44"/>
                  <a:gd name="T15" fmla="*/ 24 h 44"/>
                  <a:gd name="T16" fmla="*/ 42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2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4"/>
                      <a:pt x="18" y="44"/>
                      <a:pt x="18" y="4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3" y="26"/>
                      <a:pt x="4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592">
                <a:extLst>
                  <a:ext uri="{FF2B5EF4-FFF2-40B4-BE49-F238E27FC236}">
                    <a16:creationId xmlns:a16="http://schemas.microsoft.com/office/drawing/2014/main" id="{BB7FA9C7-0A08-44FB-BF60-554E7D2F9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8" y="2379"/>
                <a:ext cx="25" cy="24"/>
              </a:xfrm>
              <a:custGeom>
                <a:avLst/>
                <a:gdLst>
                  <a:gd name="T0" fmla="*/ 43 w 44"/>
                  <a:gd name="T1" fmla="*/ 27 h 45"/>
                  <a:gd name="T2" fmla="*/ 21 w 44"/>
                  <a:gd name="T3" fmla="*/ 44 h 45"/>
                  <a:gd name="T4" fmla="*/ 18 w 44"/>
                  <a:gd name="T5" fmla="*/ 43 h 45"/>
                  <a:gd name="T6" fmla="*/ 1 w 44"/>
                  <a:gd name="T7" fmla="*/ 21 h 45"/>
                  <a:gd name="T8" fmla="*/ 1 w 44"/>
                  <a:gd name="T9" fmla="*/ 18 h 45"/>
                  <a:gd name="T10" fmla="*/ 23 w 44"/>
                  <a:gd name="T11" fmla="*/ 1 h 45"/>
                  <a:gd name="T12" fmla="*/ 26 w 44"/>
                  <a:gd name="T13" fmla="*/ 1 h 45"/>
                  <a:gd name="T14" fmla="*/ 43 w 44"/>
                  <a:gd name="T15" fmla="*/ 24 h 45"/>
                  <a:gd name="T16" fmla="*/ 43 w 44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5">
                    <a:moveTo>
                      <a:pt x="43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4"/>
                      <a:pt x="18" y="4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8"/>
                      <a:pt x="1" y="18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1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593">
                <a:extLst>
                  <a:ext uri="{FF2B5EF4-FFF2-40B4-BE49-F238E27FC236}">
                    <a16:creationId xmlns:a16="http://schemas.microsoft.com/office/drawing/2014/main" id="{545FE0E4-EE72-4D3D-9519-CE3F4323E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8" y="2365"/>
                <a:ext cx="24" cy="24"/>
              </a:xfrm>
              <a:custGeom>
                <a:avLst/>
                <a:gdLst>
                  <a:gd name="T0" fmla="*/ 43 w 44"/>
                  <a:gd name="T1" fmla="*/ 26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2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4 w 44"/>
                  <a:gd name="T15" fmla="*/ 23 h 44"/>
                  <a:gd name="T16" fmla="*/ 43 w 44"/>
                  <a:gd name="T17" fmla="*/ 2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6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1" y="18"/>
                      <a:pt x="2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24"/>
                      <a:pt x="44" y="26"/>
                      <a:pt x="43" y="26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594">
                <a:extLst>
                  <a:ext uri="{FF2B5EF4-FFF2-40B4-BE49-F238E27FC236}">
                    <a16:creationId xmlns:a16="http://schemas.microsoft.com/office/drawing/2014/main" id="{D9660B5A-974B-4448-BE3B-0022A5ACE2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7" y="2350"/>
                <a:ext cx="24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0 h 44"/>
                  <a:gd name="T12" fmla="*/ 26 w 44"/>
                  <a:gd name="T13" fmla="*/ 1 h 44"/>
                  <a:gd name="T14" fmla="*/ 43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595">
                <a:extLst>
                  <a:ext uri="{FF2B5EF4-FFF2-40B4-BE49-F238E27FC236}">
                    <a16:creationId xmlns:a16="http://schemas.microsoft.com/office/drawing/2014/main" id="{56AB09C3-3BC1-41EE-9302-85B3BDD0D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" y="2335"/>
                <a:ext cx="25" cy="24"/>
              </a:xfrm>
              <a:custGeom>
                <a:avLst/>
                <a:gdLst>
                  <a:gd name="T0" fmla="*/ 43 w 44"/>
                  <a:gd name="T1" fmla="*/ 27 h 44"/>
                  <a:gd name="T2" fmla="*/ 21 w 44"/>
                  <a:gd name="T3" fmla="*/ 43 h 44"/>
                  <a:gd name="T4" fmla="*/ 18 w 44"/>
                  <a:gd name="T5" fmla="*/ 43 h 44"/>
                  <a:gd name="T6" fmla="*/ 1 w 44"/>
                  <a:gd name="T7" fmla="*/ 20 h 44"/>
                  <a:gd name="T8" fmla="*/ 1 w 44"/>
                  <a:gd name="T9" fmla="*/ 17 h 44"/>
                  <a:gd name="T10" fmla="*/ 23 w 44"/>
                  <a:gd name="T11" fmla="*/ 1 h 44"/>
                  <a:gd name="T12" fmla="*/ 26 w 44"/>
                  <a:gd name="T13" fmla="*/ 1 h 44"/>
                  <a:gd name="T14" fmla="*/ 44 w 44"/>
                  <a:gd name="T15" fmla="*/ 24 h 44"/>
                  <a:gd name="T16" fmla="*/ 43 w 44"/>
                  <a:gd name="T17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44">
                    <a:moveTo>
                      <a:pt x="43" y="27"/>
                    </a:moveTo>
                    <a:cubicBezTo>
                      <a:pt x="21" y="43"/>
                      <a:pt x="21" y="43"/>
                      <a:pt x="21" y="43"/>
                    </a:cubicBezTo>
                    <a:cubicBezTo>
                      <a:pt x="20" y="44"/>
                      <a:pt x="19" y="44"/>
                      <a:pt x="18" y="43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7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6" y="0"/>
                      <a:pt x="26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5"/>
                      <a:pt x="44" y="26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596">
                <a:extLst>
                  <a:ext uri="{FF2B5EF4-FFF2-40B4-BE49-F238E27FC236}">
                    <a16:creationId xmlns:a16="http://schemas.microsoft.com/office/drawing/2014/main" id="{94319A51-A7D3-4754-A719-0517C95BF9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8" y="2468"/>
                <a:ext cx="35" cy="32"/>
              </a:xfrm>
              <a:custGeom>
                <a:avLst/>
                <a:gdLst>
                  <a:gd name="T0" fmla="*/ 61 w 63"/>
                  <a:gd name="T1" fmla="*/ 27 h 58"/>
                  <a:gd name="T2" fmla="*/ 21 w 63"/>
                  <a:gd name="T3" fmla="*/ 58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1 h 58"/>
                  <a:gd name="T12" fmla="*/ 45 w 63"/>
                  <a:gd name="T13" fmla="*/ 1 h 58"/>
                  <a:gd name="T14" fmla="*/ 62 w 63"/>
                  <a:gd name="T15" fmla="*/ 24 h 58"/>
                  <a:gd name="T16" fmla="*/ 61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2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597">
                <a:extLst>
                  <a:ext uri="{FF2B5EF4-FFF2-40B4-BE49-F238E27FC236}">
                    <a16:creationId xmlns:a16="http://schemas.microsoft.com/office/drawing/2014/main" id="{C9F8D29E-0972-4A11-A80D-D8807E3E5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1" y="2300"/>
                <a:ext cx="35" cy="32"/>
              </a:xfrm>
              <a:custGeom>
                <a:avLst/>
                <a:gdLst>
                  <a:gd name="T0" fmla="*/ 62 w 63"/>
                  <a:gd name="T1" fmla="*/ 27 h 58"/>
                  <a:gd name="T2" fmla="*/ 21 w 63"/>
                  <a:gd name="T3" fmla="*/ 57 h 58"/>
                  <a:gd name="T4" fmla="*/ 18 w 63"/>
                  <a:gd name="T5" fmla="*/ 57 h 58"/>
                  <a:gd name="T6" fmla="*/ 1 w 63"/>
                  <a:gd name="T7" fmla="*/ 34 h 58"/>
                  <a:gd name="T8" fmla="*/ 1 w 63"/>
                  <a:gd name="T9" fmla="*/ 31 h 58"/>
                  <a:gd name="T10" fmla="*/ 42 w 63"/>
                  <a:gd name="T11" fmla="*/ 0 h 58"/>
                  <a:gd name="T12" fmla="*/ 45 w 63"/>
                  <a:gd name="T13" fmla="*/ 1 h 58"/>
                  <a:gd name="T14" fmla="*/ 62 w 63"/>
                  <a:gd name="T15" fmla="*/ 24 h 58"/>
                  <a:gd name="T16" fmla="*/ 62 w 63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8">
                    <a:moveTo>
                      <a:pt x="62" y="27"/>
                    </a:moveTo>
                    <a:cubicBezTo>
                      <a:pt x="21" y="57"/>
                      <a:pt x="21" y="57"/>
                      <a:pt x="21" y="57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2"/>
                      <a:pt x="1" y="31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3" y="0"/>
                      <a:pt x="44" y="0"/>
                      <a:pt x="45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3" y="25"/>
                      <a:pt x="62" y="26"/>
                      <a:pt x="62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598">
                <a:extLst>
                  <a:ext uri="{FF2B5EF4-FFF2-40B4-BE49-F238E27FC236}">
                    <a16:creationId xmlns:a16="http://schemas.microsoft.com/office/drawing/2014/main" id="{DE89F5A4-270C-41B1-8EB3-4600906761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4" y="2496"/>
                <a:ext cx="24" cy="24"/>
              </a:xfrm>
              <a:custGeom>
                <a:avLst/>
                <a:gdLst>
                  <a:gd name="T0" fmla="*/ 44 w 45"/>
                  <a:gd name="T1" fmla="*/ 27 h 45"/>
                  <a:gd name="T2" fmla="*/ 21 w 45"/>
                  <a:gd name="T3" fmla="*/ 44 h 45"/>
                  <a:gd name="T4" fmla="*/ 18 w 45"/>
                  <a:gd name="T5" fmla="*/ 44 h 45"/>
                  <a:gd name="T6" fmla="*/ 1 w 45"/>
                  <a:gd name="T7" fmla="*/ 21 h 45"/>
                  <a:gd name="T8" fmla="*/ 1 w 45"/>
                  <a:gd name="T9" fmla="*/ 18 h 45"/>
                  <a:gd name="T10" fmla="*/ 24 w 45"/>
                  <a:gd name="T11" fmla="*/ 1 h 45"/>
                  <a:gd name="T12" fmla="*/ 27 w 45"/>
                  <a:gd name="T13" fmla="*/ 1 h 45"/>
                  <a:gd name="T14" fmla="*/ 44 w 45"/>
                  <a:gd name="T15" fmla="*/ 24 h 45"/>
                  <a:gd name="T16" fmla="*/ 44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4" y="27"/>
                    </a:move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5"/>
                      <a:pt x="19" y="45"/>
                      <a:pt x="18" y="44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5" y="0"/>
                      <a:pt x="26" y="0"/>
                      <a:pt x="27" y="1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5" y="26"/>
                      <a:pt x="44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599">
                <a:extLst>
                  <a:ext uri="{FF2B5EF4-FFF2-40B4-BE49-F238E27FC236}">
                    <a16:creationId xmlns:a16="http://schemas.microsoft.com/office/drawing/2014/main" id="{E1CEA497-EB10-4F76-8649-FF380148E9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6" y="2320"/>
                <a:ext cx="25" cy="24"/>
              </a:xfrm>
              <a:custGeom>
                <a:avLst/>
                <a:gdLst>
                  <a:gd name="T0" fmla="*/ 43 w 45"/>
                  <a:gd name="T1" fmla="*/ 27 h 45"/>
                  <a:gd name="T2" fmla="*/ 21 w 45"/>
                  <a:gd name="T3" fmla="*/ 45 h 45"/>
                  <a:gd name="T4" fmla="*/ 18 w 45"/>
                  <a:gd name="T5" fmla="*/ 44 h 45"/>
                  <a:gd name="T6" fmla="*/ 0 w 45"/>
                  <a:gd name="T7" fmla="*/ 21 h 45"/>
                  <a:gd name="T8" fmla="*/ 1 w 45"/>
                  <a:gd name="T9" fmla="*/ 18 h 45"/>
                  <a:gd name="T10" fmla="*/ 24 w 45"/>
                  <a:gd name="T11" fmla="*/ 1 h 45"/>
                  <a:gd name="T12" fmla="*/ 26 w 45"/>
                  <a:gd name="T13" fmla="*/ 2 h 45"/>
                  <a:gd name="T14" fmla="*/ 44 w 45"/>
                  <a:gd name="T15" fmla="*/ 24 h 45"/>
                  <a:gd name="T16" fmla="*/ 43 w 45"/>
                  <a:gd name="T17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45">
                    <a:moveTo>
                      <a:pt x="43" y="27"/>
                    </a:moveTo>
                    <a:cubicBezTo>
                      <a:pt x="21" y="45"/>
                      <a:pt x="21" y="45"/>
                      <a:pt x="21" y="45"/>
                    </a:cubicBezTo>
                    <a:cubicBezTo>
                      <a:pt x="20" y="45"/>
                      <a:pt x="18" y="45"/>
                      <a:pt x="18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19"/>
                      <a:pt x="1" y="18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6" y="1"/>
                      <a:pt x="26" y="2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4" y="27"/>
                      <a:pt x="43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600">
                <a:extLst>
                  <a:ext uri="{FF2B5EF4-FFF2-40B4-BE49-F238E27FC236}">
                    <a16:creationId xmlns:a16="http://schemas.microsoft.com/office/drawing/2014/main" id="{43A61379-8AAC-4CBC-BE77-F9FF02D3F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9" y="2508"/>
                <a:ext cx="34" cy="32"/>
              </a:xfrm>
              <a:custGeom>
                <a:avLst/>
                <a:gdLst>
                  <a:gd name="T0" fmla="*/ 61 w 62"/>
                  <a:gd name="T1" fmla="*/ 27 h 59"/>
                  <a:gd name="T2" fmla="*/ 21 w 62"/>
                  <a:gd name="T3" fmla="*/ 58 h 59"/>
                  <a:gd name="T4" fmla="*/ 18 w 62"/>
                  <a:gd name="T5" fmla="*/ 58 h 59"/>
                  <a:gd name="T6" fmla="*/ 0 w 62"/>
                  <a:gd name="T7" fmla="*/ 35 h 59"/>
                  <a:gd name="T8" fmla="*/ 1 w 62"/>
                  <a:gd name="T9" fmla="*/ 32 h 59"/>
                  <a:gd name="T10" fmla="*/ 41 w 62"/>
                  <a:gd name="T11" fmla="*/ 1 h 59"/>
                  <a:gd name="T12" fmla="*/ 44 w 62"/>
                  <a:gd name="T13" fmla="*/ 2 h 59"/>
                  <a:gd name="T14" fmla="*/ 62 w 62"/>
                  <a:gd name="T15" fmla="*/ 24 h 59"/>
                  <a:gd name="T16" fmla="*/ 61 w 62"/>
                  <a:gd name="T17" fmla="*/ 27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9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9"/>
                      <a:pt x="18" y="59"/>
                      <a:pt x="18" y="58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4"/>
                      <a:pt x="0" y="33"/>
                      <a:pt x="1" y="32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1"/>
                      <a:pt x="44" y="2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7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601">
                <a:extLst>
                  <a:ext uri="{FF2B5EF4-FFF2-40B4-BE49-F238E27FC236}">
                    <a16:creationId xmlns:a16="http://schemas.microsoft.com/office/drawing/2014/main" id="{95717062-E9AB-468A-BBF7-253587CDCB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2" y="2340"/>
                <a:ext cx="34" cy="32"/>
              </a:xfrm>
              <a:custGeom>
                <a:avLst/>
                <a:gdLst>
                  <a:gd name="T0" fmla="*/ 61 w 62"/>
                  <a:gd name="T1" fmla="*/ 27 h 58"/>
                  <a:gd name="T2" fmla="*/ 21 w 62"/>
                  <a:gd name="T3" fmla="*/ 58 h 58"/>
                  <a:gd name="T4" fmla="*/ 18 w 62"/>
                  <a:gd name="T5" fmla="*/ 57 h 58"/>
                  <a:gd name="T6" fmla="*/ 1 w 62"/>
                  <a:gd name="T7" fmla="*/ 34 h 58"/>
                  <a:gd name="T8" fmla="*/ 1 w 62"/>
                  <a:gd name="T9" fmla="*/ 31 h 58"/>
                  <a:gd name="T10" fmla="*/ 41 w 62"/>
                  <a:gd name="T11" fmla="*/ 1 h 58"/>
                  <a:gd name="T12" fmla="*/ 44 w 62"/>
                  <a:gd name="T13" fmla="*/ 1 h 58"/>
                  <a:gd name="T14" fmla="*/ 62 w 62"/>
                  <a:gd name="T15" fmla="*/ 24 h 58"/>
                  <a:gd name="T16" fmla="*/ 61 w 62"/>
                  <a:gd name="T17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58">
                    <a:moveTo>
                      <a:pt x="61" y="27"/>
                    </a:moveTo>
                    <a:cubicBezTo>
                      <a:pt x="21" y="58"/>
                      <a:pt x="21" y="58"/>
                      <a:pt x="21" y="58"/>
                    </a:cubicBezTo>
                    <a:cubicBezTo>
                      <a:pt x="20" y="58"/>
                      <a:pt x="19" y="58"/>
                      <a:pt x="18" y="57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4"/>
                      <a:pt x="0" y="32"/>
                      <a:pt x="1" y="31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4" y="0"/>
                      <a:pt x="44" y="1"/>
                    </a:cubicBezTo>
                    <a:cubicBezTo>
                      <a:pt x="62" y="24"/>
                      <a:pt x="62" y="24"/>
                      <a:pt x="62" y="24"/>
                    </a:cubicBezTo>
                    <a:cubicBezTo>
                      <a:pt x="62" y="25"/>
                      <a:pt x="62" y="26"/>
                      <a:pt x="61" y="27"/>
                    </a:cubicBez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602">
                <a:extLst>
                  <a:ext uri="{FF2B5EF4-FFF2-40B4-BE49-F238E27FC236}">
                    <a16:creationId xmlns:a16="http://schemas.microsoft.com/office/drawing/2014/main" id="{73BF71A9-D903-47A6-BBE3-01A398E892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3" y="2100"/>
                <a:ext cx="432" cy="362"/>
              </a:xfrm>
              <a:custGeom>
                <a:avLst/>
                <a:gdLst>
                  <a:gd name="T0" fmla="*/ 101 w 432"/>
                  <a:gd name="T1" fmla="*/ 362 h 362"/>
                  <a:gd name="T2" fmla="*/ 0 w 432"/>
                  <a:gd name="T3" fmla="*/ 316 h 362"/>
                  <a:gd name="T4" fmla="*/ 413 w 432"/>
                  <a:gd name="T5" fmla="*/ 0 h 362"/>
                  <a:gd name="T6" fmla="*/ 432 w 432"/>
                  <a:gd name="T7" fmla="*/ 109 h 362"/>
                  <a:gd name="T8" fmla="*/ 101 w 432"/>
                  <a:gd name="T9" fmla="*/ 3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2" h="362">
                    <a:moveTo>
                      <a:pt x="101" y="362"/>
                    </a:moveTo>
                    <a:lnTo>
                      <a:pt x="0" y="316"/>
                    </a:lnTo>
                    <a:lnTo>
                      <a:pt x="413" y="0"/>
                    </a:lnTo>
                    <a:lnTo>
                      <a:pt x="432" y="109"/>
                    </a:lnTo>
                    <a:lnTo>
                      <a:pt x="101" y="362"/>
                    </a:ln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603">
                <a:extLst>
                  <a:ext uri="{FF2B5EF4-FFF2-40B4-BE49-F238E27FC236}">
                    <a16:creationId xmlns:a16="http://schemas.microsoft.com/office/drawing/2014/main" id="{DBEBAA07-5EB5-4B80-B0A3-EEF813845D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2" y="2108"/>
                <a:ext cx="419" cy="350"/>
              </a:xfrm>
              <a:custGeom>
                <a:avLst/>
                <a:gdLst>
                  <a:gd name="T0" fmla="*/ 92 w 419"/>
                  <a:gd name="T1" fmla="*/ 350 h 350"/>
                  <a:gd name="T2" fmla="*/ 0 w 419"/>
                  <a:gd name="T3" fmla="*/ 307 h 350"/>
                  <a:gd name="T4" fmla="*/ 401 w 419"/>
                  <a:gd name="T5" fmla="*/ 0 h 350"/>
                  <a:gd name="T6" fmla="*/ 419 w 419"/>
                  <a:gd name="T7" fmla="*/ 100 h 350"/>
                  <a:gd name="T8" fmla="*/ 92 w 419"/>
                  <a:gd name="T9" fmla="*/ 35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9" h="350">
                    <a:moveTo>
                      <a:pt x="92" y="350"/>
                    </a:moveTo>
                    <a:lnTo>
                      <a:pt x="0" y="307"/>
                    </a:lnTo>
                    <a:lnTo>
                      <a:pt x="401" y="0"/>
                    </a:lnTo>
                    <a:lnTo>
                      <a:pt x="419" y="100"/>
                    </a:lnTo>
                    <a:lnTo>
                      <a:pt x="92" y="350"/>
                    </a:lnTo>
                    <a:close/>
                  </a:path>
                </a:pathLst>
              </a:custGeom>
              <a:solidFill>
                <a:srgbClr val="4849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604">
                <a:extLst>
                  <a:ext uri="{FF2B5EF4-FFF2-40B4-BE49-F238E27FC236}">
                    <a16:creationId xmlns:a16="http://schemas.microsoft.com/office/drawing/2014/main" id="{29E30B18-E14C-46AF-9209-C1071BEE47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7" y="2113"/>
                <a:ext cx="395" cy="305"/>
              </a:xfrm>
              <a:custGeom>
                <a:avLst/>
                <a:gdLst>
                  <a:gd name="T0" fmla="*/ 11 w 395"/>
                  <a:gd name="T1" fmla="*/ 305 h 305"/>
                  <a:gd name="T2" fmla="*/ 0 w 395"/>
                  <a:gd name="T3" fmla="*/ 300 h 305"/>
                  <a:gd name="T4" fmla="*/ 393 w 395"/>
                  <a:gd name="T5" fmla="*/ 0 h 305"/>
                  <a:gd name="T6" fmla="*/ 395 w 395"/>
                  <a:gd name="T7" fmla="*/ 12 h 305"/>
                  <a:gd name="T8" fmla="*/ 11 w 395"/>
                  <a:gd name="T9" fmla="*/ 305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05">
                    <a:moveTo>
                      <a:pt x="11" y="305"/>
                    </a:moveTo>
                    <a:lnTo>
                      <a:pt x="0" y="300"/>
                    </a:lnTo>
                    <a:lnTo>
                      <a:pt x="393" y="0"/>
                    </a:lnTo>
                    <a:lnTo>
                      <a:pt x="395" y="12"/>
                    </a:lnTo>
                    <a:lnTo>
                      <a:pt x="11" y="305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605">
                <a:extLst>
                  <a:ext uri="{FF2B5EF4-FFF2-40B4-BE49-F238E27FC236}">
                    <a16:creationId xmlns:a16="http://schemas.microsoft.com/office/drawing/2014/main" id="{771DFA5F-2B43-4889-8997-6DDC5912F1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1" y="2404"/>
                <a:ext cx="91" cy="51"/>
              </a:xfrm>
              <a:custGeom>
                <a:avLst/>
                <a:gdLst>
                  <a:gd name="T0" fmla="*/ 91 w 91"/>
                  <a:gd name="T1" fmla="*/ 37 h 51"/>
                  <a:gd name="T2" fmla="*/ 74 w 91"/>
                  <a:gd name="T3" fmla="*/ 51 h 51"/>
                  <a:gd name="T4" fmla="*/ 0 w 91"/>
                  <a:gd name="T5" fmla="*/ 16 h 51"/>
                  <a:gd name="T6" fmla="*/ 21 w 91"/>
                  <a:gd name="T7" fmla="*/ 0 h 51"/>
                  <a:gd name="T8" fmla="*/ 91 w 91"/>
                  <a:gd name="T9" fmla="*/ 3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51">
                    <a:moveTo>
                      <a:pt x="91" y="37"/>
                    </a:moveTo>
                    <a:lnTo>
                      <a:pt x="74" y="51"/>
                    </a:lnTo>
                    <a:lnTo>
                      <a:pt x="0" y="16"/>
                    </a:lnTo>
                    <a:lnTo>
                      <a:pt x="21" y="0"/>
                    </a:lnTo>
                    <a:lnTo>
                      <a:pt x="91" y="37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606">
                <a:extLst>
                  <a:ext uri="{FF2B5EF4-FFF2-40B4-BE49-F238E27FC236}">
                    <a16:creationId xmlns:a16="http://schemas.microsoft.com/office/drawing/2014/main" id="{D51B12FC-72A0-4A27-93A7-8699ED5F1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2" y="2129"/>
                <a:ext cx="35" cy="92"/>
              </a:xfrm>
              <a:custGeom>
                <a:avLst/>
                <a:gdLst>
                  <a:gd name="T0" fmla="*/ 35 w 35"/>
                  <a:gd name="T1" fmla="*/ 79 h 92"/>
                  <a:gd name="T2" fmla="*/ 18 w 35"/>
                  <a:gd name="T3" fmla="*/ 92 h 92"/>
                  <a:gd name="T4" fmla="*/ 0 w 35"/>
                  <a:gd name="T5" fmla="*/ 16 h 92"/>
                  <a:gd name="T6" fmla="*/ 21 w 35"/>
                  <a:gd name="T7" fmla="*/ 0 h 92"/>
                  <a:gd name="T8" fmla="*/ 35 w 35"/>
                  <a:gd name="T9" fmla="*/ 7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92">
                    <a:moveTo>
                      <a:pt x="35" y="79"/>
                    </a:moveTo>
                    <a:lnTo>
                      <a:pt x="18" y="92"/>
                    </a:lnTo>
                    <a:lnTo>
                      <a:pt x="0" y="16"/>
                    </a:lnTo>
                    <a:lnTo>
                      <a:pt x="21" y="0"/>
                    </a:lnTo>
                    <a:lnTo>
                      <a:pt x="35" y="79"/>
                    </a:lnTo>
                    <a:close/>
                  </a:path>
                </a:pathLst>
              </a:custGeom>
              <a:solidFill>
                <a:srgbClr val="6D6D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" name="Freeform 608">
              <a:extLst>
                <a:ext uri="{FF2B5EF4-FFF2-40B4-BE49-F238E27FC236}">
                  <a16:creationId xmlns:a16="http://schemas.microsoft.com/office/drawing/2014/main" id="{1C033AF9-1F6B-4543-A719-DD0B422BA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7550" y="3503613"/>
              <a:ext cx="333375" cy="284163"/>
            </a:xfrm>
            <a:custGeom>
              <a:avLst/>
              <a:gdLst>
                <a:gd name="T0" fmla="*/ 210 w 210"/>
                <a:gd name="T1" fmla="*/ 53 h 179"/>
                <a:gd name="T2" fmla="*/ 46 w 210"/>
                <a:gd name="T3" fmla="*/ 179 h 179"/>
                <a:gd name="T4" fmla="*/ 0 w 210"/>
                <a:gd name="T5" fmla="*/ 143 h 179"/>
                <a:gd name="T6" fmla="*/ 187 w 210"/>
                <a:gd name="T7" fmla="*/ 0 h 179"/>
                <a:gd name="T8" fmla="*/ 210 w 210"/>
                <a:gd name="T9" fmla="*/ 5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179">
                  <a:moveTo>
                    <a:pt x="210" y="53"/>
                  </a:moveTo>
                  <a:lnTo>
                    <a:pt x="46" y="179"/>
                  </a:lnTo>
                  <a:lnTo>
                    <a:pt x="0" y="143"/>
                  </a:lnTo>
                  <a:lnTo>
                    <a:pt x="187" y="0"/>
                  </a:lnTo>
                  <a:lnTo>
                    <a:pt x="210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09">
              <a:extLst>
                <a:ext uri="{FF2B5EF4-FFF2-40B4-BE49-F238E27FC236}">
                  <a16:creationId xmlns:a16="http://schemas.microsoft.com/office/drawing/2014/main" id="{BA64B51C-C1B5-477D-A7B6-8262EAFEA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1238" y="3489326"/>
              <a:ext cx="138113" cy="134938"/>
            </a:xfrm>
            <a:custGeom>
              <a:avLst/>
              <a:gdLst>
                <a:gd name="T0" fmla="*/ 87 w 87"/>
                <a:gd name="T1" fmla="*/ 28 h 85"/>
                <a:gd name="T2" fmla="*/ 12 w 87"/>
                <a:gd name="T3" fmla="*/ 85 h 85"/>
                <a:gd name="T4" fmla="*/ 0 w 87"/>
                <a:gd name="T5" fmla="*/ 61 h 85"/>
                <a:gd name="T6" fmla="*/ 80 w 87"/>
                <a:gd name="T7" fmla="*/ 0 h 85"/>
                <a:gd name="T8" fmla="*/ 87 w 87"/>
                <a:gd name="T9" fmla="*/ 2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5">
                  <a:moveTo>
                    <a:pt x="87" y="28"/>
                  </a:moveTo>
                  <a:lnTo>
                    <a:pt x="12" y="85"/>
                  </a:lnTo>
                  <a:lnTo>
                    <a:pt x="0" y="61"/>
                  </a:lnTo>
                  <a:lnTo>
                    <a:pt x="80" y="0"/>
                  </a:lnTo>
                  <a:lnTo>
                    <a:pt x="87" y="28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10">
              <a:extLst>
                <a:ext uri="{FF2B5EF4-FFF2-40B4-BE49-F238E27FC236}">
                  <a16:creationId xmlns:a16="http://schemas.microsoft.com/office/drawing/2014/main" id="{0527022F-535B-4DD9-89B6-4D65BF587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650" y="3484563"/>
              <a:ext cx="128588" cy="101600"/>
            </a:xfrm>
            <a:custGeom>
              <a:avLst/>
              <a:gdLst>
                <a:gd name="T0" fmla="*/ 81 w 81"/>
                <a:gd name="T1" fmla="*/ 0 h 64"/>
                <a:gd name="T2" fmla="*/ 0 w 81"/>
                <a:gd name="T3" fmla="*/ 62 h 64"/>
                <a:gd name="T4" fmla="*/ 1 w 81"/>
                <a:gd name="T5" fmla="*/ 64 h 64"/>
                <a:gd name="T6" fmla="*/ 81 w 81"/>
                <a:gd name="T7" fmla="*/ 3 h 64"/>
                <a:gd name="T8" fmla="*/ 81 w 81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64">
                  <a:moveTo>
                    <a:pt x="81" y="0"/>
                  </a:moveTo>
                  <a:lnTo>
                    <a:pt x="0" y="62"/>
                  </a:lnTo>
                  <a:lnTo>
                    <a:pt x="1" y="64"/>
                  </a:lnTo>
                  <a:lnTo>
                    <a:pt x="81" y="3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5656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611">
              <a:extLst>
                <a:ext uri="{FF2B5EF4-FFF2-40B4-BE49-F238E27FC236}">
                  <a16:creationId xmlns:a16="http://schemas.microsoft.com/office/drawing/2014/main" id="{676A0FFC-AFD5-4A9A-B9A5-3686F89988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0763" y="3568701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2 w 16"/>
                <a:gd name="T3" fmla="*/ 14 h 14"/>
                <a:gd name="T4" fmla="*/ 0 w 16"/>
                <a:gd name="T5" fmla="*/ 11 h 14"/>
                <a:gd name="T6" fmla="*/ 14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2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F5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12">
              <a:extLst>
                <a:ext uri="{FF2B5EF4-FFF2-40B4-BE49-F238E27FC236}">
                  <a16:creationId xmlns:a16="http://schemas.microsoft.com/office/drawing/2014/main" id="{6C93903C-03B2-4706-A562-55EE8543C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0925" y="3546476"/>
              <a:ext cx="25400" cy="23813"/>
            </a:xfrm>
            <a:custGeom>
              <a:avLst/>
              <a:gdLst>
                <a:gd name="T0" fmla="*/ 16 w 16"/>
                <a:gd name="T1" fmla="*/ 3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3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3"/>
                  </a:lnTo>
                  <a:close/>
                </a:path>
              </a:pathLst>
            </a:custGeom>
            <a:solidFill>
              <a:srgbClr val="FFE0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613">
              <a:extLst>
                <a:ext uri="{FF2B5EF4-FFF2-40B4-BE49-F238E27FC236}">
                  <a16:creationId xmlns:a16="http://schemas.microsoft.com/office/drawing/2014/main" id="{DC35686E-620F-42C6-8BA3-46D1B3686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9663" y="3500438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14">
              <a:extLst>
                <a:ext uri="{FF2B5EF4-FFF2-40B4-BE49-F238E27FC236}">
                  <a16:creationId xmlns:a16="http://schemas.microsoft.com/office/drawing/2014/main" id="{827AC62D-B1B5-41F2-9B17-D26774D43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9500" y="3522663"/>
              <a:ext cx="25400" cy="25400"/>
            </a:xfrm>
            <a:custGeom>
              <a:avLst/>
              <a:gdLst>
                <a:gd name="T0" fmla="*/ 16 w 16"/>
                <a:gd name="T1" fmla="*/ 5 h 16"/>
                <a:gd name="T2" fmla="*/ 2 w 16"/>
                <a:gd name="T3" fmla="*/ 16 h 16"/>
                <a:gd name="T4" fmla="*/ 0 w 16"/>
                <a:gd name="T5" fmla="*/ 11 h 16"/>
                <a:gd name="T6" fmla="*/ 15 w 16"/>
                <a:gd name="T7" fmla="*/ 0 h 16"/>
                <a:gd name="T8" fmla="*/ 16 w 16"/>
                <a:gd name="T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6" y="5"/>
                  </a:moveTo>
                  <a:lnTo>
                    <a:pt x="2" y="16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5"/>
                  </a:lnTo>
                  <a:close/>
                </a:path>
              </a:pathLst>
            </a:custGeom>
            <a:solidFill>
              <a:srgbClr val="E3C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15">
              <a:extLst>
                <a:ext uri="{FF2B5EF4-FFF2-40B4-BE49-F238E27FC236}">
                  <a16:creationId xmlns:a16="http://schemas.microsoft.com/office/drawing/2014/main" id="{6160D349-D2DE-44CE-AF40-D681FBECF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3938" y="3576638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2 w 16"/>
                <a:gd name="T3" fmla="*/ 15 h 15"/>
                <a:gd name="T4" fmla="*/ 0 w 16"/>
                <a:gd name="T5" fmla="*/ 11 h 15"/>
                <a:gd name="T6" fmla="*/ 15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F1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16">
              <a:extLst>
                <a:ext uri="{FF2B5EF4-FFF2-40B4-BE49-F238E27FC236}">
                  <a16:creationId xmlns:a16="http://schemas.microsoft.com/office/drawing/2014/main" id="{06D22AD4-72E1-4832-82B5-7E09B6538F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4100" y="3554413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FFD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17">
              <a:extLst>
                <a:ext uri="{FF2B5EF4-FFF2-40B4-BE49-F238E27FC236}">
                  <a16:creationId xmlns:a16="http://schemas.microsoft.com/office/drawing/2014/main" id="{216D32CE-0916-4096-8AD1-78C07D997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2838" y="3509963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A6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618">
              <a:extLst>
                <a:ext uri="{FF2B5EF4-FFF2-40B4-BE49-F238E27FC236}">
                  <a16:creationId xmlns:a16="http://schemas.microsoft.com/office/drawing/2014/main" id="{5CA55864-B949-4EA3-9161-FEF99405E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2675" y="3532188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2 w 16"/>
                <a:gd name="T3" fmla="*/ 15 h 15"/>
                <a:gd name="T4" fmla="*/ 0 w 16"/>
                <a:gd name="T5" fmla="*/ 11 h 15"/>
                <a:gd name="T6" fmla="*/ 15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E3B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19">
              <a:extLst>
                <a:ext uri="{FF2B5EF4-FFF2-40B4-BE49-F238E27FC236}">
                  <a16:creationId xmlns:a16="http://schemas.microsoft.com/office/drawing/2014/main" id="{0D60DE89-A7E8-4100-9D37-0288D2279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8700" y="3584576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EE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620">
              <a:extLst>
                <a:ext uri="{FF2B5EF4-FFF2-40B4-BE49-F238E27FC236}">
                  <a16:creationId xmlns:a16="http://schemas.microsoft.com/office/drawing/2014/main" id="{659895D8-C548-497F-A1FA-24BF93DA3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7275" y="3562351"/>
              <a:ext cx="25400" cy="23813"/>
            </a:xfrm>
            <a:custGeom>
              <a:avLst/>
              <a:gdLst>
                <a:gd name="T0" fmla="*/ 16 w 16"/>
                <a:gd name="T1" fmla="*/ 4 h 15"/>
                <a:gd name="T2" fmla="*/ 1 w 16"/>
                <a:gd name="T3" fmla="*/ 15 h 15"/>
                <a:gd name="T4" fmla="*/ 0 w 16"/>
                <a:gd name="T5" fmla="*/ 11 h 15"/>
                <a:gd name="T6" fmla="*/ 14 w 16"/>
                <a:gd name="T7" fmla="*/ 0 h 15"/>
                <a:gd name="T8" fmla="*/ 16 w 16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CA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21">
              <a:extLst>
                <a:ext uri="{FF2B5EF4-FFF2-40B4-BE49-F238E27FC236}">
                  <a16:creationId xmlns:a16="http://schemas.microsoft.com/office/drawing/2014/main" id="{963DC246-A006-4DCF-A071-253A0474D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4425" y="3519488"/>
              <a:ext cx="25400" cy="22225"/>
            </a:xfrm>
            <a:custGeom>
              <a:avLst/>
              <a:gdLst>
                <a:gd name="T0" fmla="*/ 16 w 16"/>
                <a:gd name="T1" fmla="*/ 3 h 14"/>
                <a:gd name="T2" fmla="*/ 1 w 16"/>
                <a:gd name="T3" fmla="*/ 14 h 14"/>
                <a:gd name="T4" fmla="*/ 0 w 16"/>
                <a:gd name="T5" fmla="*/ 11 h 14"/>
                <a:gd name="T6" fmla="*/ 15 w 16"/>
                <a:gd name="T7" fmla="*/ 0 h 14"/>
                <a:gd name="T8" fmla="*/ 16 w 16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3"/>
                  </a:moveTo>
                  <a:lnTo>
                    <a:pt x="1" y="14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6" y="3"/>
                  </a:lnTo>
                  <a:close/>
                </a:path>
              </a:pathLst>
            </a:custGeom>
            <a:solidFill>
              <a:srgbClr val="E68B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22">
              <a:extLst>
                <a:ext uri="{FF2B5EF4-FFF2-40B4-BE49-F238E27FC236}">
                  <a16:creationId xmlns:a16="http://schemas.microsoft.com/office/drawing/2014/main" id="{676B4274-BD0F-4CBC-B5B2-227CA324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5850" y="3541713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1 w 16"/>
                <a:gd name="T3" fmla="*/ 14 h 14"/>
                <a:gd name="T4" fmla="*/ 0 w 16"/>
                <a:gd name="T5" fmla="*/ 10 h 14"/>
                <a:gd name="T6" fmla="*/ 15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15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E39E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23">
              <a:extLst>
                <a:ext uri="{FF2B5EF4-FFF2-40B4-BE49-F238E27FC236}">
                  <a16:creationId xmlns:a16="http://schemas.microsoft.com/office/drawing/2014/main" id="{7C75FA3E-26B3-4C74-B513-6C618AD3C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1875" y="3592513"/>
              <a:ext cx="25400" cy="22225"/>
            </a:xfrm>
            <a:custGeom>
              <a:avLst/>
              <a:gdLst>
                <a:gd name="T0" fmla="*/ 16 w 16"/>
                <a:gd name="T1" fmla="*/ 4 h 14"/>
                <a:gd name="T2" fmla="*/ 2 w 16"/>
                <a:gd name="T3" fmla="*/ 14 h 14"/>
                <a:gd name="T4" fmla="*/ 0 w 16"/>
                <a:gd name="T5" fmla="*/ 11 h 14"/>
                <a:gd name="T6" fmla="*/ 14 w 16"/>
                <a:gd name="T7" fmla="*/ 0 h 14"/>
                <a:gd name="T8" fmla="*/ 16 w 16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2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E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24">
              <a:extLst>
                <a:ext uri="{FF2B5EF4-FFF2-40B4-BE49-F238E27FC236}">
                  <a16:creationId xmlns:a16="http://schemas.microsoft.com/office/drawing/2014/main" id="{0DAAA780-59AE-458A-BD71-2955C208C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0450" y="3570288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2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CCC7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25">
              <a:extLst>
                <a:ext uri="{FF2B5EF4-FFF2-40B4-BE49-F238E27FC236}">
                  <a16:creationId xmlns:a16="http://schemas.microsoft.com/office/drawing/2014/main" id="{635FAE51-2045-47DB-ABB6-B8832FBFC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7600" y="3527426"/>
              <a:ext cx="23813" cy="23813"/>
            </a:xfrm>
            <a:custGeom>
              <a:avLst/>
              <a:gdLst>
                <a:gd name="T0" fmla="*/ 15 w 15"/>
                <a:gd name="T1" fmla="*/ 4 h 15"/>
                <a:gd name="T2" fmla="*/ 1 w 15"/>
                <a:gd name="T3" fmla="*/ 15 h 15"/>
                <a:gd name="T4" fmla="*/ 0 w 15"/>
                <a:gd name="T5" fmla="*/ 11 h 15"/>
                <a:gd name="T6" fmla="*/ 14 w 15"/>
                <a:gd name="T7" fmla="*/ 0 h 15"/>
                <a:gd name="T8" fmla="*/ 15 w 15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4"/>
                  </a:moveTo>
                  <a:lnTo>
                    <a:pt x="1" y="15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6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26">
              <a:extLst>
                <a:ext uri="{FF2B5EF4-FFF2-40B4-BE49-F238E27FC236}">
                  <a16:creationId xmlns:a16="http://schemas.microsoft.com/office/drawing/2014/main" id="{5AE8E328-48AB-45AB-A7AE-7EE5B04367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9025" y="3549651"/>
              <a:ext cx="23813" cy="22225"/>
            </a:xfrm>
            <a:custGeom>
              <a:avLst/>
              <a:gdLst>
                <a:gd name="T0" fmla="*/ 15 w 15"/>
                <a:gd name="T1" fmla="*/ 4 h 14"/>
                <a:gd name="T2" fmla="*/ 1 w 15"/>
                <a:gd name="T3" fmla="*/ 14 h 14"/>
                <a:gd name="T4" fmla="*/ 0 w 15"/>
                <a:gd name="T5" fmla="*/ 11 h 14"/>
                <a:gd name="T6" fmla="*/ 14 w 15"/>
                <a:gd name="T7" fmla="*/ 0 h 14"/>
                <a:gd name="T8" fmla="*/ 15 w 15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15" y="4"/>
                  </a:moveTo>
                  <a:lnTo>
                    <a:pt x="1" y="14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E39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27">
              <a:extLst>
                <a:ext uri="{FF2B5EF4-FFF2-40B4-BE49-F238E27FC236}">
                  <a16:creationId xmlns:a16="http://schemas.microsoft.com/office/drawing/2014/main" id="{D319F6EA-9460-43FD-AD85-AAAD443A9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3489326"/>
              <a:ext cx="7938" cy="7938"/>
            </a:xfrm>
            <a:custGeom>
              <a:avLst/>
              <a:gdLst>
                <a:gd name="T0" fmla="*/ 5 w 5"/>
                <a:gd name="T1" fmla="*/ 2 h 5"/>
                <a:gd name="T2" fmla="*/ 0 w 5"/>
                <a:gd name="T3" fmla="*/ 5 h 5"/>
                <a:gd name="T4" fmla="*/ 0 w 5"/>
                <a:gd name="T5" fmla="*/ 3 h 5"/>
                <a:gd name="T6" fmla="*/ 5 w 5"/>
                <a:gd name="T7" fmla="*/ 0 h 5"/>
                <a:gd name="T8" fmla="*/ 5 w 5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5" y="2"/>
                  </a:moveTo>
                  <a:lnTo>
                    <a:pt x="0" y="5"/>
                  </a:lnTo>
                  <a:lnTo>
                    <a:pt x="0" y="3"/>
                  </a:lnTo>
                  <a:lnTo>
                    <a:pt x="5" y="0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28">
              <a:extLst>
                <a:ext uri="{FF2B5EF4-FFF2-40B4-BE49-F238E27FC236}">
                  <a16:creationId xmlns:a16="http://schemas.microsoft.com/office/drawing/2014/main" id="{AF6BDD5D-060D-45F9-9F95-2F67E3521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3490913"/>
              <a:ext cx="4763" cy="4763"/>
            </a:xfrm>
            <a:custGeom>
              <a:avLst/>
              <a:gdLst>
                <a:gd name="T0" fmla="*/ 1 w 3"/>
                <a:gd name="T1" fmla="*/ 3 h 3"/>
                <a:gd name="T2" fmla="*/ 0 w 3"/>
                <a:gd name="T3" fmla="*/ 3 h 3"/>
                <a:gd name="T4" fmla="*/ 0 w 3"/>
                <a:gd name="T5" fmla="*/ 3 h 3"/>
                <a:gd name="T6" fmla="*/ 3 w 3"/>
                <a:gd name="T7" fmla="*/ 0 h 3"/>
                <a:gd name="T8" fmla="*/ 3 w 3"/>
                <a:gd name="T9" fmla="*/ 0 h 3"/>
                <a:gd name="T10" fmla="*/ 3 w 3"/>
                <a:gd name="T11" fmla="*/ 0 h 3"/>
                <a:gd name="T12" fmla="*/ 1 w 3"/>
                <a:gd name="T13" fmla="*/ 3 h 3"/>
                <a:gd name="T14" fmla="*/ 1 w 3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3"/>
                  </a:lnTo>
                  <a:lnTo>
                    <a:pt x="1" y="3"/>
                  </a:lnTo>
                  <a:close/>
                </a:path>
              </a:pathLst>
            </a:custGeom>
            <a:solidFill>
              <a:srgbClr val="4849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629">
              <a:extLst>
                <a:ext uri="{FF2B5EF4-FFF2-40B4-BE49-F238E27FC236}">
                  <a16:creationId xmlns:a16="http://schemas.microsoft.com/office/drawing/2014/main" id="{451361B5-F0C6-447C-9DB5-1D230D128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3492501"/>
              <a:ext cx="4763" cy="1588"/>
            </a:xfrm>
            <a:custGeom>
              <a:avLst/>
              <a:gdLst>
                <a:gd name="T0" fmla="*/ 3 w 3"/>
                <a:gd name="T1" fmla="*/ 0 h 1"/>
                <a:gd name="T2" fmla="*/ 3 w 3"/>
                <a:gd name="T3" fmla="*/ 1 h 1"/>
                <a:gd name="T4" fmla="*/ 0 w 3"/>
                <a:gd name="T5" fmla="*/ 1 h 1"/>
                <a:gd name="T6" fmla="*/ 0 w 3"/>
                <a:gd name="T7" fmla="*/ 1 h 1"/>
                <a:gd name="T8" fmla="*/ 1 w 3"/>
                <a:gd name="T9" fmla="*/ 1 h 1"/>
                <a:gd name="T10" fmla="*/ 3 w 3"/>
                <a:gd name="T11" fmla="*/ 0 h 1"/>
                <a:gd name="T12" fmla="*/ 3 w 3"/>
                <a:gd name="T13" fmla="*/ 0 h 1"/>
                <a:gd name="T14" fmla="*/ 3 w 3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lnTo>
                    <a:pt x="3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4849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630">
              <a:extLst>
                <a:ext uri="{FF2B5EF4-FFF2-40B4-BE49-F238E27FC236}">
                  <a16:creationId xmlns:a16="http://schemas.microsoft.com/office/drawing/2014/main" id="{398C4447-9083-4DB6-BC77-B9CA5FE9D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175" y="3330576"/>
              <a:ext cx="657225" cy="504825"/>
            </a:xfrm>
            <a:custGeom>
              <a:avLst/>
              <a:gdLst>
                <a:gd name="T0" fmla="*/ 718 w 756"/>
                <a:gd name="T1" fmla="*/ 21 h 583"/>
                <a:gd name="T2" fmla="*/ 27 w 756"/>
                <a:gd name="T3" fmla="*/ 550 h 583"/>
                <a:gd name="T4" fmla="*/ 1 w 756"/>
                <a:gd name="T5" fmla="*/ 583 h 583"/>
                <a:gd name="T6" fmla="*/ 756 w 756"/>
                <a:gd name="T7" fmla="*/ 5 h 583"/>
                <a:gd name="T8" fmla="*/ 718 w 756"/>
                <a:gd name="T9" fmla="*/ 21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6" h="583">
                  <a:moveTo>
                    <a:pt x="718" y="21"/>
                  </a:moveTo>
                  <a:cubicBezTo>
                    <a:pt x="27" y="550"/>
                    <a:pt x="27" y="550"/>
                    <a:pt x="27" y="550"/>
                  </a:cubicBezTo>
                  <a:cubicBezTo>
                    <a:pt x="14" y="560"/>
                    <a:pt x="0" y="567"/>
                    <a:pt x="1" y="583"/>
                  </a:cubicBezTo>
                  <a:cubicBezTo>
                    <a:pt x="756" y="5"/>
                    <a:pt x="756" y="5"/>
                    <a:pt x="756" y="5"/>
                  </a:cubicBezTo>
                  <a:cubicBezTo>
                    <a:pt x="741" y="0"/>
                    <a:pt x="731" y="11"/>
                    <a:pt x="718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31">
              <a:extLst>
                <a:ext uri="{FF2B5EF4-FFF2-40B4-BE49-F238E27FC236}">
                  <a16:creationId xmlns:a16="http://schemas.microsoft.com/office/drawing/2014/main" id="{03531EE7-D46C-4161-9530-DC499F742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8063" y="3836988"/>
              <a:ext cx="176213" cy="161925"/>
            </a:xfrm>
            <a:custGeom>
              <a:avLst/>
              <a:gdLst>
                <a:gd name="T0" fmla="*/ 111 w 111"/>
                <a:gd name="T1" fmla="*/ 40 h 102"/>
                <a:gd name="T2" fmla="*/ 31 w 111"/>
                <a:gd name="T3" fmla="*/ 102 h 102"/>
                <a:gd name="T4" fmla="*/ 0 w 111"/>
                <a:gd name="T5" fmla="*/ 61 h 102"/>
                <a:gd name="T6" fmla="*/ 80 w 111"/>
                <a:gd name="T7" fmla="*/ 0 h 102"/>
                <a:gd name="T8" fmla="*/ 111 w 111"/>
                <a:gd name="T9" fmla="*/ 4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02">
                  <a:moveTo>
                    <a:pt x="111" y="40"/>
                  </a:moveTo>
                  <a:lnTo>
                    <a:pt x="31" y="102"/>
                  </a:lnTo>
                  <a:lnTo>
                    <a:pt x="0" y="61"/>
                  </a:lnTo>
                  <a:lnTo>
                    <a:pt x="80" y="0"/>
                  </a:lnTo>
                  <a:lnTo>
                    <a:pt x="111" y="4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632">
              <a:extLst>
                <a:ext uri="{FF2B5EF4-FFF2-40B4-BE49-F238E27FC236}">
                  <a16:creationId xmlns:a16="http://schemas.microsoft.com/office/drawing/2014/main" id="{DFF6CF30-4281-46B8-89A4-D9E9633B7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0738" y="4129088"/>
              <a:ext cx="403225" cy="577850"/>
            </a:xfrm>
            <a:custGeom>
              <a:avLst/>
              <a:gdLst>
                <a:gd name="T0" fmla="*/ 293 w 464"/>
                <a:gd name="T1" fmla="*/ 478 h 665"/>
                <a:gd name="T2" fmla="*/ 70 w 464"/>
                <a:gd name="T3" fmla="*/ 26 h 665"/>
                <a:gd name="T4" fmla="*/ 62 w 464"/>
                <a:gd name="T5" fmla="*/ 0 h 665"/>
                <a:gd name="T6" fmla="*/ 0 w 464"/>
                <a:gd name="T7" fmla="*/ 20 h 665"/>
                <a:gd name="T8" fmla="*/ 143 w 464"/>
                <a:gd name="T9" fmla="*/ 573 h 665"/>
                <a:gd name="T10" fmla="*/ 411 w 464"/>
                <a:gd name="T11" fmla="*/ 641 h 665"/>
                <a:gd name="T12" fmla="*/ 293 w 464"/>
                <a:gd name="T13" fmla="*/ 478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4" h="665">
                  <a:moveTo>
                    <a:pt x="293" y="478"/>
                  </a:moveTo>
                  <a:cubicBezTo>
                    <a:pt x="293" y="478"/>
                    <a:pt x="126" y="140"/>
                    <a:pt x="70" y="26"/>
                  </a:cubicBezTo>
                  <a:cubicBezTo>
                    <a:pt x="66" y="18"/>
                    <a:pt x="63" y="9"/>
                    <a:pt x="62" y="0"/>
                  </a:cubicBezTo>
                  <a:cubicBezTo>
                    <a:pt x="41" y="6"/>
                    <a:pt x="20" y="11"/>
                    <a:pt x="0" y="20"/>
                  </a:cubicBezTo>
                  <a:cubicBezTo>
                    <a:pt x="44" y="209"/>
                    <a:pt x="125" y="551"/>
                    <a:pt x="143" y="573"/>
                  </a:cubicBezTo>
                  <a:cubicBezTo>
                    <a:pt x="203" y="644"/>
                    <a:pt x="276" y="665"/>
                    <a:pt x="411" y="641"/>
                  </a:cubicBezTo>
                  <a:cubicBezTo>
                    <a:pt x="462" y="631"/>
                    <a:pt x="464" y="511"/>
                    <a:pt x="293" y="478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633">
              <a:extLst>
                <a:ext uri="{FF2B5EF4-FFF2-40B4-BE49-F238E27FC236}">
                  <a16:creationId xmlns:a16="http://schemas.microsoft.com/office/drawing/2014/main" id="{EB889C93-F9D8-4A34-B5AE-D20C1FD40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2488" y="3984626"/>
              <a:ext cx="60325" cy="120650"/>
            </a:xfrm>
            <a:custGeom>
              <a:avLst/>
              <a:gdLst>
                <a:gd name="T0" fmla="*/ 0 w 69"/>
                <a:gd name="T1" fmla="*/ 64 h 139"/>
                <a:gd name="T2" fmla="*/ 56 w 69"/>
                <a:gd name="T3" fmla="*/ 3 h 139"/>
                <a:gd name="T4" fmla="*/ 65 w 69"/>
                <a:gd name="T5" fmla="*/ 15 h 139"/>
                <a:gd name="T6" fmla="*/ 25 w 69"/>
                <a:gd name="T7" fmla="*/ 139 h 139"/>
                <a:gd name="T8" fmla="*/ 0 w 69"/>
                <a:gd name="T9" fmla="*/ 64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39">
                  <a:moveTo>
                    <a:pt x="0" y="64"/>
                  </a:moveTo>
                  <a:cubicBezTo>
                    <a:pt x="56" y="3"/>
                    <a:pt x="56" y="3"/>
                    <a:pt x="56" y="3"/>
                  </a:cubicBezTo>
                  <a:cubicBezTo>
                    <a:pt x="63" y="0"/>
                    <a:pt x="69" y="8"/>
                    <a:pt x="65" y="15"/>
                  </a:cubicBezTo>
                  <a:cubicBezTo>
                    <a:pt x="25" y="139"/>
                    <a:pt x="25" y="139"/>
                    <a:pt x="25" y="139"/>
                  </a:cubicBezTo>
                  <a:lnTo>
                    <a:pt x="0" y="6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34">
              <a:extLst>
                <a:ext uri="{FF2B5EF4-FFF2-40B4-BE49-F238E27FC236}">
                  <a16:creationId xmlns:a16="http://schemas.microsoft.com/office/drawing/2014/main" id="{DC216905-5A27-4939-A250-36C96EF56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825" y="3862388"/>
              <a:ext cx="128588" cy="325438"/>
            </a:xfrm>
            <a:custGeom>
              <a:avLst/>
              <a:gdLst>
                <a:gd name="T0" fmla="*/ 76 w 147"/>
                <a:gd name="T1" fmla="*/ 364 h 375"/>
                <a:gd name="T2" fmla="*/ 4 w 147"/>
                <a:gd name="T3" fmla="*/ 188 h 375"/>
                <a:gd name="T4" fmla="*/ 21 w 147"/>
                <a:gd name="T5" fmla="*/ 71 h 375"/>
                <a:gd name="T6" fmla="*/ 100 w 147"/>
                <a:gd name="T7" fmla="*/ 12 h 375"/>
                <a:gd name="T8" fmla="*/ 118 w 147"/>
                <a:gd name="T9" fmla="*/ 196 h 375"/>
                <a:gd name="T10" fmla="*/ 139 w 147"/>
                <a:gd name="T11" fmla="*/ 264 h 375"/>
                <a:gd name="T12" fmla="*/ 132 w 147"/>
                <a:gd name="T13" fmla="*/ 310 h 375"/>
                <a:gd name="T14" fmla="*/ 141 w 147"/>
                <a:gd name="T15" fmla="*/ 375 h 375"/>
                <a:gd name="T16" fmla="*/ 76 w 147"/>
                <a:gd name="T17" fmla="*/ 36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375">
                  <a:moveTo>
                    <a:pt x="76" y="364"/>
                  </a:moveTo>
                  <a:cubicBezTo>
                    <a:pt x="76" y="364"/>
                    <a:pt x="9" y="235"/>
                    <a:pt x="4" y="188"/>
                  </a:cubicBezTo>
                  <a:cubicBezTo>
                    <a:pt x="0" y="152"/>
                    <a:pt x="21" y="71"/>
                    <a:pt x="21" y="71"/>
                  </a:cubicBezTo>
                  <a:cubicBezTo>
                    <a:pt x="24" y="65"/>
                    <a:pt x="85" y="0"/>
                    <a:pt x="100" y="12"/>
                  </a:cubicBezTo>
                  <a:cubicBezTo>
                    <a:pt x="139" y="42"/>
                    <a:pt x="118" y="196"/>
                    <a:pt x="118" y="196"/>
                  </a:cubicBezTo>
                  <a:cubicBezTo>
                    <a:pt x="118" y="196"/>
                    <a:pt x="147" y="237"/>
                    <a:pt x="139" y="264"/>
                  </a:cubicBezTo>
                  <a:cubicBezTo>
                    <a:pt x="132" y="310"/>
                    <a:pt x="132" y="310"/>
                    <a:pt x="132" y="310"/>
                  </a:cubicBezTo>
                  <a:cubicBezTo>
                    <a:pt x="141" y="375"/>
                    <a:pt x="141" y="375"/>
                    <a:pt x="141" y="375"/>
                  </a:cubicBezTo>
                  <a:lnTo>
                    <a:pt x="76" y="36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35">
              <a:extLst>
                <a:ext uri="{FF2B5EF4-FFF2-40B4-BE49-F238E27FC236}">
                  <a16:creationId xmlns:a16="http://schemas.microsoft.com/office/drawing/2014/main" id="{C3923817-D74E-4B33-8C58-146872B63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2125" y="1884363"/>
              <a:ext cx="125413" cy="74613"/>
            </a:xfrm>
            <a:custGeom>
              <a:avLst/>
              <a:gdLst>
                <a:gd name="T0" fmla="*/ 102 w 143"/>
                <a:gd name="T1" fmla="*/ 80 h 85"/>
                <a:gd name="T2" fmla="*/ 8 w 143"/>
                <a:gd name="T3" fmla="*/ 85 h 85"/>
                <a:gd name="T4" fmla="*/ 10 w 143"/>
                <a:gd name="T5" fmla="*/ 67 h 85"/>
                <a:gd name="T6" fmla="*/ 143 w 143"/>
                <a:gd name="T7" fmla="*/ 0 h 85"/>
                <a:gd name="T8" fmla="*/ 102 w 143"/>
                <a:gd name="T9" fmla="*/ 8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85">
                  <a:moveTo>
                    <a:pt x="102" y="80"/>
                  </a:moveTo>
                  <a:cubicBezTo>
                    <a:pt x="8" y="85"/>
                    <a:pt x="8" y="85"/>
                    <a:pt x="8" y="85"/>
                  </a:cubicBezTo>
                  <a:cubicBezTo>
                    <a:pt x="0" y="81"/>
                    <a:pt x="2" y="69"/>
                    <a:pt x="10" y="67"/>
                  </a:cubicBezTo>
                  <a:cubicBezTo>
                    <a:pt x="143" y="0"/>
                    <a:pt x="143" y="0"/>
                    <a:pt x="143" y="0"/>
                  </a:cubicBezTo>
                  <a:lnTo>
                    <a:pt x="102" y="8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36">
              <a:extLst>
                <a:ext uri="{FF2B5EF4-FFF2-40B4-BE49-F238E27FC236}">
                  <a16:creationId xmlns:a16="http://schemas.microsoft.com/office/drawing/2014/main" id="{7426A101-A58E-46C2-B49A-4FE6C36D8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00" y="1812926"/>
              <a:ext cx="269875" cy="300038"/>
            </a:xfrm>
            <a:custGeom>
              <a:avLst/>
              <a:gdLst>
                <a:gd name="T0" fmla="*/ 310 w 310"/>
                <a:gd name="T1" fmla="*/ 62 h 347"/>
                <a:gd name="T2" fmla="*/ 227 w 310"/>
                <a:gd name="T3" fmla="*/ 262 h 347"/>
                <a:gd name="T4" fmla="*/ 119 w 310"/>
                <a:gd name="T5" fmla="*/ 341 h 347"/>
                <a:gd name="T6" fmla="*/ 7 w 310"/>
                <a:gd name="T7" fmla="*/ 325 h 347"/>
                <a:gd name="T8" fmla="*/ 141 w 310"/>
                <a:gd name="T9" fmla="*/ 163 h 347"/>
                <a:gd name="T10" fmla="*/ 179 w 310"/>
                <a:gd name="T11" fmla="*/ 91 h 347"/>
                <a:gd name="T12" fmla="*/ 222 w 310"/>
                <a:gd name="T13" fmla="*/ 60 h 347"/>
                <a:gd name="T14" fmla="*/ 266 w 310"/>
                <a:gd name="T15" fmla="*/ 0 h 347"/>
                <a:gd name="T16" fmla="*/ 310 w 310"/>
                <a:gd name="T17" fmla="*/ 6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0" h="347">
                  <a:moveTo>
                    <a:pt x="310" y="62"/>
                  </a:moveTo>
                  <a:cubicBezTo>
                    <a:pt x="310" y="62"/>
                    <a:pt x="261" y="219"/>
                    <a:pt x="227" y="262"/>
                  </a:cubicBezTo>
                  <a:cubicBezTo>
                    <a:pt x="201" y="293"/>
                    <a:pt x="119" y="341"/>
                    <a:pt x="119" y="341"/>
                  </a:cubicBezTo>
                  <a:cubicBezTo>
                    <a:pt x="112" y="343"/>
                    <a:pt x="10" y="347"/>
                    <a:pt x="7" y="325"/>
                  </a:cubicBezTo>
                  <a:cubicBezTo>
                    <a:pt x="0" y="270"/>
                    <a:pt x="141" y="163"/>
                    <a:pt x="141" y="163"/>
                  </a:cubicBezTo>
                  <a:cubicBezTo>
                    <a:pt x="141" y="163"/>
                    <a:pt x="151" y="107"/>
                    <a:pt x="179" y="91"/>
                  </a:cubicBezTo>
                  <a:cubicBezTo>
                    <a:pt x="222" y="60"/>
                    <a:pt x="222" y="60"/>
                    <a:pt x="222" y="60"/>
                  </a:cubicBezTo>
                  <a:cubicBezTo>
                    <a:pt x="266" y="0"/>
                    <a:pt x="266" y="0"/>
                    <a:pt x="266" y="0"/>
                  </a:cubicBezTo>
                  <a:lnTo>
                    <a:pt x="310" y="62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37">
              <a:extLst>
                <a:ext uri="{FF2B5EF4-FFF2-40B4-BE49-F238E27FC236}">
                  <a16:creationId xmlns:a16="http://schemas.microsoft.com/office/drawing/2014/main" id="{B39A04E4-C18F-40C2-A08C-09B14B453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50" y="2178051"/>
              <a:ext cx="53975" cy="130175"/>
            </a:xfrm>
            <a:custGeom>
              <a:avLst/>
              <a:gdLst>
                <a:gd name="T0" fmla="*/ 62 w 62"/>
                <a:gd name="T1" fmla="*/ 57 h 150"/>
                <a:gd name="T2" fmla="*/ 43 w 62"/>
                <a:gd name="T3" fmla="*/ 144 h 150"/>
                <a:gd name="T4" fmla="*/ 28 w 62"/>
                <a:gd name="T5" fmla="*/ 137 h 150"/>
                <a:gd name="T6" fmla="*/ 0 w 62"/>
                <a:gd name="T7" fmla="*/ 0 h 150"/>
                <a:gd name="T8" fmla="*/ 62 w 62"/>
                <a:gd name="T9" fmla="*/ 5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50">
                  <a:moveTo>
                    <a:pt x="62" y="57"/>
                  </a:moveTo>
                  <a:cubicBezTo>
                    <a:pt x="43" y="144"/>
                    <a:pt x="43" y="144"/>
                    <a:pt x="43" y="144"/>
                  </a:cubicBezTo>
                  <a:cubicBezTo>
                    <a:pt x="37" y="150"/>
                    <a:pt x="27" y="146"/>
                    <a:pt x="28" y="13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2" y="57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38">
              <a:extLst>
                <a:ext uri="{FF2B5EF4-FFF2-40B4-BE49-F238E27FC236}">
                  <a16:creationId xmlns:a16="http://schemas.microsoft.com/office/drawing/2014/main" id="{01117919-1C8D-4BA7-896A-2781C973E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3863" y="2085976"/>
              <a:ext cx="236538" cy="296863"/>
            </a:xfrm>
            <a:custGeom>
              <a:avLst/>
              <a:gdLst>
                <a:gd name="T0" fmla="*/ 66 w 272"/>
                <a:gd name="T1" fmla="*/ 0 h 344"/>
                <a:gd name="T2" fmla="*/ 227 w 272"/>
                <a:gd name="T3" fmla="*/ 126 h 344"/>
                <a:gd name="T4" fmla="*/ 272 w 272"/>
                <a:gd name="T5" fmla="*/ 243 h 344"/>
                <a:gd name="T6" fmla="*/ 230 w 272"/>
                <a:gd name="T7" fmla="*/ 341 h 344"/>
                <a:gd name="T8" fmla="*/ 116 w 272"/>
                <a:gd name="T9" fmla="*/ 178 h 344"/>
                <a:gd name="T10" fmla="*/ 60 w 272"/>
                <a:gd name="T11" fmla="*/ 126 h 344"/>
                <a:gd name="T12" fmla="*/ 43 w 272"/>
                <a:gd name="T13" fmla="*/ 80 h 344"/>
                <a:gd name="T14" fmla="*/ 0 w 272"/>
                <a:gd name="T15" fmla="*/ 24 h 344"/>
                <a:gd name="T16" fmla="*/ 66 w 272"/>
                <a:gd name="T17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44">
                  <a:moveTo>
                    <a:pt x="66" y="0"/>
                  </a:moveTo>
                  <a:cubicBezTo>
                    <a:pt x="66" y="0"/>
                    <a:pt x="197" y="84"/>
                    <a:pt x="227" y="126"/>
                  </a:cubicBezTo>
                  <a:cubicBezTo>
                    <a:pt x="249" y="156"/>
                    <a:pt x="272" y="243"/>
                    <a:pt x="272" y="243"/>
                  </a:cubicBezTo>
                  <a:cubicBezTo>
                    <a:pt x="272" y="250"/>
                    <a:pt x="250" y="344"/>
                    <a:pt x="230" y="341"/>
                  </a:cubicBezTo>
                  <a:cubicBezTo>
                    <a:pt x="178" y="333"/>
                    <a:pt x="116" y="178"/>
                    <a:pt x="116" y="178"/>
                  </a:cubicBezTo>
                  <a:cubicBezTo>
                    <a:pt x="116" y="178"/>
                    <a:pt x="67" y="156"/>
                    <a:pt x="60" y="126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0" y="24"/>
                    <a:pt x="0" y="24"/>
                    <a:pt x="0" y="24"/>
                  </a:cubicBezTo>
                  <a:lnTo>
                    <a:pt x="66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639">
              <a:extLst>
                <a:ext uri="{FF2B5EF4-FFF2-40B4-BE49-F238E27FC236}">
                  <a16:creationId xmlns:a16="http://schemas.microsoft.com/office/drawing/2014/main" id="{629DDDCB-389A-4C3F-B8C2-B1975DE17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300" y="3663951"/>
              <a:ext cx="136525" cy="68263"/>
            </a:xfrm>
            <a:custGeom>
              <a:avLst/>
              <a:gdLst>
                <a:gd name="T0" fmla="*/ 84 w 157"/>
                <a:gd name="T1" fmla="*/ 0 h 79"/>
                <a:gd name="T2" fmla="*/ 155 w 157"/>
                <a:gd name="T3" fmla="*/ 63 h 79"/>
                <a:gd name="T4" fmla="*/ 141 w 157"/>
                <a:gd name="T5" fmla="*/ 74 h 79"/>
                <a:gd name="T6" fmla="*/ 0 w 157"/>
                <a:gd name="T7" fmla="*/ 28 h 79"/>
                <a:gd name="T8" fmla="*/ 84 w 157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79">
                  <a:moveTo>
                    <a:pt x="84" y="0"/>
                  </a:moveTo>
                  <a:cubicBezTo>
                    <a:pt x="155" y="63"/>
                    <a:pt x="155" y="63"/>
                    <a:pt x="155" y="63"/>
                  </a:cubicBezTo>
                  <a:cubicBezTo>
                    <a:pt x="157" y="72"/>
                    <a:pt x="148" y="79"/>
                    <a:pt x="141" y="74"/>
                  </a:cubicBezTo>
                  <a:cubicBezTo>
                    <a:pt x="0" y="28"/>
                    <a:pt x="0" y="28"/>
                    <a:pt x="0" y="28"/>
                  </a:cubicBezTo>
                  <a:lnTo>
                    <a:pt x="84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640">
              <a:extLst>
                <a:ext uri="{FF2B5EF4-FFF2-40B4-BE49-F238E27FC236}">
                  <a16:creationId xmlns:a16="http://schemas.microsoft.com/office/drawing/2014/main" id="{7D37F57B-F65F-47C1-B204-0BE47F5BA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8638" y="3557588"/>
              <a:ext cx="369888" cy="144463"/>
            </a:xfrm>
            <a:custGeom>
              <a:avLst/>
              <a:gdLst>
                <a:gd name="T0" fmla="*/ 12 w 427"/>
                <a:gd name="T1" fmla="*/ 86 h 167"/>
                <a:gd name="T2" fmla="*/ 213 w 427"/>
                <a:gd name="T3" fmla="*/ 4 h 167"/>
                <a:gd name="T4" fmla="*/ 346 w 427"/>
                <a:gd name="T5" fmla="*/ 24 h 167"/>
                <a:gd name="T6" fmla="*/ 413 w 427"/>
                <a:gd name="T7" fmla="*/ 114 h 167"/>
                <a:gd name="T8" fmla="*/ 203 w 427"/>
                <a:gd name="T9" fmla="*/ 135 h 167"/>
                <a:gd name="T10" fmla="*/ 125 w 427"/>
                <a:gd name="T11" fmla="*/ 159 h 167"/>
                <a:gd name="T12" fmla="*/ 74 w 427"/>
                <a:gd name="T13" fmla="*/ 150 h 167"/>
                <a:gd name="T14" fmla="*/ 0 w 427"/>
                <a:gd name="T15" fmla="*/ 161 h 167"/>
                <a:gd name="T16" fmla="*/ 12 w 427"/>
                <a:gd name="T17" fmla="*/ 86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7" h="167">
                  <a:moveTo>
                    <a:pt x="12" y="86"/>
                  </a:moveTo>
                  <a:cubicBezTo>
                    <a:pt x="12" y="86"/>
                    <a:pt x="159" y="10"/>
                    <a:pt x="213" y="4"/>
                  </a:cubicBezTo>
                  <a:cubicBezTo>
                    <a:pt x="253" y="0"/>
                    <a:pt x="346" y="24"/>
                    <a:pt x="346" y="24"/>
                  </a:cubicBezTo>
                  <a:cubicBezTo>
                    <a:pt x="352" y="28"/>
                    <a:pt x="427" y="97"/>
                    <a:pt x="413" y="114"/>
                  </a:cubicBezTo>
                  <a:cubicBezTo>
                    <a:pt x="379" y="159"/>
                    <a:pt x="203" y="135"/>
                    <a:pt x="203" y="135"/>
                  </a:cubicBezTo>
                  <a:cubicBezTo>
                    <a:pt x="203" y="135"/>
                    <a:pt x="157" y="167"/>
                    <a:pt x="125" y="159"/>
                  </a:cubicBezTo>
                  <a:cubicBezTo>
                    <a:pt x="74" y="150"/>
                    <a:pt x="74" y="150"/>
                    <a:pt x="74" y="150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12" y="86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641">
              <a:extLst>
                <a:ext uri="{FF2B5EF4-FFF2-40B4-BE49-F238E27FC236}">
                  <a16:creationId xmlns:a16="http://schemas.microsoft.com/office/drawing/2014/main" id="{5EAD9F2B-E034-48BD-A535-033A20B88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8675" y="3889376"/>
              <a:ext cx="79375" cy="123825"/>
            </a:xfrm>
            <a:custGeom>
              <a:avLst/>
              <a:gdLst>
                <a:gd name="T0" fmla="*/ 91 w 91"/>
                <a:gd name="T1" fmla="*/ 55 h 143"/>
                <a:gd name="T2" fmla="*/ 14 w 91"/>
                <a:gd name="T3" fmla="*/ 0 h 143"/>
                <a:gd name="T4" fmla="*/ 6 w 91"/>
                <a:gd name="T5" fmla="*/ 16 h 143"/>
                <a:gd name="T6" fmla="*/ 83 w 91"/>
                <a:gd name="T7" fmla="*/ 143 h 143"/>
                <a:gd name="T8" fmla="*/ 91 w 91"/>
                <a:gd name="T9" fmla="*/ 5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43">
                  <a:moveTo>
                    <a:pt x="91" y="55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5" y="0"/>
                    <a:pt x="0" y="10"/>
                    <a:pt x="6" y="16"/>
                  </a:cubicBezTo>
                  <a:cubicBezTo>
                    <a:pt x="83" y="143"/>
                    <a:pt x="83" y="143"/>
                    <a:pt x="83" y="143"/>
                  </a:cubicBezTo>
                  <a:lnTo>
                    <a:pt x="91" y="5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642">
              <a:extLst>
                <a:ext uri="{FF2B5EF4-FFF2-40B4-BE49-F238E27FC236}">
                  <a16:creationId xmlns:a16="http://schemas.microsoft.com/office/drawing/2014/main" id="{C156ADCF-6464-4258-AFE9-156634CFA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9788" y="3733801"/>
              <a:ext cx="169863" cy="373063"/>
            </a:xfrm>
            <a:custGeom>
              <a:avLst/>
              <a:gdLst>
                <a:gd name="T0" fmla="*/ 154 w 195"/>
                <a:gd name="T1" fmla="*/ 401 h 430"/>
                <a:gd name="T2" fmla="*/ 188 w 195"/>
                <a:gd name="T3" fmla="*/ 187 h 430"/>
                <a:gd name="T4" fmla="*/ 139 w 195"/>
                <a:gd name="T5" fmla="*/ 62 h 430"/>
                <a:gd name="T6" fmla="*/ 36 w 195"/>
                <a:gd name="T7" fmla="*/ 17 h 430"/>
                <a:gd name="T8" fmla="*/ 64 w 195"/>
                <a:gd name="T9" fmla="*/ 226 h 430"/>
                <a:gd name="T10" fmla="*/ 58 w 195"/>
                <a:gd name="T11" fmla="*/ 307 h 430"/>
                <a:gd name="T12" fmla="*/ 78 w 195"/>
                <a:gd name="T13" fmla="*/ 356 h 430"/>
                <a:gd name="T14" fmla="*/ 84 w 195"/>
                <a:gd name="T15" fmla="*/ 430 h 430"/>
                <a:gd name="T16" fmla="*/ 154 w 195"/>
                <a:gd name="T17" fmla="*/ 401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5" h="430">
                  <a:moveTo>
                    <a:pt x="154" y="401"/>
                  </a:moveTo>
                  <a:cubicBezTo>
                    <a:pt x="154" y="401"/>
                    <a:pt x="195" y="241"/>
                    <a:pt x="188" y="187"/>
                  </a:cubicBezTo>
                  <a:cubicBezTo>
                    <a:pt x="183" y="147"/>
                    <a:pt x="139" y="62"/>
                    <a:pt x="139" y="62"/>
                  </a:cubicBezTo>
                  <a:cubicBezTo>
                    <a:pt x="134" y="57"/>
                    <a:pt x="49" y="0"/>
                    <a:pt x="36" y="17"/>
                  </a:cubicBezTo>
                  <a:cubicBezTo>
                    <a:pt x="0" y="60"/>
                    <a:pt x="64" y="226"/>
                    <a:pt x="64" y="226"/>
                  </a:cubicBezTo>
                  <a:cubicBezTo>
                    <a:pt x="64" y="226"/>
                    <a:pt x="42" y="278"/>
                    <a:pt x="58" y="307"/>
                  </a:cubicBezTo>
                  <a:cubicBezTo>
                    <a:pt x="78" y="356"/>
                    <a:pt x="78" y="356"/>
                    <a:pt x="78" y="356"/>
                  </a:cubicBezTo>
                  <a:cubicBezTo>
                    <a:pt x="84" y="430"/>
                    <a:pt x="84" y="430"/>
                    <a:pt x="84" y="430"/>
                  </a:cubicBezTo>
                  <a:lnTo>
                    <a:pt x="154" y="401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43">
              <a:extLst>
                <a:ext uri="{FF2B5EF4-FFF2-40B4-BE49-F238E27FC236}">
                  <a16:creationId xmlns:a16="http://schemas.microsoft.com/office/drawing/2014/main" id="{D6E74FD4-7AEA-4F20-8A93-3423D736D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2563" y="1601788"/>
              <a:ext cx="141288" cy="46038"/>
            </a:xfrm>
            <a:custGeom>
              <a:avLst/>
              <a:gdLst>
                <a:gd name="T0" fmla="*/ 72 w 163"/>
                <a:gd name="T1" fmla="*/ 54 h 54"/>
                <a:gd name="T2" fmla="*/ 158 w 163"/>
                <a:gd name="T3" fmla="*/ 17 h 54"/>
                <a:gd name="T4" fmla="*/ 149 w 163"/>
                <a:gd name="T5" fmla="*/ 2 h 54"/>
                <a:gd name="T6" fmla="*/ 0 w 163"/>
                <a:gd name="T7" fmla="*/ 1 h 54"/>
                <a:gd name="T8" fmla="*/ 72 w 163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" h="54">
                  <a:moveTo>
                    <a:pt x="72" y="54"/>
                  </a:moveTo>
                  <a:cubicBezTo>
                    <a:pt x="158" y="17"/>
                    <a:pt x="158" y="17"/>
                    <a:pt x="158" y="17"/>
                  </a:cubicBezTo>
                  <a:cubicBezTo>
                    <a:pt x="163" y="10"/>
                    <a:pt x="157" y="0"/>
                    <a:pt x="149" y="2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72" y="5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44">
              <a:extLst>
                <a:ext uri="{FF2B5EF4-FFF2-40B4-BE49-F238E27FC236}">
                  <a16:creationId xmlns:a16="http://schemas.microsoft.com/office/drawing/2014/main" id="{2C72BB08-AA58-4219-96BB-3C81A4177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725" y="1563688"/>
              <a:ext cx="346075" cy="207963"/>
            </a:xfrm>
            <a:custGeom>
              <a:avLst/>
              <a:gdLst>
                <a:gd name="T0" fmla="*/ 0 w 397"/>
                <a:gd name="T1" fmla="*/ 75 h 240"/>
                <a:gd name="T2" fmla="*/ 164 w 397"/>
                <a:gd name="T3" fmla="*/ 216 h 240"/>
                <a:gd name="T4" fmla="*/ 296 w 397"/>
                <a:gd name="T5" fmla="*/ 240 h 240"/>
                <a:gd name="T6" fmla="*/ 389 w 397"/>
                <a:gd name="T7" fmla="*/ 176 h 240"/>
                <a:gd name="T8" fmla="*/ 197 w 397"/>
                <a:gd name="T9" fmla="*/ 90 h 240"/>
                <a:gd name="T10" fmla="*/ 130 w 397"/>
                <a:gd name="T11" fmla="*/ 42 h 240"/>
                <a:gd name="T12" fmla="*/ 79 w 397"/>
                <a:gd name="T13" fmla="*/ 34 h 240"/>
                <a:gd name="T14" fmla="*/ 12 w 397"/>
                <a:gd name="T15" fmla="*/ 0 h 240"/>
                <a:gd name="T16" fmla="*/ 0 w 397"/>
                <a:gd name="T17" fmla="*/ 75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7" h="240">
                  <a:moveTo>
                    <a:pt x="0" y="75"/>
                  </a:moveTo>
                  <a:cubicBezTo>
                    <a:pt x="0" y="75"/>
                    <a:pt x="115" y="194"/>
                    <a:pt x="164" y="216"/>
                  </a:cubicBezTo>
                  <a:cubicBezTo>
                    <a:pt x="201" y="233"/>
                    <a:pt x="296" y="240"/>
                    <a:pt x="296" y="240"/>
                  </a:cubicBezTo>
                  <a:cubicBezTo>
                    <a:pt x="304" y="238"/>
                    <a:pt x="397" y="196"/>
                    <a:pt x="389" y="176"/>
                  </a:cubicBezTo>
                  <a:cubicBezTo>
                    <a:pt x="371" y="123"/>
                    <a:pt x="197" y="90"/>
                    <a:pt x="197" y="90"/>
                  </a:cubicBezTo>
                  <a:cubicBezTo>
                    <a:pt x="197" y="90"/>
                    <a:pt x="163" y="44"/>
                    <a:pt x="130" y="42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0" y="7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45">
              <a:extLst>
                <a:ext uri="{FF2B5EF4-FFF2-40B4-BE49-F238E27FC236}">
                  <a16:creationId xmlns:a16="http://schemas.microsoft.com/office/drawing/2014/main" id="{892207D4-6937-4F24-8EC5-7F4C7EF1C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3350" y="3654426"/>
              <a:ext cx="560388" cy="444500"/>
            </a:xfrm>
            <a:custGeom>
              <a:avLst/>
              <a:gdLst>
                <a:gd name="T0" fmla="*/ 457 w 645"/>
                <a:gd name="T1" fmla="*/ 331 h 513"/>
                <a:gd name="T2" fmla="*/ 25 w 645"/>
                <a:gd name="T3" fmla="*/ 70 h 513"/>
                <a:gd name="T4" fmla="*/ 0 w 645"/>
                <a:gd name="T5" fmla="*/ 60 h 513"/>
                <a:gd name="T6" fmla="*/ 25 w 645"/>
                <a:gd name="T7" fmla="*/ 0 h 513"/>
                <a:gd name="T8" fmla="*/ 564 w 645"/>
                <a:gd name="T9" fmla="*/ 189 h 513"/>
                <a:gd name="T10" fmla="*/ 609 w 645"/>
                <a:gd name="T11" fmla="*/ 463 h 513"/>
                <a:gd name="T12" fmla="*/ 457 w 645"/>
                <a:gd name="T13" fmla="*/ 331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5" h="513">
                  <a:moveTo>
                    <a:pt x="457" y="331"/>
                  </a:moveTo>
                  <a:cubicBezTo>
                    <a:pt x="457" y="331"/>
                    <a:pt x="135" y="136"/>
                    <a:pt x="25" y="70"/>
                  </a:cubicBezTo>
                  <a:cubicBezTo>
                    <a:pt x="18" y="65"/>
                    <a:pt x="9" y="62"/>
                    <a:pt x="0" y="60"/>
                  </a:cubicBezTo>
                  <a:cubicBezTo>
                    <a:pt x="8" y="40"/>
                    <a:pt x="15" y="19"/>
                    <a:pt x="25" y="0"/>
                  </a:cubicBezTo>
                  <a:cubicBezTo>
                    <a:pt x="210" y="59"/>
                    <a:pt x="544" y="170"/>
                    <a:pt x="564" y="189"/>
                  </a:cubicBezTo>
                  <a:cubicBezTo>
                    <a:pt x="630" y="255"/>
                    <a:pt x="645" y="331"/>
                    <a:pt x="609" y="463"/>
                  </a:cubicBezTo>
                  <a:cubicBezTo>
                    <a:pt x="595" y="513"/>
                    <a:pt x="475" y="504"/>
                    <a:pt x="457" y="331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46">
              <a:extLst>
                <a:ext uri="{FF2B5EF4-FFF2-40B4-BE49-F238E27FC236}">
                  <a16:creationId xmlns:a16="http://schemas.microsoft.com/office/drawing/2014/main" id="{AC7C4A95-0C82-49AA-B03E-AF87CC52F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5713" y="3678238"/>
              <a:ext cx="122238" cy="53975"/>
            </a:xfrm>
            <a:custGeom>
              <a:avLst/>
              <a:gdLst>
                <a:gd name="T0" fmla="*/ 69 w 141"/>
                <a:gd name="T1" fmla="*/ 0 h 63"/>
                <a:gd name="T2" fmla="*/ 3 w 141"/>
                <a:gd name="T3" fmla="*/ 49 h 63"/>
                <a:gd name="T4" fmla="*/ 14 w 141"/>
                <a:gd name="T5" fmla="*/ 60 h 63"/>
                <a:gd name="T6" fmla="*/ 141 w 141"/>
                <a:gd name="T7" fmla="*/ 30 h 63"/>
                <a:gd name="T8" fmla="*/ 69 w 141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63">
                  <a:moveTo>
                    <a:pt x="69" y="0"/>
                  </a:moveTo>
                  <a:cubicBezTo>
                    <a:pt x="3" y="49"/>
                    <a:pt x="3" y="49"/>
                    <a:pt x="3" y="49"/>
                  </a:cubicBezTo>
                  <a:cubicBezTo>
                    <a:pt x="0" y="56"/>
                    <a:pt x="7" y="63"/>
                    <a:pt x="14" y="60"/>
                  </a:cubicBezTo>
                  <a:cubicBezTo>
                    <a:pt x="141" y="30"/>
                    <a:pt x="141" y="30"/>
                    <a:pt x="141" y="30"/>
                  </a:cubicBezTo>
                  <a:lnTo>
                    <a:pt x="69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47">
              <a:extLst>
                <a:ext uri="{FF2B5EF4-FFF2-40B4-BE49-F238E27FC236}">
                  <a16:creationId xmlns:a16="http://schemas.microsoft.com/office/drawing/2014/main" id="{5805AC09-5D4C-4B51-A1D5-01A485911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8238" y="3581401"/>
              <a:ext cx="320675" cy="138113"/>
            </a:xfrm>
            <a:custGeom>
              <a:avLst/>
              <a:gdLst>
                <a:gd name="T0" fmla="*/ 364 w 369"/>
                <a:gd name="T1" fmla="*/ 94 h 160"/>
                <a:gd name="T2" fmla="*/ 194 w 369"/>
                <a:gd name="T3" fmla="*/ 7 h 160"/>
                <a:gd name="T4" fmla="*/ 77 w 369"/>
                <a:gd name="T5" fmla="*/ 14 h 160"/>
                <a:gd name="T6" fmla="*/ 11 w 369"/>
                <a:gd name="T7" fmla="*/ 88 h 160"/>
                <a:gd name="T8" fmla="*/ 193 w 369"/>
                <a:gd name="T9" fmla="*/ 121 h 160"/>
                <a:gd name="T10" fmla="*/ 259 w 369"/>
                <a:gd name="T11" fmla="*/ 148 h 160"/>
                <a:gd name="T12" fmla="*/ 305 w 369"/>
                <a:gd name="T13" fmla="*/ 145 h 160"/>
                <a:gd name="T14" fmla="*/ 369 w 369"/>
                <a:gd name="T15" fmla="*/ 160 h 160"/>
                <a:gd name="T16" fmla="*/ 364 w 369"/>
                <a:gd name="T17" fmla="*/ 9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9" h="160">
                  <a:moveTo>
                    <a:pt x="364" y="94"/>
                  </a:moveTo>
                  <a:cubicBezTo>
                    <a:pt x="364" y="94"/>
                    <a:pt x="241" y="16"/>
                    <a:pt x="194" y="7"/>
                  </a:cubicBezTo>
                  <a:cubicBezTo>
                    <a:pt x="160" y="0"/>
                    <a:pt x="77" y="14"/>
                    <a:pt x="77" y="14"/>
                  </a:cubicBezTo>
                  <a:cubicBezTo>
                    <a:pt x="71" y="17"/>
                    <a:pt x="0" y="72"/>
                    <a:pt x="11" y="88"/>
                  </a:cubicBezTo>
                  <a:cubicBezTo>
                    <a:pt x="37" y="129"/>
                    <a:pt x="193" y="121"/>
                    <a:pt x="193" y="121"/>
                  </a:cubicBezTo>
                  <a:cubicBezTo>
                    <a:pt x="193" y="121"/>
                    <a:pt x="231" y="154"/>
                    <a:pt x="259" y="148"/>
                  </a:cubicBezTo>
                  <a:cubicBezTo>
                    <a:pt x="305" y="145"/>
                    <a:pt x="305" y="145"/>
                    <a:pt x="305" y="145"/>
                  </a:cubicBezTo>
                  <a:cubicBezTo>
                    <a:pt x="369" y="160"/>
                    <a:pt x="369" y="160"/>
                    <a:pt x="369" y="160"/>
                  </a:cubicBezTo>
                  <a:lnTo>
                    <a:pt x="364" y="94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48">
              <a:extLst>
                <a:ext uri="{FF2B5EF4-FFF2-40B4-BE49-F238E27FC236}">
                  <a16:creationId xmlns:a16="http://schemas.microsoft.com/office/drawing/2014/main" id="{6E8DDD96-A420-4C14-9DDB-137E1B5A7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7413" y="4410076"/>
              <a:ext cx="741363" cy="619125"/>
            </a:xfrm>
            <a:custGeom>
              <a:avLst/>
              <a:gdLst>
                <a:gd name="T0" fmla="*/ 782 w 853"/>
                <a:gd name="T1" fmla="*/ 595 h 715"/>
                <a:gd name="T2" fmla="*/ 50 w 853"/>
                <a:gd name="T3" fmla="*/ 266 h 715"/>
                <a:gd name="T4" fmla="*/ 0 w 853"/>
                <a:gd name="T5" fmla="*/ 45 h 715"/>
                <a:gd name="T6" fmla="*/ 145 w 853"/>
                <a:gd name="T7" fmla="*/ 0 h 715"/>
                <a:gd name="T8" fmla="*/ 217 w 853"/>
                <a:gd name="T9" fmla="*/ 138 h 715"/>
                <a:gd name="T10" fmla="*/ 658 w 853"/>
                <a:gd name="T11" fmla="*/ 337 h 715"/>
                <a:gd name="T12" fmla="*/ 782 w 853"/>
                <a:gd name="T13" fmla="*/ 595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3" h="715">
                  <a:moveTo>
                    <a:pt x="782" y="595"/>
                  </a:moveTo>
                  <a:cubicBezTo>
                    <a:pt x="611" y="715"/>
                    <a:pt x="352" y="499"/>
                    <a:pt x="50" y="26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658" y="337"/>
                    <a:pt x="658" y="337"/>
                    <a:pt x="658" y="337"/>
                  </a:cubicBezTo>
                  <a:cubicBezTo>
                    <a:pt x="658" y="337"/>
                    <a:pt x="853" y="545"/>
                    <a:pt x="782" y="595"/>
                  </a:cubicBezTo>
                  <a:close/>
                </a:path>
              </a:pathLst>
            </a:custGeom>
            <a:solidFill>
              <a:srgbClr val="F0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49">
              <a:extLst>
                <a:ext uri="{FF2B5EF4-FFF2-40B4-BE49-F238E27FC236}">
                  <a16:creationId xmlns:a16="http://schemas.microsoft.com/office/drawing/2014/main" id="{AD094C47-0B90-4A5F-ACB0-A77873E8A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8463" y="3744913"/>
              <a:ext cx="541338" cy="803275"/>
            </a:xfrm>
            <a:custGeom>
              <a:avLst/>
              <a:gdLst>
                <a:gd name="T0" fmla="*/ 475 w 623"/>
                <a:gd name="T1" fmla="*/ 866 h 927"/>
                <a:gd name="T2" fmla="*/ 277 w 623"/>
                <a:gd name="T3" fmla="*/ 87 h 927"/>
                <a:gd name="T4" fmla="*/ 69 w 623"/>
                <a:gd name="T5" fmla="*/ 0 h 927"/>
                <a:gd name="T6" fmla="*/ 0 w 623"/>
                <a:gd name="T7" fmla="*/ 135 h 927"/>
                <a:gd name="T8" fmla="*/ 123 w 623"/>
                <a:gd name="T9" fmla="*/ 230 h 927"/>
                <a:gd name="T10" fmla="*/ 242 w 623"/>
                <a:gd name="T11" fmla="*/ 698 h 927"/>
                <a:gd name="T12" fmla="*/ 475 w 623"/>
                <a:gd name="T13" fmla="*/ 866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3" h="927">
                  <a:moveTo>
                    <a:pt x="475" y="866"/>
                  </a:moveTo>
                  <a:cubicBezTo>
                    <a:pt x="623" y="718"/>
                    <a:pt x="455" y="426"/>
                    <a:pt x="277" y="87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23" y="230"/>
                    <a:pt x="123" y="230"/>
                    <a:pt x="123" y="230"/>
                  </a:cubicBezTo>
                  <a:cubicBezTo>
                    <a:pt x="242" y="698"/>
                    <a:pt x="242" y="698"/>
                    <a:pt x="242" y="698"/>
                  </a:cubicBezTo>
                  <a:cubicBezTo>
                    <a:pt x="242" y="698"/>
                    <a:pt x="413" y="927"/>
                    <a:pt x="475" y="866"/>
                  </a:cubicBezTo>
                  <a:close/>
                </a:path>
              </a:pathLst>
            </a:custGeom>
            <a:solidFill>
              <a:srgbClr val="F0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50">
              <a:extLst>
                <a:ext uri="{FF2B5EF4-FFF2-40B4-BE49-F238E27FC236}">
                  <a16:creationId xmlns:a16="http://schemas.microsoft.com/office/drawing/2014/main" id="{C0B1BB2C-C3ED-4B61-9DA1-C7072BB18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8125" y="4386263"/>
              <a:ext cx="647700" cy="642938"/>
            </a:xfrm>
            <a:custGeom>
              <a:avLst/>
              <a:gdLst>
                <a:gd name="T0" fmla="*/ 126 w 744"/>
                <a:gd name="T1" fmla="*/ 592 h 742"/>
                <a:gd name="T2" fmla="*/ 144 w 744"/>
                <a:gd name="T3" fmla="*/ 114 h 742"/>
                <a:gd name="T4" fmla="*/ 618 w 744"/>
                <a:gd name="T5" fmla="*/ 179 h 742"/>
                <a:gd name="T6" fmla="*/ 536 w 744"/>
                <a:gd name="T7" fmla="*/ 581 h 742"/>
                <a:gd name="T8" fmla="*/ 126 w 744"/>
                <a:gd name="T9" fmla="*/ 59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4" h="742">
                  <a:moveTo>
                    <a:pt x="126" y="592"/>
                  </a:moveTo>
                  <a:cubicBezTo>
                    <a:pt x="0" y="442"/>
                    <a:pt x="8" y="228"/>
                    <a:pt x="144" y="114"/>
                  </a:cubicBezTo>
                  <a:cubicBezTo>
                    <a:pt x="280" y="0"/>
                    <a:pt x="492" y="30"/>
                    <a:pt x="618" y="179"/>
                  </a:cubicBezTo>
                  <a:cubicBezTo>
                    <a:pt x="744" y="329"/>
                    <a:pt x="672" y="467"/>
                    <a:pt x="536" y="581"/>
                  </a:cubicBezTo>
                  <a:cubicBezTo>
                    <a:pt x="400" y="695"/>
                    <a:pt x="252" y="742"/>
                    <a:pt x="126" y="592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651">
              <a:extLst>
                <a:ext uri="{FF2B5EF4-FFF2-40B4-BE49-F238E27FC236}">
                  <a16:creationId xmlns:a16="http://schemas.microsoft.com/office/drawing/2014/main" id="{62EA7D3A-2C6D-4703-B938-1A72813270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4446588"/>
              <a:ext cx="128588" cy="127000"/>
            </a:xfrm>
            <a:custGeom>
              <a:avLst/>
              <a:gdLst>
                <a:gd name="T0" fmla="*/ 65 w 147"/>
                <a:gd name="T1" fmla="*/ 12 h 147"/>
                <a:gd name="T2" fmla="*/ 147 w 147"/>
                <a:gd name="T3" fmla="*/ 41 h 147"/>
                <a:gd name="T4" fmla="*/ 21 w 147"/>
                <a:gd name="T5" fmla="*/ 147 h 147"/>
                <a:gd name="T6" fmla="*/ 6 w 147"/>
                <a:gd name="T7" fmla="*/ 61 h 147"/>
                <a:gd name="T8" fmla="*/ 65 w 147"/>
                <a:gd name="T9" fmla="*/ 1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47">
                  <a:moveTo>
                    <a:pt x="65" y="12"/>
                  </a:moveTo>
                  <a:cubicBezTo>
                    <a:pt x="147" y="41"/>
                    <a:pt x="147" y="41"/>
                    <a:pt x="147" y="41"/>
                  </a:cubicBezTo>
                  <a:cubicBezTo>
                    <a:pt x="21" y="147"/>
                    <a:pt x="21" y="147"/>
                    <a:pt x="21" y="147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0" y="28"/>
                    <a:pt x="33" y="0"/>
                    <a:pt x="65" y="12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652">
              <a:extLst>
                <a:ext uri="{FF2B5EF4-FFF2-40B4-BE49-F238E27FC236}">
                  <a16:creationId xmlns:a16="http://schemas.microsoft.com/office/drawing/2014/main" id="{F0B7242C-F351-458A-8869-A197E91EE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8938" y="4338638"/>
              <a:ext cx="515938" cy="568325"/>
            </a:xfrm>
            <a:custGeom>
              <a:avLst/>
              <a:gdLst>
                <a:gd name="T0" fmla="*/ 160 w 595"/>
                <a:gd name="T1" fmla="*/ 442 h 656"/>
                <a:gd name="T2" fmla="*/ 386 w 595"/>
                <a:gd name="T3" fmla="*/ 656 h 656"/>
                <a:gd name="T4" fmla="*/ 480 w 595"/>
                <a:gd name="T5" fmla="*/ 214 h 656"/>
                <a:gd name="T6" fmla="*/ 7 w 595"/>
                <a:gd name="T7" fmla="*/ 2 h 656"/>
                <a:gd name="T8" fmla="*/ 75 w 595"/>
                <a:gd name="T9" fmla="*/ 125 h 656"/>
                <a:gd name="T10" fmla="*/ 0 w 595"/>
                <a:gd name="T11" fmla="*/ 259 h 656"/>
                <a:gd name="T12" fmla="*/ 160 w 595"/>
                <a:gd name="T13" fmla="*/ 442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5" h="656">
                  <a:moveTo>
                    <a:pt x="160" y="442"/>
                  </a:moveTo>
                  <a:cubicBezTo>
                    <a:pt x="201" y="515"/>
                    <a:pt x="315" y="605"/>
                    <a:pt x="386" y="656"/>
                  </a:cubicBezTo>
                  <a:cubicBezTo>
                    <a:pt x="510" y="548"/>
                    <a:pt x="595" y="352"/>
                    <a:pt x="480" y="214"/>
                  </a:cubicBezTo>
                  <a:cubicBezTo>
                    <a:pt x="300" y="0"/>
                    <a:pt x="7" y="1"/>
                    <a:pt x="7" y="2"/>
                  </a:cubicBezTo>
                  <a:cubicBezTo>
                    <a:pt x="50" y="45"/>
                    <a:pt x="77" y="72"/>
                    <a:pt x="75" y="125"/>
                  </a:cubicBezTo>
                  <a:cubicBezTo>
                    <a:pt x="72" y="191"/>
                    <a:pt x="6" y="209"/>
                    <a:pt x="0" y="259"/>
                  </a:cubicBezTo>
                  <a:cubicBezTo>
                    <a:pt x="72" y="330"/>
                    <a:pt x="137" y="401"/>
                    <a:pt x="160" y="442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53">
              <a:extLst>
                <a:ext uri="{FF2B5EF4-FFF2-40B4-BE49-F238E27FC236}">
                  <a16:creationId xmlns:a16="http://schemas.microsoft.com/office/drawing/2014/main" id="{568C3011-C16C-47F4-AAEF-A0553EBB5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7163" y="4548188"/>
              <a:ext cx="561975" cy="501650"/>
            </a:xfrm>
            <a:custGeom>
              <a:avLst/>
              <a:gdLst>
                <a:gd name="T0" fmla="*/ 645 w 646"/>
                <a:gd name="T1" fmla="*/ 419 h 580"/>
                <a:gd name="T2" fmla="*/ 646 w 646"/>
                <a:gd name="T3" fmla="*/ 418 h 580"/>
                <a:gd name="T4" fmla="*/ 420 w 646"/>
                <a:gd name="T5" fmla="*/ 203 h 580"/>
                <a:gd name="T6" fmla="*/ 262 w 646"/>
                <a:gd name="T7" fmla="*/ 22 h 580"/>
                <a:gd name="T8" fmla="*/ 221 w 646"/>
                <a:gd name="T9" fmla="*/ 71 h 580"/>
                <a:gd name="T10" fmla="*/ 115 w 646"/>
                <a:gd name="T11" fmla="*/ 1 h 580"/>
                <a:gd name="T12" fmla="*/ 207 w 646"/>
                <a:gd name="T13" fmla="*/ 451 h 580"/>
                <a:gd name="T14" fmla="*/ 645 w 646"/>
                <a:gd name="T15" fmla="*/ 419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6" h="580">
                  <a:moveTo>
                    <a:pt x="645" y="419"/>
                  </a:moveTo>
                  <a:cubicBezTo>
                    <a:pt x="646" y="418"/>
                    <a:pt x="646" y="418"/>
                    <a:pt x="646" y="418"/>
                  </a:cubicBezTo>
                  <a:cubicBezTo>
                    <a:pt x="575" y="366"/>
                    <a:pt x="461" y="276"/>
                    <a:pt x="420" y="203"/>
                  </a:cubicBezTo>
                  <a:cubicBezTo>
                    <a:pt x="397" y="162"/>
                    <a:pt x="333" y="93"/>
                    <a:pt x="262" y="22"/>
                  </a:cubicBezTo>
                  <a:cubicBezTo>
                    <a:pt x="248" y="44"/>
                    <a:pt x="234" y="59"/>
                    <a:pt x="221" y="71"/>
                  </a:cubicBezTo>
                  <a:cubicBezTo>
                    <a:pt x="174" y="114"/>
                    <a:pt x="135" y="30"/>
                    <a:pt x="115" y="1"/>
                  </a:cubicBezTo>
                  <a:cubicBezTo>
                    <a:pt x="114" y="0"/>
                    <a:pt x="0" y="211"/>
                    <a:pt x="207" y="451"/>
                  </a:cubicBezTo>
                  <a:cubicBezTo>
                    <a:pt x="317" y="580"/>
                    <a:pt x="525" y="520"/>
                    <a:pt x="645" y="419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654">
              <a:extLst>
                <a:ext uri="{FF2B5EF4-FFF2-40B4-BE49-F238E27FC236}">
                  <a16:creationId xmlns:a16="http://schemas.microsoft.com/office/drawing/2014/main" id="{5DF74336-67F6-43D6-9FAF-C2B88F801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188" y="4548188"/>
              <a:ext cx="488950" cy="501650"/>
            </a:xfrm>
            <a:custGeom>
              <a:avLst/>
              <a:gdLst>
                <a:gd name="T0" fmla="*/ 124 w 563"/>
                <a:gd name="T1" fmla="*/ 451 h 580"/>
                <a:gd name="T2" fmla="*/ 37 w 563"/>
                <a:gd name="T3" fmla="*/ 317 h 580"/>
                <a:gd name="T4" fmla="*/ 28 w 563"/>
                <a:gd name="T5" fmla="*/ 297 h 580"/>
                <a:gd name="T6" fmla="*/ 10 w 563"/>
                <a:gd name="T7" fmla="*/ 238 h 580"/>
                <a:gd name="T8" fmla="*/ 6 w 563"/>
                <a:gd name="T9" fmla="*/ 220 h 580"/>
                <a:gd name="T10" fmla="*/ 2 w 563"/>
                <a:gd name="T11" fmla="*/ 193 h 580"/>
                <a:gd name="T12" fmla="*/ 1 w 563"/>
                <a:gd name="T13" fmla="*/ 176 h 580"/>
                <a:gd name="T14" fmla="*/ 0 w 563"/>
                <a:gd name="T15" fmla="*/ 167 h 580"/>
                <a:gd name="T16" fmla="*/ 0 w 563"/>
                <a:gd name="T17" fmla="*/ 151 h 580"/>
                <a:gd name="T18" fmla="*/ 0 w 563"/>
                <a:gd name="T19" fmla="*/ 128 h 580"/>
                <a:gd name="T20" fmla="*/ 1 w 563"/>
                <a:gd name="T21" fmla="*/ 114 h 580"/>
                <a:gd name="T22" fmla="*/ 32 w 563"/>
                <a:gd name="T23" fmla="*/ 1 h 580"/>
                <a:gd name="T24" fmla="*/ 89 w 563"/>
                <a:gd name="T25" fmla="*/ 43 h 580"/>
                <a:gd name="T26" fmla="*/ 179 w 563"/>
                <a:gd name="T27" fmla="*/ 22 h 580"/>
                <a:gd name="T28" fmla="*/ 337 w 563"/>
                <a:gd name="T29" fmla="*/ 203 h 580"/>
                <a:gd name="T30" fmla="*/ 552 w 563"/>
                <a:gd name="T31" fmla="*/ 410 h 580"/>
                <a:gd name="T32" fmla="*/ 563 w 563"/>
                <a:gd name="T33" fmla="*/ 418 h 580"/>
                <a:gd name="T34" fmla="*/ 562 w 563"/>
                <a:gd name="T35" fmla="*/ 419 h 580"/>
                <a:gd name="T36" fmla="*/ 124 w 563"/>
                <a:gd name="T37" fmla="*/ 451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3" h="580">
                  <a:moveTo>
                    <a:pt x="124" y="451"/>
                  </a:moveTo>
                  <a:cubicBezTo>
                    <a:pt x="84" y="405"/>
                    <a:pt x="56" y="360"/>
                    <a:pt x="37" y="317"/>
                  </a:cubicBezTo>
                  <a:cubicBezTo>
                    <a:pt x="34" y="310"/>
                    <a:pt x="31" y="303"/>
                    <a:pt x="28" y="297"/>
                  </a:cubicBezTo>
                  <a:cubicBezTo>
                    <a:pt x="21" y="276"/>
                    <a:pt x="15" y="257"/>
                    <a:pt x="10" y="238"/>
                  </a:cubicBezTo>
                  <a:cubicBezTo>
                    <a:pt x="9" y="232"/>
                    <a:pt x="8" y="226"/>
                    <a:pt x="6" y="220"/>
                  </a:cubicBezTo>
                  <a:cubicBezTo>
                    <a:pt x="5" y="211"/>
                    <a:pt x="3" y="202"/>
                    <a:pt x="2" y="193"/>
                  </a:cubicBezTo>
                  <a:cubicBezTo>
                    <a:pt x="2" y="187"/>
                    <a:pt x="1" y="181"/>
                    <a:pt x="1" y="176"/>
                  </a:cubicBezTo>
                  <a:cubicBezTo>
                    <a:pt x="1" y="173"/>
                    <a:pt x="0" y="170"/>
                    <a:pt x="0" y="167"/>
                  </a:cubicBezTo>
                  <a:cubicBezTo>
                    <a:pt x="0" y="162"/>
                    <a:pt x="0" y="156"/>
                    <a:pt x="0" y="151"/>
                  </a:cubicBezTo>
                  <a:cubicBezTo>
                    <a:pt x="0" y="143"/>
                    <a:pt x="0" y="136"/>
                    <a:pt x="0" y="128"/>
                  </a:cubicBezTo>
                  <a:cubicBezTo>
                    <a:pt x="0" y="123"/>
                    <a:pt x="1" y="118"/>
                    <a:pt x="1" y="114"/>
                  </a:cubicBezTo>
                  <a:cubicBezTo>
                    <a:pt x="8" y="44"/>
                    <a:pt x="31" y="0"/>
                    <a:pt x="32" y="1"/>
                  </a:cubicBezTo>
                  <a:cubicBezTo>
                    <a:pt x="51" y="27"/>
                    <a:pt x="70" y="39"/>
                    <a:pt x="89" y="43"/>
                  </a:cubicBezTo>
                  <a:cubicBezTo>
                    <a:pt x="126" y="52"/>
                    <a:pt x="160" y="31"/>
                    <a:pt x="179" y="22"/>
                  </a:cubicBezTo>
                  <a:cubicBezTo>
                    <a:pt x="250" y="93"/>
                    <a:pt x="314" y="162"/>
                    <a:pt x="337" y="203"/>
                  </a:cubicBezTo>
                  <a:cubicBezTo>
                    <a:pt x="376" y="273"/>
                    <a:pt x="480" y="357"/>
                    <a:pt x="552" y="410"/>
                  </a:cubicBezTo>
                  <a:cubicBezTo>
                    <a:pt x="556" y="413"/>
                    <a:pt x="559" y="415"/>
                    <a:pt x="563" y="418"/>
                  </a:cubicBezTo>
                  <a:cubicBezTo>
                    <a:pt x="562" y="419"/>
                    <a:pt x="562" y="419"/>
                    <a:pt x="562" y="419"/>
                  </a:cubicBezTo>
                  <a:cubicBezTo>
                    <a:pt x="442" y="520"/>
                    <a:pt x="234" y="580"/>
                    <a:pt x="124" y="451"/>
                  </a:cubicBezTo>
                  <a:close/>
                </a:path>
              </a:pathLst>
            </a:custGeom>
            <a:solidFill>
              <a:srgbClr val="E8B7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655">
              <a:extLst>
                <a:ext uri="{FF2B5EF4-FFF2-40B4-BE49-F238E27FC236}">
                  <a16:creationId xmlns:a16="http://schemas.microsoft.com/office/drawing/2014/main" id="{6A6653D2-E8D9-4538-8A45-F09A8A86C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188" y="4548188"/>
              <a:ext cx="522288" cy="501650"/>
            </a:xfrm>
            <a:custGeom>
              <a:avLst/>
              <a:gdLst>
                <a:gd name="T0" fmla="*/ 124 w 602"/>
                <a:gd name="T1" fmla="*/ 451 h 580"/>
                <a:gd name="T2" fmla="*/ 37 w 602"/>
                <a:gd name="T3" fmla="*/ 317 h 580"/>
                <a:gd name="T4" fmla="*/ 28 w 602"/>
                <a:gd name="T5" fmla="*/ 297 h 580"/>
                <a:gd name="T6" fmla="*/ 10 w 602"/>
                <a:gd name="T7" fmla="*/ 238 h 580"/>
                <a:gd name="T8" fmla="*/ 6 w 602"/>
                <a:gd name="T9" fmla="*/ 220 h 580"/>
                <a:gd name="T10" fmla="*/ 2 w 602"/>
                <a:gd name="T11" fmla="*/ 193 h 580"/>
                <a:gd name="T12" fmla="*/ 1 w 602"/>
                <a:gd name="T13" fmla="*/ 176 h 580"/>
                <a:gd name="T14" fmla="*/ 0 w 602"/>
                <a:gd name="T15" fmla="*/ 167 h 580"/>
                <a:gd name="T16" fmla="*/ 0 w 602"/>
                <a:gd name="T17" fmla="*/ 151 h 580"/>
                <a:gd name="T18" fmla="*/ 0 w 602"/>
                <a:gd name="T19" fmla="*/ 128 h 580"/>
                <a:gd name="T20" fmla="*/ 1 w 602"/>
                <a:gd name="T21" fmla="*/ 114 h 580"/>
                <a:gd name="T22" fmla="*/ 32 w 602"/>
                <a:gd name="T23" fmla="*/ 1 h 580"/>
                <a:gd name="T24" fmla="*/ 89 w 602"/>
                <a:gd name="T25" fmla="*/ 43 h 580"/>
                <a:gd name="T26" fmla="*/ 207 w 602"/>
                <a:gd name="T27" fmla="*/ 381 h 580"/>
                <a:gd name="T28" fmla="*/ 552 w 602"/>
                <a:gd name="T29" fmla="*/ 410 h 580"/>
                <a:gd name="T30" fmla="*/ 602 w 602"/>
                <a:gd name="T31" fmla="*/ 381 h 580"/>
                <a:gd name="T32" fmla="*/ 567 w 602"/>
                <a:gd name="T33" fmla="*/ 414 h 580"/>
                <a:gd name="T34" fmla="*/ 563 w 602"/>
                <a:gd name="T35" fmla="*/ 418 h 580"/>
                <a:gd name="T36" fmla="*/ 562 w 602"/>
                <a:gd name="T37" fmla="*/ 419 h 580"/>
                <a:gd name="T38" fmla="*/ 124 w 602"/>
                <a:gd name="T39" fmla="*/ 451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02" h="580">
                  <a:moveTo>
                    <a:pt x="124" y="451"/>
                  </a:moveTo>
                  <a:cubicBezTo>
                    <a:pt x="84" y="405"/>
                    <a:pt x="56" y="360"/>
                    <a:pt x="37" y="317"/>
                  </a:cubicBezTo>
                  <a:cubicBezTo>
                    <a:pt x="34" y="310"/>
                    <a:pt x="31" y="303"/>
                    <a:pt x="28" y="297"/>
                  </a:cubicBezTo>
                  <a:cubicBezTo>
                    <a:pt x="21" y="276"/>
                    <a:pt x="15" y="257"/>
                    <a:pt x="10" y="238"/>
                  </a:cubicBezTo>
                  <a:cubicBezTo>
                    <a:pt x="9" y="232"/>
                    <a:pt x="8" y="226"/>
                    <a:pt x="6" y="220"/>
                  </a:cubicBezTo>
                  <a:cubicBezTo>
                    <a:pt x="5" y="211"/>
                    <a:pt x="3" y="202"/>
                    <a:pt x="2" y="193"/>
                  </a:cubicBezTo>
                  <a:cubicBezTo>
                    <a:pt x="2" y="187"/>
                    <a:pt x="1" y="181"/>
                    <a:pt x="1" y="176"/>
                  </a:cubicBezTo>
                  <a:cubicBezTo>
                    <a:pt x="1" y="173"/>
                    <a:pt x="0" y="170"/>
                    <a:pt x="0" y="167"/>
                  </a:cubicBezTo>
                  <a:cubicBezTo>
                    <a:pt x="0" y="162"/>
                    <a:pt x="0" y="156"/>
                    <a:pt x="0" y="151"/>
                  </a:cubicBezTo>
                  <a:cubicBezTo>
                    <a:pt x="0" y="143"/>
                    <a:pt x="0" y="136"/>
                    <a:pt x="0" y="128"/>
                  </a:cubicBezTo>
                  <a:cubicBezTo>
                    <a:pt x="1" y="123"/>
                    <a:pt x="1" y="118"/>
                    <a:pt x="1" y="114"/>
                  </a:cubicBezTo>
                  <a:cubicBezTo>
                    <a:pt x="8" y="44"/>
                    <a:pt x="31" y="0"/>
                    <a:pt x="32" y="1"/>
                  </a:cubicBezTo>
                  <a:cubicBezTo>
                    <a:pt x="51" y="27"/>
                    <a:pt x="70" y="39"/>
                    <a:pt x="89" y="43"/>
                  </a:cubicBezTo>
                  <a:cubicBezTo>
                    <a:pt x="88" y="125"/>
                    <a:pt x="106" y="264"/>
                    <a:pt x="207" y="381"/>
                  </a:cubicBezTo>
                  <a:cubicBezTo>
                    <a:pt x="292" y="481"/>
                    <a:pt x="436" y="467"/>
                    <a:pt x="552" y="410"/>
                  </a:cubicBezTo>
                  <a:cubicBezTo>
                    <a:pt x="569" y="401"/>
                    <a:pt x="586" y="392"/>
                    <a:pt x="602" y="381"/>
                  </a:cubicBezTo>
                  <a:cubicBezTo>
                    <a:pt x="591" y="393"/>
                    <a:pt x="579" y="404"/>
                    <a:pt x="567" y="414"/>
                  </a:cubicBezTo>
                  <a:cubicBezTo>
                    <a:pt x="566" y="415"/>
                    <a:pt x="565" y="417"/>
                    <a:pt x="563" y="418"/>
                  </a:cubicBezTo>
                  <a:cubicBezTo>
                    <a:pt x="562" y="419"/>
                    <a:pt x="562" y="419"/>
                    <a:pt x="562" y="419"/>
                  </a:cubicBezTo>
                  <a:cubicBezTo>
                    <a:pt x="442" y="520"/>
                    <a:pt x="234" y="580"/>
                    <a:pt x="124" y="451"/>
                  </a:cubicBezTo>
                  <a:close/>
                </a:path>
              </a:pathLst>
            </a:custGeom>
            <a:solidFill>
              <a:srgbClr val="D7A3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656">
              <a:extLst>
                <a:ext uri="{FF2B5EF4-FFF2-40B4-BE49-F238E27FC236}">
                  <a16:creationId xmlns:a16="http://schemas.microsoft.com/office/drawing/2014/main" id="{8CBD6E65-77C0-40CA-BC11-C7B16780A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5763" y="4562476"/>
              <a:ext cx="338138" cy="347663"/>
            </a:xfrm>
            <a:custGeom>
              <a:avLst/>
              <a:gdLst>
                <a:gd name="T0" fmla="*/ 158 w 389"/>
                <a:gd name="T1" fmla="*/ 186 h 401"/>
                <a:gd name="T2" fmla="*/ 384 w 389"/>
                <a:gd name="T3" fmla="*/ 401 h 401"/>
                <a:gd name="T4" fmla="*/ 389 w 389"/>
                <a:gd name="T5" fmla="*/ 397 h 401"/>
                <a:gd name="T6" fmla="*/ 163 w 389"/>
                <a:gd name="T7" fmla="*/ 183 h 401"/>
                <a:gd name="T8" fmla="*/ 3 w 389"/>
                <a:gd name="T9" fmla="*/ 0 h 401"/>
                <a:gd name="T10" fmla="*/ 0 w 389"/>
                <a:gd name="T11" fmla="*/ 5 h 401"/>
                <a:gd name="T12" fmla="*/ 158 w 389"/>
                <a:gd name="T13" fmla="*/ 186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9" h="401">
                  <a:moveTo>
                    <a:pt x="158" y="186"/>
                  </a:moveTo>
                  <a:cubicBezTo>
                    <a:pt x="199" y="259"/>
                    <a:pt x="313" y="349"/>
                    <a:pt x="384" y="401"/>
                  </a:cubicBezTo>
                  <a:cubicBezTo>
                    <a:pt x="386" y="400"/>
                    <a:pt x="387" y="398"/>
                    <a:pt x="389" y="397"/>
                  </a:cubicBezTo>
                  <a:cubicBezTo>
                    <a:pt x="318" y="346"/>
                    <a:pt x="204" y="256"/>
                    <a:pt x="163" y="183"/>
                  </a:cubicBezTo>
                  <a:cubicBezTo>
                    <a:pt x="140" y="142"/>
                    <a:pt x="75" y="71"/>
                    <a:pt x="3" y="0"/>
                  </a:cubicBezTo>
                  <a:cubicBezTo>
                    <a:pt x="2" y="2"/>
                    <a:pt x="1" y="4"/>
                    <a:pt x="0" y="5"/>
                  </a:cubicBezTo>
                  <a:cubicBezTo>
                    <a:pt x="71" y="76"/>
                    <a:pt x="135" y="145"/>
                    <a:pt x="158" y="186"/>
                  </a:cubicBezTo>
                  <a:close/>
                </a:path>
              </a:pathLst>
            </a:custGeom>
            <a:solidFill>
              <a:srgbClr val="CC99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57">
              <a:extLst>
                <a:ext uri="{FF2B5EF4-FFF2-40B4-BE49-F238E27FC236}">
                  <a16:creationId xmlns:a16="http://schemas.microsoft.com/office/drawing/2014/main" id="{C8CD7856-4367-4F68-8B17-6AD0BD279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3725" y="546101"/>
              <a:ext cx="449263" cy="1344613"/>
            </a:xfrm>
            <a:custGeom>
              <a:avLst/>
              <a:gdLst>
                <a:gd name="T0" fmla="*/ 102 w 516"/>
                <a:gd name="T1" fmla="*/ 9 h 1552"/>
                <a:gd name="T2" fmla="*/ 516 w 516"/>
                <a:gd name="T3" fmla="*/ 885 h 1552"/>
                <a:gd name="T4" fmla="*/ 144 w 516"/>
                <a:gd name="T5" fmla="*/ 1552 h 1552"/>
                <a:gd name="T6" fmla="*/ 57 w 516"/>
                <a:gd name="T7" fmla="*/ 1492 h 1552"/>
                <a:gd name="T8" fmla="*/ 267 w 516"/>
                <a:gd name="T9" fmla="*/ 873 h 1552"/>
                <a:gd name="T10" fmla="*/ 18 w 516"/>
                <a:gd name="T11" fmla="*/ 345 h 1552"/>
                <a:gd name="T12" fmla="*/ 102 w 516"/>
                <a:gd name="T13" fmla="*/ 9 h 1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6" h="1552">
                  <a:moveTo>
                    <a:pt x="102" y="9"/>
                  </a:moveTo>
                  <a:cubicBezTo>
                    <a:pt x="349" y="31"/>
                    <a:pt x="419" y="433"/>
                    <a:pt x="516" y="885"/>
                  </a:cubicBezTo>
                  <a:cubicBezTo>
                    <a:pt x="144" y="1552"/>
                    <a:pt x="144" y="1552"/>
                    <a:pt x="144" y="1552"/>
                  </a:cubicBezTo>
                  <a:cubicBezTo>
                    <a:pt x="57" y="1492"/>
                    <a:pt x="57" y="1492"/>
                    <a:pt x="57" y="1492"/>
                  </a:cubicBezTo>
                  <a:cubicBezTo>
                    <a:pt x="267" y="873"/>
                    <a:pt x="267" y="873"/>
                    <a:pt x="267" y="873"/>
                  </a:cubicBezTo>
                  <a:cubicBezTo>
                    <a:pt x="18" y="345"/>
                    <a:pt x="18" y="345"/>
                    <a:pt x="18" y="345"/>
                  </a:cubicBezTo>
                  <a:cubicBezTo>
                    <a:pt x="18" y="345"/>
                    <a:pt x="0" y="0"/>
                    <a:pt x="102" y="9"/>
                  </a:cubicBezTo>
                  <a:close/>
                </a:path>
              </a:pathLst>
            </a:custGeom>
            <a:solidFill>
              <a:srgbClr val="E3C8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658">
              <a:extLst>
                <a:ext uri="{FF2B5EF4-FFF2-40B4-BE49-F238E27FC236}">
                  <a16:creationId xmlns:a16="http://schemas.microsoft.com/office/drawing/2014/main" id="{2A5E03E3-E048-41E3-8DF3-B5A2A4DAB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1688" y="546101"/>
              <a:ext cx="620713" cy="1123950"/>
            </a:xfrm>
            <a:custGeom>
              <a:avLst/>
              <a:gdLst>
                <a:gd name="T0" fmla="*/ 410 w 714"/>
                <a:gd name="T1" fmla="*/ 9 h 1297"/>
                <a:gd name="T2" fmla="*/ 0 w 714"/>
                <a:gd name="T3" fmla="*/ 940 h 1297"/>
                <a:gd name="T4" fmla="*/ 673 w 714"/>
                <a:gd name="T5" fmla="*/ 1297 h 1297"/>
                <a:gd name="T6" fmla="*/ 714 w 714"/>
                <a:gd name="T7" fmla="*/ 1197 h 1297"/>
                <a:gd name="T8" fmla="*/ 244 w 714"/>
                <a:gd name="T9" fmla="*/ 873 h 1297"/>
                <a:gd name="T10" fmla="*/ 493 w 714"/>
                <a:gd name="T11" fmla="*/ 345 h 1297"/>
                <a:gd name="T12" fmla="*/ 410 w 714"/>
                <a:gd name="T13" fmla="*/ 9 h 1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4" h="1297">
                  <a:moveTo>
                    <a:pt x="410" y="9"/>
                  </a:moveTo>
                  <a:cubicBezTo>
                    <a:pt x="162" y="31"/>
                    <a:pt x="55" y="639"/>
                    <a:pt x="0" y="940"/>
                  </a:cubicBezTo>
                  <a:cubicBezTo>
                    <a:pt x="69" y="1093"/>
                    <a:pt x="673" y="1297"/>
                    <a:pt x="673" y="1297"/>
                  </a:cubicBezTo>
                  <a:cubicBezTo>
                    <a:pt x="714" y="1197"/>
                    <a:pt x="714" y="1197"/>
                    <a:pt x="714" y="1197"/>
                  </a:cubicBezTo>
                  <a:cubicBezTo>
                    <a:pt x="244" y="873"/>
                    <a:pt x="244" y="873"/>
                    <a:pt x="244" y="873"/>
                  </a:cubicBezTo>
                  <a:cubicBezTo>
                    <a:pt x="493" y="345"/>
                    <a:pt x="493" y="345"/>
                    <a:pt x="493" y="345"/>
                  </a:cubicBezTo>
                  <a:cubicBezTo>
                    <a:pt x="493" y="345"/>
                    <a:pt x="512" y="0"/>
                    <a:pt x="410" y="9"/>
                  </a:cubicBezTo>
                  <a:close/>
                </a:path>
              </a:pathLst>
            </a:custGeom>
            <a:solidFill>
              <a:srgbClr val="E3C8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659">
              <a:extLst>
                <a:ext uri="{FF2B5EF4-FFF2-40B4-BE49-F238E27FC236}">
                  <a16:creationId xmlns:a16="http://schemas.microsoft.com/office/drawing/2014/main" id="{F67704D2-2BBE-4007-965C-BA02F0300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5825" y="3567113"/>
              <a:ext cx="950913" cy="954088"/>
            </a:xfrm>
            <a:custGeom>
              <a:avLst/>
              <a:gdLst>
                <a:gd name="T0" fmla="*/ 175 w 1094"/>
                <a:gd name="T1" fmla="*/ 1027 h 1100"/>
                <a:gd name="T2" fmla="*/ 422 w 1094"/>
                <a:gd name="T3" fmla="*/ 90 h 1100"/>
                <a:gd name="T4" fmla="*/ 1087 w 1094"/>
                <a:gd name="T5" fmla="*/ 50 h 1100"/>
                <a:gd name="T6" fmla="*/ 1094 w 1094"/>
                <a:gd name="T7" fmla="*/ 160 h 1100"/>
                <a:gd name="T8" fmla="*/ 604 w 1094"/>
                <a:gd name="T9" fmla="*/ 259 h 1100"/>
                <a:gd name="T10" fmla="*/ 455 w 1094"/>
                <a:gd name="T11" fmla="*/ 823 h 1100"/>
                <a:gd name="T12" fmla="*/ 175 w 1094"/>
                <a:gd name="T13" fmla="*/ 1027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4" h="1100">
                  <a:moveTo>
                    <a:pt x="175" y="1027"/>
                  </a:moveTo>
                  <a:cubicBezTo>
                    <a:pt x="0" y="851"/>
                    <a:pt x="209" y="410"/>
                    <a:pt x="422" y="90"/>
                  </a:cubicBezTo>
                  <a:cubicBezTo>
                    <a:pt x="565" y="0"/>
                    <a:pt x="1087" y="50"/>
                    <a:pt x="1087" y="50"/>
                  </a:cubicBezTo>
                  <a:cubicBezTo>
                    <a:pt x="1094" y="160"/>
                    <a:pt x="1094" y="160"/>
                    <a:pt x="1094" y="160"/>
                  </a:cubicBezTo>
                  <a:cubicBezTo>
                    <a:pt x="604" y="259"/>
                    <a:pt x="604" y="259"/>
                    <a:pt x="604" y="259"/>
                  </a:cubicBezTo>
                  <a:cubicBezTo>
                    <a:pt x="455" y="823"/>
                    <a:pt x="455" y="823"/>
                    <a:pt x="455" y="823"/>
                  </a:cubicBezTo>
                  <a:cubicBezTo>
                    <a:pt x="455" y="823"/>
                    <a:pt x="248" y="1100"/>
                    <a:pt x="175" y="1027"/>
                  </a:cubicBezTo>
                  <a:close/>
                </a:path>
              </a:pathLst>
            </a:custGeom>
            <a:solidFill>
              <a:srgbClr val="447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660">
              <a:extLst>
                <a:ext uri="{FF2B5EF4-FFF2-40B4-BE49-F238E27FC236}">
                  <a16:creationId xmlns:a16="http://schemas.microsoft.com/office/drawing/2014/main" id="{0ACAE47F-9501-4224-A15B-0E1CE7FA5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3213" y="4067176"/>
              <a:ext cx="901700" cy="1023938"/>
            </a:xfrm>
            <a:custGeom>
              <a:avLst/>
              <a:gdLst>
                <a:gd name="T0" fmla="*/ 84 w 1037"/>
                <a:gd name="T1" fmla="*/ 1040 h 1182"/>
                <a:gd name="T2" fmla="*/ 977 w 1037"/>
                <a:gd name="T3" fmla="*/ 675 h 1182"/>
                <a:gd name="T4" fmla="*/ 790 w 1037"/>
                <a:gd name="T5" fmla="*/ 0 h 1182"/>
                <a:gd name="T6" fmla="*/ 679 w 1037"/>
                <a:gd name="T7" fmla="*/ 10 h 1182"/>
                <a:gd name="T8" fmla="*/ 767 w 1037"/>
                <a:gd name="T9" fmla="*/ 548 h 1182"/>
                <a:gd name="T10" fmla="*/ 237 w 1037"/>
                <a:gd name="T11" fmla="*/ 728 h 1182"/>
                <a:gd name="T12" fmla="*/ 84 w 1037"/>
                <a:gd name="T13" fmla="*/ 1040 h 1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7" h="1182">
                  <a:moveTo>
                    <a:pt x="84" y="1040"/>
                  </a:moveTo>
                  <a:cubicBezTo>
                    <a:pt x="288" y="1182"/>
                    <a:pt x="785" y="863"/>
                    <a:pt x="977" y="675"/>
                  </a:cubicBezTo>
                  <a:cubicBezTo>
                    <a:pt x="1037" y="482"/>
                    <a:pt x="790" y="0"/>
                    <a:pt x="790" y="0"/>
                  </a:cubicBezTo>
                  <a:cubicBezTo>
                    <a:pt x="679" y="10"/>
                    <a:pt x="679" y="10"/>
                    <a:pt x="679" y="10"/>
                  </a:cubicBezTo>
                  <a:cubicBezTo>
                    <a:pt x="767" y="548"/>
                    <a:pt x="767" y="548"/>
                    <a:pt x="767" y="548"/>
                  </a:cubicBezTo>
                  <a:cubicBezTo>
                    <a:pt x="237" y="728"/>
                    <a:pt x="237" y="728"/>
                    <a:pt x="237" y="728"/>
                  </a:cubicBezTo>
                  <a:cubicBezTo>
                    <a:pt x="237" y="728"/>
                    <a:pt x="0" y="981"/>
                    <a:pt x="84" y="1040"/>
                  </a:cubicBezTo>
                  <a:close/>
                </a:path>
              </a:pathLst>
            </a:custGeom>
            <a:solidFill>
              <a:srgbClr val="447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661">
              <a:extLst>
                <a:ext uri="{FF2B5EF4-FFF2-40B4-BE49-F238E27FC236}">
                  <a16:creationId xmlns:a16="http://schemas.microsoft.com/office/drawing/2014/main" id="{86036990-83B2-495D-AF96-FB939CD37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3038" y="2300288"/>
              <a:ext cx="628650" cy="561975"/>
            </a:xfrm>
            <a:custGeom>
              <a:avLst/>
              <a:gdLst>
                <a:gd name="T0" fmla="*/ 697 w 724"/>
                <a:gd name="T1" fmla="*/ 212 h 648"/>
                <a:gd name="T2" fmla="*/ 204 w 724"/>
                <a:gd name="T3" fmla="*/ 8 h 648"/>
                <a:gd name="T4" fmla="*/ 158 w 724"/>
                <a:gd name="T5" fmla="*/ 27 h 648"/>
                <a:gd name="T6" fmla="*/ 8 w 724"/>
                <a:gd name="T7" fmla="*/ 391 h 648"/>
                <a:gd name="T8" fmla="*/ 27 w 724"/>
                <a:gd name="T9" fmla="*/ 437 h 648"/>
                <a:gd name="T10" fmla="*/ 520 w 724"/>
                <a:gd name="T11" fmla="*/ 641 h 648"/>
                <a:gd name="T12" fmla="*/ 565 w 724"/>
                <a:gd name="T13" fmla="*/ 622 h 648"/>
                <a:gd name="T14" fmla="*/ 716 w 724"/>
                <a:gd name="T15" fmla="*/ 258 h 648"/>
                <a:gd name="T16" fmla="*/ 697 w 724"/>
                <a:gd name="T17" fmla="*/ 212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4" h="648">
                  <a:moveTo>
                    <a:pt x="697" y="212"/>
                  </a:moveTo>
                  <a:cubicBezTo>
                    <a:pt x="204" y="8"/>
                    <a:pt x="204" y="8"/>
                    <a:pt x="204" y="8"/>
                  </a:cubicBezTo>
                  <a:cubicBezTo>
                    <a:pt x="186" y="0"/>
                    <a:pt x="166" y="9"/>
                    <a:pt x="158" y="27"/>
                  </a:cubicBezTo>
                  <a:cubicBezTo>
                    <a:pt x="8" y="391"/>
                    <a:pt x="8" y="391"/>
                    <a:pt x="8" y="391"/>
                  </a:cubicBezTo>
                  <a:cubicBezTo>
                    <a:pt x="0" y="409"/>
                    <a:pt x="9" y="429"/>
                    <a:pt x="27" y="437"/>
                  </a:cubicBezTo>
                  <a:cubicBezTo>
                    <a:pt x="520" y="641"/>
                    <a:pt x="520" y="641"/>
                    <a:pt x="520" y="641"/>
                  </a:cubicBezTo>
                  <a:cubicBezTo>
                    <a:pt x="538" y="648"/>
                    <a:pt x="558" y="640"/>
                    <a:pt x="565" y="622"/>
                  </a:cubicBezTo>
                  <a:cubicBezTo>
                    <a:pt x="716" y="258"/>
                    <a:pt x="716" y="258"/>
                    <a:pt x="716" y="258"/>
                  </a:cubicBezTo>
                  <a:cubicBezTo>
                    <a:pt x="724" y="240"/>
                    <a:pt x="715" y="219"/>
                    <a:pt x="697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662">
              <a:extLst>
                <a:ext uri="{FF2B5EF4-FFF2-40B4-BE49-F238E27FC236}">
                  <a16:creationId xmlns:a16="http://schemas.microsoft.com/office/drawing/2014/main" id="{15F777DB-869B-4765-9BDF-6C4AD221C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3513" y="2274888"/>
              <a:ext cx="627063" cy="561975"/>
            </a:xfrm>
            <a:custGeom>
              <a:avLst/>
              <a:gdLst>
                <a:gd name="T0" fmla="*/ 7 w 723"/>
                <a:gd name="T1" fmla="*/ 391 h 648"/>
                <a:gd name="T2" fmla="*/ 158 w 723"/>
                <a:gd name="T3" fmla="*/ 27 h 648"/>
                <a:gd name="T4" fmla="*/ 204 w 723"/>
                <a:gd name="T5" fmla="*/ 8 h 648"/>
                <a:gd name="T6" fmla="*/ 697 w 723"/>
                <a:gd name="T7" fmla="*/ 212 h 648"/>
                <a:gd name="T8" fmla="*/ 716 w 723"/>
                <a:gd name="T9" fmla="*/ 258 h 648"/>
                <a:gd name="T10" fmla="*/ 565 w 723"/>
                <a:gd name="T11" fmla="*/ 622 h 648"/>
                <a:gd name="T12" fmla="*/ 519 w 723"/>
                <a:gd name="T13" fmla="*/ 641 h 648"/>
                <a:gd name="T14" fmla="*/ 26 w 723"/>
                <a:gd name="T15" fmla="*/ 437 h 648"/>
                <a:gd name="T16" fmla="*/ 7 w 723"/>
                <a:gd name="T17" fmla="*/ 391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3" h="648">
                  <a:moveTo>
                    <a:pt x="7" y="391"/>
                  </a:moveTo>
                  <a:cubicBezTo>
                    <a:pt x="158" y="27"/>
                    <a:pt x="158" y="27"/>
                    <a:pt x="158" y="27"/>
                  </a:cubicBezTo>
                  <a:cubicBezTo>
                    <a:pt x="165" y="9"/>
                    <a:pt x="186" y="0"/>
                    <a:pt x="204" y="8"/>
                  </a:cubicBezTo>
                  <a:cubicBezTo>
                    <a:pt x="697" y="212"/>
                    <a:pt x="697" y="212"/>
                    <a:pt x="697" y="212"/>
                  </a:cubicBezTo>
                  <a:cubicBezTo>
                    <a:pt x="714" y="219"/>
                    <a:pt x="723" y="240"/>
                    <a:pt x="716" y="258"/>
                  </a:cubicBezTo>
                  <a:cubicBezTo>
                    <a:pt x="565" y="622"/>
                    <a:pt x="565" y="622"/>
                    <a:pt x="565" y="622"/>
                  </a:cubicBezTo>
                  <a:cubicBezTo>
                    <a:pt x="557" y="640"/>
                    <a:pt x="537" y="648"/>
                    <a:pt x="519" y="641"/>
                  </a:cubicBezTo>
                  <a:cubicBezTo>
                    <a:pt x="26" y="437"/>
                    <a:pt x="26" y="437"/>
                    <a:pt x="26" y="437"/>
                  </a:cubicBezTo>
                  <a:cubicBezTo>
                    <a:pt x="8" y="429"/>
                    <a:pt x="0" y="409"/>
                    <a:pt x="7" y="39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663">
              <a:extLst>
                <a:ext uri="{FF2B5EF4-FFF2-40B4-BE49-F238E27FC236}">
                  <a16:creationId xmlns:a16="http://schemas.microsoft.com/office/drawing/2014/main" id="{AE618E9A-4AB3-4DF8-9531-DFA4339C4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2250" y="2314576"/>
              <a:ext cx="542925" cy="496888"/>
            </a:xfrm>
            <a:custGeom>
              <a:avLst/>
              <a:gdLst>
                <a:gd name="T0" fmla="*/ 0 w 342"/>
                <a:gd name="T1" fmla="*/ 207 h 313"/>
                <a:gd name="T2" fmla="*/ 85 w 342"/>
                <a:gd name="T3" fmla="*/ 0 h 313"/>
                <a:gd name="T4" fmla="*/ 342 w 342"/>
                <a:gd name="T5" fmla="*/ 106 h 313"/>
                <a:gd name="T6" fmla="*/ 257 w 342"/>
                <a:gd name="T7" fmla="*/ 313 h 313"/>
                <a:gd name="T8" fmla="*/ 0 w 342"/>
                <a:gd name="T9" fmla="*/ 207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" h="313">
                  <a:moveTo>
                    <a:pt x="0" y="207"/>
                  </a:moveTo>
                  <a:lnTo>
                    <a:pt x="85" y="0"/>
                  </a:lnTo>
                  <a:lnTo>
                    <a:pt x="342" y="106"/>
                  </a:lnTo>
                  <a:lnTo>
                    <a:pt x="257" y="313"/>
                  </a:lnTo>
                  <a:lnTo>
                    <a:pt x="0" y="207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64">
              <a:extLst>
                <a:ext uri="{FF2B5EF4-FFF2-40B4-BE49-F238E27FC236}">
                  <a16:creationId xmlns:a16="http://schemas.microsoft.com/office/drawing/2014/main" id="{2540A740-164E-4394-852E-FF0D9373E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6063" y="2449513"/>
              <a:ext cx="36513" cy="36513"/>
            </a:xfrm>
            <a:custGeom>
              <a:avLst/>
              <a:gdLst>
                <a:gd name="T0" fmla="*/ 14 w 42"/>
                <a:gd name="T1" fmla="*/ 38 h 41"/>
                <a:gd name="T2" fmla="*/ 4 w 42"/>
                <a:gd name="T3" fmla="*/ 14 h 41"/>
                <a:gd name="T4" fmla="*/ 28 w 42"/>
                <a:gd name="T5" fmla="*/ 4 h 41"/>
                <a:gd name="T6" fmla="*/ 38 w 42"/>
                <a:gd name="T7" fmla="*/ 28 h 41"/>
                <a:gd name="T8" fmla="*/ 14 w 42"/>
                <a:gd name="T9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1">
                  <a:moveTo>
                    <a:pt x="14" y="38"/>
                  </a:moveTo>
                  <a:cubicBezTo>
                    <a:pt x="5" y="34"/>
                    <a:pt x="0" y="23"/>
                    <a:pt x="4" y="14"/>
                  </a:cubicBezTo>
                  <a:cubicBezTo>
                    <a:pt x="8" y="4"/>
                    <a:pt x="19" y="0"/>
                    <a:pt x="28" y="4"/>
                  </a:cubicBezTo>
                  <a:cubicBezTo>
                    <a:pt x="38" y="8"/>
                    <a:pt x="42" y="18"/>
                    <a:pt x="38" y="28"/>
                  </a:cubicBezTo>
                  <a:cubicBezTo>
                    <a:pt x="34" y="37"/>
                    <a:pt x="24" y="41"/>
                    <a:pt x="14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665">
              <a:extLst>
                <a:ext uri="{FF2B5EF4-FFF2-40B4-BE49-F238E27FC236}">
                  <a16:creationId xmlns:a16="http://schemas.microsoft.com/office/drawing/2014/main" id="{62CFE098-D376-4ADA-AFE9-E91EE07CD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7825" y="2363788"/>
              <a:ext cx="234950" cy="100013"/>
            </a:xfrm>
            <a:custGeom>
              <a:avLst/>
              <a:gdLst>
                <a:gd name="T0" fmla="*/ 0 w 270"/>
                <a:gd name="T1" fmla="*/ 1 h 114"/>
                <a:gd name="T2" fmla="*/ 2 w 270"/>
                <a:gd name="T3" fmla="*/ 1 h 114"/>
                <a:gd name="T4" fmla="*/ 269 w 270"/>
                <a:gd name="T5" fmla="*/ 111 h 114"/>
                <a:gd name="T6" fmla="*/ 270 w 270"/>
                <a:gd name="T7" fmla="*/ 113 h 114"/>
                <a:gd name="T8" fmla="*/ 268 w 270"/>
                <a:gd name="T9" fmla="*/ 114 h 114"/>
                <a:gd name="T10" fmla="*/ 1 w 270"/>
                <a:gd name="T11" fmla="*/ 3 h 114"/>
                <a:gd name="T12" fmla="*/ 0 w 270"/>
                <a:gd name="T13" fmla="*/ 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114">
                  <a:moveTo>
                    <a:pt x="0" y="1"/>
                  </a:moveTo>
                  <a:cubicBezTo>
                    <a:pt x="1" y="1"/>
                    <a:pt x="1" y="0"/>
                    <a:pt x="2" y="1"/>
                  </a:cubicBezTo>
                  <a:cubicBezTo>
                    <a:pt x="269" y="111"/>
                    <a:pt x="269" y="111"/>
                    <a:pt x="269" y="111"/>
                  </a:cubicBezTo>
                  <a:cubicBezTo>
                    <a:pt x="270" y="112"/>
                    <a:pt x="270" y="112"/>
                    <a:pt x="270" y="113"/>
                  </a:cubicBezTo>
                  <a:cubicBezTo>
                    <a:pt x="270" y="114"/>
                    <a:pt x="269" y="114"/>
                    <a:pt x="268" y="11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666">
              <a:extLst>
                <a:ext uri="{FF2B5EF4-FFF2-40B4-BE49-F238E27FC236}">
                  <a16:creationId xmlns:a16="http://schemas.microsoft.com/office/drawing/2014/main" id="{EF23600E-87F0-4170-B8E8-A309285BE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8450" y="2357438"/>
              <a:ext cx="100013" cy="234950"/>
            </a:xfrm>
            <a:custGeom>
              <a:avLst/>
              <a:gdLst>
                <a:gd name="T0" fmla="*/ 1 w 115"/>
                <a:gd name="T1" fmla="*/ 270 h 272"/>
                <a:gd name="T2" fmla="*/ 112 w 115"/>
                <a:gd name="T3" fmla="*/ 2 h 272"/>
                <a:gd name="T4" fmla="*/ 114 w 115"/>
                <a:gd name="T5" fmla="*/ 1 h 272"/>
                <a:gd name="T6" fmla="*/ 115 w 115"/>
                <a:gd name="T7" fmla="*/ 3 h 272"/>
                <a:gd name="T8" fmla="*/ 3 w 115"/>
                <a:gd name="T9" fmla="*/ 271 h 272"/>
                <a:gd name="T10" fmla="*/ 2 w 115"/>
                <a:gd name="T11" fmla="*/ 272 h 272"/>
                <a:gd name="T12" fmla="*/ 1 w 115"/>
                <a:gd name="T13" fmla="*/ 27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272">
                  <a:moveTo>
                    <a:pt x="1" y="270"/>
                  </a:moveTo>
                  <a:cubicBezTo>
                    <a:pt x="112" y="2"/>
                    <a:pt x="112" y="2"/>
                    <a:pt x="112" y="2"/>
                  </a:cubicBezTo>
                  <a:cubicBezTo>
                    <a:pt x="112" y="1"/>
                    <a:pt x="113" y="0"/>
                    <a:pt x="114" y="1"/>
                  </a:cubicBezTo>
                  <a:cubicBezTo>
                    <a:pt x="115" y="1"/>
                    <a:pt x="115" y="2"/>
                    <a:pt x="115" y="3"/>
                  </a:cubicBezTo>
                  <a:cubicBezTo>
                    <a:pt x="3" y="271"/>
                    <a:pt x="3" y="271"/>
                    <a:pt x="3" y="271"/>
                  </a:cubicBezTo>
                  <a:cubicBezTo>
                    <a:pt x="3" y="272"/>
                    <a:pt x="2" y="272"/>
                    <a:pt x="2" y="272"/>
                  </a:cubicBezTo>
                  <a:cubicBezTo>
                    <a:pt x="1" y="272"/>
                    <a:pt x="0" y="271"/>
                    <a:pt x="1" y="270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667">
              <a:extLst>
                <a:ext uri="{FF2B5EF4-FFF2-40B4-BE49-F238E27FC236}">
                  <a16:creationId xmlns:a16="http://schemas.microsoft.com/office/drawing/2014/main" id="{0D9C8F8D-54A8-4F0F-BE42-2A667EDF5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7825" y="2400301"/>
              <a:ext cx="144463" cy="282575"/>
            </a:xfrm>
            <a:custGeom>
              <a:avLst/>
              <a:gdLst>
                <a:gd name="T0" fmla="*/ 38 w 165"/>
                <a:gd name="T1" fmla="*/ 2 h 326"/>
                <a:gd name="T2" fmla="*/ 39 w 165"/>
                <a:gd name="T3" fmla="*/ 1 h 326"/>
                <a:gd name="T4" fmla="*/ 41 w 165"/>
                <a:gd name="T5" fmla="*/ 1 h 326"/>
                <a:gd name="T6" fmla="*/ 99 w 165"/>
                <a:gd name="T7" fmla="*/ 85 h 326"/>
                <a:gd name="T8" fmla="*/ 100 w 165"/>
                <a:gd name="T9" fmla="*/ 86 h 326"/>
                <a:gd name="T10" fmla="*/ 99 w 165"/>
                <a:gd name="T11" fmla="*/ 87 h 326"/>
                <a:gd name="T12" fmla="*/ 69 w 165"/>
                <a:gd name="T13" fmla="*/ 106 h 326"/>
                <a:gd name="T14" fmla="*/ 133 w 165"/>
                <a:gd name="T15" fmla="*/ 165 h 326"/>
                <a:gd name="T16" fmla="*/ 133 w 165"/>
                <a:gd name="T17" fmla="*/ 167 h 326"/>
                <a:gd name="T18" fmla="*/ 133 w 165"/>
                <a:gd name="T19" fmla="*/ 167 h 326"/>
                <a:gd name="T20" fmla="*/ 132 w 165"/>
                <a:gd name="T21" fmla="*/ 168 h 326"/>
                <a:gd name="T22" fmla="*/ 7 w 165"/>
                <a:gd name="T23" fmla="*/ 160 h 326"/>
                <a:gd name="T24" fmla="*/ 72 w 165"/>
                <a:gd name="T25" fmla="*/ 206 h 326"/>
                <a:gd name="T26" fmla="*/ 72 w 165"/>
                <a:gd name="T27" fmla="*/ 208 h 326"/>
                <a:gd name="T28" fmla="*/ 71 w 165"/>
                <a:gd name="T29" fmla="*/ 209 h 326"/>
                <a:gd name="T30" fmla="*/ 42 w 165"/>
                <a:gd name="T31" fmla="*/ 214 h 326"/>
                <a:gd name="T32" fmla="*/ 112 w 165"/>
                <a:gd name="T33" fmla="*/ 260 h 326"/>
                <a:gd name="T34" fmla="*/ 113 w 165"/>
                <a:gd name="T35" fmla="*/ 261 h 326"/>
                <a:gd name="T36" fmla="*/ 111 w 165"/>
                <a:gd name="T37" fmla="*/ 262 h 326"/>
                <a:gd name="T38" fmla="*/ 94 w 165"/>
                <a:gd name="T39" fmla="*/ 267 h 326"/>
                <a:gd name="T40" fmla="*/ 164 w 165"/>
                <a:gd name="T41" fmla="*/ 324 h 326"/>
                <a:gd name="T42" fmla="*/ 164 w 165"/>
                <a:gd name="T43" fmla="*/ 326 h 326"/>
                <a:gd name="T44" fmla="*/ 162 w 165"/>
                <a:gd name="T45" fmla="*/ 326 h 326"/>
                <a:gd name="T46" fmla="*/ 90 w 165"/>
                <a:gd name="T47" fmla="*/ 267 h 326"/>
                <a:gd name="T48" fmla="*/ 90 w 165"/>
                <a:gd name="T49" fmla="*/ 266 h 326"/>
                <a:gd name="T50" fmla="*/ 91 w 165"/>
                <a:gd name="T51" fmla="*/ 265 h 326"/>
                <a:gd name="T52" fmla="*/ 108 w 165"/>
                <a:gd name="T53" fmla="*/ 260 h 326"/>
                <a:gd name="T54" fmla="*/ 37 w 165"/>
                <a:gd name="T55" fmla="*/ 215 h 326"/>
                <a:gd name="T56" fmla="*/ 36 w 165"/>
                <a:gd name="T57" fmla="*/ 213 h 326"/>
                <a:gd name="T58" fmla="*/ 37 w 165"/>
                <a:gd name="T59" fmla="*/ 212 h 326"/>
                <a:gd name="T60" fmla="*/ 67 w 165"/>
                <a:gd name="T61" fmla="*/ 207 h 326"/>
                <a:gd name="T62" fmla="*/ 1 w 165"/>
                <a:gd name="T63" fmla="*/ 159 h 326"/>
                <a:gd name="T64" fmla="*/ 0 w 165"/>
                <a:gd name="T65" fmla="*/ 158 h 326"/>
                <a:gd name="T66" fmla="*/ 2 w 165"/>
                <a:gd name="T67" fmla="*/ 157 h 326"/>
                <a:gd name="T68" fmla="*/ 128 w 165"/>
                <a:gd name="T69" fmla="*/ 164 h 326"/>
                <a:gd name="T70" fmla="*/ 65 w 165"/>
                <a:gd name="T71" fmla="*/ 107 h 326"/>
                <a:gd name="T72" fmla="*/ 65 w 165"/>
                <a:gd name="T73" fmla="*/ 106 h 326"/>
                <a:gd name="T74" fmla="*/ 66 w 165"/>
                <a:gd name="T75" fmla="*/ 104 h 326"/>
                <a:gd name="T76" fmla="*/ 96 w 165"/>
                <a:gd name="T77" fmla="*/ 85 h 326"/>
                <a:gd name="T78" fmla="*/ 38 w 165"/>
                <a:gd name="T79" fmla="*/ 3 h 326"/>
                <a:gd name="T80" fmla="*/ 38 w 165"/>
                <a:gd name="T81" fmla="*/ 2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5" h="326">
                  <a:moveTo>
                    <a:pt x="38" y="2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39" y="0"/>
                    <a:pt x="40" y="1"/>
                    <a:pt x="41" y="1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100" y="85"/>
                    <a:pt x="100" y="85"/>
                    <a:pt x="100" y="86"/>
                  </a:cubicBezTo>
                  <a:cubicBezTo>
                    <a:pt x="100" y="86"/>
                    <a:pt x="99" y="87"/>
                    <a:pt x="99" y="87"/>
                  </a:cubicBezTo>
                  <a:cubicBezTo>
                    <a:pt x="69" y="106"/>
                    <a:pt x="69" y="106"/>
                    <a:pt x="69" y="106"/>
                  </a:cubicBezTo>
                  <a:cubicBezTo>
                    <a:pt x="133" y="165"/>
                    <a:pt x="133" y="165"/>
                    <a:pt x="133" y="165"/>
                  </a:cubicBezTo>
                  <a:cubicBezTo>
                    <a:pt x="133" y="165"/>
                    <a:pt x="133" y="166"/>
                    <a:pt x="133" y="167"/>
                  </a:cubicBezTo>
                  <a:cubicBezTo>
                    <a:pt x="133" y="167"/>
                    <a:pt x="133" y="167"/>
                    <a:pt x="133" y="167"/>
                  </a:cubicBezTo>
                  <a:cubicBezTo>
                    <a:pt x="133" y="167"/>
                    <a:pt x="132" y="168"/>
                    <a:pt x="132" y="168"/>
                  </a:cubicBezTo>
                  <a:cubicBezTo>
                    <a:pt x="7" y="160"/>
                    <a:pt x="7" y="160"/>
                    <a:pt x="7" y="160"/>
                  </a:cubicBezTo>
                  <a:cubicBezTo>
                    <a:pt x="72" y="206"/>
                    <a:pt x="72" y="206"/>
                    <a:pt x="72" y="206"/>
                  </a:cubicBezTo>
                  <a:cubicBezTo>
                    <a:pt x="72" y="207"/>
                    <a:pt x="72" y="207"/>
                    <a:pt x="72" y="208"/>
                  </a:cubicBezTo>
                  <a:cubicBezTo>
                    <a:pt x="72" y="208"/>
                    <a:pt x="72" y="209"/>
                    <a:pt x="71" y="209"/>
                  </a:cubicBezTo>
                  <a:cubicBezTo>
                    <a:pt x="42" y="214"/>
                    <a:pt x="42" y="214"/>
                    <a:pt x="42" y="214"/>
                  </a:cubicBezTo>
                  <a:cubicBezTo>
                    <a:pt x="112" y="260"/>
                    <a:pt x="112" y="260"/>
                    <a:pt x="112" y="260"/>
                  </a:cubicBezTo>
                  <a:cubicBezTo>
                    <a:pt x="112" y="260"/>
                    <a:pt x="113" y="260"/>
                    <a:pt x="113" y="261"/>
                  </a:cubicBezTo>
                  <a:cubicBezTo>
                    <a:pt x="112" y="262"/>
                    <a:pt x="112" y="262"/>
                    <a:pt x="111" y="262"/>
                  </a:cubicBezTo>
                  <a:cubicBezTo>
                    <a:pt x="94" y="267"/>
                    <a:pt x="94" y="267"/>
                    <a:pt x="94" y="267"/>
                  </a:cubicBezTo>
                  <a:cubicBezTo>
                    <a:pt x="164" y="324"/>
                    <a:pt x="164" y="324"/>
                    <a:pt x="164" y="324"/>
                  </a:cubicBezTo>
                  <a:cubicBezTo>
                    <a:pt x="165" y="324"/>
                    <a:pt x="165" y="325"/>
                    <a:pt x="164" y="326"/>
                  </a:cubicBezTo>
                  <a:cubicBezTo>
                    <a:pt x="164" y="326"/>
                    <a:pt x="163" y="326"/>
                    <a:pt x="162" y="326"/>
                  </a:cubicBezTo>
                  <a:cubicBezTo>
                    <a:pt x="90" y="267"/>
                    <a:pt x="90" y="267"/>
                    <a:pt x="90" y="267"/>
                  </a:cubicBezTo>
                  <a:cubicBezTo>
                    <a:pt x="90" y="267"/>
                    <a:pt x="90" y="266"/>
                    <a:pt x="90" y="266"/>
                  </a:cubicBezTo>
                  <a:cubicBezTo>
                    <a:pt x="90" y="265"/>
                    <a:pt x="91" y="265"/>
                    <a:pt x="91" y="265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37" y="215"/>
                    <a:pt x="37" y="215"/>
                    <a:pt x="37" y="215"/>
                  </a:cubicBezTo>
                  <a:cubicBezTo>
                    <a:pt x="36" y="215"/>
                    <a:pt x="36" y="214"/>
                    <a:pt x="36" y="213"/>
                  </a:cubicBezTo>
                  <a:cubicBezTo>
                    <a:pt x="36" y="213"/>
                    <a:pt x="37" y="212"/>
                    <a:pt x="37" y="212"/>
                  </a:cubicBezTo>
                  <a:cubicBezTo>
                    <a:pt x="67" y="207"/>
                    <a:pt x="67" y="207"/>
                    <a:pt x="67" y="207"/>
                  </a:cubicBezTo>
                  <a:cubicBezTo>
                    <a:pt x="1" y="159"/>
                    <a:pt x="1" y="159"/>
                    <a:pt x="1" y="159"/>
                  </a:cubicBezTo>
                  <a:cubicBezTo>
                    <a:pt x="0" y="159"/>
                    <a:pt x="0" y="158"/>
                    <a:pt x="0" y="158"/>
                  </a:cubicBezTo>
                  <a:cubicBezTo>
                    <a:pt x="1" y="157"/>
                    <a:pt x="1" y="157"/>
                    <a:pt x="2" y="157"/>
                  </a:cubicBezTo>
                  <a:cubicBezTo>
                    <a:pt x="128" y="164"/>
                    <a:pt x="128" y="164"/>
                    <a:pt x="128" y="164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65" y="106"/>
                    <a:pt x="65" y="106"/>
                    <a:pt x="65" y="106"/>
                  </a:cubicBezTo>
                  <a:cubicBezTo>
                    <a:pt x="65" y="105"/>
                    <a:pt x="65" y="105"/>
                    <a:pt x="66" y="104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2"/>
                    <a:pt x="38" y="2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668">
              <a:extLst>
                <a:ext uri="{FF2B5EF4-FFF2-40B4-BE49-F238E27FC236}">
                  <a16:creationId xmlns:a16="http://schemas.microsoft.com/office/drawing/2014/main" id="{B0C16853-D4E6-4DEA-A4D9-A35895DB4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3238" y="2665413"/>
              <a:ext cx="19050" cy="17463"/>
            </a:xfrm>
            <a:custGeom>
              <a:avLst/>
              <a:gdLst>
                <a:gd name="T0" fmla="*/ 0 w 22"/>
                <a:gd name="T1" fmla="*/ 11 h 20"/>
                <a:gd name="T2" fmla="*/ 2 w 22"/>
                <a:gd name="T3" fmla="*/ 11 h 20"/>
                <a:gd name="T4" fmla="*/ 17 w 22"/>
                <a:gd name="T5" fmla="*/ 16 h 20"/>
                <a:gd name="T6" fmla="*/ 8 w 22"/>
                <a:gd name="T7" fmla="*/ 3 h 20"/>
                <a:gd name="T8" fmla="*/ 9 w 22"/>
                <a:gd name="T9" fmla="*/ 1 h 20"/>
                <a:gd name="T10" fmla="*/ 11 w 22"/>
                <a:gd name="T11" fmla="*/ 1 h 20"/>
                <a:gd name="T12" fmla="*/ 21 w 22"/>
                <a:gd name="T13" fmla="*/ 18 h 20"/>
                <a:gd name="T14" fmla="*/ 21 w 22"/>
                <a:gd name="T15" fmla="*/ 20 h 20"/>
                <a:gd name="T16" fmla="*/ 20 w 22"/>
                <a:gd name="T17" fmla="*/ 20 h 20"/>
                <a:gd name="T18" fmla="*/ 1 w 22"/>
                <a:gd name="T19" fmla="*/ 13 h 20"/>
                <a:gd name="T20" fmla="*/ 0 w 22"/>
                <a:gd name="T21" fmla="*/ 12 h 20"/>
                <a:gd name="T22" fmla="*/ 0 w 22"/>
                <a:gd name="T2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0">
                  <a:moveTo>
                    <a:pt x="0" y="11"/>
                  </a:moveTo>
                  <a:cubicBezTo>
                    <a:pt x="0" y="11"/>
                    <a:pt x="1" y="10"/>
                    <a:pt x="2" y="11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9" y="1"/>
                  </a:cubicBezTo>
                  <a:cubicBezTo>
                    <a:pt x="10" y="0"/>
                    <a:pt x="10" y="0"/>
                    <a:pt x="11" y="1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2" y="19"/>
                    <a:pt x="22" y="19"/>
                    <a:pt x="21" y="20"/>
                  </a:cubicBezTo>
                  <a:cubicBezTo>
                    <a:pt x="21" y="20"/>
                    <a:pt x="20" y="20"/>
                    <a:pt x="20" y="20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2"/>
                    <a:pt x="0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669">
              <a:extLst>
                <a:ext uri="{FF2B5EF4-FFF2-40B4-BE49-F238E27FC236}">
                  <a16:creationId xmlns:a16="http://schemas.microsoft.com/office/drawing/2014/main" id="{6A9346AD-CE65-4540-B12A-EA6C0EC42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5950" y="2506663"/>
              <a:ext cx="111125" cy="260350"/>
            </a:xfrm>
            <a:custGeom>
              <a:avLst/>
              <a:gdLst>
                <a:gd name="T0" fmla="*/ 0 w 70"/>
                <a:gd name="T1" fmla="*/ 163 h 164"/>
                <a:gd name="T2" fmla="*/ 68 w 70"/>
                <a:gd name="T3" fmla="*/ 0 h 164"/>
                <a:gd name="T4" fmla="*/ 70 w 70"/>
                <a:gd name="T5" fmla="*/ 1 h 164"/>
                <a:gd name="T6" fmla="*/ 3 w 70"/>
                <a:gd name="T7" fmla="*/ 164 h 164"/>
                <a:gd name="T8" fmla="*/ 0 w 70"/>
                <a:gd name="T9" fmla="*/ 16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3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3" y="164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670">
              <a:extLst>
                <a:ext uri="{FF2B5EF4-FFF2-40B4-BE49-F238E27FC236}">
                  <a16:creationId xmlns:a16="http://schemas.microsoft.com/office/drawing/2014/main" id="{5B894938-C742-4699-A96B-875E3AC4C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5313" y="2497138"/>
              <a:ext cx="111125" cy="260350"/>
            </a:xfrm>
            <a:custGeom>
              <a:avLst/>
              <a:gdLst>
                <a:gd name="T0" fmla="*/ 0 w 70"/>
                <a:gd name="T1" fmla="*/ 164 h 164"/>
                <a:gd name="T2" fmla="*/ 68 w 70"/>
                <a:gd name="T3" fmla="*/ 0 h 164"/>
                <a:gd name="T4" fmla="*/ 70 w 70"/>
                <a:gd name="T5" fmla="*/ 1 h 164"/>
                <a:gd name="T6" fmla="*/ 2 w 70"/>
                <a:gd name="T7" fmla="*/ 164 h 164"/>
                <a:gd name="T8" fmla="*/ 0 w 70"/>
                <a:gd name="T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4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2" y="164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671">
              <a:extLst>
                <a:ext uri="{FF2B5EF4-FFF2-40B4-BE49-F238E27FC236}">
                  <a16:creationId xmlns:a16="http://schemas.microsoft.com/office/drawing/2014/main" id="{FE5E4E1D-04CC-4787-AFA0-EEA774A2E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3088" y="2487613"/>
              <a:ext cx="111125" cy="261938"/>
            </a:xfrm>
            <a:custGeom>
              <a:avLst/>
              <a:gdLst>
                <a:gd name="T0" fmla="*/ 0 w 70"/>
                <a:gd name="T1" fmla="*/ 164 h 165"/>
                <a:gd name="T2" fmla="*/ 68 w 70"/>
                <a:gd name="T3" fmla="*/ 0 h 165"/>
                <a:gd name="T4" fmla="*/ 70 w 70"/>
                <a:gd name="T5" fmla="*/ 2 h 165"/>
                <a:gd name="T6" fmla="*/ 2 w 70"/>
                <a:gd name="T7" fmla="*/ 165 h 165"/>
                <a:gd name="T8" fmla="*/ 0 w 70"/>
                <a:gd name="T9" fmla="*/ 16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5">
                  <a:moveTo>
                    <a:pt x="0" y="164"/>
                  </a:moveTo>
                  <a:lnTo>
                    <a:pt x="68" y="0"/>
                  </a:lnTo>
                  <a:lnTo>
                    <a:pt x="70" y="2"/>
                  </a:lnTo>
                  <a:lnTo>
                    <a:pt x="2" y="165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72">
              <a:extLst>
                <a:ext uri="{FF2B5EF4-FFF2-40B4-BE49-F238E27FC236}">
                  <a16:creationId xmlns:a16="http://schemas.microsoft.com/office/drawing/2014/main" id="{47003382-97CB-4D6D-8E8A-237950B8F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0863" y="2479676"/>
              <a:ext cx="111125" cy="260350"/>
            </a:xfrm>
            <a:custGeom>
              <a:avLst/>
              <a:gdLst>
                <a:gd name="T0" fmla="*/ 0 w 70"/>
                <a:gd name="T1" fmla="*/ 163 h 164"/>
                <a:gd name="T2" fmla="*/ 68 w 70"/>
                <a:gd name="T3" fmla="*/ 0 h 164"/>
                <a:gd name="T4" fmla="*/ 70 w 70"/>
                <a:gd name="T5" fmla="*/ 1 h 164"/>
                <a:gd name="T6" fmla="*/ 2 w 70"/>
                <a:gd name="T7" fmla="*/ 164 h 164"/>
                <a:gd name="T8" fmla="*/ 0 w 70"/>
                <a:gd name="T9" fmla="*/ 16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4">
                  <a:moveTo>
                    <a:pt x="0" y="163"/>
                  </a:moveTo>
                  <a:lnTo>
                    <a:pt x="68" y="0"/>
                  </a:lnTo>
                  <a:lnTo>
                    <a:pt x="70" y="1"/>
                  </a:lnTo>
                  <a:lnTo>
                    <a:pt x="2" y="164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673">
              <a:extLst>
                <a:ext uri="{FF2B5EF4-FFF2-40B4-BE49-F238E27FC236}">
                  <a16:creationId xmlns:a16="http://schemas.microsoft.com/office/drawing/2014/main" id="{51A5FAD9-E0A9-4E46-BAA1-F26EB94A2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9800" y="2497138"/>
              <a:ext cx="585788" cy="461963"/>
            </a:xfrm>
            <a:custGeom>
              <a:avLst/>
              <a:gdLst>
                <a:gd name="T0" fmla="*/ 652 w 675"/>
                <a:gd name="T1" fmla="*/ 37 h 533"/>
                <a:gd name="T2" fmla="*/ 674 w 675"/>
                <a:gd name="T3" fmla="*/ 462 h 533"/>
                <a:gd name="T4" fmla="*/ 638 w 675"/>
                <a:gd name="T5" fmla="*/ 502 h 533"/>
                <a:gd name="T6" fmla="*/ 63 w 675"/>
                <a:gd name="T7" fmla="*/ 531 h 533"/>
                <a:gd name="T8" fmla="*/ 23 w 675"/>
                <a:gd name="T9" fmla="*/ 496 h 533"/>
                <a:gd name="T10" fmla="*/ 1 w 675"/>
                <a:gd name="T11" fmla="*/ 71 h 533"/>
                <a:gd name="T12" fmla="*/ 37 w 675"/>
                <a:gd name="T13" fmla="*/ 31 h 533"/>
                <a:gd name="T14" fmla="*/ 612 w 675"/>
                <a:gd name="T15" fmla="*/ 1 h 533"/>
                <a:gd name="T16" fmla="*/ 652 w 675"/>
                <a:gd name="T17" fmla="*/ 3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533">
                  <a:moveTo>
                    <a:pt x="652" y="37"/>
                  </a:moveTo>
                  <a:cubicBezTo>
                    <a:pt x="674" y="462"/>
                    <a:pt x="674" y="462"/>
                    <a:pt x="674" y="462"/>
                  </a:cubicBezTo>
                  <a:cubicBezTo>
                    <a:pt x="675" y="483"/>
                    <a:pt x="659" y="500"/>
                    <a:pt x="638" y="502"/>
                  </a:cubicBezTo>
                  <a:cubicBezTo>
                    <a:pt x="63" y="531"/>
                    <a:pt x="63" y="531"/>
                    <a:pt x="63" y="531"/>
                  </a:cubicBezTo>
                  <a:cubicBezTo>
                    <a:pt x="42" y="533"/>
                    <a:pt x="24" y="516"/>
                    <a:pt x="23" y="496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50"/>
                    <a:pt x="16" y="32"/>
                    <a:pt x="37" y="31"/>
                  </a:cubicBezTo>
                  <a:cubicBezTo>
                    <a:pt x="612" y="1"/>
                    <a:pt x="612" y="1"/>
                    <a:pt x="612" y="1"/>
                  </a:cubicBezTo>
                  <a:cubicBezTo>
                    <a:pt x="633" y="0"/>
                    <a:pt x="651" y="16"/>
                    <a:pt x="652" y="37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74">
              <a:extLst>
                <a:ext uri="{FF2B5EF4-FFF2-40B4-BE49-F238E27FC236}">
                  <a16:creationId xmlns:a16="http://schemas.microsoft.com/office/drawing/2014/main" id="{C7C10F7B-2DBC-498B-BCD0-1D4763CB4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5200" y="2525713"/>
              <a:ext cx="527050" cy="406400"/>
            </a:xfrm>
            <a:custGeom>
              <a:avLst/>
              <a:gdLst>
                <a:gd name="T0" fmla="*/ 320 w 332"/>
                <a:gd name="T1" fmla="*/ 0 h 256"/>
                <a:gd name="T2" fmla="*/ 332 w 332"/>
                <a:gd name="T3" fmla="*/ 240 h 256"/>
                <a:gd name="T4" fmla="*/ 13 w 332"/>
                <a:gd name="T5" fmla="*/ 256 h 256"/>
                <a:gd name="T6" fmla="*/ 0 w 332"/>
                <a:gd name="T7" fmla="*/ 15 h 256"/>
                <a:gd name="T8" fmla="*/ 320 w 332"/>
                <a:gd name="T9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2" h="256">
                  <a:moveTo>
                    <a:pt x="320" y="0"/>
                  </a:moveTo>
                  <a:lnTo>
                    <a:pt x="332" y="240"/>
                  </a:lnTo>
                  <a:lnTo>
                    <a:pt x="13" y="256"/>
                  </a:lnTo>
                  <a:lnTo>
                    <a:pt x="0" y="15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675">
              <a:extLst>
                <a:ext uri="{FF2B5EF4-FFF2-40B4-BE49-F238E27FC236}">
                  <a16:creationId xmlns:a16="http://schemas.microsoft.com/office/drawing/2014/main" id="{0D688104-C53E-4BF3-AAC7-3FD9D34BF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9163" y="2058988"/>
              <a:ext cx="585788" cy="461963"/>
            </a:xfrm>
            <a:custGeom>
              <a:avLst/>
              <a:gdLst>
                <a:gd name="T0" fmla="*/ 652 w 675"/>
                <a:gd name="T1" fmla="*/ 37 h 533"/>
                <a:gd name="T2" fmla="*/ 674 w 675"/>
                <a:gd name="T3" fmla="*/ 462 h 533"/>
                <a:gd name="T4" fmla="*/ 638 w 675"/>
                <a:gd name="T5" fmla="*/ 502 h 533"/>
                <a:gd name="T6" fmla="*/ 63 w 675"/>
                <a:gd name="T7" fmla="*/ 532 h 533"/>
                <a:gd name="T8" fmla="*/ 23 w 675"/>
                <a:gd name="T9" fmla="*/ 496 h 533"/>
                <a:gd name="T10" fmla="*/ 1 w 675"/>
                <a:gd name="T11" fmla="*/ 71 h 533"/>
                <a:gd name="T12" fmla="*/ 37 w 675"/>
                <a:gd name="T13" fmla="*/ 31 h 533"/>
                <a:gd name="T14" fmla="*/ 612 w 675"/>
                <a:gd name="T15" fmla="*/ 1 h 533"/>
                <a:gd name="T16" fmla="*/ 652 w 675"/>
                <a:gd name="T17" fmla="*/ 3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533">
                  <a:moveTo>
                    <a:pt x="652" y="37"/>
                  </a:moveTo>
                  <a:cubicBezTo>
                    <a:pt x="674" y="462"/>
                    <a:pt x="674" y="462"/>
                    <a:pt x="674" y="462"/>
                  </a:cubicBezTo>
                  <a:cubicBezTo>
                    <a:pt x="675" y="483"/>
                    <a:pt x="659" y="501"/>
                    <a:pt x="638" y="502"/>
                  </a:cubicBezTo>
                  <a:cubicBezTo>
                    <a:pt x="63" y="532"/>
                    <a:pt x="63" y="532"/>
                    <a:pt x="63" y="532"/>
                  </a:cubicBezTo>
                  <a:cubicBezTo>
                    <a:pt x="42" y="533"/>
                    <a:pt x="24" y="517"/>
                    <a:pt x="23" y="496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50"/>
                    <a:pt x="16" y="32"/>
                    <a:pt x="37" y="31"/>
                  </a:cubicBezTo>
                  <a:cubicBezTo>
                    <a:pt x="612" y="1"/>
                    <a:pt x="612" y="1"/>
                    <a:pt x="612" y="1"/>
                  </a:cubicBezTo>
                  <a:cubicBezTo>
                    <a:pt x="633" y="0"/>
                    <a:pt x="651" y="16"/>
                    <a:pt x="652" y="37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676">
              <a:extLst>
                <a:ext uri="{FF2B5EF4-FFF2-40B4-BE49-F238E27FC236}">
                  <a16:creationId xmlns:a16="http://schemas.microsoft.com/office/drawing/2014/main" id="{BE48FF14-8BEE-44AF-BA9F-526F2ED4F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4563" y="2087563"/>
              <a:ext cx="527050" cy="406400"/>
            </a:xfrm>
            <a:custGeom>
              <a:avLst/>
              <a:gdLst>
                <a:gd name="T0" fmla="*/ 320 w 332"/>
                <a:gd name="T1" fmla="*/ 0 h 256"/>
                <a:gd name="T2" fmla="*/ 332 w 332"/>
                <a:gd name="T3" fmla="*/ 240 h 256"/>
                <a:gd name="T4" fmla="*/ 13 w 332"/>
                <a:gd name="T5" fmla="*/ 256 h 256"/>
                <a:gd name="T6" fmla="*/ 0 w 332"/>
                <a:gd name="T7" fmla="*/ 15 h 256"/>
                <a:gd name="T8" fmla="*/ 320 w 332"/>
                <a:gd name="T9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2" h="256">
                  <a:moveTo>
                    <a:pt x="320" y="0"/>
                  </a:moveTo>
                  <a:lnTo>
                    <a:pt x="332" y="240"/>
                  </a:lnTo>
                  <a:lnTo>
                    <a:pt x="13" y="256"/>
                  </a:lnTo>
                  <a:lnTo>
                    <a:pt x="0" y="15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677">
              <a:extLst>
                <a:ext uri="{FF2B5EF4-FFF2-40B4-BE49-F238E27FC236}">
                  <a16:creationId xmlns:a16="http://schemas.microsoft.com/office/drawing/2014/main" id="{02BA105E-F192-47DE-AF1A-ADDAEA148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7450" y="2865438"/>
              <a:ext cx="274638" cy="17463"/>
            </a:xfrm>
            <a:custGeom>
              <a:avLst/>
              <a:gdLst>
                <a:gd name="T0" fmla="*/ 315 w 315"/>
                <a:gd name="T1" fmla="*/ 2 h 20"/>
                <a:gd name="T2" fmla="*/ 313 w 315"/>
                <a:gd name="T3" fmla="*/ 4 h 20"/>
                <a:gd name="T4" fmla="*/ 2 w 315"/>
                <a:gd name="T5" fmla="*/ 20 h 20"/>
                <a:gd name="T6" fmla="*/ 0 w 315"/>
                <a:gd name="T7" fmla="*/ 18 h 20"/>
                <a:gd name="T8" fmla="*/ 1 w 315"/>
                <a:gd name="T9" fmla="*/ 17 h 20"/>
                <a:gd name="T10" fmla="*/ 313 w 315"/>
                <a:gd name="T11" fmla="*/ 0 h 20"/>
                <a:gd name="T12" fmla="*/ 315 w 315"/>
                <a:gd name="T13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5" h="20">
                  <a:moveTo>
                    <a:pt x="315" y="2"/>
                  </a:moveTo>
                  <a:cubicBezTo>
                    <a:pt x="315" y="3"/>
                    <a:pt x="314" y="4"/>
                    <a:pt x="313" y="4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17"/>
                    <a:pt x="1" y="17"/>
                    <a:pt x="1" y="17"/>
                  </a:cubicBezTo>
                  <a:cubicBezTo>
                    <a:pt x="313" y="0"/>
                    <a:pt x="313" y="0"/>
                    <a:pt x="313" y="0"/>
                  </a:cubicBezTo>
                  <a:cubicBezTo>
                    <a:pt x="314" y="0"/>
                    <a:pt x="315" y="1"/>
                    <a:pt x="315" y="2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678">
              <a:extLst>
                <a:ext uri="{FF2B5EF4-FFF2-40B4-BE49-F238E27FC236}">
                  <a16:creationId xmlns:a16="http://schemas.microsoft.com/office/drawing/2014/main" id="{26A379BE-9E95-4F43-B1F2-83BF325B6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1925" y="2609851"/>
              <a:ext cx="15875" cy="274638"/>
            </a:xfrm>
            <a:custGeom>
              <a:avLst/>
              <a:gdLst>
                <a:gd name="T0" fmla="*/ 3 w 19"/>
                <a:gd name="T1" fmla="*/ 1 h 317"/>
                <a:gd name="T2" fmla="*/ 19 w 19"/>
                <a:gd name="T3" fmla="*/ 315 h 317"/>
                <a:gd name="T4" fmla="*/ 18 w 19"/>
                <a:gd name="T5" fmla="*/ 316 h 317"/>
                <a:gd name="T6" fmla="*/ 16 w 19"/>
                <a:gd name="T7" fmla="*/ 315 h 317"/>
                <a:gd name="T8" fmla="*/ 0 w 19"/>
                <a:gd name="T9" fmla="*/ 2 h 317"/>
                <a:gd name="T10" fmla="*/ 1 w 19"/>
                <a:gd name="T11" fmla="*/ 0 h 317"/>
                <a:gd name="T12" fmla="*/ 3 w 19"/>
                <a:gd name="T13" fmla="*/ 1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17">
                  <a:moveTo>
                    <a:pt x="3" y="1"/>
                  </a:moveTo>
                  <a:cubicBezTo>
                    <a:pt x="19" y="315"/>
                    <a:pt x="19" y="315"/>
                    <a:pt x="19" y="315"/>
                  </a:cubicBezTo>
                  <a:cubicBezTo>
                    <a:pt x="19" y="316"/>
                    <a:pt x="18" y="316"/>
                    <a:pt x="18" y="316"/>
                  </a:cubicBezTo>
                  <a:cubicBezTo>
                    <a:pt x="17" y="317"/>
                    <a:pt x="16" y="316"/>
                    <a:pt x="16" y="31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679">
              <a:extLst>
                <a:ext uri="{FF2B5EF4-FFF2-40B4-BE49-F238E27FC236}">
                  <a16:creationId xmlns:a16="http://schemas.microsoft.com/office/drawing/2014/main" id="{B45F720B-232D-4E42-9282-F1773E913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4750" y="2624138"/>
              <a:ext cx="238125" cy="225425"/>
            </a:xfrm>
            <a:custGeom>
              <a:avLst/>
              <a:gdLst>
                <a:gd name="T0" fmla="*/ 274 w 274"/>
                <a:gd name="T1" fmla="*/ 259 h 260"/>
                <a:gd name="T2" fmla="*/ 274 w 274"/>
                <a:gd name="T3" fmla="*/ 259 h 260"/>
                <a:gd name="T4" fmla="*/ 272 w 274"/>
                <a:gd name="T5" fmla="*/ 260 h 260"/>
                <a:gd name="T6" fmla="*/ 176 w 274"/>
                <a:gd name="T7" fmla="*/ 206 h 260"/>
                <a:gd name="T8" fmla="*/ 175 w 274"/>
                <a:gd name="T9" fmla="*/ 205 h 260"/>
                <a:gd name="T10" fmla="*/ 175 w 274"/>
                <a:gd name="T11" fmla="*/ 204 h 260"/>
                <a:gd name="T12" fmla="*/ 196 w 274"/>
                <a:gd name="T13" fmla="*/ 171 h 260"/>
                <a:gd name="T14" fmla="*/ 106 w 274"/>
                <a:gd name="T15" fmla="*/ 143 h 260"/>
                <a:gd name="T16" fmla="*/ 105 w 274"/>
                <a:gd name="T17" fmla="*/ 142 h 260"/>
                <a:gd name="T18" fmla="*/ 105 w 274"/>
                <a:gd name="T19" fmla="*/ 142 h 260"/>
                <a:gd name="T20" fmla="*/ 106 w 274"/>
                <a:gd name="T21" fmla="*/ 140 h 260"/>
                <a:gd name="T22" fmla="*/ 231 w 274"/>
                <a:gd name="T23" fmla="*/ 90 h 260"/>
                <a:gd name="T24" fmla="*/ 146 w 274"/>
                <a:gd name="T25" fmla="*/ 74 h 260"/>
                <a:gd name="T26" fmla="*/ 145 w 274"/>
                <a:gd name="T27" fmla="*/ 73 h 260"/>
                <a:gd name="T28" fmla="*/ 146 w 274"/>
                <a:gd name="T29" fmla="*/ 72 h 260"/>
                <a:gd name="T30" fmla="*/ 172 w 274"/>
                <a:gd name="T31" fmla="*/ 53 h 260"/>
                <a:gd name="T32" fmla="*/ 82 w 274"/>
                <a:gd name="T33" fmla="*/ 41 h 260"/>
                <a:gd name="T34" fmla="*/ 81 w 274"/>
                <a:gd name="T35" fmla="*/ 40 h 260"/>
                <a:gd name="T36" fmla="*/ 82 w 274"/>
                <a:gd name="T37" fmla="*/ 39 h 260"/>
                <a:gd name="T38" fmla="*/ 96 w 274"/>
                <a:gd name="T39" fmla="*/ 26 h 260"/>
                <a:gd name="T40" fmla="*/ 2 w 274"/>
                <a:gd name="T41" fmla="*/ 3 h 260"/>
                <a:gd name="T42" fmla="*/ 1 w 274"/>
                <a:gd name="T43" fmla="*/ 1 h 260"/>
                <a:gd name="T44" fmla="*/ 2 w 274"/>
                <a:gd name="T45" fmla="*/ 0 h 260"/>
                <a:gd name="T46" fmla="*/ 100 w 274"/>
                <a:gd name="T47" fmla="*/ 24 h 260"/>
                <a:gd name="T48" fmla="*/ 101 w 274"/>
                <a:gd name="T49" fmla="*/ 25 h 260"/>
                <a:gd name="T50" fmla="*/ 100 w 274"/>
                <a:gd name="T51" fmla="*/ 26 h 260"/>
                <a:gd name="T52" fmla="*/ 86 w 274"/>
                <a:gd name="T53" fmla="*/ 39 h 260"/>
                <a:gd name="T54" fmla="*/ 176 w 274"/>
                <a:gd name="T55" fmla="*/ 50 h 260"/>
                <a:gd name="T56" fmla="*/ 178 w 274"/>
                <a:gd name="T57" fmla="*/ 51 h 260"/>
                <a:gd name="T58" fmla="*/ 177 w 274"/>
                <a:gd name="T59" fmla="*/ 53 h 260"/>
                <a:gd name="T60" fmla="*/ 151 w 274"/>
                <a:gd name="T61" fmla="*/ 72 h 260"/>
                <a:gd name="T62" fmla="*/ 237 w 274"/>
                <a:gd name="T63" fmla="*/ 87 h 260"/>
                <a:gd name="T64" fmla="*/ 239 w 274"/>
                <a:gd name="T65" fmla="*/ 89 h 260"/>
                <a:gd name="T66" fmla="*/ 238 w 274"/>
                <a:gd name="T67" fmla="*/ 90 h 260"/>
                <a:gd name="T68" fmla="*/ 111 w 274"/>
                <a:gd name="T69" fmla="*/ 141 h 260"/>
                <a:gd name="T70" fmla="*/ 199 w 274"/>
                <a:gd name="T71" fmla="*/ 169 h 260"/>
                <a:gd name="T72" fmla="*/ 200 w 274"/>
                <a:gd name="T73" fmla="*/ 170 h 260"/>
                <a:gd name="T74" fmla="*/ 200 w 274"/>
                <a:gd name="T75" fmla="*/ 171 h 260"/>
                <a:gd name="T76" fmla="*/ 179 w 274"/>
                <a:gd name="T77" fmla="*/ 204 h 260"/>
                <a:gd name="T78" fmla="*/ 273 w 274"/>
                <a:gd name="T79" fmla="*/ 257 h 260"/>
                <a:gd name="T80" fmla="*/ 274 w 274"/>
                <a:gd name="T81" fmla="*/ 259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4" h="260"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3" y="260"/>
                    <a:pt x="273" y="260"/>
                    <a:pt x="272" y="260"/>
                  </a:cubicBezTo>
                  <a:cubicBezTo>
                    <a:pt x="176" y="206"/>
                    <a:pt x="176" y="206"/>
                    <a:pt x="176" y="206"/>
                  </a:cubicBezTo>
                  <a:cubicBezTo>
                    <a:pt x="175" y="206"/>
                    <a:pt x="175" y="205"/>
                    <a:pt x="175" y="205"/>
                  </a:cubicBezTo>
                  <a:cubicBezTo>
                    <a:pt x="175" y="205"/>
                    <a:pt x="175" y="204"/>
                    <a:pt x="175" y="204"/>
                  </a:cubicBezTo>
                  <a:cubicBezTo>
                    <a:pt x="196" y="171"/>
                    <a:pt x="196" y="171"/>
                    <a:pt x="196" y="171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5" y="143"/>
                    <a:pt x="105" y="142"/>
                    <a:pt x="105" y="142"/>
                  </a:cubicBezTo>
                  <a:cubicBezTo>
                    <a:pt x="105" y="142"/>
                    <a:pt x="105" y="142"/>
                    <a:pt x="105" y="142"/>
                  </a:cubicBezTo>
                  <a:cubicBezTo>
                    <a:pt x="105" y="141"/>
                    <a:pt x="105" y="140"/>
                    <a:pt x="106" y="140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146" y="74"/>
                    <a:pt x="146" y="74"/>
                    <a:pt x="146" y="74"/>
                  </a:cubicBezTo>
                  <a:cubicBezTo>
                    <a:pt x="146" y="74"/>
                    <a:pt x="145" y="74"/>
                    <a:pt x="145" y="73"/>
                  </a:cubicBezTo>
                  <a:cubicBezTo>
                    <a:pt x="145" y="73"/>
                    <a:pt x="145" y="72"/>
                    <a:pt x="146" y="72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41"/>
                    <a:pt x="81" y="41"/>
                    <a:pt x="81" y="40"/>
                  </a:cubicBezTo>
                  <a:cubicBezTo>
                    <a:pt x="81" y="40"/>
                    <a:pt x="81" y="39"/>
                    <a:pt x="82" y="39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0" y="24"/>
                    <a:pt x="101" y="24"/>
                    <a:pt x="101" y="25"/>
                  </a:cubicBezTo>
                  <a:cubicBezTo>
                    <a:pt x="101" y="25"/>
                    <a:pt x="101" y="26"/>
                    <a:pt x="100" y="26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176" y="50"/>
                    <a:pt x="176" y="50"/>
                    <a:pt x="176" y="50"/>
                  </a:cubicBezTo>
                  <a:cubicBezTo>
                    <a:pt x="177" y="50"/>
                    <a:pt x="177" y="51"/>
                    <a:pt x="178" y="51"/>
                  </a:cubicBezTo>
                  <a:cubicBezTo>
                    <a:pt x="178" y="52"/>
                    <a:pt x="177" y="52"/>
                    <a:pt x="177" y="53"/>
                  </a:cubicBezTo>
                  <a:cubicBezTo>
                    <a:pt x="151" y="72"/>
                    <a:pt x="151" y="72"/>
                    <a:pt x="151" y="72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38" y="88"/>
                    <a:pt x="239" y="88"/>
                    <a:pt x="239" y="89"/>
                  </a:cubicBezTo>
                  <a:cubicBezTo>
                    <a:pt x="239" y="90"/>
                    <a:pt x="238" y="90"/>
                    <a:pt x="238" y="90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99" y="169"/>
                    <a:pt x="199" y="169"/>
                    <a:pt x="199" y="169"/>
                  </a:cubicBezTo>
                  <a:cubicBezTo>
                    <a:pt x="199" y="169"/>
                    <a:pt x="200" y="169"/>
                    <a:pt x="200" y="170"/>
                  </a:cubicBezTo>
                  <a:cubicBezTo>
                    <a:pt x="200" y="170"/>
                    <a:pt x="200" y="171"/>
                    <a:pt x="200" y="171"/>
                  </a:cubicBezTo>
                  <a:cubicBezTo>
                    <a:pt x="179" y="204"/>
                    <a:pt x="179" y="204"/>
                    <a:pt x="179" y="204"/>
                  </a:cubicBezTo>
                  <a:cubicBezTo>
                    <a:pt x="273" y="257"/>
                    <a:pt x="273" y="257"/>
                    <a:pt x="273" y="257"/>
                  </a:cubicBezTo>
                  <a:cubicBezTo>
                    <a:pt x="274" y="258"/>
                    <a:pt x="274" y="258"/>
                    <a:pt x="274" y="259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680">
              <a:extLst>
                <a:ext uri="{FF2B5EF4-FFF2-40B4-BE49-F238E27FC236}">
                  <a16:creationId xmlns:a16="http://schemas.microsoft.com/office/drawing/2014/main" id="{6DDFAC12-54FE-457B-ADBF-E160BEC74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4750" y="2622551"/>
              <a:ext cx="20638" cy="14288"/>
            </a:xfrm>
            <a:custGeom>
              <a:avLst/>
              <a:gdLst>
                <a:gd name="T0" fmla="*/ 25 w 25"/>
                <a:gd name="T1" fmla="*/ 1 h 17"/>
                <a:gd name="T2" fmla="*/ 24 w 25"/>
                <a:gd name="T3" fmla="*/ 3 h 17"/>
                <a:gd name="T4" fmla="*/ 7 w 25"/>
                <a:gd name="T5" fmla="*/ 5 h 17"/>
                <a:gd name="T6" fmla="*/ 21 w 25"/>
                <a:gd name="T7" fmla="*/ 14 h 17"/>
                <a:gd name="T8" fmla="*/ 22 w 25"/>
                <a:gd name="T9" fmla="*/ 16 h 17"/>
                <a:gd name="T10" fmla="*/ 19 w 25"/>
                <a:gd name="T11" fmla="*/ 16 h 17"/>
                <a:gd name="T12" fmla="*/ 1 w 25"/>
                <a:gd name="T13" fmla="*/ 5 h 17"/>
                <a:gd name="T14" fmla="*/ 1 w 25"/>
                <a:gd name="T15" fmla="*/ 3 h 17"/>
                <a:gd name="T16" fmla="*/ 2 w 25"/>
                <a:gd name="T17" fmla="*/ 2 h 17"/>
                <a:gd name="T18" fmla="*/ 24 w 25"/>
                <a:gd name="T19" fmla="*/ 0 h 17"/>
                <a:gd name="T20" fmla="*/ 25 w 25"/>
                <a:gd name="T2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2"/>
                    <a:pt x="25" y="3"/>
                    <a:pt x="24" y="3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2" y="14"/>
                    <a:pt x="22" y="15"/>
                    <a:pt x="22" y="16"/>
                  </a:cubicBezTo>
                  <a:cubicBezTo>
                    <a:pt x="21" y="17"/>
                    <a:pt x="20" y="17"/>
                    <a:pt x="19" y="1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0" y="4"/>
                    <a:pt x="1" y="3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5" y="0"/>
                    <a:pt x="25" y="1"/>
                  </a:cubicBez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681">
              <a:extLst>
                <a:ext uri="{FF2B5EF4-FFF2-40B4-BE49-F238E27FC236}">
                  <a16:creationId xmlns:a16="http://schemas.microsoft.com/office/drawing/2014/main" id="{0C2AE36B-24FD-4910-B93F-094BE0F47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5363" y="258762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682">
              <a:extLst>
                <a:ext uri="{FF2B5EF4-FFF2-40B4-BE49-F238E27FC236}">
                  <a16:creationId xmlns:a16="http://schemas.microsoft.com/office/drawing/2014/main" id="{7E6A49CC-7461-480E-A3F6-2559FBAEC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0763" y="2587626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683">
              <a:extLst>
                <a:ext uri="{FF2B5EF4-FFF2-40B4-BE49-F238E27FC236}">
                  <a16:creationId xmlns:a16="http://schemas.microsoft.com/office/drawing/2014/main" id="{D5101D08-9F7D-4FB6-A857-7A8601D9F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6163" y="2586038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684">
              <a:extLst>
                <a:ext uri="{FF2B5EF4-FFF2-40B4-BE49-F238E27FC236}">
                  <a16:creationId xmlns:a16="http://schemas.microsoft.com/office/drawing/2014/main" id="{E447A855-61A7-4E98-88D1-F005CE314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1563" y="2584451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685">
              <a:extLst>
                <a:ext uri="{FF2B5EF4-FFF2-40B4-BE49-F238E27FC236}">
                  <a16:creationId xmlns:a16="http://schemas.microsoft.com/office/drawing/2014/main" id="{CDC8842D-CE02-4E54-BF49-A1D54F50D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6963" y="2586038"/>
              <a:ext cx="19050" cy="301625"/>
            </a:xfrm>
            <a:custGeom>
              <a:avLst/>
              <a:gdLst>
                <a:gd name="T0" fmla="*/ 3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3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3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686">
              <a:extLst>
                <a:ext uri="{FF2B5EF4-FFF2-40B4-BE49-F238E27FC236}">
                  <a16:creationId xmlns:a16="http://schemas.microsoft.com/office/drawing/2014/main" id="{EF58B84E-0EFE-4B3F-BC0C-B051C8D28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2363" y="2584451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687">
              <a:extLst>
                <a:ext uri="{FF2B5EF4-FFF2-40B4-BE49-F238E27FC236}">
                  <a16:creationId xmlns:a16="http://schemas.microsoft.com/office/drawing/2014/main" id="{601E2CC2-6FEF-40F9-85FF-81863B1DC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63138" y="214947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0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0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688">
              <a:extLst>
                <a:ext uri="{FF2B5EF4-FFF2-40B4-BE49-F238E27FC236}">
                  <a16:creationId xmlns:a16="http://schemas.microsoft.com/office/drawing/2014/main" id="{EF483B1F-A61A-42D0-88D4-A4513E02B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8538" y="2147888"/>
              <a:ext cx="20638" cy="303213"/>
            </a:xfrm>
            <a:custGeom>
              <a:avLst/>
              <a:gdLst>
                <a:gd name="T0" fmla="*/ 2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2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2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689">
              <a:extLst>
                <a:ext uri="{FF2B5EF4-FFF2-40B4-BE49-F238E27FC236}">
                  <a16:creationId xmlns:a16="http://schemas.microsoft.com/office/drawing/2014/main" id="{74098FF4-6074-4F6B-A491-73049DEC5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3938" y="2146301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690">
              <a:extLst>
                <a:ext uri="{FF2B5EF4-FFF2-40B4-BE49-F238E27FC236}">
                  <a16:creationId xmlns:a16="http://schemas.microsoft.com/office/drawing/2014/main" id="{C2822E90-E0F3-4C3B-BBBC-9A6C518D39D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9338" y="2146301"/>
              <a:ext cx="20638" cy="301625"/>
            </a:xfrm>
            <a:custGeom>
              <a:avLst/>
              <a:gdLst>
                <a:gd name="T0" fmla="*/ 3 w 13"/>
                <a:gd name="T1" fmla="*/ 0 h 190"/>
                <a:gd name="T2" fmla="*/ 13 w 13"/>
                <a:gd name="T3" fmla="*/ 190 h 190"/>
                <a:gd name="T4" fmla="*/ 10 w 13"/>
                <a:gd name="T5" fmla="*/ 190 h 190"/>
                <a:gd name="T6" fmla="*/ 0 w 13"/>
                <a:gd name="T7" fmla="*/ 0 h 190"/>
                <a:gd name="T8" fmla="*/ 3 w 13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0">
                  <a:moveTo>
                    <a:pt x="3" y="0"/>
                  </a:moveTo>
                  <a:lnTo>
                    <a:pt x="13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691">
              <a:extLst>
                <a:ext uri="{FF2B5EF4-FFF2-40B4-BE49-F238E27FC236}">
                  <a16:creationId xmlns:a16="http://schemas.microsoft.com/office/drawing/2014/main" id="{D7B7F628-44EC-4D45-AC5B-E48A7FED1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4738" y="2146301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692">
              <a:extLst>
                <a:ext uri="{FF2B5EF4-FFF2-40B4-BE49-F238E27FC236}">
                  <a16:creationId xmlns:a16="http://schemas.microsoft.com/office/drawing/2014/main" id="{A37D8B84-975A-43CC-9FCB-8362274E2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1725" y="2146301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9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9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693">
              <a:extLst>
                <a:ext uri="{FF2B5EF4-FFF2-40B4-BE49-F238E27FC236}">
                  <a16:creationId xmlns:a16="http://schemas.microsoft.com/office/drawing/2014/main" id="{9BDCB92C-3142-4E46-BA6F-20BA670BF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7125" y="2143126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694">
              <a:extLst>
                <a:ext uri="{FF2B5EF4-FFF2-40B4-BE49-F238E27FC236}">
                  <a16:creationId xmlns:a16="http://schemas.microsoft.com/office/drawing/2014/main" id="{CA55041B-68A4-4738-97EF-6B0E1F25A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2525" y="2141538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695">
              <a:extLst>
                <a:ext uri="{FF2B5EF4-FFF2-40B4-BE49-F238E27FC236}">
                  <a16:creationId xmlns:a16="http://schemas.microsoft.com/office/drawing/2014/main" id="{484832CE-638E-481B-8951-8F4ED8BF1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7925" y="2139951"/>
              <a:ext cx="19050" cy="303213"/>
            </a:xfrm>
            <a:custGeom>
              <a:avLst/>
              <a:gdLst>
                <a:gd name="T0" fmla="*/ 3 w 12"/>
                <a:gd name="T1" fmla="*/ 0 h 191"/>
                <a:gd name="T2" fmla="*/ 12 w 12"/>
                <a:gd name="T3" fmla="*/ 191 h 191"/>
                <a:gd name="T4" fmla="*/ 10 w 12"/>
                <a:gd name="T5" fmla="*/ 191 h 191"/>
                <a:gd name="T6" fmla="*/ 0 w 12"/>
                <a:gd name="T7" fmla="*/ 0 h 191"/>
                <a:gd name="T8" fmla="*/ 3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3" y="0"/>
                  </a:moveTo>
                  <a:lnTo>
                    <a:pt x="12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696">
              <a:extLst>
                <a:ext uri="{FF2B5EF4-FFF2-40B4-BE49-F238E27FC236}">
                  <a16:creationId xmlns:a16="http://schemas.microsoft.com/office/drawing/2014/main" id="{A35E5C8F-F539-4DBC-891C-0D5A6F53A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3325" y="2138363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1 w 13"/>
                <a:gd name="T5" fmla="*/ 191 h 191"/>
                <a:gd name="T6" fmla="*/ 0 w 13"/>
                <a:gd name="T7" fmla="*/ 0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1" y="19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697">
              <a:extLst>
                <a:ext uri="{FF2B5EF4-FFF2-40B4-BE49-F238E27FC236}">
                  <a16:creationId xmlns:a16="http://schemas.microsoft.com/office/drawing/2014/main" id="{993256EB-5248-4B29-94B5-08171ED96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8725" y="2139951"/>
              <a:ext cx="20638" cy="303213"/>
            </a:xfrm>
            <a:custGeom>
              <a:avLst/>
              <a:gdLst>
                <a:gd name="T0" fmla="*/ 2 w 13"/>
                <a:gd name="T1" fmla="*/ 0 h 191"/>
                <a:gd name="T2" fmla="*/ 13 w 13"/>
                <a:gd name="T3" fmla="*/ 191 h 191"/>
                <a:gd name="T4" fmla="*/ 10 w 13"/>
                <a:gd name="T5" fmla="*/ 191 h 191"/>
                <a:gd name="T6" fmla="*/ 0 w 13"/>
                <a:gd name="T7" fmla="*/ 0 h 191"/>
                <a:gd name="T8" fmla="*/ 2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2" y="0"/>
                  </a:moveTo>
                  <a:lnTo>
                    <a:pt x="13" y="191"/>
                  </a:lnTo>
                  <a:lnTo>
                    <a:pt x="10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698">
              <a:extLst>
                <a:ext uri="{FF2B5EF4-FFF2-40B4-BE49-F238E27FC236}">
                  <a16:creationId xmlns:a16="http://schemas.microsoft.com/office/drawing/2014/main" id="{51D4617A-4C05-4EAE-A1FC-C855DF876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5713" y="2138363"/>
              <a:ext cx="19050" cy="303213"/>
            </a:xfrm>
            <a:custGeom>
              <a:avLst/>
              <a:gdLst>
                <a:gd name="T0" fmla="*/ 2 w 12"/>
                <a:gd name="T1" fmla="*/ 0 h 191"/>
                <a:gd name="T2" fmla="*/ 12 w 12"/>
                <a:gd name="T3" fmla="*/ 191 h 191"/>
                <a:gd name="T4" fmla="*/ 9 w 12"/>
                <a:gd name="T5" fmla="*/ 191 h 191"/>
                <a:gd name="T6" fmla="*/ 0 w 12"/>
                <a:gd name="T7" fmla="*/ 0 h 191"/>
                <a:gd name="T8" fmla="*/ 2 w 12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1">
                  <a:moveTo>
                    <a:pt x="2" y="0"/>
                  </a:moveTo>
                  <a:lnTo>
                    <a:pt x="12" y="191"/>
                  </a:lnTo>
                  <a:lnTo>
                    <a:pt x="9" y="19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699">
              <a:extLst>
                <a:ext uri="{FF2B5EF4-FFF2-40B4-BE49-F238E27FC236}">
                  <a16:creationId xmlns:a16="http://schemas.microsoft.com/office/drawing/2014/main" id="{568BECF8-F95B-428D-A64F-7EB6237BC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9525" y="2133601"/>
              <a:ext cx="20638" cy="303213"/>
            </a:xfrm>
            <a:custGeom>
              <a:avLst/>
              <a:gdLst>
                <a:gd name="T0" fmla="*/ 3 w 13"/>
                <a:gd name="T1" fmla="*/ 0 h 191"/>
                <a:gd name="T2" fmla="*/ 13 w 13"/>
                <a:gd name="T3" fmla="*/ 191 h 191"/>
                <a:gd name="T4" fmla="*/ 11 w 13"/>
                <a:gd name="T5" fmla="*/ 191 h 191"/>
                <a:gd name="T6" fmla="*/ 0 w 13"/>
                <a:gd name="T7" fmla="*/ 1 h 191"/>
                <a:gd name="T8" fmla="*/ 3 w 1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91">
                  <a:moveTo>
                    <a:pt x="3" y="0"/>
                  </a:moveTo>
                  <a:lnTo>
                    <a:pt x="13" y="191"/>
                  </a:lnTo>
                  <a:lnTo>
                    <a:pt x="11" y="191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700">
              <a:extLst>
                <a:ext uri="{FF2B5EF4-FFF2-40B4-BE49-F238E27FC236}">
                  <a16:creationId xmlns:a16="http://schemas.microsoft.com/office/drawing/2014/main" id="{403FA11D-7F9A-494D-9222-DAB7600EC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6513" y="2133601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701">
              <a:extLst>
                <a:ext uri="{FF2B5EF4-FFF2-40B4-BE49-F238E27FC236}">
                  <a16:creationId xmlns:a16="http://schemas.microsoft.com/office/drawing/2014/main" id="{EACF65AD-0871-495B-AC1A-910A46202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1913" y="2130426"/>
              <a:ext cx="19050" cy="304800"/>
            </a:xfrm>
            <a:custGeom>
              <a:avLst/>
              <a:gdLst>
                <a:gd name="T0" fmla="*/ 2 w 12"/>
                <a:gd name="T1" fmla="*/ 0 h 192"/>
                <a:gd name="T2" fmla="*/ 12 w 12"/>
                <a:gd name="T3" fmla="*/ 191 h 192"/>
                <a:gd name="T4" fmla="*/ 10 w 12"/>
                <a:gd name="T5" fmla="*/ 192 h 192"/>
                <a:gd name="T6" fmla="*/ 0 w 12"/>
                <a:gd name="T7" fmla="*/ 1 h 192"/>
                <a:gd name="T8" fmla="*/ 2 w 12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2">
                  <a:moveTo>
                    <a:pt x="2" y="0"/>
                  </a:moveTo>
                  <a:lnTo>
                    <a:pt x="12" y="191"/>
                  </a:lnTo>
                  <a:lnTo>
                    <a:pt x="10" y="192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702">
              <a:extLst>
                <a:ext uri="{FF2B5EF4-FFF2-40B4-BE49-F238E27FC236}">
                  <a16:creationId xmlns:a16="http://schemas.microsoft.com/office/drawing/2014/main" id="{99D4AF95-35F1-45B0-A542-23E387C4E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7313" y="2130426"/>
              <a:ext cx="19050" cy="301625"/>
            </a:xfrm>
            <a:custGeom>
              <a:avLst/>
              <a:gdLst>
                <a:gd name="T0" fmla="*/ 2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2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2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703">
              <a:extLst>
                <a:ext uri="{FF2B5EF4-FFF2-40B4-BE49-F238E27FC236}">
                  <a16:creationId xmlns:a16="http://schemas.microsoft.com/office/drawing/2014/main" id="{8C141A24-830D-402E-9EB3-2DB022DC6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2713" y="2130426"/>
              <a:ext cx="19050" cy="304800"/>
            </a:xfrm>
            <a:custGeom>
              <a:avLst/>
              <a:gdLst>
                <a:gd name="T0" fmla="*/ 2 w 12"/>
                <a:gd name="T1" fmla="*/ 0 h 192"/>
                <a:gd name="T2" fmla="*/ 12 w 12"/>
                <a:gd name="T3" fmla="*/ 191 h 192"/>
                <a:gd name="T4" fmla="*/ 10 w 12"/>
                <a:gd name="T5" fmla="*/ 192 h 192"/>
                <a:gd name="T6" fmla="*/ 0 w 12"/>
                <a:gd name="T7" fmla="*/ 1 h 192"/>
                <a:gd name="T8" fmla="*/ 2 w 12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2">
                  <a:moveTo>
                    <a:pt x="2" y="0"/>
                  </a:moveTo>
                  <a:lnTo>
                    <a:pt x="12" y="191"/>
                  </a:lnTo>
                  <a:lnTo>
                    <a:pt x="10" y="192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704">
              <a:extLst>
                <a:ext uri="{FF2B5EF4-FFF2-40B4-BE49-F238E27FC236}">
                  <a16:creationId xmlns:a16="http://schemas.microsoft.com/office/drawing/2014/main" id="{216D591F-C126-4B03-A444-BABE71D56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8113" y="2130426"/>
              <a:ext cx="19050" cy="301625"/>
            </a:xfrm>
            <a:custGeom>
              <a:avLst/>
              <a:gdLst>
                <a:gd name="T0" fmla="*/ 3 w 12"/>
                <a:gd name="T1" fmla="*/ 0 h 190"/>
                <a:gd name="T2" fmla="*/ 12 w 12"/>
                <a:gd name="T3" fmla="*/ 190 h 190"/>
                <a:gd name="T4" fmla="*/ 10 w 12"/>
                <a:gd name="T5" fmla="*/ 190 h 190"/>
                <a:gd name="T6" fmla="*/ 0 w 12"/>
                <a:gd name="T7" fmla="*/ 0 h 190"/>
                <a:gd name="T8" fmla="*/ 3 w 12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0">
                  <a:moveTo>
                    <a:pt x="3" y="0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3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705">
              <a:extLst>
                <a:ext uri="{FF2B5EF4-FFF2-40B4-BE49-F238E27FC236}">
                  <a16:creationId xmlns:a16="http://schemas.microsoft.com/office/drawing/2014/main" id="{379D3C38-4A25-4F8E-B3A1-FF966A8B6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4888" y="2500313"/>
              <a:ext cx="100013" cy="33338"/>
            </a:xfrm>
            <a:custGeom>
              <a:avLst/>
              <a:gdLst>
                <a:gd name="T0" fmla="*/ 2 w 63"/>
                <a:gd name="T1" fmla="*/ 21 h 21"/>
                <a:gd name="T2" fmla="*/ 63 w 63"/>
                <a:gd name="T3" fmla="*/ 18 h 21"/>
                <a:gd name="T4" fmla="*/ 61 w 63"/>
                <a:gd name="T5" fmla="*/ 0 h 21"/>
                <a:gd name="T6" fmla="*/ 0 w 63"/>
                <a:gd name="T7" fmla="*/ 4 h 21"/>
                <a:gd name="T8" fmla="*/ 2 w 63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1">
                  <a:moveTo>
                    <a:pt x="2" y="21"/>
                  </a:moveTo>
                  <a:lnTo>
                    <a:pt x="63" y="18"/>
                  </a:lnTo>
                  <a:lnTo>
                    <a:pt x="61" y="0"/>
                  </a:lnTo>
                  <a:lnTo>
                    <a:pt x="0" y="4"/>
                  </a:lnTo>
                  <a:lnTo>
                    <a:pt x="2" y="21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706">
              <a:extLst>
                <a:ext uri="{FF2B5EF4-FFF2-40B4-BE49-F238E27FC236}">
                  <a16:creationId xmlns:a16="http://schemas.microsoft.com/office/drawing/2014/main" id="{CFF51BBB-0EC8-4A4E-8C88-2D494DB05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9525" y="2486026"/>
              <a:ext cx="100013" cy="34925"/>
            </a:xfrm>
            <a:custGeom>
              <a:avLst/>
              <a:gdLst>
                <a:gd name="T0" fmla="*/ 2 w 63"/>
                <a:gd name="T1" fmla="*/ 22 h 22"/>
                <a:gd name="T2" fmla="*/ 63 w 63"/>
                <a:gd name="T3" fmla="*/ 18 h 22"/>
                <a:gd name="T4" fmla="*/ 61 w 63"/>
                <a:gd name="T5" fmla="*/ 0 h 22"/>
                <a:gd name="T6" fmla="*/ 0 w 63"/>
                <a:gd name="T7" fmla="*/ 5 h 22"/>
                <a:gd name="T8" fmla="*/ 2 w 63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2">
                  <a:moveTo>
                    <a:pt x="2" y="22"/>
                  </a:moveTo>
                  <a:lnTo>
                    <a:pt x="63" y="18"/>
                  </a:lnTo>
                  <a:lnTo>
                    <a:pt x="61" y="0"/>
                  </a:lnTo>
                  <a:lnTo>
                    <a:pt x="0" y="5"/>
                  </a:lnTo>
                  <a:lnTo>
                    <a:pt x="2" y="22"/>
                  </a:lnTo>
                  <a:close/>
                </a:path>
              </a:pathLst>
            </a:custGeom>
            <a:solidFill>
              <a:srgbClr val="E8E6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707">
              <a:extLst>
                <a:ext uri="{FF2B5EF4-FFF2-40B4-BE49-F238E27FC236}">
                  <a16:creationId xmlns:a16="http://schemas.microsoft.com/office/drawing/2014/main" id="{11B02687-9241-41BA-B470-A647DAE9A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1513" y="1671638"/>
              <a:ext cx="1116013" cy="466725"/>
            </a:xfrm>
            <a:custGeom>
              <a:avLst/>
              <a:gdLst>
                <a:gd name="T0" fmla="*/ 33 w 1285"/>
                <a:gd name="T1" fmla="*/ 193 h 539"/>
                <a:gd name="T2" fmla="*/ 829 w 1285"/>
                <a:gd name="T3" fmla="*/ 84 h 539"/>
                <a:gd name="T4" fmla="*/ 1285 w 1285"/>
                <a:gd name="T5" fmla="*/ 477 h 539"/>
                <a:gd name="T6" fmla="*/ 1199 w 1285"/>
                <a:gd name="T7" fmla="*/ 539 h 539"/>
                <a:gd name="T8" fmla="*/ 755 w 1285"/>
                <a:gd name="T9" fmla="*/ 281 h 539"/>
                <a:gd name="T10" fmla="*/ 276 w 1285"/>
                <a:gd name="T11" fmla="*/ 346 h 539"/>
                <a:gd name="T12" fmla="*/ 33 w 1285"/>
                <a:gd name="T13" fmla="*/ 193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5" h="539">
                  <a:moveTo>
                    <a:pt x="33" y="193"/>
                  </a:moveTo>
                  <a:cubicBezTo>
                    <a:pt x="115" y="0"/>
                    <a:pt x="449" y="47"/>
                    <a:pt x="829" y="84"/>
                  </a:cubicBezTo>
                  <a:cubicBezTo>
                    <a:pt x="1285" y="477"/>
                    <a:pt x="1285" y="477"/>
                    <a:pt x="1285" y="477"/>
                  </a:cubicBezTo>
                  <a:cubicBezTo>
                    <a:pt x="1199" y="539"/>
                    <a:pt x="1199" y="539"/>
                    <a:pt x="1199" y="539"/>
                  </a:cubicBezTo>
                  <a:cubicBezTo>
                    <a:pt x="755" y="281"/>
                    <a:pt x="755" y="281"/>
                    <a:pt x="755" y="281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0" y="273"/>
                    <a:pt x="33" y="193"/>
                  </a:cubicBezTo>
                  <a:close/>
                </a:path>
              </a:pathLst>
            </a:custGeom>
            <a:solidFill>
              <a:srgbClr val="F44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708">
              <a:extLst>
                <a:ext uri="{FF2B5EF4-FFF2-40B4-BE49-F238E27FC236}">
                  <a16:creationId xmlns:a16="http://schemas.microsoft.com/office/drawing/2014/main" id="{10D20644-F97D-4D39-95B9-8F23E327E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850" y="2579688"/>
              <a:ext cx="82550" cy="106363"/>
            </a:xfrm>
            <a:custGeom>
              <a:avLst/>
              <a:gdLst>
                <a:gd name="T0" fmla="*/ 79 w 96"/>
                <a:gd name="T1" fmla="*/ 95 h 123"/>
                <a:gd name="T2" fmla="*/ 96 w 96"/>
                <a:gd name="T3" fmla="*/ 8 h 123"/>
                <a:gd name="T4" fmla="*/ 79 w 96"/>
                <a:gd name="T5" fmla="*/ 8 h 123"/>
                <a:gd name="T6" fmla="*/ 0 w 96"/>
                <a:gd name="T7" fmla="*/ 123 h 123"/>
                <a:gd name="T8" fmla="*/ 79 w 96"/>
                <a:gd name="T9" fmla="*/ 9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123">
                  <a:moveTo>
                    <a:pt x="79" y="95"/>
                  </a:moveTo>
                  <a:cubicBezTo>
                    <a:pt x="96" y="8"/>
                    <a:pt x="96" y="8"/>
                    <a:pt x="96" y="8"/>
                  </a:cubicBezTo>
                  <a:cubicBezTo>
                    <a:pt x="93" y="0"/>
                    <a:pt x="82" y="0"/>
                    <a:pt x="79" y="8"/>
                  </a:cubicBezTo>
                  <a:cubicBezTo>
                    <a:pt x="0" y="123"/>
                    <a:pt x="0" y="123"/>
                    <a:pt x="0" y="123"/>
                  </a:cubicBezTo>
                  <a:lnTo>
                    <a:pt x="79" y="9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709">
              <a:extLst>
                <a:ext uri="{FF2B5EF4-FFF2-40B4-BE49-F238E27FC236}">
                  <a16:creationId xmlns:a16="http://schemas.microsoft.com/office/drawing/2014/main" id="{C0182FD4-95CC-49E6-8BFF-D9C363556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7650" y="2547938"/>
              <a:ext cx="309563" cy="227013"/>
            </a:xfrm>
            <a:custGeom>
              <a:avLst/>
              <a:gdLst>
                <a:gd name="T0" fmla="*/ 51 w 356"/>
                <a:gd name="T1" fmla="*/ 263 h 263"/>
                <a:gd name="T2" fmla="*/ 249 w 356"/>
                <a:gd name="T3" fmla="*/ 210 h 263"/>
                <a:gd name="T4" fmla="*/ 337 w 356"/>
                <a:gd name="T5" fmla="*/ 120 h 263"/>
                <a:gd name="T6" fmla="*/ 336 w 356"/>
                <a:gd name="T7" fmla="*/ 13 h 263"/>
                <a:gd name="T8" fmla="*/ 167 w 356"/>
                <a:gd name="T9" fmla="*/ 118 h 263"/>
                <a:gd name="T10" fmla="*/ 95 w 356"/>
                <a:gd name="T11" fmla="*/ 144 h 263"/>
                <a:gd name="T12" fmla="*/ 61 w 356"/>
                <a:gd name="T13" fmla="*/ 180 h 263"/>
                <a:gd name="T14" fmla="*/ 0 w 356"/>
                <a:gd name="T15" fmla="*/ 214 h 263"/>
                <a:gd name="T16" fmla="*/ 51 w 356"/>
                <a:gd name="T17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6" h="263">
                  <a:moveTo>
                    <a:pt x="51" y="263"/>
                  </a:moveTo>
                  <a:cubicBezTo>
                    <a:pt x="51" y="263"/>
                    <a:pt x="205" y="236"/>
                    <a:pt x="249" y="210"/>
                  </a:cubicBezTo>
                  <a:cubicBezTo>
                    <a:pt x="281" y="190"/>
                    <a:pt x="337" y="120"/>
                    <a:pt x="337" y="120"/>
                  </a:cubicBezTo>
                  <a:cubicBezTo>
                    <a:pt x="339" y="113"/>
                    <a:pt x="356" y="19"/>
                    <a:pt x="336" y="13"/>
                  </a:cubicBezTo>
                  <a:cubicBezTo>
                    <a:pt x="285" y="0"/>
                    <a:pt x="167" y="118"/>
                    <a:pt x="167" y="118"/>
                  </a:cubicBezTo>
                  <a:cubicBezTo>
                    <a:pt x="167" y="118"/>
                    <a:pt x="114" y="120"/>
                    <a:pt x="95" y="14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0" y="214"/>
                    <a:pt x="0" y="214"/>
                    <a:pt x="0" y="214"/>
                  </a:cubicBezTo>
                  <a:lnTo>
                    <a:pt x="51" y="263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710">
              <a:extLst>
                <a:ext uri="{FF2B5EF4-FFF2-40B4-BE49-F238E27FC236}">
                  <a16:creationId xmlns:a16="http://schemas.microsoft.com/office/drawing/2014/main" id="{1278017C-0206-432F-9CB8-BF99A3294D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39363" y="2698751"/>
              <a:ext cx="112713" cy="76200"/>
            </a:xfrm>
            <a:custGeom>
              <a:avLst/>
              <a:gdLst>
                <a:gd name="T0" fmla="*/ 47 w 131"/>
                <a:gd name="T1" fmla="*/ 88 h 88"/>
                <a:gd name="T2" fmla="*/ 1 w 131"/>
                <a:gd name="T3" fmla="*/ 13 h 88"/>
                <a:gd name="T4" fmla="*/ 16 w 131"/>
                <a:gd name="T5" fmla="*/ 6 h 88"/>
                <a:gd name="T6" fmla="*/ 131 w 131"/>
                <a:gd name="T7" fmla="*/ 87 h 88"/>
                <a:gd name="T8" fmla="*/ 47 w 131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88">
                  <a:moveTo>
                    <a:pt x="47" y="88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0" y="4"/>
                    <a:pt x="11" y="0"/>
                    <a:pt x="16" y="6"/>
                  </a:cubicBezTo>
                  <a:cubicBezTo>
                    <a:pt x="131" y="87"/>
                    <a:pt x="131" y="87"/>
                    <a:pt x="131" y="87"/>
                  </a:cubicBezTo>
                  <a:lnTo>
                    <a:pt x="47" y="88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711">
              <a:extLst>
                <a:ext uri="{FF2B5EF4-FFF2-40B4-BE49-F238E27FC236}">
                  <a16:creationId xmlns:a16="http://schemas.microsoft.com/office/drawing/2014/main" id="{FEEBFD86-38EF-46B2-B9AE-DE1468CE5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0138" y="2703513"/>
              <a:ext cx="349250" cy="168275"/>
            </a:xfrm>
            <a:custGeom>
              <a:avLst/>
              <a:gdLst>
                <a:gd name="T0" fmla="*/ 370 w 402"/>
                <a:gd name="T1" fmla="*/ 165 h 194"/>
                <a:gd name="T2" fmla="*/ 167 w 402"/>
                <a:gd name="T3" fmla="*/ 184 h 194"/>
                <a:gd name="T4" fmla="*/ 53 w 402"/>
                <a:gd name="T5" fmla="*/ 130 h 194"/>
                <a:gd name="T6" fmla="*/ 17 w 402"/>
                <a:gd name="T7" fmla="*/ 30 h 194"/>
                <a:gd name="T8" fmla="*/ 211 w 402"/>
                <a:gd name="T9" fmla="*/ 70 h 194"/>
                <a:gd name="T10" fmla="*/ 288 w 402"/>
                <a:gd name="T11" fmla="*/ 69 h 194"/>
                <a:gd name="T12" fmla="*/ 332 w 402"/>
                <a:gd name="T13" fmla="*/ 91 h 194"/>
                <a:gd name="T14" fmla="*/ 402 w 402"/>
                <a:gd name="T15" fmla="*/ 102 h 194"/>
                <a:gd name="T16" fmla="*/ 370 w 402"/>
                <a:gd name="T17" fmla="*/ 16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2" h="194">
                  <a:moveTo>
                    <a:pt x="370" y="165"/>
                  </a:moveTo>
                  <a:cubicBezTo>
                    <a:pt x="370" y="165"/>
                    <a:pt x="217" y="194"/>
                    <a:pt x="167" y="184"/>
                  </a:cubicBezTo>
                  <a:cubicBezTo>
                    <a:pt x="130" y="177"/>
                    <a:pt x="53" y="130"/>
                    <a:pt x="53" y="130"/>
                  </a:cubicBezTo>
                  <a:cubicBezTo>
                    <a:pt x="48" y="125"/>
                    <a:pt x="0" y="42"/>
                    <a:pt x="17" y="30"/>
                  </a:cubicBezTo>
                  <a:cubicBezTo>
                    <a:pt x="60" y="0"/>
                    <a:pt x="211" y="70"/>
                    <a:pt x="211" y="70"/>
                  </a:cubicBezTo>
                  <a:cubicBezTo>
                    <a:pt x="211" y="70"/>
                    <a:pt x="262" y="53"/>
                    <a:pt x="288" y="69"/>
                  </a:cubicBezTo>
                  <a:cubicBezTo>
                    <a:pt x="332" y="91"/>
                    <a:pt x="332" y="91"/>
                    <a:pt x="332" y="91"/>
                  </a:cubicBezTo>
                  <a:cubicBezTo>
                    <a:pt x="402" y="102"/>
                    <a:pt x="402" y="102"/>
                    <a:pt x="402" y="102"/>
                  </a:cubicBezTo>
                  <a:lnTo>
                    <a:pt x="370" y="165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712">
              <a:extLst>
                <a:ext uri="{FF2B5EF4-FFF2-40B4-BE49-F238E27FC236}">
                  <a16:creationId xmlns:a16="http://schemas.microsoft.com/office/drawing/2014/main" id="{D6EC8DFB-B72C-4DA7-8D18-70CA8CB1C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9825" y="2270126"/>
              <a:ext cx="71438" cy="114300"/>
            </a:xfrm>
            <a:custGeom>
              <a:avLst/>
              <a:gdLst>
                <a:gd name="T0" fmla="*/ 7 w 82"/>
                <a:gd name="T1" fmla="*/ 36 h 132"/>
                <a:gd name="T2" fmla="*/ 0 w 82"/>
                <a:gd name="T3" fmla="*/ 125 h 132"/>
                <a:gd name="T4" fmla="*/ 16 w 82"/>
                <a:gd name="T5" fmla="*/ 123 h 132"/>
                <a:gd name="T6" fmla="*/ 82 w 82"/>
                <a:gd name="T7" fmla="*/ 0 h 132"/>
                <a:gd name="T8" fmla="*/ 7 w 82"/>
                <a:gd name="T9" fmla="*/ 3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132">
                  <a:moveTo>
                    <a:pt x="7" y="36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3" y="132"/>
                    <a:pt x="14" y="131"/>
                    <a:pt x="16" y="123"/>
                  </a:cubicBezTo>
                  <a:cubicBezTo>
                    <a:pt x="82" y="0"/>
                    <a:pt x="82" y="0"/>
                    <a:pt x="82" y="0"/>
                  </a:cubicBezTo>
                  <a:lnTo>
                    <a:pt x="7" y="36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713">
              <a:extLst>
                <a:ext uri="{FF2B5EF4-FFF2-40B4-BE49-F238E27FC236}">
                  <a16:creationId xmlns:a16="http://schemas.microsoft.com/office/drawing/2014/main" id="{13CC1D70-4EA3-4360-A2DB-F0A9C2C32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2188" y="2178051"/>
              <a:ext cx="287338" cy="249238"/>
            </a:xfrm>
            <a:custGeom>
              <a:avLst/>
              <a:gdLst>
                <a:gd name="T0" fmla="*/ 274 w 331"/>
                <a:gd name="T1" fmla="*/ 0 h 288"/>
                <a:gd name="T2" fmla="*/ 85 w 331"/>
                <a:gd name="T3" fmla="*/ 75 h 288"/>
                <a:gd name="T4" fmla="*/ 8 w 331"/>
                <a:gd name="T5" fmla="*/ 175 h 288"/>
                <a:gd name="T6" fmla="*/ 20 w 331"/>
                <a:gd name="T7" fmla="*/ 280 h 288"/>
                <a:gd name="T8" fmla="*/ 176 w 331"/>
                <a:gd name="T9" fmla="*/ 158 h 288"/>
                <a:gd name="T10" fmla="*/ 245 w 331"/>
                <a:gd name="T11" fmla="*/ 123 h 288"/>
                <a:gd name="T12" fmla="*/ 274 w 331"/>
                <a:gd name="T13" fmla="*/ 84 h 288"/>
                <a:gd name="T14" fmla="*/ 331 w 331"/>
                <a:gd name="T15" fmla="*/ 43 h 288"/>
                <a:gd name="T16" fmla="*/ 274 w 331"/>
                <a:gd name="T17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1" h="288">
                  <a:moveTo>
                    <a:pt x="274" y="0"/>
                  </a:moveTo>
                  <a:cubicBezTo>
                    <a:pt x="274" y="0"/>
                    <a:pt x="125" y="44"/>
                    <a:pt x="85" y="75"/>
                  </a:cubicBezTo>
                  <a:cubicBezTo>
                    <a:pt x="55" y="98"/>
                    <a:pt x="8" y="175"/>
                    <a:pt x="8" y="175"/>
                  </a:cubicBezTo>
                  <a:cubicBezTo>
                    <a:pt x="6" y="182"/>
                    <a:pt x="0" y="278"/>
                    <a:pt x="20" y="280"/>
                  </a:cubicBezTo>
                  <a:cubicBezTo>
                    <a:pt x="72" y="288"/>
                    <a:pt x="176" y="158"/>
                    <a:pt x="176" y="158"/>
                  </a:cubicBezTo>
                  <a:cubicBezTo>
                    <a:pt x="176" y="158"/>
                    <a:pt x="229" y="150"/>
                    <a:pt x="245" y="123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331" y="43"/>
                    <a:pt x="331" y="43"/>
                    <a:pt x="331" y="43"/>
                  </a:cubicBezTo>
                  <a:lnTo>
                    <a:pt x="274" y="0"/>
                  </a:ln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714">
              <a:extLst>
                <a:ext uri="{FF2B5EF4-FFF2-40B4-BE49-F238E27FC236}">
                  <a16:creationId xmlns:a16="http://schemas.microsoft.com/office/drawing/2014/main" id="{B1721465-46A7-4328-95E4-0FD76628A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2438" y="2401888"/>
              <a:ext cx="1144588" cy="574675"/>
            </a:xfrm>
            <a:custGeom>
              <a:avLst/>
              <a:gdLst>
                <a:gd name="T0" fmla="*/ 47 w 1317"/>
                <a:gd name="T1" fmla="*/ 84 h 662"/>
                <a:gd name="T2" fmla="*/ 626 w 1317"/>
                <a:gd name="T3" fmla="*/ 640 h 662"/>
                <a:gd name="T4" fmla="*/ 1317 w 1317"/>
                <a:gd name="T5" fmla="*/ 431 h 662"/>
                <a:gd name="T6" fmla="*/ 1266 w 1317"/>
                <a:gd name="T7" fmla="*/ 351 h 662"/>
                <a:gd name="T8" fmla="*/ 682 w 1317"/>
                <a:gd name="T9" fmla="*/ 437 h 662"/>
                <a:gd name="T10" fmla="*/ 332 w 1317"/>
                <a:gd name="T11" fmla="*/ 103 h 662"/>
                <a:gd name="T12" fmla="*/ 47 w 1317"/>
                <a:gd name="T13" fmla="*/ 84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7" h="662">
                  <a:moveTo>
                    <a:pt x="47" y="84"/>
                  </a:moveTo>
                  <a:cubicBezTo>
                    <a:pt x="0" y="288"/>
                    <a:pt x="332" y="496"/>
                    <a:pt x="626" y="640"/>
                  </a:cubicBezTo>
                  <a:cubicBezTo>
                    <a:pt x="810" y="662"/>
                    <a:pt x="1317" y="431"/>
                    <a:pt x="1317" y="431"/>
                  </a:cubicBezTo>
                  <a:cubicBezTo>
                    <a:pt x="1266" y="351"/>
                    <a:pt x="1266" y="351"/>
                    <a:pt x="1266" y="351"/>
                  </a:cubicBezTo>
                  <a:cubicBezTo>
                    <a:pt x="682" y="437"/>
                    <a:pt x="682" y="437"/>
                    <a:pt x="682" y="437"/>
                  </a:cubicBezTo>
                  <a:cubicBezTo>
                    <a:pt x="332" y="103"/>
                    <a:pt x="332" y="103"/>
                    <a:pt x="332" y="103"/>
                  </a:cubicBezTo>
                  <a:cubicBezTo>
                    <a:pt x="332" y="103"/>
                    <a:pt x="66" y="0"/>
                    <a:pt x="47" y="84"/>
                  </a:cubicBezTo>
                  <a:close/>
                </a:path>
              </a:pathLst>
            </a:custGeom>
            <a:solidFill>
              <a:srgbClr val="F44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715">
              <a:extLst>
                <a:ext uri="{FF2B5EF4-FFF2-40B4-BE49-F238E27FC236}">
                  <a16:creationId xmlns:a16="http://schemas.microsoft.com/office/drawing/2014/main" id="{8AA0B265-489E-46FB-9023-727E6762F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1150" y="1812926"/>
              <a:ext cx="600075" cy="633413"/>
            </a:xfrm>
            <a:custGeom>
              <a:avLst/>
              <a:gdLst>
                <a:gd name="T0" fmla="*/ 397 w 689"/>
                <a:gd name="T1" fmla="*/ 60 h 731"/>
                <a:gd name="T2" fmla="*/ 635 w 689"/>
                <a:gd name="T3" fmla="*/ 475 h 731"/>
                <a:gd name="T4" fmla="*/ 199 w 689"/>
                <a:gd name="T5" fmla="*/ 670 h 731"/>
                <a:gd name="T6" fmla="*/ 55 w 689"/>
                <a:gd name="T7" fmla="*/ 287 h 731"/>
                <a:gd name="T8" fmla="*/ 397 w 689"/>
                <a:gd name="T9" fmla="*/ 60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9" h="731">
                  <a:moveTo>
                    <a:pt x="397" y="60"/>
                  </a:moveTo>
                  <a:cubicBezTo>
                    <a:pt x="583" y="121"/>
                    <a:pt x="689" y="306"/>
                    <a:pt x="635" y="475"/>
                  </a:cubicBezTo>
                  <a:cubicBezTo>
                    <a:pt x="580" y="643"/>
                    <a:pt x="385" y="731"/>
                    <a:pt x="199" y="670"/>
                  </a:cubicBezTo>
                  <a:cubicBezTo>
                    <a:pt x="12" y="610"/>
                    <a:pt x="0" y="455"/>
                    <a:pt x="55" y="287"/>
                  </a:cubicBezTo>
                  <a:cubicBezTo>
                    <a:pt x="110" y="118"/>
                    <a:pt x="211" y="0"/>
                    <a:pt x="397" y="60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716">
              <a:extLst>
                <a:ext uri="{FF2B5EF4-FFF2-40B4-BE49-F238E27FC236}">
                  <a16:creationId xmlns:a16="http://schemas.microsoft.com/office/drawing/2014/main" id="{2E466A13-57ED-4794-BE39-D6B902A05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400" y="2138363"/>
              <a:ext cx="114300" cy="136525"/>
            </a:xfrm>
            <a:custGeom>
              <a:avLst/>
              <a:gdLst>
                <a:gd name="T0" fmla="*/ 85 w 132"/>
                <a:gd name="T1" fmla="*/ 138 h 156"/>
                <a:gd name="T2" fmla="*/ 0 w 132"/>
                <a:gd name="T3" fmla="*/ 156 h 156"/>
                <a:gd name="T4" fmla="*/ 51 w 132"/>
                <a:gd name="T5" fmla="*/ 0 h 156"/>
                <a:gd name="T6" fmla="*/ 109 w 132"/>
                <a:gd name="T7" fmla="*/ 64 h 156"/>
                <a:gd name="T8" fmla="*/ 85 w 132"/>
                <a:gd name="T9" fmla="*/ 13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56">
                  <a:moveTo>
                    <a:pt x="85" y="138"/>
                  </a:moveTo>
                  <a:cubicBezTo>
                    <a:pt x="0" y="156"/>
                    <a:pt x="0" y="156"/>
                    <a:pt x="0" y="156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32" y="90"/>
                    <a:pt x="119" y="131"/>
                    <a:pt x="85" y="138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717">
              <a:extLst>
                <a:ext uri="{FF2B5EF4-FFF2-40B4-BE49-F238E27FC236}">
                  <a16:creationId xmlns:a16="http://schemas.microsoft.com/office/drawing/2014/main" id="{B6DDE148-81B9-47DC-84E5-B0AE01135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100" y="1781176"/>
              <a:ext cx="676275" cy="719138"/>
            </a:xfrm>
            <a:custGeom>
              <a:avLst/>
              <a:gdLst>
                <a:gd name="T0" fmla="*/ 406 w 779"/>
                <a:gd name="T1" fmla="*/ 50 h 829"/>
                <a:gd name="T2" fmla="*/ 51 w 779"/>
                <a:gd name="T3" fmla="*/ 310 h 829"/>
                <a:gd name="T4" fmla="*/ 203 w 779"/>
                <a:gd name="T5" fmla="*/ 742 h 829"/>
                <a:gd name="T6" fmla="*/ 643 w 779"/>
                <a:gd name="T7" fmla="*/ 735 h 829"/>
                <a:gd name="T8" fmla="*/ 536 w 779"/>
                <a:gd name="T9" fmla="*/ 662 h 829"/>
                <a:gd name="T10" fmla="*/ 601 w 779"/>
                <a:gd name="T11" fmla="*/ 543 h 829"/>
                <a:gd name="T12" fmla="*/ 595 w 779"/>
                <a:gd name="T13" fmla="*/ 380 h 829"/>
                <a:gd name="T14" fmla="*/ 688 w 779"/>
                <a:gd name="T15" fmla="*/ 308 h 829"/>
                <a:gd name="T16" fmla="*/ 778 w 779"/>
                <a:gd name="T17" fmla="*/ 322 h 829"/>
                <a:gd name="T18" fmla="*/ 406 w 779"/>
                <a:gd name="T19" fmla="*/ 50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9" h="829">
                  <a:moveTo>
                    <a:pt x="406" y="50"/>
                  </a:moveTo>
                  <a:cubicBezTo>
                    <a:pt x="244" y="0"/>
                    <a:pt x="100" y="161"/>
                    <a:pt x="51" y="310"/>
                  </a:cubicBezTo>
                  <a:cubicBezTo>
                    <a:pt x="0" y="469"/>
                    <a:pt x="30" y="685"/>
                    <a:pt x="203" y="742"/>
                  </a:cubicBezTo>
                  <a:cubicBezTo>
                    <a:pt x="469" y="829"/>
                    <a:pt x="644" y="735"/>
                    <a:pt x="643" y="735"/>
                  </a:cubicBezTo>
                  <a:cubicBezTo>
                    <a:pt x="549" y="714"/>
                    <a:pt x="538" y="662"/>
                    <a:pt x="536" y="662"/>
                  </a:cubicBezTo>
                  <a:cubicBezTo>
                    <a:pt x="564" y="630"/>
                    <a:pt x="614" y="591"/>
                    <a:pt x="601" y="543"/>
                  </a:cubicBezTo>
                  <a:cubicBezTo>
                    <a:pt x="581" y="467"/>
                    <a:pt x="584" y="415"/>
                    <a:pt x="595" y="380"/>
                  </a:cubicBezTo>
                  <a:cubicBezTo>
                    <a:pt x="608" y="339"/>
                    <a:pt x="646" y="311"/>
                    <a:pt x="688" y="308"/>
                  </a:cubicBezTo>
                  <a:cubicBezTo>
                    <a:pt x="714" y="307"/>
                    <a:pt x="745" y="308"/>
                    <a:pt x="778" y="322"/>
                  </a:cubicBezTo>
                  <a:cubicBezTo>
                    <a:pt x="779" y="323"/>
                    <a:pt x="708" y="145"/>
                    <a:pt x="406" y="50"/>
                  </a:cubicBezTo>
                  <a:close/>
                </a:path>
              </a:pathLst>
            </a:custGeom>
            <a:solidFill>
              <a:srgbClr val="FFE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718">
              <a:extLst>
                <a:ext uri="{FF2B5EF4-FFF2-40B4-BE49-F238E27FC236}">
                  <a16:creationId xmlns:a16="http://schemas.microsoft.com/office/drawing/2014/main" id="{C3E7EFAF-E0BB-4B23-89F7-0CF09E09C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675" y="2230438"/>
              <a:ext cx="530225" cy="269875"/>
            </a:xfrm>
            <a:custGeom>
              <a:avLst/>
              <a:gdLst>
                <a:gd name="T0" fmla="*/ 522 w 611"/>
                <a:gd name="T1" fmla="*/ 172 h 311"/>
                <a:gd name="T2" fmla="*/ 153 w 611"/>
                <a:gd name="T3" fmla="*/ 154 h 311"/>
                <a:gd name="T4" fmla="*/ 0 w 611"/>
                <a:gd name="T5" fmla="*/ 0 h 311"/>
                <a:gd name="T6" fmla="*/ 170 w 611"/>
                <a:gd name="T7" fmla="*/ 224 h 311"/>
                <a:gd name="T8" fmla="*/ 610 w 611"/>
                <a:gd name="T9" fmla="*/ 217 h 311"/>
                <a:gd name="T10" fmla="*/ 522 w 611"/>
                <a:gd name="T11" fmla="*/ 172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1" h="311">
                  <a:moveTo>
                    <a:pt x="522" y="172"/>
                  </a:moveTo>
                  <a:cubicBezTo>
                    <a:pt x="447" y="192"/>
                    <a:pt x="318" y="208"/>
                    <a:pt x="153" y="154"/>
                  </a:cubicBezTo>
                  <a:cubicBezTo>
                    <a:pt x="75" y="129"/>
                    <a:pt x="26" y="70"/>
                    <a:pt x="0" y="0"/>
                  </a:cubicBezTo>
                  <a:cubicBezTo>
                    <a:pt x="15" y="101"/>
                    <a:pt x="68" y="190"/>
                    <a:pt x="170" y="224"/>
                  </a:cubicBezTo>
                  <a:cubicBezTo>
                    <a:pt x="436" y="311"/>
                    <a:pt x="611" y="217"/>
                    <a:pt x="610" y="217"/>
                  </a:cubicBezTo>
                  <a:cubicBezTo>
                    <a:pt x="563" y="206"/>
                    <a:pt x="537" y="188"/>
                    <a:pt x="522" y="172"/>
                  </a:cubicBezTo>
                  <a:close/>
                </a:path>
              </a:pathLst>
            </a:custGeom>
            <a:solidFill>
              <a:srgbClr val="EDD6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719">
              <a:extLst>
                <a:ext uri="{FF2B5EF4-FFF2-40B4-BE49-F238E27FC236}">
                  <a16:creationId xmlns:a16="http://schemas.microsoft.com/office/drawing/2014/main" id="{96596A00-3142-4A89-8498-5111332AE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1763" y="2401888"/>
              <a:ext cx="1185863" cy="555625"/>
            </a:xfrm>
            <a:custGeom>
              <a:avLst/>
              <a:gdLst>
                <a:gd name="T0" fmla="*/ 1318 w 1365"/>
                <a:gd name="T1" fmla="*/ 84 h 640"/>
                <a:gd name="T2" fmla="*/ 739 w 1365"/>
                <a:gd name="T3" fmla="*/ 640 h 640"/>
                <a:gd name="T4" fmla="*/ 0 w 1365"/>
                <a:gd name="T5" fmla="*/ 524 h 640"/>
                <a:gd name="T6" fmla="*/ 14 w 1365"/>
                <a:gd name="T7" fmla="*/ 430 h 640"/>
                <a:gd name="T8" fmla="*/ 683 w 1365"/>
                <a:gd name="T9" fmla="*/ 437 h 640"/>
                <a:gd name="T10" fmla="*/ 1033 w 1365"/>
                <a:gd name="T11" fmla="*/ 103 h 640"/>
                <a:gd name="T12" fmla="*/ 1318 w 1365"/>
                <a:gd name="T13" fmla="*/ 84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5" h="640">
                  <a:moveTo>
                    <a:pt x="1318" y="84"/>
                  </a:moveTo>
                  <a:cubicBezTo>
                    <a:pt x="1365" y="288"/>
                    <a:pt x="1068" y="447"/>
                    <a:pt x="739" y="640"/>
                  </a:cubicBezTo>
                  <a:cubicBezTo>
                    <a:pt x="0" y="524"/>
                    <a:pt x="0" y="524"/>
                    <a:pt x="0" y="524"/>
                  </a:cubicBezTo>
                  <a:cubicBezTo>
                    <a:pt x="14" y="430"/>
                    <a:pt x="14" y="430"/>
                    <a:pt x="14" y="430"/>
                  </a:cubicBezTo>
                  <a:cubicBezTo>
                    <a:pt x="683" y="437"/>
                    <a:pt x="683" y="437"/>
                    <a:pt x="683" y="437"/>
                  </a:cubicBezTo>
                  <a:cubicBezTo>
                    <a:pt x="1033" y="103"/>
                    <a:pt x="1033" y="103"/>
                    <a:pt x="1033" y="103"/>
                  </a:cubicBezTo>
                  <a:cubicBezTo>
                    <a:pt x="1033" y="103"/>
                    <a:pt x="1299" y="0"/>
                    <a:pt x="1318" y="84"/>
                  </a:cubicBezTo>
                  <a:close/>
                </a:path>
              </a:pathLst>
            </a:custGeom>
            <a:solidFill>
              <a:srgbClr val="CF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720">
              <a:extLst>
                <a:ext uri="{FF2B5EF4-FFF2-40B4-BE49-F238E27FC236}">
                  <a16:creationId xmlns:a16="http://schemas.microsoft.com/office/drawing/2014/main" id="{90D51CD3-EC30-4B45-8018-BAF5E8988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8563" y="1671638"/>
              <a:ext cx="1169988" cy="568325"/>
            </a:xfrm>
            <a:custGeom>
              <a:avLst/>
              <a:gdLst>
                <a:gd name="T0" fmla="*/ 1314 w 1347"/>
                <a:gd name="T1" fmla="*/ 193 h 656"/>
                <a:gd name="T2" fmla="*/ 518 w 1347"/>
                <a:gd name="T3" fmla="*/ 84 h 656"/>
                <a:gd name="T4" fmla="*/ 0 w 1347"/>
                <a:gd name="T5" fmla="*/ 585 h 656"/>
                <a:gd name="T6" fmla="*/ 76 w 1347"/>
                <a:gd name="T7" fmla="*/ 656 h 656"/>
                <a:gd name="T8" fmla="*/ 592 w 1347"/>
                <a:gd name="T9" fmla="*/ 281 h 656"/>
                <a:gd name="T10" fmla="*/ 1072 w 1347"/>
                <a:gd name="T11" fmla="*/ 346 h 656"/>
                <a:gd name="T12" fmla="*/ 1314 w 1347"/>
                <a:gd name="T13" fmla="*/ 193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7" h="656">
                  <a:moveTo>
                    <a:pt x="1314" y="193"/>
                  </a:moveTo>
                  <a:cubicBezTo>
                    <a:pt x="1232" y="0"/>
                    <a:pt x="898" y="47"/>
                    <a:pt x="518" y="84"/>
                  </a:cubicBezTo>
                  <a:cubicBezTo>
                    <a:pt x="0" y="585"/>
                    <a:pt x="0" y="585"/>
                    <a:pt x="0" y="585"/>
                  </a:cubicBezTo>
                  <a:cubicBezTo>
                    <a:pt x="76" y="656"/>
                    <a:pt x="76" y="656"/>
                    <a:pt x="76" y="656"/>
                  </a:cubicBezTo>
                  <a:cubicBezTo>
                    <a:pt x="592" y="281"/>
                    <a:pt x="592" y="281"/>
                    <a:pt x="592" y="281"/>
                  </a:cubicBezTo>
                  <a:cubicBezTo>
                    <a:pt x="1072" y="346"/>
                    <a:pt x="1072" y="346"/>
                    <a:pt x="1072" y="346"/>
                  </a:cubicBezTo>
                  <a:cubicBezTo>
                    <a:pt x="1072" y="346"/>
                    <a:pt x="1347" y="273"/>
                    <a:pt x="1314" y="193"/>
                  </a:cubicBezTo>
                  <a:close/>
                </a:path>
              </a:pathLst>
            </a:custGeom>
            <a:solidFill>
              <a:srgbClr val="CF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721">
              <a:extLst>
                <a:ext uri="{FF2B5EF4-FFF2-40B4-BE49-F238E27FC236}">
                  <a16:creationId xmlns:a16="http://schemas.microsoft.com/office/drawing/2014/main" id="{7624AD20-5D50-4005-AE2E-97EDA8C58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6463" y="1766888"/>
              <a:ext cx="382588" cy="830263"/>
            </a:xfrm>
            <a:custGeom>
              <a:avLst/>
              <a:gdLst>
                <a:gd name="T0" fmla="*/ 369 w 441"/>
                <a:gd name="T1" fmla="*/ 936 h 959"/>
                <a:gd name="T2" fmla="*/ 90 w 441"/>
                <a:gd name="T3" fmla="*/ 522 h 959"/>
                <a:gd name="T4" fmla="*/ 72 w 441"/>
                <a:gd name="T5" fmla="*/ 23 h 959"/>
                <a:gd name="T6" fmla="*/ 351 w 441"/>
                <a:gd name="T7" fmla="*/ 437 h 959"/>
                <a:gd name="T8" fmla="*/ 369 w 441"/>
                <a:gd name="T9" fmla="*/ 936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1" h="959">
                  <a:moveTo>
                    <a:pt x="369" y="936"/>
                  </a:moveTo>
                  <a:cubicBezTo>
                    <a:pt x="297" y="959"/>
                    <a:pt x="172" y="774"/>
                    <a:pt x="90" y="522"/>
                  </a:cubicBezTo>
                  <a:cubicBezTo>
                    <a:pt x="8" y="270"/>
                    <a:pt x="0" y="47"/>
                    <a:pt x="72" y="23"/>
                  </a:cubicBezTo>
                  <a:cubicBezTo>
                    <a:pt x="144" y="0"/>
                    <a:pt x="269" y="185"/>
                    <a:pt x="351" y="437"/>
                  </a:cubicBezTo>
                  <a:cubicBezTo>
                    <a:pt x="432" y="689"/>
                    <a:pt x="441" y="912"/>
                    <a:pt x="369" y="936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722">
              <a:extLst>
                <a:ext uri="{FF2B5EF4-FFF2-40B4-BE49-F238E27FC236}">
                  <a16:creationId xmlns:a16="http://schemas.microsoft.com/office/drawing/2014/main" id="{F9D6AF26-56B1-47F7-9A34-20BEF5285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0738" y="2189163"/>
              <a:ext cx="109538" cy="107950"/>
            </a:xfrm>
            <a:custGeom>
              <a:avLst/>
              <a:gdLst>
                <a:gd name="T0" fmla="*/ 24 w 126"/>
                <a:gd name="T1" fmla="*/ 56 h 125"/>
                <a:gd name="T2" fmla="*/ 85 w 126"/>
                <a:gd name="T3" fmla="*/ 0 h 125"/>
                <a:gd name="T4" fmla="*/ 126 w 126"/>
                <a:gd name="T5" fmla="*/ 125 h 125"/>
                <a:gd name="T6" fmla="*/ 43 w 126"/>
                <a:gd name="T7" fmla="*/ 115 h 125"/>
                <a:gd name="T8" fmla="*/ 24 w 126"/>
                <a:gd name="T9" fmla="*/ 56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25">
                  <a:moveTo>
                    <a:pt x="24" y="5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126" y="125"/>
                    <a:pt x="126" y="125"/>
                    <a:pt x="126" y="125"/>
                  </a:cubicBezTo>
                  <a:cubicBezTo>
                    <a:pt x="43" y="115"/>
                    <a:pt x="43" y="115"/>
                    <a:pt x="43" y="115"/>
                  </a:cubicBezTo>
                  <a:cubicBezTo>
                    <a:pt x="11" y="111"/>
                    <a:pt x="0" y="78"/>
                    <a:pt x="24" y="56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723">
              <a:extLst>
                <a:ext uri="{FF2B5EF4-FFF2-40B4-BE49-F238E27FC236}">
                  <a16:creationId xmlns:a16="http://schemas.microsoft.com/office/drawing/2014/main" id="{183D6453-C884-4551-8CEF-FB328BD09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80800" y="1920876"/>
              <a:ext cx="217488" cy="307975"/>
            </a:xfrm>
            <a:custGeom>
              <a:avLst/>
              <a:gdLst>
                <a:gd name="T0" fmla="*/ 177 w 250"/>
                <a:gd name="T1" fmla="*/ 338 h 356"/>
                <a:gd name="T2" fmla="*/ 29 w 250"/>
                <a:gd name="T3" fmla="*/ 209 h 356"/>
                <a:gd name="T4" fmla="*/ 73 w 250"/>
                <a:gd name="T5" fmla="*/ 17 h 356"/>
                <a:gd name="T6" fmla="*/ 221 w 250"/>
                <a:gd name="T7" fmla="*/ 146 h 356"/>
                <a:gd name="T8" fmla="*/ 177 w 250"/>
                <a:gd name="T9" fmla="*/ 33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0" h="356">
                  <a:moveTo>
                    <a:pt x="177" y="338"/>
                  </a:moveTo>
                  <a:cubicBezTo>
                    <a:pt x="124" y="356"/>
                    <a:pt x="58" y="298"/>
                    <a:pt x="29" y="209"/>
                  </a:cubicBezTo>
                  <a:cubicBezTo>
                    <a:pt x="0" y="120"/>
                    <a:pt x="19" y="34"/>
                    <a:pt x="73" y="17"/>
                  </a:cubicBezTo>
                  <a:cubicBezTo>
                    <a:pt x="126" y="0"/>
                    <a:pt x="192" y="58"/>
                    <a:pt x="221" y="146"/>
                  </a:cubicBezTo>
                  <a:cubicBezTo>
                    <a:pt x="250" y="235"/>
                    <a:pt x="230" y="321"/>
                    <a:pt x="177" y="338"/>
                  </a:cubicBezTo>
                  <a:close/>
                </a:path>
              </a:pathLst>
            </a:custGeom>
            <a:solidFill>
              <a:srgbClr val="693F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24">
              <a:extLst>
                <a:ext uri="{FF2B5EF4-FFF2-40B4-BE49-F238E27FC236}">
                  <a16:creationId xmlns:a16="http://schemas.microsoft.com/office/drawing/2014/main" id="{081A85D7-6AD3-44B5-8C7D-3FD1732CAD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4388" y="1846263"/>
              <a:ext cx="644525" cy="635000"/>
            </a:xfrm>
            <a:custGeom>
              <a:avLst/>
              <a:gdLst>
                <a:gd name="T0" fmla="*/ 491 w 742"/>
                <a:gd name="T1" fmla="*/ 671 h 732"/>
                <a:gd name="T2" fmla="*/ 55 w 742"/>
                <a:gd name="T3" fmla="*/ 476 h 732"/>
                <a:gd name="T4" fmla="*/ 293 w 742"/>
                <a:gd name="T5" fmla="*/ 61 h 732"/>
                <a:gd name="T6" fmla="*/ 687 w 742"/>
                <a:gd name="T7" fmla="*/ 270 h 732"/>
                <a:gd name="T8" fmla="*/ 491 w 742"/>
                <a:gd name="T9" fmla="*/ 671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2" h="732">
                  <a:moveTo>
                    <a:pt x="491" y="671"/>
                  </a:moveTo>
                  <a:cubicBezTo>
                    <a:pt x="305" y="732"/>
                    <a:pt x="110" y="644"/>
                    <a:pt x="55" y="476"/>
                  </a:cubicBezTo>
                  <a:cubicBezTo>
                    <a:pt x="0" y="307"/>
                    <a:pt x="107" y="121"/>
                    <a:pt x="293" y="61"/>
                  </a:cubicBezTo>
                  <a:cubicBezTo>
                    <a:pt x="479" y="0"/>
                    <a:pt x="633" y="101"/>
                    <a:pt x="687" y="270"/>
                  </a:cubicBezTo>
                  <a:cubicBezTo>
                    <a:pt x="742" y="438"/>
                    <a:pt x="677" y="611"/>
                    <a:pt x="491" y="671"/>
                  </a:cubicBezTo>
                  <a:close/>
                </a:path>
              </a:pathLst>
            </a:custGeom>
            <a:solidFill>
              <a:srgbClr val="F9C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725">
              <a:extLst>
                <a:ext uri="{FF2B5EF4-FFF2-40B4-BE49-F238E27FC236}">
                  <a16:creationId xmlns:a16="http://schemas.microsoft.com/office/drawing/2014/main" id="{1797764D-7107-41E0-9CA1-B4A737E49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7563" y="1816101"/>
              <a:ext cx="661988" cy="657225"/>
            </a:xfrm>
            <a:custGeom>
              <a:avLst/>
              <a:gdLst>
                <a:gd name="T0" fmla="*/ 519 w 761"/>
                <a:gd name="T1" fmla="*/ 717 h 758"/>
                <a:gd name="T2" fmla="*/ 101 w 761"/>
                <a:gd name="T3" fmla="*/ 494 h 758"/>
                <a:gd name="T4" fmla="*/ 309 w 761"/>
                <a:gd name="T5" fmla="*/ 68 h 758"/>
                <a:gd name="T6" fmla="*/ 703 w 761"/>
                <a:gd name="T7" fmla="*/ 299 h 758"/>
                <a:gd name="T8" fmla="*/ 519 w 761"/>
                <a:gd name="T9" fmla="*/ 717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1" h="758">
                  <a:moveTo>
                    <a:pt x="519" y="717"/>
                  </a:moveTo>
                  <a:cubicBezTo>
                    <a:pt x="392" y="758"/>
                    <a:pt x="127" y="729"/>
                    <a:pt x="101" y="494"/>
                  </a:cubicBezTo>
                  <a:cubicBezTo>
                    <a:pt x="0" y="316"/>
                    <a:pt x="128" y="127"/>
                    <a:pt x="309" y="68"/>
                  </a:cubicBezTo>
                  <a:cubicBezTo>
                    <a:pt x="518" y="0"/>
                    <a:pt x="645" y="120"/>
                    <a:pt x="703" y="299"/>
                  </a:cubicBezTo>
                  <a:cubicBezTo>
                    <a:pt x="761" y="478"/>
                    <a:pt x="729" y="649"/>
                    <a:pt x="519" y="717"/>
                  </a:cubicBezTo>
                  <a:close/>
                </a:path>
              </a:pathLst>
            </a:custGeom>
            <a:solidFill>
              <a:srgbClr val="693F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726">
              <a:extLst>
                <a:ext uri="{FF2B5EF4-FFF2-40B4-BE49-F238E27FC236}">
                  <a16:creationId xmlns:a16="http://schemas.microsoft.com/office/drawing/2014/main" id="{12F70412-F41F-47C2-B7DD-F171B90B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8050" y="2079626"/>
              <a:ext cx="571500" cy="392113"/>
            </a:xfrm>
            <a:custGeom>
              <a:avLst/>
              <a:gdLst>
                <a:gd name="T0" fmla="*/ 601 w 657"/>
                <a:gd name="T1" fmla="*/ 0 h 453"/>
                <a:gd name="T2" fmla="*/ 390 w 657"/>
                <a:gd name="T3" fmla="*/ 321 h 453"/>
                <a:gd name="T4" fmla="*/ 0 w 657"/>
                <a:gd name="T5" fmla="*/ 207 h 453"/>
                <a:gd name="T6" fmla="*/ 416 w 657"/>
                <a:gd name="T7" fmla="*/ 413 h 453"/>
                <a:gd name="T8" fmla="*/ 601 w 657"/>
                <a:gd name="T9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7" h="453">
                  <a:moveTo>
                    <a:pt x="601" y="0"/>
                  </a:moveTo>
                  <a:cubicBezTo>
                    <a:pt x="620" y="139"/>
                    <a:pt x="566" y="264"/>
                    <a:pt x="390" y="321"/>
                  </a:cubicBezTo>
                  <a:cubicBezTo>
                    <a:pt x="282" y="356"/>
                    <a:pt x="81" y="344"/>
                    <a:pt x="0" y="207"/>
                  </a:cubicBezTo>
                  <a:cubicBezTo>
                    <a:pt x="38" y="427"/>
                    <a:pt x="292" y="453"/>
                    <a:pt x="416" y="413"/>
                  </a:cubicBezTo>
                  <a:cubicBezTo>
                    <a:pt x="624" y="345"/>
                    <a:pt x="657" y="177"/>
                    <a:pt x="601" y="0"/>
                  </a:cubicBezTo>
                  <a:close/>
                </a:path>
              </a:pathLst>
            </a:custGeom>
            <a:solidFill>
              <a:srgbClr val="4D2C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727">
              <a:extLst>
                <a:ext uri="{FF2B5EF4-FFF2-40B4-BE49-F238E27FC236}">
                  <a16:creationId xmlns:a16="http://schemas.microsoft.com/office/drawing/2014/main" id="{8D7DB485-362B-4267-A7D1-F5B2225EE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4875" y="2070101"/>
              <a:ext cx="525463" cy="177800"/>
            </a:xfrm>
            <a:custGeom>
              <a:avLst/>
              <a:gdLst>
                <a:gd name="T0" fmla="*/ 1 w 604"/>
                <a:gd name="T1" fmla="*/ 200 h 205"/>
                <a:gd name="T2" fmla="*/ 4 w 604"/>
                <a:gd name="T3" fmla="*/ 193 h 205"/>
                <a:gd name="T4" fmla="*/ 595 w 604"/>
                <a:gd name="T5" fmla="*/ 1 h 205"/>
                <a:gd name="T6" fmla="*/ 603 w 604"/>
                <a:gd name="T7" fmla="*/ 5 h 205"/>
                <a:gd name="T8" fmla="*/ 599 w 604"/>
                <a:gd name="T9" fmla="*/ 12 h 205"/>
                <a:gd name="T10" fmla="*/ 8 w 604"/>
                <a:gd name="T11" fmla="*/ 204 h 205"/>
                <a:gd name="T12" fmla="*/ 1 w 604"/>
                <a:gd name="T13" fmla="*/ 20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4" h="205">
                  <a:moveTo>
                    <a:pt x="1" y="200"/>
                  </a:moveTo>
                  <a:cubicBezTo>
                    <a:pt x="0" y="197"/>
                    <a:pt x="1" y="194"/>
                    <a:pt x="4" y="193"/>
                  </a:cubicBezTo>
                  <a:cubicBezTo>
                    <a:pt x="595" y="1"/>
                    <a:pt x="595" y="1"/>
                    <a:pt x="595" y="1"/>
                  </a:cubicBezTo>
                  <a:cubicBezTo>
                    <a:pt x="598" y="0"/>
                    <a:pt x="602" y="2"/>
                    <a:pt x="603" y="5"/>
                  </a:cubicBezTo>
                  <a:cubicBezTo>
                    <a:pt x="604" y="8"/>
                    <a:pt x="602" y="11"/>
                    <a:pt x="599" y="12"/>
                  </a:cubicBezTo>
                  <a:cubicBezTo>
                    <a:pt x="8" y="204"/>
                    <a:pt x="8" y="204"/>
                    <a:pt x="8" y="204"/>
                  </a:cubicBezTo>
                  <a:cubicBezTo>
                    <a:pt x="5" y="205"/>
                    <a:pt x="2" y="203"/>
                    <a:pt x="1" y="200"/>
                  </a:cubicBezTo>
                  <a:close/>
                </a:path>
              </a:pathLst>
            </a:custGeom>
            <a:solidFill>
              <a:srgbClr val="7F53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728">
              <a:extLst>
                <a:ext uri="{FF2B5EF4-FFF2-40B4-BE49-F238E27FC236}">
                  <a16:creationId xmlns:a16="http://schemas.microsoft.com/office/drawing/2014/main" id="{11E439F8-3F06-4FE7-A0C3-2A10AEEAF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9850" y="1874838"/>
              <a:ext cx="63500" cy="104775"/>
            </a:xfrm>
            <a:custGeom>
              <a:avLst/>
              <a:gdLst>
                <a:gd name="T0" fmla="*/ 1 w 74"/>
                <a:gd name="T1" fmla="*/ 13 h 122"/>
                <a:gd name="T2" fmla="*/ 6 w 74"/>
                <a:gd name="T3" fmla="*/ 3 h 122"/>
                <a:gd name="T4" fmla="*/ 17 w 74"/>
                <a:gd name="T5" fmla="*/ 6 h 122"/>
                <a:gd name="T6" fmla="*/ 72 w 74"/>
                <a:gd name="T7" fmla="*/ 108 h 122"/>
                <a:gd name="T8" fmla="*/ 68 w 74"/>
                <a:gd name="T9" fmla="*/ 120 h 122"/>
                <a:gd name="T10" fmla="*/ 57 w 74"/>
                <a:gd name="T11" fmla="*/ 116 h 122"/>
                <a:gd name="T12" fmla="*/ 2 w 74"/>
                <a:gd name="T13" fmla="*/ 15 h 122"/>
                <a:gd name="T14" fmla="*/ 1 w 74"/>
                <a:gd name="T15" fmla="*/ 1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122">
                  <a:moveTo>
                    <a:pt x="1" y="13"/>
                  </a:moveTo>
                  <a:cubicBezTo>
                    <a:pt x="0" y="9"/>
                    <a:pt x="2" y="5"/>
                    <a:pt x="6" y="3"/>
                  </a:cubicBezTo>
                  <a:cubicBezTo>
                    <a:pt x="10" y="0"/>
                    <a:pt x="15" y="2"/>
                    <a:pt x="17" y="6"/>
                  </a:cubicBezTo>
                  <a:cubicBezTo>
                    <a:pt x="72" y="108"/>
                    <a:pt x="72" y="108"/>
                    <a:pt x="72" y="108"/>
                  </a:cubicBezTo>
                  <a:cubicBezTo>
                    <a:pt x="74" y="112"/>
                    <a:pt x="73" y="118"/>
                    <a:pt x="68" y="120"/>
                  </a:cubicBezTo>
                  <a:cubicBezTo>
                    <a:pt x="64" y="122"/>
                    <a:pt x="59" y="121"/>
                    <a:pt x="57" y="116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4"/>
                    <a:pt x="2" y="14"/>
                    <a:pt x="1" y="13"/>
                  </a:cubicBezTo>
                  <a:close/>
                </a:path>
              </a:pathLst>
            </a:custGeom>
            <a:solidFill>
              <a:srgbClr val="039B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729">
              <a:extLst>
                <a:ext uri="{FF2B5EF4-FFF2-40B4-BE49-F238E27FC236}">
                  <a16:creationId xmlns:a16="http://schemas.microsoft.com/office/drawing/2014/main" id="{BAF79C1B-0B17-433E-8170-2FDBF7002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14150" y="2170113"/>
              <a:ext cx="30163" cy="114300"/>
            </a:xfrm>
            <a:custGeom>
              <a:avLst/>
              <a:gdLst>
                <a:gd name="T0" fmla="*/ 17 w 34"/>
                <a:gd name="T1" fmla="*/ 126 h 133"/>
                <a:gd name="T2" fmla="*/ 16 w 34"/>
                <a:gd name="T3" fmla="*/ 125 h 133"/>
                <a:gd name="T4" fmla="*/ 1 w 34"/>
                <a:gd name="T5" fmla="*/ 10 h 133"/>
                <a:gd name="T6" fmla="*/ 8 w 34"/>
                <a:gd name="T7" fmla="*/ 1 h 133"/>
                <a:gd name="T8" fmla="*/ 18 w 34"/>
                <a:gd name="T9" fmla="*/ 8 h 133"/>
                <a:gd name="T10" fmla="*/ 34 w 34"/>
                <a:gd name="T11" fmla="*/ 122 h 133"/>
                <a:gd name="T12" fmla="*/ 26 w 34"/>
                <a:gd name="T13" fmla="*/ 132 h 133"/>
                <a:gd name="T14" fmla="*/ 17 w 34"/>
                <a:gd name="T15" fmla="*/ 12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33">
                  <a:moveTo>
                    <a:pt x="17" y="126"/>
                  </a:moveTo>
                  <a:cubicBezTo>
                    <a:pt x="17" y="126"/>
                    <a:pt x="16" y="125"/>
                    <a:pt x="16" y="125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6"/>
                    <a:pt x="3" y="1"/>
                    <a:pt x="8" y="1"/>
                  </a:cubicBezTo>
                  <a:cubicBezTo>
                    <a:pt x="13" y="0"/>
                    <a:pt x="17" y="3"/>
                    <a:pt x="18" y="8"/>
                  </a:cubicBezTo>
                  <a:cubicBezTo>
                    <a:pt x="34" y="122"/>
                    <a:pt x="34" y="122"/>
                    <a:pt x="34" y="122"/>
                  </a:cubicBezTo>
                  <a:cubicBezTo>
                    <a:pt x="34" y="127"/>
                    <a:pt x="31" y="132"/>
                    <a:pt x="26" y="132"/>
                  </a:cubicBezTo>
                  <a:cubicBezTo>
                    <a:pt x="22" y="133"/>
                    <a:pt x="18" y="130"/>
                    <a:pt x="17" y="126"/>
                  </a:cubicBezTo>
                  <a:close/>
                </a:path>
              </a:pathLst>
            </a:custGeom>
            <a:solidFill>
              <a:srgbClr val="039B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730">
              <a:extLst>
                <a:ext uri="{FF2B5EF4-FFF2-40B4-BE49-F238E27FC236}">
                  <a16:creationId xmlns:a16="http://schemas.microsoft.com/office/drawing/2014/main" id="{BCFABBE1-E5FB-42A7-91AE-C9304590F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9213" y="4046538"/>
              <a:ext cx="263525" cy="244475"/>
            </a:xfrm>
            <a:custGeom>
              <a:avLst/>
              <a:gdLst>
                <a:gd name="T0" fmla="*/ 292 w 303"/>
                <a:gd name="T1" fmla="*/ 212 h 282"/>
                <a:gd name="T2" fmla="*/ 257 w 303"/>
                <a:gd name="T3" fmla="*/ 192 h 282"/>
                <a:gd name="T4" fmla="*/ 205 w 303"/>
                <a:gd name="T5" fmla="*/ 35 h 282"/>
                <a:gd name="T6" fmla="*/ 34 w 303"/>
                <a:gd name="T7" fmla="*/ 80 h 282"/>
                <a:gd name="T8" fmla="*/ 79 w 303"/>
                <a:gd name="T9" fmla="*/ 251 h 282"/>
                <a:gd name="T10" fmla="*/ 240 w 303"/>
                <a:gd name="T11" fmla="*/ 221 h 282"/>
                <a:gd name="T12" fmla="*/ 275 w 303"/>
                <a:gd name="T13" fmla="*/ 241 h 282"/>
                <a:gd name="T14" fmla="*/ 298 w 303"/>
                <a:gd name="T15" fmla="*/ 235 h 282"/>
                <a:gd name="T16" fmla="*/ 292 w 303"/>
                <a:gd name="T17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3" h="282">
                  <a:moveTo>
                    <a:pt x="292" y="212"/>
                  </a:moveTo>
                  <a:cubicBezTo>
                    <a:pt x="257" y="192"/>
                    <a:pt x="257" y="192"/>
                    <a:pt x="257" y="192"/>
                  </a:cubicBezTo>
                  <a:cubicBezTo>
                    <a:pt x="282" y="135"/>
                    <a:pt x="260" y="67"/>
                    <a:pt x="205" y="35"/>
                  </a:cubicBezTo>
                  <a:cubicBezTo>
                    <a:pt x="145" y="0"/>
                    <a:pt x="69" y="20"/>
                    <a:pt x="34" y="80"/>
                  </a:cubicBezTo>
                  <a:cubicBezTo>
                    <a:pt x="0" y="140"/>
                    <a:pt x="20" y="216"/>
                    <a:pt x="79" y="251"/>
                  </a:cubicBezTo>
                  <a:cubicBezTo>
                    <a:pt x="134" y="282"/>
                    <a:pt x="201" y="268"/>
                    <a:pt x="240" y="221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83" y="246"/>
                    <a:pt x="293" y="243"/>
                    <a:pt x="298" y="235"/>
                  </a:cubicBezTo>
                  <a:cubicBezTo>
                    <a:pt x="303" y="227"/>
                    <a:pt x="300" y="217"/>
                    <a:pt x="292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731">
              <a:extLst>
                <a:ext uri="{FF2B5EF4-FFF2-40B4-BE49-F238E27FC236}">
                  <a16:creationId xmlns:a16="http://schemas.microsoft.com/office/drawing/2014/main" id="{966D91E7-F09D-4AFB-82BF-6C9F1AEA1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9688" y="4032251"/>
              <a:ext cx="247650" cy="246063"/>
            </a:xfrm>
            <a:custGeom>
              <a:avLst/>
              <a:gdLst>
                <a:gd name="T0" fmla="*/ 251 w 285"/>
                <a:gd name="T1" fmla="*/ 205 h 285"/>
                <a:gd name="T2" fmla="*/ 80 w 285"/>
                <a:gd name="T3" fmla="*/ 250 h 285"/>
                <a:gd name="T4" fmla="*/ 34 w 285"/>
                <a:gd name="T5" fmla="*/ 80 h 285"/>
                <a:gd name="T6" fmla="*/ 205 w 285"/>
                <a:gd name="T7" fmla="*/ 34 h 285"/>
                <a:gd name="T8" fmla="*/ 251 w 285"/>
                <a:gd name="T9" fmla="*/ 20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5" h="285">
                  <a:moveTo>
                    <a:pt x="251" y="205"/>
                  </a:moveTo>
                  <a:cubicBezTo>
                    <a:pt x="216" y="265"/>
                    <a:pt x="139" y="285"/>
                    <a:pt x="80" y="250"/>
                  </a:cubicBezTo>
                  <a:cubicBezTo>
                    <a:pt x="20" y="216"/>
                    <a:pt x="0" y="139"/>
                    <a:pt x="34" y="80"/>
                  </a:cubicBezTo>
                  <a:cubicBezTo>
                    <a:pt x="69" y="20"/>
                    <a:pt x="146" y="0"/>
                    <a:pt x="205" y="34"/>
                  </a:cubicBezTo>
                  <a:cubicBezTo>
                    <a:pt x="265" y="69"/>
                    <a:pt x="285" y="145"/>
                    <a:pt x="251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732">
              <a:extLst>
                <a:ext uri="{FF2B5EF4-FFF2-40B4-BE49-F238E27FC236}">
                  <a16:creationId xmlns:a16="http://schemas.microsoft.com/office/drawing/2014/main" id="{249052A1-642D-4FA0-85AC-853592A72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8263" y="4060826"/>
              <a:ext cx="190500" cy="188913"/>
            </a:xfrm>
            <a:custGeom>
              <a:avLst/>
              <a:gdLst>
                <a:gd name="T0" fmla="*/ 213 w 219"/>
                <a:gd name="T1" fmla="*/ 99 h 219"/>
                <a:gd name="T2" fmla="*/ 120 w 219"/>
                <a:gd name="T3" fmla="*/ 213 h 219"/>
                <a:gd name="T4" fmla="*/ 6 w 219"/>
                <a:gd name="T5" fmla="*/ 120 h 219"/>
                <a:gd name="T6" fmla="*/ 99 w 219"/>
                <a:gd name="T7" fmla="*/ 6 h 219"/>
                <a:gd name="T8" fmla="*/ 213 w 219"/>
                <a:gd name="T9" fmla="*/ 9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19">
                  <a:moveTo>
                    <a:pt x="213" y="99"/>
                  </a:moveTo>
                  <a:cubicBezTo>
                    <a:pt x="219" y="156"/>
                    <a:pt x="177" y="207"/>
                    <a:pt x="120" y="213"/>
                  </a:cubicBezTo>
                  <a:cubicBezTo>
                    <a:pt x="63" y="219"/>
                    <a:pt x="12" y="177"/>
                    <a:pt x="6" y="120"/>
                  </a:cubicBezTo>
                  <a:cubicBezTo>
                    <a:pt x="0" y="63"/>
                    <a:pt x="42" y="12"/>
                    <a:pt x="99" y="6"/>
                  </a:cubicBezTo>
                  <a:cubicBezTo>
                    <a:pt x="156" y="0"/>
                    <a:pt x="207" y="41"/>
                    <a:pt x="213" y="99"/>
                  </a:cubicBezTo>
                  <a:close/>
                </a:path>
              </a:pathLst>
            </a:custGeom>
            <a:solidFill>
              <a:srgbClr val="9158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733">
              <a:extLst>
                <a:ext uri="{FF2B5EF4-FFF2-40B4-BE49-F238E27FC236}">
                  <a16:creationId xmlns:a16="http://schemas.microsoft.com/office/drawing/2014/main" id="{0F403B91-9B84-4CC9-8B24-1B0A44318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8263" y="4062413"/>
              <a:ext cx="158750" cy="168275"/>
            </a:xfrm>
            <a:custGeom>
              <a:avLst/>
              <a:gdLst>
                <a:gd name="T0" fmla="*/ 23 w 183"/>
                <a:gd name="T1" fmla="*/ 131 h 194"/>
                <a:gd name="T2" fmla="*/ 115 w 183"/>
                <a:gd name="T3" fmla="*/ 17 h 194"/>
                <a:gd name="T4" fmla="*/ 183 w 183"/>
                <a:gd name="T5" fmla="*/ 34 h 194"/>
                <a:gd name="T6" fmla="*/ 99 w 183"/>
                <a:gd name="T7" fmla="*/ 4 h 194"/>
                <a:gd name="T8" fmla="*/ 6 w 183"/>
                <a:gd name="T9" fmla="*/ 118 h 194"/>
                <a:gd name="T10" fmla="*/ 53 w 183"/>
                <a:gd name="T11" fmla="*/ 194 h 194"/>
                <a:gd name="T12" fmla="*/ 23 w 183"/>
                <a:gd name="T13" fmla="*/ 13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194">
                  <a:moveTo>
                    <a:pt x="23" y="131"/>
                  </a:moveTo>
                  <a:cubicBezTo>
                    <a:pt x="17" y="74"/>
                    <a:pt x="58" y="23"/>
                    <a:pt x="115" y="17"/>
                  </a:cubicBezTo>
                  <a:cubicBezTo>
                    <a:pt x="140" y="15"/>
                    <a:pt x="164" y="21"/>
                    <a:pt x="183" y="34"/>
                  </a:cubicBezTo>
                  <a:cubicBezTo>
                    <a:pt x="162" y="12"/>
                    <a:pt x="131" y="0"/>
                    <a:pt x="99" y="4"/>
                  </a:cubicBezTo>
                  <a:cubicBezTo>
                    <a:pt x="42" y="10"/>
                    <a:pt x="0" y="61"/>
                    <a:pt x="6" y="118"/>
                  </a:cubicBezTo>
                  <a:cubicBezTo>
                    <a:pt x="9" y="150"/>
                    <a:pt x="27" y="178"/>
                    <a:pt x="53" y="194"/>
                  </a:cubicBezTo>
                  <a:cubicBezTo>
                    <a:pt x="36" y="178"/>
                    <a:pt x="25" y="156"/>
                    <a:pt x="23" y="131"/>
                  </a:cubicBezTo>
                  <a:close/>
                </a:path>
              </a:pathLst>
            </a:custGeom>
            <a:solidFill>
              <a:srgbClr val="7C4B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734">
              <a:extLst>
                <a:ext uri="{FF2B5EF4-FFF2-40B4-BE49-F238E27FC236}">
                  <a16:creationId xmlns:a16="http://schemas.microsoft.com/office/drawing/2014/main" id="{2EF2E7C9-D440-4359-BF22-ED9E53C8D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1300" y="4194176"/>
              <a:ext cx="61913" cy="50800"/>
            </a:xfrm>
            <a:custGeom>
              <a:avLst/>
              <a:gdLst>
                <a:gd name="T0" fmla="*/ 42 w 70"/>
                <a:gd name="T1" fmla="*/ 54 h 59"/>
                <a:gd name="T2" fmla="*/ 0 w 70"/>
                <a:gd name="T3" fmla="*/ 30 h 59"/>
                <a:gd name="T4" fmla="*/ 17 w 70"/>
                <a:gd name="T5" fmla="*/ 0 h 59"/>
                <a:gd name="T6" fmla="*/ 59 w 70"/>
                <a:gd name="T7" fmla="*/ 25 h 59"/>
                <a:gd name="T8" fmla="*/ 65 w 70"/>
                <a:gd name="T9" fmla="*/ 48 h 59"/>
                <a:gd name="T10" fmla="*/ 42 w 70"/>
                <a:gd name="T11" fmla="*/ 5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59">
                  <a:moveTo>
                    <a:pt x="42" y="54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67" y="29"/>
                    <a:pt x="70" y="40"/>
                    <a:pt x="65" y="48"/>
                  </a:cubicBezTo>
                  <a:cubicBezTo>
                    <a:pt x="61" y="56"/>
                    <a:pt x="50" y="59"/>
                    <a:pt x="42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735">
              <a:extLst>
                <a:ext uri="{FF2B5EF4-FFF2-40B4-BE49-F238E27FC236}">
                  <a16:creationId xmlns:a16="http://schemas.microsoft.com/office/drawing/2014/main" id="{1B121890-B69A-4534-93C1-88E119724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6300" y="1749426"/>
              <a:ext cx="263525" cy="244475"/>
            </a:xfrm>
            <a:custGeom>
              <a:avLst/>
              <a:gdLst>
                <a:gd name="T0" fmla="*/ 293 w 303"/>
                <a:gd name="T1" fmla="*/ 212 h 282"/>
                <a:gd name="T2" fmla="*/ 258 w 303"/>
                <a:gd name="T3" fmla="*/ 191 h 282"/>
                <a:gd name="T4" fmla="*/ 206 w 303"/>
                <a:gd name="T5" fmla="*/ 34 h 282"/>
                <a:gd name="T6" fmla="*/ 35 w 303"/>
                <a:gd name="T7" fmla="*/ 80 h 282"/>
                <a:gd name="T8" fmla="*/ 80 w 303"/>
                <a:gd name="T9" fmla="*/ 250 h 282"/>
                <a:gd name="T10" fmla="*/ 240 w 303"/>
                <a:gd name="T11" fmla="*/ 221 h 282"/>
                <a:gd name="T12" fmla="*/ 275 w 303"/>
                <a:gd name="T13" fmla="*/ 241 h 282"/>
                <a:gd name="T14" fmla="*/ 299 w 303"/>
                <a:gd name="T15" fmla="*/ 235 h 282"/>
                <a:gd name="T16" fmla="*/ 293 w 303"/>
                <a:gd name="T17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3" h="282">
                  <a:moveTo>
                    <a:pt x="293" y="212"/>
                  </a:moveTo>
                  <a:cubicBezTo>
                    <a:pt x="258" y="191"/>
                    <a:pt x="258" y="191"/>
                    <a:pt x="258" y="191"/>
                  </a:cubicBezTo>
                  <a:cubicBezTo>
                    <a:pt x="282" y="134"/>
                    <a:pt x="261" y="66"/>
                    <a:pt x="206" y="34"/>
                  </a:cubicBezTo>
                  <a:cubicBezTo>
                    <a:pt x="146" y="0"/>
                    <a:pt x="70" y="20"/>
                    <a:pt x="35" y="80"/>
                  </a:cubicBezTo>
                  <a:cubicBezTo>
                    <a:pt x="0" y="139"/>
                    <a:pt x="21" y="216"/>
                    <a:pt x="80" y="250"/>
                  </a:cubicBezTo>
                  <a:cubicBezTo>
                    <a:pt x="134" y="282"/>
                    <a:pt x="202" y="268"/>
                    <a:pt x="240" y="221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84" y="246"/>
                    <a:pt x="294" y="243"/>
                    <a:pt x="299" y="235"/>
                  </a:cubicBezTo>
                  <a:cubicBezTo>
                    <a:pt x="303" y="227"/>
                    <a:pt x="301" y="216"/>
                    <a:pt x="293" y="212"/>
                  </a:cubicBezTo>
                  <a:close/>
                </a:path>
              </a:pathLst>
            </a:custGeom>
            <a:solidFill>
              <a:srgbClr val="AF8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736">
              <a:extLst>
                <a:ext uri="{FF2B5EF4-FFF2-40B4-BE49-F238E27FC236}">
                  <a16:creationId xmlns:a16="http://schemas.microsoft.com/office/drawing/2014/main" id="{1EB0E025-4DDD-46F5-A87E-70E08F482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7250" y="1754188"/>
              <a:ext cx="247650" cy="247650"/>
            </a:xfrm>
            <a:custGeom>
              <a:avLst/>
              <a:gdLst>
                <a:gd name="T0" fmla="*/ 251 w 285"/>
                <a:gd name="T1" fmla="*/ 205 h 285"/>
                <a:gd name="T2" fmla="*/ 80 w 285"/>
                <a:gd name="T3" fmla="*/ 250 h 285"/>
                <a:gd name="T4" fmla="*/ 35 w 285"/>
                <a:gd name="T5" fmla="*/ 79 h 285"/>
                <a:gd name="T6" fmla="*/ 205 w 285"/>
                <a:gd name="T7" fmla="*/ 34 h 285"/>
                <a:gd name="T8" fmla="*/ 251 w 285"/>
                <a:gd name="T9" fmla="*/ 20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5" h="285">
                  <a:moveTo>
                    <a:pt x="251" y="205"/>
                  </a:moveTo>
                  <a:cubicBezTo>
                    <a:pt x="216" y="265"/>
                    <a:pt x="140" y="285"/>
                    <a:pt x="80" y="250"/>
                  </a:cubicBezTo>
                  <a:cubicBezTo>
                    <a:pt x="20" y="216"/>
                    <a:pt x="0" y="139"/>
                    <a:pt x="35" y="79"/>
                  </a:cubicBezTo>
                  <a:cubicBezTo>
                    <a:pt x="69" y="20"/>
                    <a:pt x="146" y="0"/>
                    <a:pt x="205" y="34"/>
                  </a:cubicBezTo>
                  <a:cubicBezTo>
                    <a:pt x="265" y="69"/>
                    <a:pt x="285" y="145"/>
                    <a:pt x="251" y="2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737">
              <a:extLst>
                <a:ext uri="{FF2B5EF4-FFF2-40B4-BE49-F238E27FC236}">
                  <a16:creationId xmlns:a16="http://schemas.microsoft.com/office/drawing/2014/main" id="{E5A52628-CBEF-4276-91AA-59E114554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5825" y="1782763"/>
              <a:ext cx="190500" cy="190500"/>
            </a:xfrm>
            <a:custGeom>
              <a:avLst/>
              <a:gdLst>
                <a:gd name="T0" fmla="*/ 213 w 219"/>
                <a:gd name="T1" fmla="*/ 99 h 219"/>
                <a:gd name="T2" fmla="*/ 120 w 219"/>
                <a:gd name="T3" fmla="*/ 213 h 219"/>
                <a:gd name="T4" fmla="*/ 6 w 219"/>
                <a:gd name="T5" fmla="*/ 120 h 219"/>
                <a:gd name="T6" fmla="*/ 99 w 219"/>
                <a:gd name="T7" fmla="*/ 6 h 219"/>
                <a:gd name="T8" fmla="*/ 213 w 219"/>
                <a:gd name="T9" fmla="*/ 9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19">
                  <a:moveTo>
                    <a:pt x="213" y="99"/>
                  </a:moveTo>
                  <a:cubicBezTo>
                    <a:pt x="219" y="156"/>
                    <a:pt x="177" y="207"/>
                    <a:pt x="120" y="213"/>
                  </a:cubicBezTo>
                  <a:cubicBezTo>
                    <a:pt x="63" y="219"/>
                    <a:pt x="12" y="177"/>
                    <a:pt x="6" y="120"/>
                  </a:cubicBezTo>
                  <a:cubicBezTo>
                    <a:pt x="0" y="63"/>
                    <a:pt x="42" y="12"/>
                    <a:pt x="99" y="6"/>
                  </a:cubicBezTo>
                  <a:cubicBezTo>
                    <a:pt x="156" y="0"/>
                    <a:pt x="207" y="41"/>
                    <a:pt x="213" y="99"/>
                  </a:cubicBezTo>
                  <a:close/>
                </a:path>
              </a:pathLst>
            </a:custGeom>
            <a:solidFill>
              <a:srgbClr val="9158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738">
              <a:extLst>
                <a:ext uri="{FF2B5EF4-FFF2-40B4-BE49-F238E27FC236}">
                  <a16:creationId xmlns:a16="http://schemas.microsoft.com/office/drawing/2014/main" id="{27F0D199-300D-4DBF-8751-2A6A90140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5825" y="1784351"/>
              <a:ext cx="158750" cy="168275"/>
            </a:xfrm>
            <a:custGeom>
              <a:avLst/>
              <a:gdLst>
                <a:gd name="T0" fmla="*/ 23 w 183"/>
                <a:gd name="T1" fmla="*/ 131 h 194"/>
                <a:gd name="T2" fmla="*/ 116 w 183"/>
                <a:gd name="T3" fmla="*/ 17 h 194"/>
                <a:gd name="T4" fmla="*/ 183 w 183"/>
                <a:gd name="T5" fmla="*/ 34 h 194"/>
                <a:gd name="T6" fmla="*/ 99 w 183"/>
                <a:gd name="T7" fmla="*/ 4 h 194"/>
                <a:gd name="T8" fmla="*/ 6 w 183"/>
                <a:gd name="T9" fmla="*/ 118 h 194"/>
                <a:gd name="T10" fmla="*/ 53 w 183"/>
                <a:gd name="T11" fmla="*/ 194 h 194"/>
                <a:gd name="T12" fmla="*/ 23 w 183"/>
                <a:gd name="T13" fmla="*/ 13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194">
                  <a:moveTo>
                    <a:pt x="23" y="131"/>
                  </a:moveTo>
                  <a:cubicBezTo>
                    <a:pt x="17" y="74"/>
                    <a:pt x="58" y="23"/>
                    <a:pt x="116" y="17"/>
                  </a:cubicBezTo>
                  <a:cubicBezTo>
                    <a:pt x="140" y="15"/>
                    <a:pt x="164" y="21"/>
                    <a:pt x="183" y="34"/>
                  </a:cubicBezTo>
                  <a:cubicBezTo>
                    <a:pt x="162" y="12"/>
                    <a:pt x="131" y="0"/>
                    <a:pt x="99" y="4"/>
                  </a:cubicBezTo>
                  <a:cubicBezTo>
                    <a:pt x="42" y="10"/>
                    <a:pt x="0" y="61"/>
                    <a:pt x="6" y="118"/>
                  </a:cubicBezTo>
                  <a:cubicBezTo>
                    <a:pt x="9" y="150"/>
                    <a:pt x="27" y="178"/>
                    <a:pt x="53" y="194"/>
                  </a:cubicBezTo>
                  <a:cubicBezTo>
                    <a:pt x="36" y="178"/>
                    <a:pt x="25" y="156"/>
                    <a:pt x="23" y="131"/>
                  </a:cubicBezTo>
                  <a:close/>
                </a:path>
              </a:pathLst>
            </a:custGeom>
            <a:solidFill>
              <a:srgbClr val="7C4B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739">
              <a:extLst>
                <a:ext uri="{FF2B5EF4-FFF2-40B4-BE49-F238E27FC236}">
                  <a16:creationId xmlns:a16="http://schemas.microsoft.com/office/drawing/2014/main" id="{054328A0-52FA-4174-8DF5-C49F77755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8863" y="1916113"/>
              <a:ext cx="61913" cy="50800"/>
            </a:xfrm>
            <a:custGeom>
              <a:avLst/>
              <a:gdLst>
                <a:gd name="T0" fmla="*/ 42 w 70"/>
                <a:gd name="T1" fmla="*/ 54 h 59"/>
                <a:gd name="T2" fmla="*/ 0 w 70"/>
                <a:gd name="T3" fmla="*/ 29 h 59"/>
                <a:gd name="T4" fmla="*/ 17 w 70"/>
                <a:gd name="T5" fmla="*/ 0 h 59"/>
                <a:gd name="T6" fmla="*/ 59 w 70"/>
                <a:gd name="T7" fmla="*/ 24 h 59"/>
                <a:gd name="T8" fmla="*/ 65 w 70"/>
                <a:gd name="T9" fmla="*/ 48 h 59"/>
                <a:gd name="T10" fmla="*/ 42 w 70"/>
                <a:gd name="T11" fmla="*/ 5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59">
                  <a:moveTo>
                    <a:pt x="42" y="54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67" y="29"/>
                    <a:pt x="70" y="40"/>
                    <a:pt x="65" y="48"/>
                  </a:cubicBezTo>
                  <a:cubicBezTo>
                    <a:pt x="61" y="56"/>
                    <a:pt x="50" y="59"/>
                    <a:pt x="42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6403AD8-5BF8-4459-952F-C838B079D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226" y="508001"/>
            <a:ext cx="10339200" cy="784830"/>
          </a:xfrm>
        </p:spPr>
        <p:txBody>
          <a:bodyPr>
            <a:spAutoFit/>
          </a:bodyPr>
          <a:lstStyle/>
          <a:p>
            <a:r>
              <a:rPr lang="sv-SE" sz="6000" dirty="0"/>
              <a:t>Lab work</a:t>
            </a:r>
            <a:endParaRPr lang="en-US" sz="6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33CDEF-2343-4F13-8F2F-3A3F1F93DF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5461" y="3064069"/>
            <a:ext cx="5745189" cy="31867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259B2DE-F3A2-415B-8317-6BD26323F472}"/>
              </a:ext>
            </a:extLst>
          </p:cNvPr>
          <p:cNvSpPr txBox="1"/>
          <p:nvPr/>
        </p:nvSpPr>
        <p:spPr>
          <a:xfrm>
            <a:off x="821094" y="1758156"/>
            <a:ext cx="544000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sz="1600" spc="-70" dirty="0"/>
              <a:t>Regional sales, by manager for Q1</a:t>
            </a:r>
          </a:p>
          <a:p>
            <a:pPr marL="342900" indent="-342900">
              <a:buFontTx/>
              <a:buChar char="-"/>
            </a:pPr>
            <a:r>
              <a:rPr lang="en-US" sz="1600" spc="-70" dirty="0"/>
              <a:t>Compare sales to goal (2% higher than prior year)</a:t>
            </a:r>
          </a:p>
          <a:p>
            <a:pPr marL="342900" indent="-342900">
              <a:buFontTx/>
              <a:buChar char="-"/>
            </a:pPr>
            <a:r>
              <a:rPr lang="en-US" sz="1600" spc="-70" dirty="0"/>
              <a:t>Simple but cutting-edge</a:t>
            </a:r>
          </a:p>
          <a:p>
            <a:pPr marL="342900" indent="-342900">
              <a:buFontTx/>
              <a:buChar char="-"/>
            </a:pPr>
            <a:r>
              <a:rPr lang="en-US" sz="1600" spc="-70" dirty="0"/>
              <a:t>Sales trends</a:t>
            </a:r>
          </a:p>
          <a:p>
            <a:pPr marL="342900" indent="-342900">
              <a:buFontTx/>
              <a:buChar char="-"/>
            </a:pPr>
            <a:r>
              <a:rPr lang="en-US" sz="1600" spc="-70" dirty="0"/>
              <a:t>What causes success or failure?</a:t>
            </a:r>
          </a:p>
        </p:txBody>
      </p:sp>
    </p:spTree>
    <p:extLst>
      <p:ext uri="{BB962C8B-B14F-4D97-AF65-F5344CB8AC3E}">
        <p14:creationId xmlns:p14="http://schemas.microsoft.com/office/powerpoint/2010/main" val="40495617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Title slide">
  <a:themeElements>
    <a:clrScheme name="Valorem Reply Colors">
      <a:dk1>
        <a:sysClr val="windowText" lastClr="000000"/>
      </a:dk1>
      <a:lt1>
        <a:sysClr val="window" lastClr="FFFFFF"/>
      </a:lt1>
      <a:dk2>
        <a:srgbClr val="595959"/>
      </a:dk2>
      <a:lt2>
        <a:srgbClr val="FFFFFF"/>
      </a:lt2>
      <a:accent1>
        <a:srgbClr val="303E48"/>
      </a:accent1>
      <a:accent2>
        <a:srgbClr val="0055B8"/>
      </a:accent2>
      <a:accent3>
        <a:srgbClr val="253746"/>
      </a:accent3>
      <a:accent4>
        <a:srgbClr val="009ADE"/>
      </a:accent4>
      <a:accent5>
        <a:srgbClr val="EFA31B"/>
      </a:accent5>
      <a:accent6>
        <a:srgbClr val="139EAC"/>
      </a:accent6>
      <a:hlink>
        <a:srgbClr val="0055B8"/>
      </a:hlink>
      <a:folHlink>
        <a:srgbClr val="009ADE"/>
      </a:folHlink>
    </a:clrScheme>
    <a:fontScheme name="Valorem Reply New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25400">
          <a:noFill/>
          <a:headEnd type="triangle"/>
          <a:tailEnd type="none"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6350">
          <a:solidFill>
            <a:schemeClr val="bg1">
              <a:lumMod val="75000"/>
            </a:schemeClr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400" spc="-70" dirty="0" smtClean="0">
            <a:gradFill>
              <a:gsLst>
                <a:gs pos="2917">
                  <a:schemeClr val="bg2"/>
                </a:gs>
                <a:gs pos="95000">
                  <a:schemeClr val="bg2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alorem-Reply-PPT-Template_v2_74456" id="{A947D5CD-2E2A-4255-870A-882954D31C4A}" vid="{810FE8D9-6FE7-40D7-B7AC-DEE2E25256B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7">
    <wetp:webextensionref xmlns:r="http://schemas.openxmlformats.org/officeDocument/2006/relationships" r:id="rId1"/>
  </wetp:taskpane>
  <wetp:taskpane dockstate="right" visibility="0" width="350" row="6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1B4C4108-813C-4934-B2FC-515B63F97AD1}">
  <we:reference id="wa104380169" version="1.1.0.0" store="en-US" storeType="OMEX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CA75FFD5-7897-47E5-BE45-B1E26FFE59D4}">
  <we:reference id="wa104379997" version="1.0.0.0" store="en-US" storeType="OMEX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24039BD3044F47910D385E9F005FD0" ma:contentTypeVersion="7" ma:contentTypeDescription="Create a new document." ma:contentTypeScope="" ma:versionID="0afe54e7b458c70fa08cb473a7a00f63">
  <xsd:schema xmlns:xsd="http://www.w3.org/2001/XMLSchema" xmlns:xs="http://www.w3.org/2001/XMLSchema" xmlns:p="http://schemas.microsoft.com/office/2006/metadata/properties" xmlns:ns2="6bdadf13-1079-4f1d-a9ac-2d664fc28c45" targetNamespace="http://schemas.microsoft.com/office/2006/metadata/properties" ma:root="true" ma:fieldsID="065178d64156d7482f7ee7f154367e5f" ns2:_="">
    <xsd:import namespace="6bdadf13-1079-4f1d-a9ac-2d664fc28c4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dadf13-1079-4f1d-a9ac-2d664fc28c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D4E24DE-A274-4886-BF1D-9211DC47F961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A4365AFC-432E-47C3-829B-62446E10221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8BD31D0-EA4F-4E6E-8CA2-C4E153DCA71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bdadf13-1079-4f1d-a9ac-2d664fc28c4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alorem-Reply-PPT-Template_v2_74456</Template>
  <TotalTime>248</TotalTime>
  <Words>1720</Words>
  <Application>Microsoft Office PowerPoint</Application>
  <PresentationFormat>Widescreen</PresentationFormat>
  <Paragraphs>268</Paragraphs>
  <Slides>28</Slides>
  <Notes>26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rial</vt:lpstr>
      <vt:lpstr>Arial Black</vt:lpstr>
      <vt:lpstr>Calibri</vt:lpstr>
      <vt:lpstr>Segoe UI</vt:lpstr>
      <vt:lpstr>Segoe UI Black</vt:lpstr>
      <vt:lpstr>Master Title slide</vt:lpstr>
      <vt:lpstr>think-cell Slide</vt:lpstr>
      <vt:lpstr>PowerPoint Presentation</vt:lpstr>
      <vt:lpstr>Prerequisites</vt:lpstr>
      <vt:lpstr>PowerPoint Presentation</vt:lpstr>
      <vt:lpstr>Power platform</vt:lpstr>
      <vt:lpstr>PowerPoint Presentation</vt:lpstr>
      <vt:lpstr>Power BI &amp;  The bi cycle</vt:lpstr>
      <vt:lpstr>Business scenario</vt:lpstr>
      <vt:lpstr>TIME OUT</vt:lpstr>
      <vt:lpstr>Lab work</vt:lpstr>
      <vt:lpstr>Business scenario</vt:lpstr>
      <vt:lpstr>Lab work</vt:lpstr>
      <vt:lpstr>Business scenario</vt:lpstr>
      <vt:lpstr>TIME OUT</vt:lpstr>
      <vt:lpstr>Power  automate</vt:lpstr>
      <vt:lpstr>Lab work</vt:lpstr>
      <vt:lpstr>Business scenario</vt:lpstr>
      <vt:lpstr>Lab work</vt:lpstr>
      <vt:lpstr>Lunch | Q&amp;A</vt:lpstr>
      <vt:lpstr>Business scenario</vt:lpstr>
      <vt:lpstr>TIME OUT</vt:lpstr>
      <vt:lpstr>power  APPS</vt:lpstr>
      <vt:lpstr>Lab work</vt:lpstr>
      <vt:lpstr>Business scenario</vt:lpstr>
      <vt:lpstr>Lab work</vt:lpstr>
      <vt:lpstr>GOVERNANCE</vt:lpstr>
      <vt:lpstr>Bring your own data</vt:lpstr>
      <vt:lpstr>Follow up &amp; resources</vt:lpstr>
      <vt:lpstr>Thank you</vt:lpstr>
    </vt:vector>
  </TitlesOfParts>
  <Company>Valorem Consul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ph Hobbs</dc:creator>
  <cp:lastModifiedBy>Joseph Hobbs</cp:lastModifiedBy>
  <cp:revision>14</cp:revision>
  <dcterms:created xsi:type="dcterms:W3CDTF">2019-11-06T19:28:01Z</dcterms:created>
  <dcterms:modified xsi:type="dcterms:W3CDTF">2020-06-22T15:21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24039BD3044F47910D385E9F005FD0</vt:lpwstr>
  </property>
  <property fmtid="{D5CDD505-2E9C-101B-9397-08002B2CF9AE}" pid="3" name="_CopySource">
    <vt:lpwstr>http://null</vt:lpwstr>
  </property>
  <property fmtid="{D5CDD505-2E9C-101B-9397-08002B2CF9AE}" pid="4" name="MSIP_Label_f42aa342-8706-4288-bd11-ebb85995028c_Enabled">
    <vt:lpwstr>True</vt:lpwstr>
  </property>
  <property fmtid="{D5CDD505-2E9C-101B-9397-08002B2CF9AE}" pid="5" name="MSIP_Label_f42aa342-8706-4288-bd11-ebb85995028c_SiteId">
    <vt:lpwstr>72f988bf-86f1-41af-91ab-2d7cd011db47</vt:lpwstr>
  </property>
  <property fmtid="{D5CDD505-2E9C-101B-9397-08002B2CF9AE}" pid="6" name="MSIP_Label_f42aa342-8706-4288-bd11-ebb85995028c_Owner">
    <vt:lpwstr>v-siwars@microsoft.com</vt:lpwstr>
  </property>
  <property fmtid="{D5CDD505-2E9C-101B-9397-08002B2CF9AE}" pid="7" name="MSIP_Label_f42aa342-8706-4288-bd11-ebb85995028c_SetDate">
    <vt:lpwstr>2017-12-29T08:36:15.3835271Z</vt:lpwstr>
  </property>
  <property fmtid="{D5CDD505-2E9C-101B-9397-08002B2CF9AE}" pid="8" name="MSIP_Label_f42aa342-8706-4288-bd11-ebb85995028c_Name">
    <vt:lpwstr>General</vt:lpwstr>
  </property>
  <property fmtid="{D5CDD505-2E9C-101B-9397-08002B2CF9AE}" pid="9" name="MSIP_Label_f42aa342-8706-4288-bd11-ebb85995028c_Application">
    <vt:lpwstr>Microsoft Azure Information Protection</vt:lpwstr>
  </property>
  <property fmtid="{D5CDD505-2E9C-101B-9397-08002B2CF9AE}" pid="10" name="MSIP_Label_f42aa342-8706-4288-bd11-ebb85995028c_Extended_MSFT_Method">
    <vt:lpwstr>Automatic</vt:lpwstr>
  </property>
  <property fmtid="{D5CDD505-2E9C-101B-9397-08002B2CF9AE}" pid="11" name="Sensitivity">
    <vt:lpwstr>General</vt:lpwstr>
  </property>
</Properties>
</file>